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6"/>
    <p:sldMasterId id="2147483668" r:id="rId7"/>
    <p:sldMasterId id="2147483722" r:id="rId8"/>
  </p:sldMasterIdLst>
  <p:notesMasterIdLst>
    <p:notesMasterId r:id="rId47"/>
  </p:notesMasterIdLst>
  <p:sldIdLst>
    <p:sldId id="2145705714" r:id="rId9"/>
    <p:sldId id="257" r:id="rId10"/>
    <p:sldId id="301" r:id="rId11"/>
    <p:sldId id="302" r:id="rId12"/>
    <p:sldId id="260" r:id="rId13"/>
    <p:sldId id="2145705758" r:id="rId14"/>
    <p:sldId id="261" r:id="rId15"/>
    <p:sldId id="262" r:id="rId16"/>
    <p:sldId id="263" r:id="rId17"/>
    <p:sldId id="264" r:id="rId18"/>
    <p:sldId id="256" r:id="rId19"/>
    <p:sldId id="2145705768" r:id="rId20"/>
    <p:sldId id="266" r:id="rId21"/>
    <p:sldId id="267" r:id="rId22"/>
    <p:sldId id="268" r:id="rId23"/>
    <p:sldId id="269" r:id="rId24"/>
    <p:sldId id="270" r:id="rId25"/>
    <p:sldId id="298" r:id="rId26"/>
    <p:sldId id="272" r:id="rId27"/>
    <p:sldId id="273" r:id="rId28"/>
    <p:sldId id="296" r:id="rId29"/>
    <p:sldId id="278" r:id="rId30"/>
    <p:sldId id="276" r:id="rId31"/>
    <p:sldId id="277" r:id="rId32"/>
    <p:sldId id="275" r:id="rId33"/>
    <p:sldId id="2145705746" r:id="rId34"/>
    <p:sldId id="2145705747" r:id="rId35"/>
    <p:sldId id="293" r:id="rId36"/>
    <p:sldId id="2145705748" r:id="rId37"/>
    <p:sldId id="2145705769" r:id="rId38"/>
    <p:sldId id="2145705750" r:id="rId39"/>
    <p:sldId id="2145705770" r:id="rId40"/>
    <p:sldId id="295" r:id="rId41"/>
    <p:sldId id="288" r:id="rId42"/>
    <p:sldId id="289" r:id="rId43"/>
    <p:sldId id="286" r:id="rId44"/>
    <p:sldId id="291" r:id="rId45"/>
    <p:sldId id="292" r:id="rId46"/>
  </p:sldIdLst>
  <p:sldSz cx="12192000" cy="6858000"/>
  <p:notesSz cx="12192000" cy="6858000"/>
  <p:defaultTextStyle>
    <a:defPPr>
      <a:defRPr kern="0"/>
    </a:def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128430-1422-1362-0CBF-F2C29D2C9758}" name="Carley Tietolman" initials="CT" userId="S::carley.tietolman@ca.abb.com::34cb06ee-6341-4a2d-9112-be225e4e7d24" providerId="AD"/>
  <p188:author id="{B1632C50-7E3C-93CA-2171-4DBFDE2D3737}" name="Mylene Dumoulin" initials="MD" userId="S::mylene.dumoulin@ca.abb.com::2a6c5ec7-c060-4d5a-a430-5499ebece2a0" providerId="AD"/>
  <p188:author id="{3B38BA57-F32F-C0F1-4E87-87242838FFAE}" name="Steffanie Munyinyi" initials="SM" userId="S::steffanie.munyinyi@ca.abb.com::897feb03-dabb-42ad-b36d-4c31138df0b8" providerId="AD"/>
  <p188:author id="{B71F3FF4-026D-171C-EE89-BB062D6F0CEB}" name="Arianne Paquin" initials="AP" userId="S::arianne.paquin@ca.abb.com::ef9bd8f2-e0eb-4311-99bf-bc46b8ec4a4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guide orient="horz" pos="2880"/>
        <p:guide pos="216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Master" Target="slideMasters/slideMaster2.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microsoft.com/office/2018/10/relationships/authors" Target="authors.xml"/><Relationship Id="rId5" Type="http://schemas.openxmlformats.org/officeDocument/2006/relationships/customXml" Target="../customXml/item5.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microsoft.com/office/2016/11/relationships/changesInfo" Target="changesInfos/changesInfo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3.xml"/><Relationship Id="rId51" Type="http://schemas.openxmlformats.org/officeDocument/2006/relationships/tableStyles" Target="tableStyles.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1" Type="http://schemas.openxmlformats.org/officeDocument/2006/relationships/customXml" Target="../customXml/item1.xml"/><Relationship Id="rId6" Type="http://schemas.openxmlformats.org/officeDocument/2006/relationships/slideMaster" Target="slideMasters/slideMaster1.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effanie Munyinyi" userId="897feb03-dabb-42ad-b36d-4c31138df0b8" providerId="ADAL" clId="{47C43630-8AE3-4A4E-9451-C63D315091B2}"/>
    <pc:docChg chg="modSld">
      <pc:chgData name="Steffanie Munyinyi" userId="897feb03-dabb-42ad-b36d-4c31138df0b8" providerId="ADAL" clId="{47C43630-8AE3-4A4E-9451-C63D315091B2}" dt="2024-04-26T17:59:02.124" v="1" actId="404"/>
      <pc:docMkLst>
        <pc:docMk/>
      </pc:docMkLst>
      <pc:sldChg chg="modSp mod">
        <pc:chgData name="Steffanie Munyinyi" userId="897feb03-dabb-42ad-b36d-4c31138df0b8" providerId="ADAL" clId="{47C43630-8AE3-4A4E-9451-C63D315091B2}" dt="2024-04-26T17:59:02.124" v="1" actId="404"/>
        <pc:sldMkLst>
          <pc:docMk/>
          <pc:sldMk cId="1666561201" sldId="256"/>
        </pc:sldMkLst>
        <pc:spChg chg="mod">
          <ac:chgData name="Steffanie Munyinyi" userId="897feb03-dabb-42ad-b36d-4c31138df0b8" providerId="ADAL" clId="{47C43630-8AE3-4A4E-9451-C63D315091B2}" dt="2024-04-26T17:59:02.124" v="1" actId="404"/>
          <ac:spMkLst>
            <pc:docMk/>
            <pc:sldMk cId="1666561201" sldId="256"/>
            <ac:spMk id="7" creationId="{7DC72E9A-4328-4482-AF8C-8C1ED954C4A5}"/>
          </ac:spMkLst>
        </pc:spChg>
        <pc:spChg chg="mod">
          <ac:chgData name="Steffanie Munyinyi" userId="897feb03-dabb-42ad-b36d-4c31138df0b8" providerId="ADAL" clId="{47C43630-8AE3-4A4E-9451-C63D315091B2}" dt="2024-04-26T17:59:02.124" v="1" actId="404"/>
          <ac:spMkLst>
            <pc:docMk/>
            <pc:sldMk cId="1666561201" sldId="256"/>
            <ac:spMk id="8" creationId="{BD78C2A0-83CC-4DC8-BAAC-069EC713BCF3}"/>
          </ac:spMkLst>
        </pc:spChg>
        <pc:spChg chg="mod">
          <ac:chgData name="Steffanie Munyinyi" userId="897feb03-dabb-42ad-b36d-4c31138df0b8" providerId="ADAL" clId="{47C43630-8AE3-4A4E-9451-C63D315091B2}" dt="2024-04-26T17:59:02.124" v="1" actId="404"/>
          <ac:spMkLst>
            <pc:docMk/>
            <pc:sldMk cId="1666561201" sldId="256"/>
            <ac:spMk id="9" creationId="{07698F00-5C1C-4DAD-8DC7-694FC8F8881B}"/>
          </ac:spMkLst>
        </pc:spChg>
        <pc:spChg chg="mod">
          <ac:chgData name="Steffanie Munyinyi" userId="897feb03-dabb-42ad-b36d-4c31138df0b8" providerId="ADAL" clId="{47C43630-8AE3-4A4E-9451-C63D315091B2}" dt="2024-04-26T17:59:02.124" v="1" actId="404"/>
          <ac:spMkLst>
            <pc:docMk/>
            <pc:sldMk cId="1666561201" sldId="256"/>
            <ac:spMk id="3515" creationId="{463F37B1-A588-BCD2-B64E-967CF9D8CFBF}"/>
          </ac:spMkLst>
        </pc:spChg>
        <pc:spChg chg="mod">
          <ac:chgData name="Steffanie Munyinyi" userId="897feb03-dabb-42ad-b36d-4c31138df0b8" providerId="ADAL" clId="{47C43630-8AE3-4A4E-9451-C63D315091B2}" dt="2024-04-26T17:59:02.124" v="1" actId="404"/>
          <ac:spMkLst>
            <pc:docMk/>
            <pc:sldMk cId="1666561201" sldId="256"/>
            <ac:spMk id="3516" creationId="{DD91643A-BB33-9EB6-136E-49285641E355}"/>
          </ac:spMkLst>
        </pc:spChg>
        <pc:spChg chg="mod">
          <ac:chgData name="Steffanie Munyinyi" userId="897feb03-dabb-42ad-b36d-4c31138df0b8" providerId="ADAL" clId="{47C43630-8AE3-4A4E-9451-C63D315091B2}" dt="2024-04-26T17:59:02.124" v="1" actId="404"/>
          <ac:spMkLst>
            <pc:docMk/>
            <pc:sldMk cId="1666561201" sldId="256"/>
            <ac:spMk id="3517" creationId="{304EA6B8-A6CF-39A8-06E7-C775C4B5107A}"/>
          </ac:spMkLst>
        </pc:spChg>
        <pc:spChg chg="mod">
          <ac:chgData name="Steffanie Munyinyi" userId="897feb03-dabb-42ad-b36d-4c31138df0b8" providerId="ADAL" clId="{47C43630-8AE3-4A4E-9451-C63D315091B2}" dt="2024-04-26T17:59:02.124" v="1" actId="404"/>
          <ac:spMkLst>
            <pc:docMk/>
            <pc:sldMk cId="1666561201" sldId="256"/>
            <ac:spMk id="3518" creationId="{6F1E0DA6-4FA9-779D-80A6-6E6CBD06D491}"/>
          </ac:spMkLst>
        </pc:spChg>
        <pc:spChg chg="mod">
          <ac:chgData name="Steffanie Munyinyi" userId="897feb03-dabb-42ad-b36d-4c31138df0b8" providerId="ADAL" clId="{47C43630-8AE3-4A4E-9451-C63D315091B2}" dt="2024-04-26T17:59:02.124" v="1" actId="404"/>
          <ac:spMkLst>
            <pc:docMk/>
            <pc:sldMk cId="1666561201" sldId="256"/>
            <ac:spMk id="3519" creationId="{328B6CAC-4B9E-99C5-56FE-30DF83A95720}"/>
          </ac:spMkLst>
        </pc:spChg>
      </pc:sldChg>
    </pc:docChg>
  </pc:docChgLst>
  <pc:docChgLst>
    <pc:chgData name="Tim Fisher" userId="b2284f15-549b-4d42-a526-877a1ee4ba36" providerId="ADAL" clId="{E9C234E3-7941-4FCC-AFE1-2E16188E8604}"/>
    <pc:docChg chg="custSel modSld">
      <pc:chgData name="Tim Fisher" userId="b2284f15-549b-4d42-a526-877a1ee4ba36" providerId="ADAL" clId="{E9C234E3-7941-4FCC-AFE1-2E16188E8604}" dt="2024-04-26T18:26:13.149" v="9" actId="20577"/>
      <pc:docMkLst>
        <pc:docMk/>
      </pc:docMkLst>
      <pc:sldChg chg="modSp mod">
        <pc:chgData name="Tim Fisher" userId="b2284f15-549b-4d42-a526-877a1ee4ba36" providerId="ADAL" clId="{E9C234E3-7941-4FCC-AFE1-2E16188E8604}" dt="2024-04-26T18:26:13.149" v="9" actId="20577"/>
        <pc:sldMkLst>
          <pc:docMk/>
          <pc:sldMk cId="0" sldId="260"/>
        </pc:sldMkLst>
        <pc:spChg chg="mod">
          <ac:chgData name="Tim Fisher" userId="b2284f15-549b-4d42-a526-877a1ee4ba36" providerId="ADAL" clId="{E9C234E3-7941-4FCC-AFE1-2E16188E8604}" dt="2024-04-26T18:26:13.149" v="9" actId="20577"/>
          <ac:spMkLst>
            <pc:docMk/>
            <pc:sldMk cId="0" sldId="260"/>
            <ac:spMk id="5" creationId="{00000000-0000-0000-0000-000000000000}"/>
          </ac:spMkLst>
        </pc:spChg>
      </pc:sldChg>
      <pc:sldChg chg="modSp mod">
        <pc:chgData name="Tim Fisher" userId="b2284f15-549b-4d42-a526-877a1ee4ba36" providerId="ADAL" clId="{E9C234E3-7941-4FCC-AFE1-2E16188E8604}" dt="2024-04-26T18:05:04.140" v="8" actId="20577"/>
        <pc:sldMkLst>
          <pc:docMk/>
          <pc:sldMk cId="0" sldId="261"/>
        </pc:sldMkLst>
        <pc:spChg chg="mod">
          <ac:chgData name="Tim Fisher" userId="b2284f15-549b-4d42-a526-877a1ee4ba36" providerId="ADAL" clId="{E9C234E3-7941-4FCC-AFE1-2E16188E8604}" dt="2024-04-16T19:02:02.161" v="5" actId="1076"/>
          <ac:spMkLst>
            <pc:docMk/>
            <pc:sldMk cId="0" sldId="261"/>
            <ac:spMk id="14" creationId="{00000000-0000-0000-0000-000000000000}"/>
          </ac:spMkLst>
        </pc:spChg>
        <pc:spChg chg="mod">
          <ac:chgData name="Tim Fisher" userId="b2284f15-549b-4d42-a526-877a1ee4ba36" providerId="ADAL" clId="{E9C234E3-7941-4FCC-AFE1-2E16188E8604}" dt="2024-04-26T18:05:04.140" v="8" actId="20577"/>
          <ac:spMkLst>
            <pc:docMk/>
            <pc:sldMk cId="0" sldId="261"/>
            <ac:spMk id="15" creationId="{00000000-0000-0000-0000-000000000000}"/>
          </ac:spMkLst>
        </pc:spChg>
        <pc:spChg chg="mod">
          <ac:chgData name="Tim Fisher" userId="b2284f15-549b-4d42-a526-877a1ee4ba36" providerId="ADAL" clId="{E9C234E3-7941-4FCC-AFE1-2E16188E8604}" dt="2024-04-16T19:02:21.745" v="7" actId="1076"/>
          <ac:spMkLst>
            <pc:docMk/>
            <pc:sldMk cId="0" sldId="261"/>
            <ac:spMk id="30" creationId="{00000000-0000-0000-0000-000000000000}"/>
          </ac:spMkLst>
        </pc:spChg>
        <pc:spChg chg="mod">
          <ac:chgData name="Tim Fisher" userId="b2284f15-549b-4d42-a526-877a1ee4ba36" providerId="ADAL" clId="{E9C234E3-7941-4FCC-AFE1-2E16188E8604}" dt="2024-04-16T19:02:21.745" v="7" actId="1076"/>
          <ac:spMkLst>
            <pc:docMk/>
            <pc:sldMk cId="0" sldId="261"/>
            <ac:spMk id="31" creationId="{00000000-0000-0000-0000-000000000000}"/>
          </ac:spMkLst>
        </pc:spChg>
        <pc:picChg chg="mod">
          <ac:chgData name="Tim Fisher" userId="b2284f15-549b-4d42-a526-877a1ee4ba36" providerId="ADAL" clId="{E9C234E3-7941-4FCC-AFE1-2E16188E8604}" dt="2024-04-16T19:02:07.708" v="6" actId="1076"/>
          <ac:picMkLst>
            <pc:docMk/>
            <pc:sldMk cId="0" sldId="261"/>
            <ac:picMk id="16" creationId="{00000000-0000-0000-0000-000000000000}"/>
          </ac:picMkLst>
        </pc:picChg>
        <pc:picChg chg="mod">
          <ac:chgData name="Tim Fisher" userId="b2284f15-549b-4d42-a526-877a1ee4ba36" providerId="ADAL" clId="{E9C234E3-7941-4FCC-AFE1-2E16188E8604}" dt="2024-04-16T19:02:02.161" v="5" actId="1076"/>
          <ac:picMkLst>
            <pc:docMk/>
            <pc:sldMk cId="0" sldId="261"/>
            <ac:picMk id="18" creationId="{00000000-0000-0000-0000-000000000000}"/>
          </ac:picMkLst>
        </pc:picChg>
      </pc:sldChg>
      <pc:sldChg chg="delSp modSp mod">
        <pc:chgData name="Tim Fisher" userId="b2284f15-549b-4d42-a526-877a1ee4ba36" providerId="ADAL" clId="{E9C234E3-7941-4FCC-AFE1-2E16188E8604}" dt="2024-04-16T18:51:16.445" v="1" actId="478"/>
        <pc:sldMkLst>
          <pc:docMk/>
          <pc:sldMk cId="0" sldId="270"/>
        </pc:sldMkLst>
        <pc:spChg chg="del">
          <ac:chgData name="Tim Fisher" userId="b2284f15-549b-4d42-a526-877a1ee4ba36" providerId="ADAL" clId="{E9C234E3-7941-4FCC-AFE1-2E16188E8604}" dt="2024-04-16T18:51:16.445" v="1" actId="478"/>
          <ac:spMkLst>
            <pc:docMk/>
            <pc:sldMk cId="0" sldId="270"/>
            <ac:spMk id="7" creationId="{00000000-0000-0000-0000-000000000000}"/>
          </ac:spMkLst>
        </pc:spChg>
        <pc:graphicFrameChg chg="modGraphic">
          <ac:chgData name="Tim Fisher" userId="b2284f15-549b-4d42-a526-877a1ee4ba36" providerId="ADAL" clId="{E9C234E3-7941-4FCC-AFE1-2E16188E8604}" dt="2024-04-16T18:51:15.074" v="0" actId="6549"/>
          <ac:graphicFrameMkLst>
            <pc:docMk/>
            <pc:sldMk cId="0" sldId="270"/>
            <ac:graphicFrameMk id="6" creationId="{00000000-0000-0000-0000-000000000000}"/>
          </ac:graphicFrameMkLst>
        </pc:graphicFrameChg>
      </pc:sldChg>
      <pc:sldChg chg="delSp modSp mod">
        <pc:chgData name="Tim Fisher" userId="b2284f15-549b-4d42-a526-877a1ee4ba36" providerId="ADAL" clId="{E9C234E3-7941-4FCC-AFE1-2E16188E8604}" dt="2024-04-16T18:51:22.056" v="3" actId="478"/>
        <pc:sldMkLst>
          <pc:docMk/>
          <pc:sldMk cId="0" sldId="272"/>
        </pc:sldMkLst>
        <pc:spChg chg="del">
          <ac:chgData name="Tim Fisher" userId="b2284f15-549b-4d42-a526-877a1ee4ba36" providerId="ADAL" clId="{E9C234E3-7941-4FCC-AFE1-2E16188E8604}" dt="2024-04-16T18:51:22.056" v="3" actId="478"/>
          <ac:spMkLst>
            <pc:docMk/>
            <pc:sldMk cId="0" sldId="272"/>
            <ac:spMk id="7" creationId="{00000000-0000-0000-0000-000000000000}"/>
          </ac:spMkLst>
        </pc:spChg>
        <pc:graphicFrameChg chg="modGraphic">
          <ac:chgData name="Tim Fisher" userId="b2284f15-549b-4d42-a526-877a1ee4ba36" providerId="ADAL" clId="{E9C234E3-7941-4FCC-AFE1-2E16188E8604}" dt="2024-04-16T18:51:21.093" v="2" actId="6549"/>
          <ac:graphicFrameMkLst>
            <pc:docMk/>
            <pc:sldMk cId="0" sldId="272"/>
            <ac:graphicFrameMk id="6" creationId="{00000000-0000-0000-0000-000000000000}"/>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5283200" cy="3444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6905625" y="0"/>
            <a:ext cx="5283200" cy="344488"/>
          </a:xfrm>
          <a:prstGeom prst="rect">
            <a:avLst/>
          </a:prstGeom>
        </p:spPr>
        <p:txBody>
          <a:bodyPr vert="horz" lIns="91440" tIns="45720" rIns="91440" bIns="45720" rtlCol="0"/>
          <a:lstStyle>
            <a:lvl1pPr algn="r">
              <a:defRPr sz="1200"/>
            </a:lvl1pPr>
          </a:lstStyle>
          <a:p>
            <a:fld id="{828930B2-98D3-45B3-BFB0-A2B21A172D69}" type="datetimeFigureOut">
              <a:rPr lang="en-US" smtClean="0"/>
              <a:t>4/26/2024</a:t>
            </a:fld>
            <a:endParaRPr lang="en-US"/>
          </a:p>
        </p:txBody>
      </p:sp>
      <p:sp>
        <p:nvSpPr>
          <p:cNvPr id="4" name="Slide Image Placeholder 3"/>
          <p:cNvSpPr>
            <a:spLocks noGrp="1" noRot="1" noChangeAspect="1"/>
          </p:cNvSpPr>
          <p:nvPr>
            <p:ph type="sldImg" idx="2"/>
          </p:nvPr>
        </p:nvSpPr>
        <p:spPr>
          <a:xfrm>
            <a:off x="4038600" y="857250"/>
            <a:ext cx="4114800" cy="231457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1219200" y="3300413"/>
            <a:ext cx="9753600" cy="270033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513513"/>
            <a:ext cx="5283200" cy="3444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6905625" y="6513513"/>
            <a:ext cx="5283200" cy="344487"/>
          </a:xfrm>
          <a:prstGeom prst="rect">
            <a:avLst/>
          </a:prstGeom>
        </p:spPr>
        <p:txBody>
          <a:bodyPr vert="horz" lIns="91440" tIns="45720" rIns="91440" bIns="45720" rtlCol="0" anchor="b"/>
          <a:lstStyle>
            <a:lvl1pPr algn="r">
              <a:defRPr sz="1200"/>
            </a:lvl1pPr>
          </a:lstStyle>
          <a:p>
            <a:fld id="{9953C506-DD54-47C1-9711-FE433A7ECCF1}" type="slidenum">
              <a:rPr lang="en-US" smtClean="0"/>
              <a:t>‹#›</a:t>
            </a:fld>
            <a:endParaRPr lang="en-US"/>
          </a:p>
        </p:txBody>
      </p:sp>
    </p:spTree>
    <p:extLst>
      <p:ext uri="{BB962C8B-B14F-4D97-AF65-F5344CB8AC3E}">
        <p14:creationId xmlns:p14="http://schemas.microsoft.com/office/powerpoint/2010/main" val="22291645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de-CH"/>
          </a:p>
        </p:txBody>
      </p:sp>
      <p:sp>
        <p:nvSpPr>
          <p:cNvPr id="4" name="Slide Number Placeholder 3"/>
          <p:cNvSpPr>
            <a:spLocks noGrp="1"/>
          </p:cNvSpPr>
          <p:nvPr>
            <p:ph type="sldNum" sz="quarter" idx="5"/>
          </p:nvPr>
        </p:nvSpPr>
        <p:spPr/>
        <p:txBody>
          <a:bodyPr/>
          <a:lstStyle/>
          <a:p>
            <a:fld id="{3A94E69C-C28A-4BE6-BE89-71D8FB2035FD}" type="slidenum">
              <a:rPr lang="en-US" smtClean="0"/>
              <a:pPr/>
              <a:t>3</a:t>
            </a:fld>
            <a:endParaRPr lang="en-US"/>
          </a:p>
        </p:txBody>
      </p:sp>
    </p:spTree>
    <p:extLst>
      <p:ext uri="{BB962C8B-B14F-4D97-AF65-F5344CB8AC3E}">
        <p14:creationId xmlns:p14="http://schemas.microsoft.com/office/powerpoint/2010/main" val="8097368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4175"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94E69C-C28A-4BE6-BE89-71D8FB2035FD}" type="slidenum">
              <a:rPr kumimoji="0" lang="en-US" sz="1200" b="0" i="0" u="none" strike="noStrike" kern="1200" cap="none" spc="0" normalizeH="0" baseline="0" noProof="0" smtClean="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937633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eaLnBrk="1" fontAlgn="auto" latinLnBrk="0" hangingPunct="1">
              <a:lnSpc>
                <a:spcPct val="100000"/>
              </a:lnSpc>
              <a:spcBef>
                <a:spcPts val="0"/>
              </a:spcBef>
              <a:spcAft>
                <a:spcPts val="0"/>
              </a:spcAft>
              <a:buClrTx/>
              <a:buSzTx/>
              <a:buFontTx/>
              <a:buNone/>
              <a:tabLst/>
              <a:defRPr/>
            </a:pPr>
            <a:fld id="{C7F0E1FC-C09E-8941-B6D6-DCA5CBE17FFF}" type="slidenum">
              <a:rPr kumimoji="0" lang="en-US" sz="1200" b="0" i="0" u="none" strike="noStrike" kern="0" cap="none" spc="0" normalizeH="0" baseline="0" noProof="0" smtClean="0">
                <a:ln>
                  <a:noFill/>
                </a:ln>
                <a:solidFill>
                  <a:sysClr val="windowText" lastClr="000000"/>
                </a:solidFill>
                <a:effectLst/>
                <a:uLnTx/>
                <a:uFillTx/>
              </a:rPr>
              <a:pPr marL="0" marR="0" lvl="0" indent="0" algn="r" defTabSz="914400" eaLnBrk="1" fontAlgn="auto" latinLnBrk="0" hangingPunct="1">
                <a:lnSpc>
                  <a:spcPct val="100000"/>
                </a:lnSpc>
                <a:spcBef>
                  <a:spcPts val="0"/>
                </a:spcBef>
                <a:spcAft>
                  <a:spcPts val="0"/>
                </a:spcAft>
                <a:buClrTx/>
                <a:buSzTx/>
                <a:buFontTx/>
                <a:buNone/>
                <a:tabLst/>
                <a:defRPr/>
              </a:pPr>
              <a:t>33</a:t>
            </a:fld>
            <a:endParaRPr kumimoji="0" lang="en-US" sz="12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99611273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14400" y="2125980"/>
            <a:ext cx="10363200" cy="1440180"/>
          </a:xfrm>
          <a:prstGeom prst="rect">
            <a:avLst/>
          </a:prstGeom>
        </p:spPr>
        <p:txBody>
          <a:bodyPr wrap="square" lIns="0" tIns="0" rIns="0" bIns="0">
            <a:spAutoFit/>
          </a:bodyPr>
          <a:lstStyle>
            <a:lvl1pPr>
              <a:defRPr sz="3200" b="0" i="0">
                <a:solidFill>
                  <a:schemeClr val="tx1"/>
                </a:solidFill>
                <a:latin typeface="ABBvoice"/>
                <a:cs typeface="ABBvoice"/>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600" b="0" i="0">
                <a:solidFill>
                  <a:schemeClr val="tx1"/>
                </a:solidFill>
                <a:latin typeface="ABBvoice"/>
                <a:cs typeface="ABBvoic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6/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0574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3264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r>
              <a:rPr lang="en-US"/>
              <a:t>March 4, 2021</a:t>
            </a:r>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5679439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79576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r>
              <a:rPr lang="en-US"/>
              <a:t>March 4, 2021</a:t>
            </a:r>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8673248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r>
              <a:rPr lang="en-US"/>
              <a:t>March 4, 2021</a:t>
            </a:r>
          </a:p>
        </p:txBody>
      </p:sp>
      <p:sp>
        <p:nvSpPr>
          <p:cNvPr id="4" name="Footer Placeholder 3"/>
          <p:cNvSpPr>
            <a:spLocks noGrp="1"/>
          </p:cNvSpPr>
          <p:nvPr>
            <p:ph type="ftr" sz="quarter" idx="26"/>
          </p:nvPr>
        </p:nvSpPr>
        <p:spPr bwMode="gray"/>
        <p:txBody>
          <a:bodyPr/>
          <a:lstStyle/>
          <a:p>
            <a:pPr lvl="8"/>
            <a:endParaRPr lang="en-US"/>
          </a:p>
        </p:txBody>
      </p:sp>
      <p:sp>
        <p:nvSpPr>
          <p:cNvPr id="5" name="Slide Number Placeholder 4"/>
          <p:cNvSpPr>
            <a:spLocks noGrp="1"/>
          </p:cNvSpPr>
          <p:nvPr>
            <p:ph type="sldNum" sz="quarter" idx="27"/>
          </p:nvPr>
        </p:nvSpPr>
        <p:spPr bwMode="gray"/>
        <p:txBody>
          <a:bodyPr/>
          <a:lstStyle/>
          <a:p>
            <a:r>
              <a:rPr lang="en-US"/>
              <a:t>Slide </a:t>
            </a:r>
            <a:fld id="{619F89D8-7AE3-494A-97F3-03D680869632}" type="slidenum">
              <a:rPr lang="en-US" smtClean="0"/>
              <a:pPr/>
              <a:t>‹#›</a:t>
            </a:fld>
            <a:endParaRPr lang="en-US"/>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4591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r>
              <a:rPr lang="en-US"/>
              <a:t>March 4, 2021</a:t>
            </a:r>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97205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r>
              <a:rPr lang="en-US"/>
              <a:t>March 4, 2021</a:t>
            </a:r>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7497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23513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305949"/>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9299991" cy="123194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61108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6"/>
          </p:nvPr>
        </p:nvSpPr>
        <p:spPr bwMode="gray"/>
        <p:txBody>
          <a:bodyPr/>
          <a:lstStyle/>
          <a:p>
            <a:r>
              <a:rPr lang="en-US"/>
              <a:t>March 4, 2021</a:t>
            </a:r>
          </a:p>
        </p:txBody>
      </p:sp>
      <p:sp>
        <p:nvSpPr>
          <p:cNvPr id="4" name="Footer Placeholder 3"/>
          <p:cNvSpPr>
            <a:spLocks noGrp="1"/>
          </p:cNvSpPr>
          <p:nvPr>
            <p:ph type="ftr" sz="quarter" idx="27"/>
          </p:nvPr>
        </p:nvSpPr>
        <p:spPr bwMode="gray"/>
        <p:txBody>
          <a:bodyPr/>
          <a:lstStyle/>
          <a:p>
            <a:pPr lvl="8"/>
            <a:endParaRPr lang="en-US"/>
          </a:p>
        </p:txBody>
      </p:sp>
      <p:sp>
        <p:nvSpPr>
          <p:cNvPr id="5" name="Slide Number Placeholder 4"/>
          <p:cNvSpPr>
            <a:spLocks noGrp="1"/>
          </p:cNvSpPr>
          <p:nvPr>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551760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7"/>
          </p:nvPr>
        </p:nvSpPr>
        <p:spPr bwMode="gray"/>
        <p:txBody>
          <a:bodyPr/>
          <a:lstStyle/>
          <a:p>
            <a:r>
              <a:rPr lang="en-US"/>
              <a:t>March 4, 2021</a:t>
            </a:r>
          </a:p>
        </p:txBody>
      </p:sp>
      <p:sp>
        <p:nvSpPr>
          <p:cNvPr id="4" name="Footer Placeholder 3"/>
          <p:cNvSpPr>
            <a:spLocks noGrp="1"/>
          </p:cNvSpPr>
          <p:nvPr>
            <p:ph type="ftr" sz="quarter" idx="28"/>
          </p:nvPr>
        </p:nvSpPr>
        <p:spPr bwMode="gray"/>
        <p:txBody>
          <a:bodyPr/>
          <a:lstStyle/>
          <a:p>
            <a:pPr lvl="8"/>
            <a:endParaRPr lang="en-US"/>
          </a:p>
        </p:txBody>
      </p:sp>
      <p:sp>
        <p:nvSpPr>
          <p:cNvPr id="5" name="Slide Number Placeholder 4"/>
          <p:cNvSpPr>
            <a:spLocks noGrp="1"/>
          </p:cNvSpPr>
          <p:nvPr>
            <p:ph type="sldNum" sz="quarter" idx="29"/>
          </p:nvPr>
        </p:nvSpPr>
        <p:spPr bwMode="gray"/>
        <p:txBody>
          <a:bodyPr/>
          <a:lstStyle/>
          <a:p>
            <a:r>
              <a:rPr lang="en-US"/>
              <a:t>Slide </a:t>
            </a:r>
            <a:fld id="{619F89D8-7AE3-494A-97F3-03D680869632}" type="slidenum">
              <a:rPr lang="en-US" smtClean="0"/>
              <a:pPr/>
              <a:t>‹#›</a:t>
            </a:fld>
            <a:endParaRPr lang="en-US"/>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9417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39" name="Straight Connector 13"/>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0" name="Straight Connector 14"/>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5" name="Straight Connector 13"/>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6" name="Straight Connector 14"/>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r>
              <a:rPr lang="en-US"/>
              <a:t>March 4, 2021</a:t>
            </a:r>
          </a:p>
        </p:txBody>
      </p:sp>
      <p:sp>
        <p:nvSpPr>
          <p:cNvPr id="5" name="Footer Placeholder 4"/>
          <p:cNvSpPr>
            <a:spLocks noGrp="1"/>
          </p:cNvSpPr>
          <p:nvPr userDrawn="1">
            <p:ph type="ftr" sz="quarter" idx="33"/>
          </p:nvPr>
        </p:nvSpPr>
        <p:spPr bwMode="gray"/>
        <p:txBody>
          <a:bodyPr/>
          <a:lstStyle/>
          <a:p>
            <a:pPr lvl="8"/>
            <a:endParaRPr lang="en-US"/>
          </a:p>
        </p:txBody>
      </p:sp>
      <p:sp>
        <p:nvSpPr>
          <p:cNvPr id="6" name="Slide Number Placeholder 5"/>
          <p:cNvSpPr>
            <a:spLocks noGrp="1"/>
          </p:cNvSpPr>
          <p:nvPr userDrawn="1">
            <p:ph type="sldNum" sz="quarter" idx="34"/>
          </p:nvPr>
        </p:nvSpPr>
        <p:spPr bwMode="gray"/>
        <p:txBody>
          <a:bodyPr/>
          <a:lstStyle/>
          <a:p>
            <a:r>
              <a:rPr lang="en-US"/>
              <a:t>Slide </a:t>
            </a:r>
            <a:fld id="{619F89D8-7AE3-494A-97F3-03D680869632}" type="slidenum">
              <a:rPr lang="en-US" smtClean="0"/>
              <a:pPr/>
              <a:t>‹#›</a:t>
            </a:fld>
            <a:endParaRPr lang="en-US"/>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spTree>
    <p:extLst>
      <p:ext uri="{BB962C8B-B14F-4D97-AF65-F5344CB8AC3E}">
        <p14:creationId xmlns:p14="http://schemas.microsoft.com/office/powerpoint/2010/main" val="138378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50099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35"/>
          </p:nvPr>
        </p:nvSpPr>
        <p:spPr bwMode="gray"/>
        <p:txBody>
          <a:bodyPr/>
          <a:lstStyle/>
          <a:p>
            <a:r>
              <a:rPr lang="en-US"/>
              <a:t>March 4, 2021</a:t>
            </a:r>
          </a:p>
        </p:txBody>
      </p:sp>
      <p:sp>
        <p:nvSpPr>
          <p:cNvPr id="4" name="Footer Placeholder 3"/>
          <p:cNvSpPr>
            <a:spLocks noGrp="1"/>
          </p:cNvSpPr>
          <p:nvPr>
            <p:ph type="ftr" sz="quarter" idx="36"/>
          </p:nvPr>
        </p:nvSpPr>
        <p:spPr bwMode="gray"/>
        <p:txBody>
          <a:bodyPr/>
          <a:lstStyle/>
          <a:p>
            <a:pPr lvl="8"/>
            <a:endParaRPr lang="en-US"/>
          </a:p>
        </p:txBody>
      </p:sp>
      <p:sp>
        <p:nvSpPr>
          <p:cNvPr id="5" name="Slide Number Placeholder 4"/>
          <p:cNvSpPr>
            <a:spLocks noGrp="1"/>
          </p:cNvSpPr>
          <p:nvPr>
            <p:ph type="sldNum" sz="quarter" idx="37"/>
          </p:nvPr>
        </p:nvSpPr>
        <p:spPr bwMode="gray"/>
        <p:txBody>
          <a:bodyPr/>
          <a:lstStyle/>
          <a:p>
            <a:r>
              <a:rPr lang="en-US"/>
              <a:t>Slide </a:t>
            </a:r>
            <a:fld id="{619F89D8-7AE3-494A-97F3-03D680869632}" type="slidenum">
              <a:rPr lang="en-US" smtClean="0"/>
              <a:pPr/>
              <a:t>‹#›</a:t>
            </a:fld>
            <a:endParaRPr lang="en-US"/>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83852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755308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March 4, 2021</a:t>
            </a:r>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a:solidFill>
                  <a:srgbClr val="FF0000"/>
                </a:solidFill>
              </a:rPr>
              <a:t>—</a:t>
            </a:r>
            <a:endParaRPr lang="en-US" sz="1800" b="1" err="1">
              <a:solidFill>
                <a:srgbClr val="FF0000"/>
              </a:solidFill>
            </a:endParaRPr>
          </a:p>
        </p:txBody>
      </p:sp>
    </p:spTree>
    <p:extLst>
      <p:ext uri="{BB962C8B-B14F-4D97-AF65-F5344CB8AC3E}">
        <p14:creationId xmlns:p14="http://schemas.microsoft.com/office/powerpoint/2010/main" val="12430176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r>
              <a:rPr lang="en-US"/>
              <a:t>March 4, 2021</a:t>
            </a:r>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72567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March 4, 2021</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pic>
        <p:nvPicPr>
          <p:cNvPr id="7" name="Picture 1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0900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Fascination_10: Title + Four Columns">
    <p:spTree>
      <p:nvGrpSpPr>
        <p:cNvPr id="1" name=""/>
        <p:cNvGrpSpPr/>
        <p:nvPr/>
      </p:nvGrpSpPr>
      <p:grpSpPr>
        <a:xfrm>
          <a:off x="0" y="0"/>
          <a:ext cx="0" cy="0"/>
          <a:chOff x="0" y="0"/>
          <a:chExt cx="0" cy="0"/>
        </a:xfrm>
      </p:grpSpPr>
      <p:sp>
        <p:nvSpPr>
          <p:cNvPr id="7" name="Text Placeholder 3">
            <a:extLst>
              <a:ext uri="{FF2B5EF4-FFF2-40B4-BE49-F238E27FC236}">
                <a16:creationId xmlns:a16="http://schemas.microsoft.com/office/drawing/2014/main" id="{08EBD8B0-311D-4AB7-ABE1-8A67D00BC9A0}"/>
              </a:ext>
            </a:extLst>
          </p:cNvPr>
          <p:cNvSpPr>
            <a:spLocks noGrp="1"/>
          </p:cNvSpPr>
          <p:nvPr>
            <p:ph type="body" sz="quarter" idx="17"/>
          </p:nvPr>
        </p:nvSpPr>
        <p:spPr>
          <a:xfrm>
            <a:off x="407985" y="2708275"/>
            <a:ext cx="2519663" cy="3529013"/>
          </a:xfrm>
        </p:spPr>
        <p:txBody>
          <a:bodyPr anchor="t"/>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3">
            <a:extLst>
              <a:ext uri="{FF2B5EF4-FFF2-40B4-BE49-F238E27FC236}">
                <a16:creationId xmlns:a16="http://schemas.microsoft.com/office/drawing/2014/main" id="{DFFA9611-85BA-4959-91F3-F27627946296}"/>
              </a:ext>
            </a:extLst>
          </p:cNvPr>
          <p:cNvSpPr>
            <a:spLocks noGrp="1"/>
          </p:cNvSpPr>
          <p:nvPr>
            <p:ph type="body" sz="quarter" idx="21"/>
          </p:nvPr>
        </p:nvSpPr>
        <p:spPr>
          <a:xfrm>
            <a:off x="3360107" y="2708275"/>
            <a:ext cx="2519663" cy="3529013"/>
          </a:xfrm>
        </p:spPr>
        <p:txBody>
          <a:bodyPr anchor="t"/>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0F2CADBF-8104-4F08-BF7B-1091CC83A3CC}"/>
              </a:ext>
            </a:extLst>
          </p:cNvPr>
          <p:cNvSpPr>
            <a:spLocks noGrp="1"/>
          </p:cNvSpPr>
          <p:nvPr>
            <p:ph type="body" sz="quarter" idx="22"/>
          </p:nvPr>
        </p:nvSpPr>
        <p:spPr>
          <a:xfrm>
            <a:off x="6312229" y="2708275"/>
            <a:ext cx="2519663" cy="3529013"/>
          </a:xfrm>
        </p:spPr>
        <p:txBody>
          <a:bodyPr anchor="t"/>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3">
            <a:extLst>
              <a:ext uri="{FF2B5EF4-FFF2-40B4-BE49-F238E27FC236}">
                <a16:creationId xmlns:a16="http://schemas.microsoft.com/office/drawing/2014/main" id="{CB322BA7-057A-4F30-8C93-9F240B5793FB}"/>
              </a:ext>
            </a:extLst>
          </p:cNvPr>
          <p:cNvSpPr>
            <a:spLocks noGrp="1"/>
          </p:cNvSpPr>
          <p:nvPr>
            <p:ph type="body" sz="quarter" idx="23"/>
          </p:nvPr>
        </p:nvSpPr>
        <p:spPr>
          <a:xfrm>
            <a:off x="9264350" y="2708275"/>
            <a:ext cx="2519663" cy="3529013"/>
          </a:xfrm>
        </p:spPr>
        <p:txBody>
          <a:bodyPr anchor="t"/>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C209661C-7A32-45A7-88F7-975702673307}"/>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55179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tx1"/>
                </a:solidFill>
                <a:latin typeface="ABBvoice"/>
                <a:cs typeface="ABBvoice"/>
              </a:defRPr>
            </a:lvl1pPr>
          </a:lstStyle>
          <a:p>
            <a:endParaRPr/>
          </a:p>
        </p:txBody>
      </p:sp>
      <p:sp>
        <p:nvSpPr>
          <p:cNvPr id="3" name="Holder 3"/>
          <p:cNvSpPr>
            <a:spLocks noGrp="1"/>
          </p:cNvSpPr>
          <p:nvPr>
            <p:ph type="body" idx="1"/>
          </p:nvPr>
        </p:nvSpPr>
        <p:spPr/>
        <p:txBody>
          <a:bodyPr lIns="0" tIns="0" rIns="0" bIns="0"/>
          <a:lstStyle>
            <a:lvl1pPr>
              <a:defRPr sz="1600" b="0" i="0">
                <a:solidFill>
                  <a:schemeClr val="tx1"/>
                </a:solidFill>
                <a:latin typeface="ABBvoice"/>
                <a:cs typeface="ABBvoic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6/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6501769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142910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48554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193061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8"/>
          </p:nvPr>
        </p:nvSpPr>
        <p:spPr bwMode="gray"/>
        <p:txBody>
          <a:bodyPr/>
          <a:lstStyle/>
          <a:p>
            <a:r>
              <a:rPr lang="en-US"/>
              <a:t>March 4, 2021</a:t>
            </a:r>
          </a:p>
        </p:txBody>
      </p:sp>
      <p:sp>
        <p:nvSpPr>
          <p:cNvPr id="5" name="Footer Placeholder 4"/>
          <p:cNvSpPr>
            <a:spLocks noGrp="1"/>
          </p:cNvSpPr>
          <p:nvPr>
            <p:ph type="ftr" sz="quarter" idx="19"/>
          </p:nvPr>
        </p:nvSpPr>
        <p:spPr bwMode="gray"/>
        <p:txBody>
          <a:bodyPr/>
          <a:lstStyle/>
          <a:p>
            <a:pPr lvl="8"/>
            <a:endParaRPr lang="en-US"/>
          </a:p>
        </p:txBody>
      </p:sp>
      <p:sp>
        <p:nvSpPr>
          <p:cNvPr id="6" name="Slide Number Placeholder 5"/>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7" name="Title 6"/>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112572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r>
              <a:rPr lang="en-US"/>
              <a:t>March 4, 2021</a:t>
            </a:r>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403295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r>
              <a:rPr lang="en-US"/>
              <a:t>March 4, 2021</a:t>
            </a:r>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343218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988858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2474607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tx1"/>
                </a:solidFill>
                <a:latin typeface="ABBvoice"/>
                <a:cs typeface="ABBvoice"/>
              </a:defRPr>
            </a:lvl1pPr>
          </a:lstStyle>
          <a:p>
            <a:endParaRPr/>
          </a:p>
        </p:txBody>
      </p:sp>
      <p:sp>
        <p:nvSpPr>
          <p:cNvPr id="3" name="Holder 3"/>
          <p:cNvSpPr>
            <a:spLocks noGrp="1"/>
          </p:cNvSpPr>
          <p:nvPr>
            <p:ph type="body" idx="1"/>
          </p:nvPr>
        </p:nvSpPr>
        <p:spPr/>
        <p:txBody>
          <a:bodyPr lIns="0" tIns="0" rIns="0" bIns="0"/>
          <a:lstStyle>
            <a:lvl1pPr>
              <a:defRPr sz="1600" b="0" i="0">
                <a:solidFill>
                  <a:schemeClr val="tx1"/>
                </a:solidFill>
                <a:latin typeface="ABBvoice"/>
                <a:cs typeface="ABBvoice"/>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6/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8633727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90313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0485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48093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04877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43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a:cxnSpLocks/>
          </p:cNvCxnSpPr>
          <p:nvPr userDrawn="1"/>
        </p:nvCxnSpPr>
        <p:spPr bwMode="gray">
          <a:xfrm>
            <a:off x="6095999" y="2388843"/>
            <a:ext cx="0" cy="276480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270836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449084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614465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18238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01151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200" b="0" i="0">
                <a:solidFill>
                  <a:schemeClr val="tx1"/>
                </a:solidFill>
                <a:latin typeface="ABBvoice"/>
                <a:cs typeface="ABBvoice"/>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6/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83186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942749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55656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399882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799244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51707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50308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547794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94371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403874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335279" y="6092952"/>
            <a:ext cx="11520170" cy="0"/>
          </a:xfrm>
          <a:custGeom>
            <a:avLst/>
            <a:gdLst/>
            <a:ahLst/>
            <a:cxnLst/>
            <a:rect l="l" t="t" r="r" b="b"/>
            <a:pathLst>
              <a:path w="11520170">
                <a:moveTo>
                  <a:pt x="0" y="0"/>
                </a:moveTo>
                <a:lnTo>
                  <a:pt x="11520043" y="0"/>
                </a:lnTo>
              </a:path>
            </a:pathLst>
          </a:custGeom>
          <a:ln w="12700">
            <a:solidFill>
              <a:srgbClr val="A9A9A9"/>
            </a:solidFill>
          </a:ln>
        </p:spPr>
        <p:txBody>
          <a:bodyPr wrap="square" lIns="0" tIns="0" rIns="0" bIns="0" rtlCol="0"/>
          <a:lstStyle/>
          <a:p>
            <a:endParaRPr/>
          </a:p>
        </p:txBody>
      </p:sp>
      <p:pic>
        <p:nvPicPr>
          <p:cNvPr id="17" name="bg object 17"/>
          <p:cNvPicPr/>
          <p:nvPr/>
        </p:nvPicPr>
        <p:blipFill>
          <a:blip r:embed="rId2" cstate="print"/>
          <a:stretch>
            <a:fillRect/>
          </a:stretch>
        </p:blipFill>
        <p:spPr>
          <a:xfrm>
            <a:off x="335279" y="6327647"/>
            <a:ext cx="338328" cy="88392"/>
          </a:xfrm>
          <a:prstGeom prst="rect">
            <a:avLst/>
          </a:prstGeom>
        </p:spPr>
      </p:pic>
      <p:sp>
        <p:nvSpPr>
          <p:cNvPr id="18" name="bg object 18"/>
          <p:cNvSpPr/>
          <p:nvPr/>
        </p:nvSpPr>
        <p:spPr>
          <a:xfrm>
            <a:off x="1691639" y="6473952"/>
            <a:ext cx="0" cy="132715"/>
          </a:xfrm>
          <a:custGeom>
            <a:avLst/>
            <a:gdLst/>
            <a:ahLst/>
            <a:cxnLst/>
            <a:rect l="l" t="t" r="r" b="b"/>
            <a:pathLst>
              <a:path h="132715">
                <a:moveTo>
                  <a:pt x="0" y="0"/>
                </a:moveTo>
                <a:lnTo>
                  <a:pt x="0" y="132461"/>
                </a:lnTo>
              </a:path>
            </a:pathLst>
          </a:custGeom>
          <a:ln w="12700">
            <a:solidFill>
              <a:srgbClr val="A9A9A9"/>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3200" b="0" i="0">
                <a:solidFill>
                  <a:schemeClr val="tx1"/>
                </a:solidFill>
                <a:latin typeface="ABBvoice"/>
                <a:cs typeface="ABBvoice"/>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6/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73032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543671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08530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68480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46006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r>
              <a:rPr lang="en-US"/>
              <a:t>March 4, 2021</a:t>
            </a:r>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Text Placeholder 11">
            <a:extLst>
              <a:ext uri="{FF2B5EF4-FFF2-40B4-BE49-F238E27FC236}">
                <a16:creationId xmlns:a16="http://schemas.microsoft.com/office/drawing/2014/main" id="{26B94E95-6A25-4904-AFE3-195977ABC0C4}"/>
              </a:ext>
            </a:extLst>
          </p:cNvPr>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a:extLst>
              <a:ext uri="{FF2B5EF4-FFF2-40B4-BE49-F238E27FC236}">
                <a16:creationId xmlns:a16="http://schemas.microsoft.com/office/drawing/2014/main" id="{222A44F3-B762-46F9-ACA7-B2B9A6420892}"/>
              </a:ext>
            </a:extLst>
          </p:cNvPr>
          <p:cNvSpPr>
            <a:spLocks noGrp="1"/>
          </p:cNvSpPr>
          <p:nvPr>
            <p:ph sz="quarter" idx="25"/>
          </p:nvPr>
        </p:nvSpPr>
        <p:spPr bwMode="gray">
          <a:xfrm>
            <a:off x="3287752"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a:extLst>
              <a:ext uri="{FF2B5EF4-FFF2-40B4-BE49-F238E27FC236}">
                <a16:creationId xmlns:a16="http://schemas.microsoft.com/office/drawing/2014/main" id="{18BA7AC6-D094-4D15-8328-63A04B5C6FFB}"/>
              </a:ext>
            </a:extLst>
          </p:cNvPr>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a:extLst>
              <a:ext uri="{FF2B5EF4-FFF2-40B4-BE49-F238E27FC236}">
                <a16:creationId xmlns:a16="http://schemas.microsoft.com/office/drawing/2014/main" id="{D1B85285-44C6-4CDF-9DD9-E67C2DC10BE6}"/>
              </a:ext>
            </a:extLst>
          </p:cNvPr>
          <p:cNvSpPr>
            <a:spLocks noGrp="1"/>
          </p:cNvSpPr>
          <p:nvPr>
            <p:ph sz="quarter" idx="27"/>
          </p:nvPr>
        </p:nvSpPr>
        <p:spPr bwMode="gray">
          <a:xfrm>
            <a:off x="6242240" y="2317752"/>
            <a:ext cx="2656800" cy="295086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AD55C871-7F50-43F7-86D7-A6211B0FAC09}"/>
              </a:ext>
            </a:extLst>
          </p:cNvPr>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a:extLst>
              <a:ext uri="{FF2B5EF4-FFF2-40B4-BE49-F238E27FC236}">
                <a16:creationId xmlns:a16="http://schemas.microsoft.com/office/drawing/2014/main" id="{B3205B91-010C-47BF-81E5-2C6E96AB6611}"/>
              </a:ext>
            </a:extLst>
          </p:cNvPr>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a:extLst>
              <a:ext uri="{FF2B5EF4-FFF2-40B4-BE49-F238E27FC236}">
                <a16:creationId xmlns:a16="http://schemas.microsoft.com/office/drawing/2014/main" id="{CDB294B8-11F3-4E8F-92E2-265D9BD750F4}"/>
              </a:ext>
            </a:extLst>
          </p:cNvPr>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a:extLst>
              <a:ext uri="{FF2B5EF4-FFF2-40B4-BE49-F238E27FC236}">
                <a16:creationId xmlns:a16="http://schemas.microsoft.com/office/drawing/2014/main" id="{B9CB7988-50DF-4EAF-BC8A-E04031F629CE}"/>
              </a:ext>
            </a:extLst>
          </p:cNvPr>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7" name="Straight Connector 26">
            <a:extLst>
              <a:ext uri="{FF2B5EF4-FFF2-40B4-BE49-F238E27FC236}">
                <a16:creationId xmlns:a16="http://schemas.microsoft.com/office/drawing/2014/main" id="{69FBCE4B-882F-487C-84BF-4C8D53C7D6B4}"/>
              </a:ext>
            </a:extLst>
          </p:cNvPr>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95073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482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40: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4259985" y="1931197"/>
            <a:ext cx="3643200"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3643200" cy="1853869"/>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4118225"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8056756"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4" name="Content Placeholder 3"/>
          <p:cNvSpPr>
            <a:spLocks noGrp="1"/>
          </p:cNvSpPr>
          <p:nvPr>
            <p:ph sz="quarter" idx="22"/>
          </p:nvPr>
        </p:nvSpPr>
        <p:spPr bwMode="gray">
          <a:xfrm>
            <a:off x="8210327" y="1931197"/>
            <a:ext cx="3643200" cy="1853869"/>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751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1: Content (8)">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527" y="3925094"/>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3287752"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3287752"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r>
              <a:rPr lang="en-US"/>
              <a:t>March 4, 2021</a:t>
            </a:r>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4" name="Content Placeholder 3"/>
          <p:cNvSpPr>
            <a:spLocks noGrp="1"/>
          </p:cNvSpPr>
          <p:nvPr>
            <p:ph sz="quarter" idx="27"/>
          </p:nvPr>
        </p:nvSpPr>
        <p:spPr bwMode="gray">
          <a:xfrm>
            <a:off x="6242240" y="1932098"/>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8"/>
          </p:nvPr>
        </p:nvSpPr>
        <p:spPr bwMode="gray">
          <a:xfrm>
            <a:off x="9196727" y="1932849"/>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9"/>
          </p:nvPr>
        </p:nvSpPr>
        <p:spPr bwMode="gray">
          <a:xfrm>
            <a:off x="6242240" y="4016596"/>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30"/>
          </p:nvPr>
        </p:nvSpPr>
        <p:spPr bwMode="gray">
          <a:xfrm>
            <a:off x="9196727" y="4017347"/>
            <a:ext cx="2656800" cy="1897200"/>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861924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2: Title (4) &amp; Content (4)">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333264"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333264" y="4432235"/>
            <a:ext cx="5605200" cy="1484195"/>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5605200" cy="1484876"/>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333264"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2317641"/>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bwMode="gray"/>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Text Placeholder 11"/>
          <p:cNvSpPr>
            <a:spLocks noGrp="1"/>
          </p:cNvSpPr>
          <p:nvPr>
            <p:ph type="body" sz="quarter" idx="22"/>
          </p:nvPr>
        </p:nvSpPr>
        <p:spPr bwMode="gray">
          <a:xfrm>
            <a:off x="6248045" y="404397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14"/>
          <p:cNvCxnSpPr/>
          <p:nvPr userDrawn="1"/>
        </p:nvCxnSpPr>
        <p:spPr bwMode="gray">
          <a:xfrm>
            <a:off x="6248045" y="4351954"/>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Content Placeholder 15"/>
          <p:cNvSpPr>
            <a:spLocks noGrp="1"/>
          </p:cNvSpPr>
          <p:nvPr>
            <p:ph sz="quarter" idx="23"/>
          </p:nvPr>
        </p:nvSpPr>
        <p:spPr bwMode="gray">
          <a:xfrm>
            <a:off x="6248045" y="4430420"/>
            <a:ext cx="5605200" cy="1481057"/>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9857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4/26/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3: Content (4)">
    <p:spTree>
      <p:nvGrpSpPr>
        <p:cNvPr id="1" name=""/>
        <p:cNvGrpSpPr/>
        <p:nvPr/>
      </p:nvGrpSpPr>
      <p:grpSpPr>
        <a:xfrm>
          <a:off x="0" y="0"/>
          <a:ext cx="0" cy="0"/>
          <a:chOff x="0" y="0"/>
          <a:chExt cx="0" cy="0"/>
        </a:xfrm>
      </p:grpSpPr>
      <p:sp>
        <p:nvSpPr>
          <p:cNvPr id="11" name="Content Placeholder 3"/>
          <p:cNvSpPr>
            <a:spLocks noGrp="1"/>
          </p:cNvSpPr>
          <p:nvPr>
            <p:ph sz="quarter" idx="20"/>
          </p:nvPr>
        </p:nvSpPr>
        <p:spPr bwMode="gray">
          <a:xfrm>
            <a:off x="333264"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1931195"/>
            <a:ext cx="0" cy="398224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8" name="Straight Connector 17"/>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1"/>
          </p:nvPr>
        </p:nvSpPr>
        <p:spPr bwMode="gray">
          <a:xfrm>
            <a:off x="6234129" y="1931195"/>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4129" y="4059571"/>
            <a:ext cx="5619398" cy="1853868"/>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4"/>
          </p:nvPr>
        </p:nvSpPr>
        <p:spPr bwMode="gray"/>
        <p:txBody>
          <a:bodyPr/>
          <a:lstStyle/>
          <a:p>
            <a:r>
              <a:rPr lang="en-US"/>
              <a:t>March 4, 2021</a:t>
            </a:r>
          </a:p>
        </p:txBody>
      </p:sp>
      <p:sp>
        <p:nvSpPr>
          <p:cNvPr id="4" name="Footer Placeholder 3"/>
          <p:cNvSpPr>
            <a:spLocks noGrp="1"/>
          </p:cNvSpPr>
          <p:nvPr>
            <p:ph type="ftr" sz="quarter" idx="25"/>
          </p:nvPr>
        </p:nvSpPr>
        <p:spPr bwMode="gray"/>
        <p:txBody>
          <a:bodyPr/>
          <a:lstStyle/>
          <a:p>
            <a:pPr lvl="8"/>
            <a:endParaRPr lang="en-US"/>
          </a:p>
        </p:txBody>
      </p:sp>
      <p:sp>
        <p:nvSpPr>
          <p:cNvPr id="5" name="Slide Number Placeholder 4"/>
          <p:cNvSpPr>
            <a:spLocks noGrp="1"/>
          </p:cNvSpPr>
          <p:nvPr>
            <p:ph type="sldNum" sz="quarter" idx="26"/>
          </p:nvPr>
        </p:nvSpPr>
        <p:spPr bwMode="gray"/>
        <p:txBody>
          <a:bodyPr/>
          <a:lstStyle/>
          <a:p>
            <a:r>
              <a:rPr lang="en-US"/>
              <a:t>Slide </a:t>
            </a:r>
            <a:fld id="{619F89D8-7AE3-494A-97F3-03D680869632}" type="slidenum">
              <a:rPr lang="en-US" smtClean="0"/>
              <a:pPr/>
              <a:t>‹#›</a:t>
            </a:fld>
            <a:endParaRPr lang="en-US"/>
          </a:p>
        </p:txBody>
      </p:sp>
      <p:sp>
        <p:nvSpPr>
          <p:cNvPr id="15"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6" name="Title 5"/>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2059727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4: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33326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1"/>
          </p:nvPr>
        </p:nvSpPr>
        <p:spPr bwMode="gray">
          <a:xfrm>
            <a:off x="6232344" y="1931198"/>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2"/>
          </p:nvPr>
        </p:nvSpPr>
        <p:spPr bwMode="gray">
          <a:xfrm>
            <a:off x="33326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quarter" idx="23"/>
          </p:nvPr>
        </p:nvSpPr>
        <p:spPr bwMode="gray">
          <a:xfrm>
            <a:off x="6232344" y="3737725"/>
            <a:ext cx="5621183" cy="1530893"/>
          </a:xfrm>
        </p:spPr>
        <p:txBody>
          <a:bodyPr lIns="0" tIns="0" rIns="0" bIns="0" anchor="ctr"/>
          <a:lstStyle>
            <a:lvl1pPr algn="ctr">
              <a:defRPr/>
            </a:lvl1pPr>
            <a:lvl2pPr algn="ctr">
              <a:defRPr/>
            </a:lvl2pPr>
            <a:lvl3pPr algn="ctr">
              <a:defRPr/>
            </a:lvl3pPr>
            <a:lvl4pPr algn="ctr">
              <a:defRPr/>
            </a:lvl4pPr>
            <a:lvl5pPr algn="ctr">
              <a:defRPr/>
            </a:lvl5pPr>
            <a:lvl6pPr algn="ctr">
              <a:defRPr/>
            </a:lvl6pPr>
            <a:lvl7pPr algn="ctr">
              <a:defRPr/>
            </a:lvl7pPr>
            <a:lvl8pPr algn="ctr">
              <a:defRPr/>
            </a:lvl8pPr>
            <a:lvl9pPr algn="ctr">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24"/>
          </p:nvPr>
        </p:nvSpPr>
        <p:spPr bwMode="gray">
          <a:xfrm>
            <a:off x="332367" y="5452639"/>
            <a:ext cx="11521160"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3" name="Straight Connector 22"/>
          <p:cNvCxnSpPr/>
          <p:nvPr userDrawn="1"/>
        </p:nvCxnSpPr>
        <p:spPr bwMode="gray">
          <a:xfrm>
            <a:off x="333527" y="359990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 name="Date Placeholder 2"/>
          <p:cNvSpPr>
            <a:spLocks noGrp="1"/>
          </p:cNvSpPr>
          <p:nvPr>
            <p:ph type="dt" sz="half" idx="25"/>
          </p:nvPr>
        </p:nvSpPr>
        <p:spPr bwMode="gray"/>
        <p:txBody>
          <a:bodyPr/>
          <a:lstStyle/>
          <a:p>
            <a:r>
              <a:rPr lang="en-US"/>
              <a:t>March 4, 2021</a:t>
            </a:r>
          </a:p>
        </p:txBody>
      </p:sp>
      <p:sp>
        <p:nvSpPr>
          <p:cNvPr id="4" name="Footer Placeholder 3"/>
          <p:cNvSpPr>
            <a:spLocks noGrp="1"/>
          </p:cNvSpPr>
          <p:nvPr>
            <p:ph type="ftr" sz="quarter" idx="26"/>
          </p:nvPr>
        </p:nvSpPr>
        <p:spPr bwMode="gray"/>
        <p:txBody>
          <a:bodyPr/>
          <a:lstStyle/>
          <a:p>
            <a:pPr lvl="8"/>
            <a:endParaRPr lang="en-US"/>
          </a:p>
        </p:txBody>
      </p:sp>
      <p:sp>
        <p:nvSpPr>
          <p:cNvPr id="5" name="Slide Number Placeholder 4"/>
          <p:cNvSpPr>
            <a:spLocks noGrp="1"/>
          </p:cNvSpPr>
          <p:nvPr>
            <p:ph type="sldNum" sz="quarter" idx="27"/>
          </p:nvPr>
        </p:nvSpPr>
        <p:spPr bwMode="gray"/>
        <p:txBody>
          <a:bodyPr/>
          <a:lstStyle/>
          <a:p>
            <a:r>
              <a:rPr lang="en-US"/>
              <a:t>Slide </a:t>
            </a:r>
            <a:fld id="{619F89D8-7AE3-494A-97F3-03D680869632}" type="slidenum">
              <a:rPr lang="en-US" smtClean="0"/>
              <a:pPr/>
              <a:t>‹#›</a:t>
            </a:fld>
            <a:endParaRPr lang="en-US"/>
          </a:p>
        </p:txBody>
      </p:sp>
      <p:cxnSp>
        <p:nvCxnSpPr>
          <p:cNvPr id="14" name="Straight Connector 13"/>
          <p:cNvCxnSpPr/>
          <p:nvPr userDrawn="1"/>
        </p:nvCxnSpPr>
        <p:spPr bwMode="gray">
          <a:xfrm>
            <a:off x="6095999" y="1931195"/>
            <a:ext cx="0" cy="333742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948795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5: Title (2) &amp;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91932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993324"/>
            <a:ext cx="5361993" cy="191932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1798" y="3921919"/>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582" y="1931196"/>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582" y="3993324"/>
            <a:ext cx="1918800" cy="191932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r>
              <a:rPr lang="en-US"/>
              <a:t>March 4, 2021</a:t>
            </a:r>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43698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6: Title (3)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1"/>
          </p:nvPr>
        </p:nvSpPr>
        <p:spPr bwMode="gray">
          <a:xfrm>
            <a:off x="2553273" y="3305949"/>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680702"/>
            <a:ext cx="5361993" cy="123194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866" y="3235138"/>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0" name="Straight Connector 19"/>
          <p:cNvCxnSpPr/>
          <p:nvPr userDrawn="1"/>
        </p:nvCxnSpPr>
        <p:spPr bwMode="gray">
          <a:xfrm>
            <a:off x="2554866" y="4611082"/>
            <a:ext cx="53604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userDrawn="1">
            <p:ph sz="quarter" idx="23"/>
          </p:nvPr>
        </p:nvSpPr>
        <p:spPr bwMode="gray">
          <a:xfrm>
            <a:off x="332367" y="1931196"/>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userDrawn="1">
            <p:ph sz="quarter" idx="24"/>
          </p:nvPr>
        </p:nvSpPr>
        <p:spPr bwMode="gray">
          <a:xfrm>
            <a:off x="332367" y="3305949"/>
            <a:ext cx="1917663"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userDrawn="1">
            <p:ph sz="quarter" idx="25"/>
          </p:nvPr>
        </p:nvSpPr>
        <p:spPr bwMode="gray">
          <a:xfrm>
            <a:off x="332367" y="4680702"/>
            <a:ext cx="1917663"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userDrawn="1">
            <p:ph type="dt" sz="half" idx="26"/>
          </p:nvPr>
        </p:nvSpPr>
        <p:spPr bwMode="gray"/>
        <p:txBody>
          <a:bodyPr/>
          <a:lstStyle/>
          <a:p>
            <a:r>
              <a:rPr lang="en-US"/>
              <a:t>March 4, 2021</a:t>
            </a:r>
          </a:p>
        </p:txBody>
      </p:sp>
      <p:sp>
        <p:nvSpPr>
          <p:cNvPr id="4" name="Footer Placeholder 3"/>
          <p:cNvSpPr>
            <a:spLocks noGrp="1"/>
          </p:cNvSpPr>
          <p:nvPr userDrawn="1">
            <p:ph type="ftr" sz="quarter" idx="27"/>
          </p:nvPr>
        </p:nvSpPr>
        <p:spPr bwMode="gray"/>
        <p:txBody>
          <a:bodyPr/>
          <a:lstStyle/>
          <a:p>
            <a:pPr lvl="8"/>
            <a:endParaRPr lang="en-US"/>
          </a:p>
        </p:txBody>
      </p:sp>
      <p:sp>
        <p:nvSpPr>
          <p:cNvPr id="5" name="Slide Number Placeholder 4"/>
          <p:cNvSpPr>
            <a:spLocks noGrp="1"/>
          </p:cNvSpPr>
          <p:nvPr userDrawn="1">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1" name="Content Placeholder 3"/>
          <p:cNvSpPr>
            <a:spLocks noGrp="1"/>
          </p:cNvSpPr>
          <p:nvPr>
            <p:ph sz="quarter" idx="29"/>
          </p:nvPr>
        </p:nvSpPr>
        <p:spPr bwMode="gray">
          <a:xfrm>
            <a:off x="8218509" y="1931196"/>
            <a:ext cx="3634755" cy="3981448"/>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9392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7: Title (3) &amp; Content (3)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90431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2897645"/>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2959784"/>
            <a:ext cx="9299991" cy="90431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5008334"/>
            <a:ext cx="9299991" cy="90431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95050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90431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2959784"/>
            <a:ext cx="1916766" cy="904310"/>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5008334"/>
            <a:ext cx="1916766" cy="904310"/>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6"/>
          </p:nvPr>
        </p:nvSpPr>
        <p:spPr bwMode="gray"/>
        <p:txBody>
          <a:bodyPr/>
          <a:lstStyle/>
          <a:p>
            <a:r>
              <a:rPr lang="en-US"/>
              <a:t>March 4, 2021</a:t>
            </a:r>
          </a:p>
        </p:txBody>
      </p:sp>
      <p:sp>
        <p:nvSpPr>
          <p:cNvPr id="4" name="Footer Placeholder 3"/>
          <p:cNvSpPr>
            <a:spLocks noGrp="1"/>
          </p:cNvSpPr>
          <p:nvPr>
            <p:ph type="ftr" sz="quarter" idx="27"/>
          </p:nvPr>
        </p:nvSpPr>
        <p:spPr bwMode="gray"/>
        <p:txBody>
          <a:bodyPr/>
          <a:lstStyle/>
          <a:p>
            <a:pPr lvl="8"/>
            <a:endParaRPr lang="en-US"/>
          </a:p>
        </p:txBody>
      </p:sp>
      <p:sp>
        <p:nvSpPr>
          <p:cNvPr id="5" name="Slide Number Placeholder 4"/>
          <p:cNvSpPr>
            <a:spLocks noGrp="1"/>
          </p:cNvSpPr>
          <p:nvPr>
            <p:ph type="sldNum" sz="quarter" idx="28"/>
          </p:nvPr>
        </p:nvSpPr>
        <p:spPr bwMode="gray"/>
        <p:txBody>
          <a:bodyPr/>
          <a:lstStyle/>
          <a:p>
            <a:r>
              <a:rPr lang="en-US"/>
              <a:t>Slide </a:t>
            </a:r>
            <a:fld id="{619F89D8-7AE3-494A-97F3-03D680869632}" type="slidenum">
              <a:rPr lang="en-US" smtClean="0"/>
              <a:pPr/>
              <a:t>‹#›</a:t>
            </a:fld>
            <a:endParaRPr lang="en-US"/>
          </a:p>
        </p:txBody>
      </p:sp>
      <p:sp>
        <p:nvSpPr>
          <p:cNvPr id="16"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5" name="Content Placeholder 3">
            <a:extLst>
              <a:ext uri="{FF2B5EF4-FFF2-40B4-BE49-F238E27FC236}">
                <a16:creationId xmlns:a16="http://schemas.microsoft.com/office/drawing/2014/main" id="{503435F5-491D-4553-B17E-FB956FCBCBBC}"/>
              </a:ext>
            </a:extLst>
          </p:cNvPr>
          <p:cNvSpPr>
            <a:spLocks noGrp="1"/>
          </p:cNvSpPr>
          <p:nvPr>
            <p:ph sz="quarter" idx="29"/>
          </p:nvPr>
        </p:nvSpPr>
        <p:spPr bwMode="gray">
          <a:xfrm>
            <a:off x="2553273" y="3988372"/>
            <a:ext cx="9299991" cy="90431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a:extLst>
              <a:ext uri="{FF2B5EF4-FFF2-40B4-BE49-F238E27FC236}">
                <a16:creationId xmlns:a16="http://schemas.microsoft.com/office/drawing/2014/main" id="{9B59B16F-4779-46CA-923E-A15821B3AC97}"/>
              </a:ext>
            </a:extLst>
          </p:cNvPr>
          <p:cNvSpPr>
            <a:spLocks noGrp="1"/>
          </p:cNvSpPr>
          <p:nvPr>
            <p:ph sz="quarter" idx="30"/>
          </p:nvPr>
        </p:nvSpPr>
        <p:spPr bwMode="gray">
          <a:xfrm>
            <a:off x="333264" y="3988372"/>
            <a:ext cx="1916766" cy="904310"/>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a:extLst>
              <a:ext uri="{FF2B5EF4-FFF2-40B4-BE49-F238E27FC236}">
                <a16:creationId xmlns:a16="http://schemas.microsoft.com/office/drawing/2014/main" id="{B837C483-EB87-4998-B77D-080D46610ABF}"/>
              </a:ext>
            </a:extLst>
          </p:cNvPr>
          <p:cNvCxnSpPr/>
          <p:nvPr userDrawn="1"/>
        </p:nvCxnSpPr>
        <p:spPr bwMode="gray">
          <a:xfrm>
            <a:off x="2554465" y="3926233"/>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9881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48: Title (3) &amp; Content (3) &amp; Box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2" name="Content Placeholder 3"/>
          <p:cNvSpPr>
            <a:spLocks noGrp="1"/>
          </p:cNvSpPr>
          <p:nvPr>
            <p:ph sz="quarter" idx="20"/>
          </p:nvPr>
        </p:nvSpPr>
        <p:spPr bwMode="gray">
          <a:xfrm>
            <a:off x="2553273" y="1931196"/>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2554464" y="3019668"/>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Content Placeholder 3"/>
          <p:cNvSpPr>
            <a:spLocks noGrp="1"/>
          </p:cNvSpPr>
          <p:nvPr>
            <p:ph sz="quarter" idx="21"/>
          </p:nvPr>
        </p:nvSpPr>
        <p:spPr bwMode="gray">
          <a:xfrm>
            <a:off x="2553273" y="3091669"/>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2"/>
          </p:nvPr>
        </p:nvSpPr>
        <p:spPr bwMode="gray">
          <a:xfrm>
            <a:off x="2553273" y="4252143"/>
            <a:ext cx="9299991" cy="1016472"/>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2554464" y="4180142"/>
            <a:ext cx="9298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35" name="Content Placeholder 3"/>
          <p:cNvSpPr>
            <a:spLocks noGrp="1"/>
          </p:cNvSpPr>
          <p:nvPr>
            <p:ph sz="quarter" idx="23"/>
          </p:nvPr>
        </p:nvSpPr>
        <p:spPr bwMode="gray">
          <a:xfrm>
            <a:off x="333264" y="1931196"/>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4"/>
          </p:nvPr>
        </p:nvSpPr>
        <p:spPr bwMode="gray">
          <a:xfrm>
            <a:off x="333264" y="3091669"/>
            <a:ext cx="1916766" cy="101647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25"/>
          </p:nvPr>
        </p:nvSpPr>
        <p:spPr bwMode="gray">
          <a:xfrm>
            <a:off x="333264" y="4252143"/>
            <a:ext cx="1916766" cy="101647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1"/>
          <p:cNvSpPr>
            <a:spLocks noGrp="1"/>
          </p:cNvSpPr>
          <p:nvPr>
            <p:ph type="body" sz="quarter" idx="26"/>
          </p:nvPr>
        </p:nvSpPr>
        <p:spPr bwMode="gray">
          <a:xfrm>
            <a:off x="332366"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27"/>
          </p:nvPr>
        </p:nvSpPr>
        <p:spPr bwMode="gray"/>
        <p:txBody>
          <a:bodyPr/>
          <a:lstStyle/>
          <a:p>
            <a:r>
              <a:rPr lang="en-US"/>
              <a:t>March 4, 2021</a:t>
            </a:r>
          </a:p>
        </p:txBody>
      </p:sp>
      <p:sp>
        <p:nvSpPr>
          <p:cNvPr id="4" name="Footer Placeholder 3"/>
          <p:cNvSpPr>
            <a:spLocks noGrp="1"/>
          </p:cNvSpPr>
          <p:nvPr>
            <p:ph type="ftr" sz="quarter" idx="28"/>
          </p:nvPr>
        </p:nvSpPr>
        <p:spPr bwMode="gray"/>
        <p:txBody>
          <a:bodyPr/>
          <a:lstStyle/>
          <a:p>
            <a:pPr lvl="8"/>
            <a:endParaRPr lang="en-US"/>
          </a:p>
        </p:txBody>
      </p:sp>
      <p:sp>
        <p:nvSpPr>
          <p:cNvPr id="5" name="Slide Number Placeholder 4"/>
          <p:cNvSpPr>
            <a:spLocks noGrp="1"/>
          </p:cNvSpPr>
          <p:nvPr>
            <p:ph type="sldNum" sz="quarter" idx="29"/>
          </p:nvPr>
        </p:nvSpPr>
        <p:spPr bwMode="gray"/>
        <p:txBody>
          <a:bodyPr/>
          <a:lstStyle/>
          <a:p>
            <a:r>
              <a:rPr lang="en-US"/>
              <a:t>Slide </a:t>
            </a:r>
            <a:fld id="{619F89D8-7AE3-494A-97F3-03D680869632}" type="slidenum">
              <a:rPr lang="en-US" smtClean="0"/>
              <a:pPr/>
              <a:t>‹#›</a:t>
            </a:fld>
            <a:endParaRPr lang="en-US"/>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35014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9: Title (4) &amp; Content (4) &amp; Box / Numbers">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818583" y="1931198"/>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21"/>
          </p:nvPr>
        </p:nvSpPr>
        <p:spPr bwMode="gray">
          <a:xfrm>
            <a:off x="2818583" y="2801554"/>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2"/>
          </p:nvPr>
        </p:nvSpPr>
        <p:spPr bwMode="gray">
          <a:xfrm>
            <a:off x="2818583" y="3671910"/>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6"/>
          </p:nvPr>
        </p:nvSpPr>
        <p:spPr bwMode="gray">
          <a:xfrm>
            <a:off x="332367" y="5452639"/>
            <a:ext cx="11520898"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Content Placeholder 3"/>
          <p:cNvSpPr>
            <a:spLocks noGrp="1"/>
          </p:cNvSpPr>
          <p:nvPr>
            <p:ph sz="quarter" idx="27"/>
          </p:nvPr>
        </p:nvSpPr>
        <p:spPr bwMode="gray">
          <a:xfrm>
            <a:off x="332582" y="1931198"/>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
          <p:cNvSpPr>
            <a:spLocks noGrp="1"/>
          </p:cNvSpPr>
          <p:nvPr>
            <p:ph sz="quarter" idx="28"/>
          </p:nvPr>
        </p:nvSpPr>
        <p:spPr bwMode="gray">
          <a:xfrm>
            <a:off x="332582" y="2801554"/>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
          <p:cNvSpPr>
            <a:spLocks noGrp="1"/>
          </p:cNvSpPr>
          <p:nvPr>
            <p:ph sz="quarter" idx="29"/>
          </p:nvPr>
        </p:nvSpPr>
        <p:spPr bwMode="gray">
          <a:xfrm>
            <a:off x="332582" y="3671910"/>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7" name="Content Placeholder 3"/>
          <p:cNvSpPr>
            <a:spLocks noGrp="1"/>
          </p:cNvSpPr>
          <p:nvPr>
            <p:ph sz="quarter" idx="30"/>
          </p:nvPr>
        </p:nvSpPr>
        <p:spPr bwMode="gray">
          <a:xfrm>
            <a:off x="2818583" y="4542265"/>
            <a:ext cx="9034681" cy="726353"/>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Content Placeholder 3"/>
          <p:cNvSpPr>
            <a:spLocks noGrp="1"/>
          </p:cNvSpPr>
          <p:nvPr>
            <p:ph sz="quarter" idx="31"/>
          </p:nvPr>
        </p:nvSpPr>
        <p:spPr bwMode="gray">
          <a:xfrm>
            <a:off x="332582" y="4542265"/>
            <a:ext cx="1535879" cy="726353"/>
          </a:xfrm>
        </p:spPr>
        <p:txBody>
          <a:bodyPr lIns="0" tIns="0" rIns="0" bIns="0" anchor="ctr"/>
          <a:lstStyle>
            <a:lvl1pPr marL="1588" indent="0">
              <a:buFont typeface="Arial" panose="020B0604020202020204" pitchFamily="34" charset="0"/>
              <a:buNone/>
              <a:defRPr b="1">
                <a:solidFill>
                  <a:schemeClr val="tx2"/>
                </a:solidFill>
              </a:defRPr>
            </a:lvl1pPr>
            <a:lvl2pPr marL="1588" indent="0">
              <a:buNone/>
              <a:defRPr b="1">
                <a:solidFill>
                  <a:schemeClr val="tx2"/>
                </a:solidFill>
              </a:defRPr>
            </a:lvl2pPr>
            <a:lvl3pPr marL="1588" indent="0">
              <a:buNone/>
              <a:defRPr b="1">
                <a:solidFill>
                  <a:schemeClr val="tx2"/>
                </a:solidFill>
              </a:defRPr>
            </a:lvl3pPr>
            <a:lvl4pPr marL="1588" indent="0">
              <a:buNone/>
              <a:defRPr b="1">
                <a:solidFill>
                  <a:schemeClr val="tx2"/>
                </a:solidFill>
              </a:defRPr>
            </a:lvl4pPr>
            <a:lvl5pPr marL="1588" indent="0">
              <a:buNone/>
              <a:defRPr b="1">
                <a:solidFill>
                  <a:schemeClr val="tx2"/>
                </a:solidFill>
              </a:defRPr>
            </a:lvl5pPr>
            <a:lvl6pPr marL="1588" indent="0">
              <a:buNone/>
              <a:defRPr b="1">
                <a:solidFill>
                  <a:schemeClr val="tx2"/>
                </a:solidFill>
              </a:defRPr>
            </a:lvl6pPr>
            <a:lvl7pPr marL="1588" indent="0">
              <a:buNone/>
              <a:defRPr b="1">
                <a:solidFill>
                  <a:schemeClr val="tx2"/>
                </a:solidFill>
              </a:defRPr>
            </a:lvl7pPr>
            <a:lvl8pPr marL="1588" indent="0">
              <a:buNone/>
              <a:defRPr b="1">
                <a:solidFill>
                  <a:schemeClr val="tx2"/>
                </a:solidFill>
              </a:defRPr>
            </a:lvl8pPr>
            <a:lvl9pPr marL="1588"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1" name="Straight Connector 13"/>
          <p:cNvCxnSpPr/>
          <p:nvPr userDrawn="1"/>
        </p:nvCxnSpPr>
        <p:spPr bwMode="gray">
          <a:xfrm>
            <a:off x="1999567" y="4542262"/>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2" name="Straight Connector 14"/>
          <p:cNvCxnSpPr/>
          <p:nvPr userDrawn="1"/>
        </p:nvCxnSpPr>
        <p:spPr bwMode="gray">
          <a:xfrm>
            <a:off x="1778487" y="4905862"/>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8" name="Straight Connector 13"/>
          <p:cNvCxnSpPr/>
          <p:nvPr userDrawn="1"/>
        </p:nvCxnSpPr>
        <p:spPr bwMode="gray">
          <a:xfrm>
            <a:off x="1999568" y="3671624"/>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49" name="Straight Connector 14"/>
          <p:cNvCxnSpPr/>
          <p:nvPr userDrawn="1"/>
        </p:nvCxnSpPr>
        <p:spPr bwMode="gray">
          <a:xfrm>
            <a:off x="1778487" y="4035224"/>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51" name="Straight Connector 50"/>
          <p:cNvCxnSpPr/>
          <p:nvPr userDrawn="1"/>
        </p:nvCxnSpPr>
        <p:spPr bwMode="gray">
          <a:xfrm>
            <a:off x="2072427" y="272954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2" name="Straight Connector 51"/>
          <p:cNvCxnSpPr/>
          <p:nvPr userDrawn="1"/>
        </p:nvCxnSpPr>
        <p:spPr bwMode="gray">
          <a:xfrm>
            <a:off x="2072427" y="3599904"/>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53" name="Straight Connector 52"/>
          <p:cNvCxnSpPr/>
          <p:nvPr userDrawn="1"/>
        </p:nvCxnSpPr>
        <p:spPr bwMode="gray">
          <a:xfrm>
            <a:off x="2072427" y="4470259"/>
            <a:ext cx="9780837"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 name="Date Placeholder 3"/>
          <p:cNvSpPr>
            <a:spLocks noGrp="1"/>
          </p:cNvSpPr>
          <p:nvPr userDrawn="1">
            <p:ph type="dt" sz="half" idx="32"/>
          </p:nvPr>
        </p:nvSpPr>
        <p:spPr bwMode="gray"/>
        <p:txBody>
          <a:bodyPr/>
          <a:lstStyle/>
          <a:p>
            <a:r>
              <a:rPr lang="en-US"/>
              <a:t>March 4, 2021</a:t>
            </a:r>
          </a:p>
        </p:txBody>
      </p:sp>
      <p:sp>
        <p:nvSpPr>
          <p:cNvPr id="5" name="Footer Placeholder 4"/>
          <p:cNvSpPr>
            <a:spLocks noGrp="1"/>
          </p:cNvSpPr>
          <p:nvPr userDrawn="1">
            <p:ph type="ftr" sz="quarter" idx="33"/>
          </p:nvPr>
        </p:nvSpPr>
        <p:spPr bwMode="gray"/>
        <p:txBody>
          <a:bodyPr/>
          <a:lstStyle/>
          <a:p>
            <a:pPr lvl="8"/>
            <a:endParaRPr lang="en-US"/>
          </a:p>
        </p:txBody>
      </p:sp>
      <p:sp>
        <p:nvSpPr>
          <p:cNvPr id="6" name="Slide Number Placeholder 5"/>
          <p:cNvSpPr>
            <a:spLocks noGrp="1"/>
          </p:cNvSpPr>
          <p:nvPr userDrawn="1">
            <p:ph type="sldNum" sz="quarter" idx="34"/>
          </p:nvPr>
        </p:nvSpPr>
        <p:spPr bwMode="gray"/>
        <p:txBody>
          <a:bodyPr/>
          <a:lstStyle/>
          <a:p>
            <a:r>
              <a:rPr lang="en-US"/>
              <a:t>Slide </a:t>
            </a:r>
            <a:fld id="{619F89D8-7AE3-494A-97F3-03D680869632}" type="slidenum">
              <a:rPr lang="en-US" smtClean="0"/>
              <a:pPr/>
              <a:t>‹#›</a:t>
            </a:fld>
            <a:endParaRPr lang="en-US"/>
          </a:p>
        </p:txBody>
      </p:sp>
      <p:sp>
        <p:nvSpPr>
          <p:cNvPr id="34" name="Subtitle 2"/>
          <p:cNvSpPr>
            <a:spLocks noGrp="1"/>
          </p:cNvSpPr>
          <p:nvPr userDrawn="1">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Content Placeholder 6"/>
          <p:cNvSpPr>
            <a:spLocks noGrp="1"/>
          </p:cNvSpPr>
          <p:nvPr>
            <p:ph sz="quarter" idx="35" hasCustomPrompt="1"/>
          </p:nvPr>
        </p:nvSpPr>
        <p:spPr>
          <a:xfrm>
            <a:off x="2218077" y="2100061"/>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1</a:t>
            </a:r>
            <a:endParaRPr lang="en-GB"/>
          </a:p>
        </p:txBody>
      </p:sp>
      <p:sp>
        <p:nvSpPr>
          <p:cNvPr id="54" name="Content Placeholder 6"/>
          <p:cNvSpPr>
            <a:spLocks noGrp="1"/>
          </p:cNvSpPr>
          <p:nvPr>
            <p:ph sz="quarter" idx="36" hasCustomPrompt="1"/>
          </p:nvPr>
        </p:nvSpPr>
        <p:spPr>
          <a:xfrm>
            <a:off x="2218077" y="297198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2</a:t>
            </a:r>
            <a:endParaRPr lang="en-GB"/>
          </a:p>
        </p:txBody>
      </p:sp>
      <p:sp>
        <p:nvSpPr>
          <p:cNvPr id="55" name="Content Placeholder 6"/>
          <p:cNvSpPr>
            <a:spLocks noGrp="1"/>
          </p:cNvSpPr>
          <p:nvPr>
            <p:ph sz="quarter" idx="37" hasCustomPrompt="1"/>
          </p:nvPr>
        </p:nvSpPr>
        <p:spPr>
          <a:xfrm>
            <a:off x="2218077" y="3843416"/>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3</a:t>
            </a:r>
            <a:endParaRPr lang="en-GB"/>
          </a:p>
        </p:txBody>
      </p:sp>
      <p:sp>
        <p:nvSpPr>
          <p:cNvPr id="56" name="Content Placeholder 6"/>
          <p:cNvSpPr>
            <a:spLocks noGrp="1"/>
          </p:cNvSpPr>
          <p:nvPr>
            <p:ph sz="quarter" idx="38" hasCustomPrompt="1"/>
          </p:nvPr>
        </p:nvSpPr>
        <p:spPr>
          <a:xfrm>
            <a:off x="2218077" y="4708172"/>
            <a:ext cx="385200" cy="385200"/>
          </a:xfrm>
          <a:prstGeom prst="ellipse">
            <a:avLst/>
          </a:prstGeom>
          <a:solidFill>
            <a:schemeClr val="tx2"/>
          </a:solidFill>
        </p:spPr>
        <p:txBody>
          <a:bodyPr anchor="ctr" anchorCtr="0"/>
          <a:lstStyle>
            <a:lvl1pPr algn="ctr">
              <a:spcBef>
                <a:spcPts val="0"/>
              </a:spcBef>
              <a:defRPr sz="2000" b="1">
                <a:solidFill>
                  <a:schemeClr val="bg1"/>
                </a:solidFill>
                <a:latin typeface="ABBvoice" panose="020D0603020503020204" pitchFamily="34" charset="0"/>
                <a:ea typeface="ABBvoice" panose="020D0603020503020204" pitchFamily="34" charset="0"/>
                <a:cs typeface="ABBvoice" panose="020D0603020503020204" pitchFamily="34" charset="0"/>
              </a:defRPr>
            </a:lvl1pPr>
          </a:lstStyle>
          <a:p>
            <a:pPr lvl="0"/>
            <a:r>
              <a:rPr lang="pl-PL"/>
              <a:t>4</a:t>
            </a:r>
            <a:endParaRPr lang="en-GB"/>
          </a:p>
        </p:txBody>
      </p:sp>
      <p:cxnSp>
        <p:nvCxnSpPr>
          <p:cNvPr id="29" name="Straight Connector 13">
            <a:extLst>
              <a:ext uri="{FF2B5EF4-FFF2-40B4-BE49-F238E27FC236}">
                <a16:creationId xmlns:a16="http://schemas.microsoft.com/office/drawing/2014/main" id="{07024B56-75F8-47DC-A217-683C1BDC6C64}"/>
              </a:ext>
            </a:extLst>
          </p:cNvPr>
          <p:cNvCxnSpPr/>
          <p:nvPr userDrawn="1"/>
        </p:nvCxnSpPr>
        <p:spPr bwMode="gray">
          <a:xfrm>
            <a:off x="1999567" y="2800986"/>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0" name="Straight Connector 14">
            <a:extLst>
              <a:ext uri="{FF2B5EF4-FFF2-40B4-BE49-F238E27FC236}">
                <a16:creationId xmlns:a16="http://schemas.microsoft.com/office/drawing/2014/main" id="{3FADD552-DD17-40B4-BA7D-DDDE41EFD7FC}"/>
              </a:ext>
            </a:extLst>
          </p:cNvPr>
          <p:cNvCxnSpPr/>
          <p:nvPr userDrawn="1"/>
        </p:nvCxnSpPr>
        <p:spPr bwMode="gray">
          <a:xfrm>
            <a:off x="1779054" y="3164586"/>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1" name="Straight Connector 13">
            <a:extLst>
              <a:ext uri="{FF2B5EF4-FFF2-40B4-BE49-F238E27FC236}">
                <a16:creationId xmlns:a16="http://schemas.microsoft.com/office/drawing/2014/main" id="{5523BA04-C2BA-405D-BC24-227CF72333F9}"/>
              </a:ext>
            </a:extLst>
          </p:cNvPr>
          <p:cNvCxnSpPr/>
          <p:nvPr userDrawn="1"/>
        </p:nvCxnSpPr>
        <p:spPr bwMode="gray">
          <a:xfrm>
            <a:off x="1999567" y="1930348"/>
            <a:ext cx="0" cy="72720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14">
            <a:extLst>
              <a:ext uri="{FF2B5EF4-FFF2-40B4-BE49-F238E27FC236}">
                <a16:creationId xmlns:a16="http://schemas.microsoft.com/office/drawing/2014/main" id="{CB53CC5C-A050-42FD-ACCF-CC93E5938F7E}"/>
              </a:ext>
            </a:extLst>
          </p:cNvPr>
          <p:cNvCxnSpPr/>
          <p:nvPr userDrawn="1"/>
        </p:nvCxnSpPr>
        <p:spPr bwMode="gray">
          <a:xfrm>
            <a:off x="1779502" y="2293948"/>
            <a:ext cx="220918" cy="0"/>
          </a:xfrm>
          <a:prstGeom prst="line">
            <a:avLst/>
          </a:prstGeom>
          <a:solidFill>
            <a:schemeClr val="bg1"/>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100539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0: Matrix">
    <p:spTree>
      <p:nvGrpSpPr>
        <p:cNvPr id="1" name=""/>
        <p:cNvGrpSpPr/>
        <p:nvPr/>
      </p:nvGrpSpPr>
      <p:grpSpPr>
        <a:xfrm>
          <a:off x="0" y="0"/>
          <a:ext cx="0" cy="0"/>
          <a:chOff x="0" y="0"/>
          <a:chExt cx="0" cy="0"/>
        </a:xfrm>
      </p:grpSpPr>
      <p:sp>
        <p:nvSpPr>
          <p:cNvPr id="37" name="Text Placeholder 11"/>
          <p:cNvSpPr>
            <a:spLocks noGrp="1"/>
          </p:cNvSpPr>
          <p:nvPr>
            <p:ph type="body" sz="quarter" idx="26"/>
          </p:nvPr>
        </p:nvSpPr>
        <p:spPr bwMode="gray">
          <a:xfrm>
            <a:off x="2553272" y="1931194"/>
            <a:ext cx="289909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8" name="Text Placeholder 11"/>
          <p:cNvSpPr>
            <a:spLocks noGrp="1"/>
          </p:cNvSpPr>
          <p:nvPr>
            <p:ph type="body" sz="quarter" idx="27"/>
          </p:nvPr>
        </p:nvSpPr>
        <p:spPr bwMode="gray">
          <a:xfrm>
            <a:off x="575494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9" name="Text Placeholder 11"/>
          <p:cNvSpPr>
            <a:spLocks noGrp="1"/>
          </p:cNvSpPr>
          <p:nvPr>
            <p:ph type="body" sz="quarter" idx="28"/>
          </p:nvPr>
        </p:nvSpPr>
        <p:spPr bwMode="gray">
          <a:xfrm>
            <a:off x="8955527" y="1931194"/>
            <a:ext cx="2898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11" name="Content Placeholder 3"/>
          <p:cNvSpPr>
            <a:spLocks noGrp="1"/>
          </p:cNvSpPr>
          <p:nvPr>
            <p:ph sz="quarter" idx="20"/>
          </p:nvPr>
        </p:nvSpPr>
        <p:spPr bwMode="gray">
          <a:xfrm>
            <a:off x="2553272" y="2317748"/>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
          <p:cNvSpPr>
            <a:spLocks noGrp="1"/>
          </p:cNvSpPr>
          <p:nvPr>
            <p:ph sz="quarter" idx="21"/>
          </p:nvPr>
        </p:nvSpPr>
        <p:spPr bwMode="gray">
          <a:xfrm>
            <a:off x="2553273" y="3573970"/>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
          <p:cNvSpPr>
            <a:spLocks noGrp="1"/>
          </p:cNvSpPr>
          <p:nvPr>
            <p:ph sz="quarter" idx="22"/>
          </p:nvPr>
        </p:nvSpPr>
        <p:spPr bwMode="gray">
          <a:xfrm>
            <a:off x="2553273" y="4830194"/>
            <a:ext cx="2903803"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3"/>
          </p:nvPr>
        </p:nvSpPr>
        <p:spPr bwMode="gray">
          <a:xfrm>
            <a:off x="333264" y="1931196"/>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24"/>
          </p:nvPr>
        </p:nvSpPr>
        <p:spPr bwMode="gray">
          <a:xfrm>
            <a:off x="333264" y="3305949"/>
            <a:ext cx="1916766" cy="1231942"/>
          </a:xfrm>
        </p:spPr>
        <p:txBody>
          <a:bodyPr lIns="0" tIns="0" rIns="0" bIns="0" anchor="ctr"/>
          <a:lstStyle>
            <a:lvl1pPr marL="0" indent="0" algn="l">
              <a:buFont typeface="Arial" panose="020B0604020202020204" pitchFamily="34" charset="0"/>
              <a:buNone/>
              <a:defRPr b="1">
                <a:solidFill>
                  <a:schemeClr val="tx2"/>
                </a:solidFill>
              </a:defRPr>
            </a:lvl1pPr>
            <a:lvl2pPr marL="0" indent="0" algn="l">
              <a:buNone/>
              <a:defRPr b="1">
                <a:solidFill>
                  <a:schemeClr val="tx2"/>
                </a:solidFill>
              </a:defRPr>
            </a:lvl2pPr>
            <a:lvl3pPr marL="0" indent="0" algn="l">
              <a:buNone/>
              <a:defRPr b="1">
                <a:solidFill>
                  <a:schemeClr val="tx2"/>
                </a:solidFill>
              </a:defRPr>
            </a:lvl3pPr>
            <a:lvl4pPr marL="0" indent="0" algn="l">
              <a:buNone/>
              <a:defRPr b="1">
                <a:solidFill>
                  <a:schemeClr val="tx2"/>
                </a:solidFill>
              </a:defRPr>
            </a:lvl4pPr>
            <a:lvl5pPr marL="0" indent="0" algn="l">
              <a:buNone/>
              <a:defRPr b="1">
                <a:solidFill>
                  <a:schemeClr val="tx2"/>
                </a:solidFill>
              </a:defRPr>
            </a:lvl5pPr>
            <a:lvl6pPr marL="0" indent="0" algn="l">
              <a:buNone/>
              <a:defRPr b="1">
                <a:solidFill>
                  <a:schemeClr val="tx2"/>
                </a:solidFill>
              </a:defRPr>
            </a:lvl6pPr>
            <a:lvl7pPr marL="0" indent="0" algn="l">
              <a:buNone/>
              <a:defRPr b="1">
                <a:solidFill>
                  <a:schemeClr val="tx2"/>
                </a:solidFill>
              </a:defRPr>
            </a:lvl7pPr>
            <a:lvl8pPr marL="0" indent="0" algn="l">
              <a:buNone/>
              <a:defRPr b="1">
                <a:solidFill>
                  <a:schemeClr val="tx2"/>
                </a:solidFill>
              </a:defRPr>
            </a:lvl8pPr>
            <a:lvl9pPr marL="0" indent="0" algn="l">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25"/>
          </p:nvPr>
        </p:nvSpPr>
        <p:spPr bwMode="gray">
          <a:xfrm>
            <a:off x="333264" y="4680702"/>
            <a:ext cx="1916766" cy="1231942"/>
          </a:xfrm>
        </p:spPr>
        <p:txBody>
          <a:bodyPr lIns="0" tIns="0" rIns="0" bIns="0" anchor="ctr"/>
          <a:lstStyle>
            <a:lvl1pPr marL="0" indent="0">
              <a:buFont typeface="Arial" panose="020B0604020202020204" pitchFamily="34" charset="0"/>
              <a:buNone/>
              <a:defRPr b="1">
                <a:solidFill>
                  <a:schemeClr val="tx2"/>
                </a:solidFill>
              </a:defRPr>
            </a:lvl1pPr>
            <a:lvl2pPr marL="0" indent="0">
              <a:buNone/>
              <a:defRPr b="1">
                <a:solidFill>
                  <a:schemeClr val="tx2"/>
                </a:solidFill>
              </a:defRPr>
            </a:lvl2pPr>
            <a:lvl3pPr marL="0" indent="0">
              <a:buNone/>
              <a:defRPr b="1">
                <a:solidFill>
                  <a:schemeClr val="tx2"/>
                </a:solidFill>
              </a:defRPr>
            </a:lvl3pPr>
            <a:lvl4pPr marL="0" indent="0">
              <a:buNone/>
              <a:defRPr b="1">
                <a:solidFill>
                  <a:schemeClr val="tx2"/>
                </a:solidFill>
              </a:defRPr>
            </a:lvl4pPr>
            <a:lvl5pPr marL="0" indent="0">
              <a:buNone/>
              <a:defRPr b="1">
                <a:solidFill>
                  <a:schemeClr val="tx2"/>
                </a:solidFill>
              </a:defRPr>
            </a:lvl5pPr>
            <a:lvl6pPr marL="0" indent="0">
              <a:buNone/>
              <a:defRPr b="1">
                <a:solidFill>
                  <a:schemeClr val="tx2"/>
                </a:solidFill>
              </a:defRPr>
            </a:lvl6pPr>
            <a:lvl7pPr marL="0" indent="0">
              <a:buNone/>
              <a:defRPr b="1">
                <a:solidFill>
                  <a:schemeClr val="tx2"/>
                </a:solidFill>
              </a:defRPr>
            </a:lvl7pPr>
            <a:lvl8pPr marL="0" indent="0">
              <a:buNone/>
              <a:defRPr b="1">
                <a:solidFill>
                  <a:schemeClr val="tx2"/>
                </a:solidFill>
              </a:defRPr>
            </a:lvl8pPr>
            <a:lvl9pPr marL="0" indent="0">
              <a:buNone/>
              <a:defRPr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8" name="Straight Connector 27"/>
          <p:cNvCxnSpPr/>
          <p:nvPr userDrawn="1"/>
        </p:nvCxnSpPr>
        <p:spPr bwMode="gray">
          <a:xfrm>
            <a:off x="2553272"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2550359"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0" name="Straight Connector 29"/>
          <p:cNvCxnSpPr/>
          <p:nvPr userDrawn="1"/>
        </p:nvCxnSpPr>
        <p:spPr bwMode="gray">
          <a:xfrm>
            <a:off x="2550359"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1" name="Straight Connector 30"/>
          <p:cNvCxnSpPr/>
          <p:nvPr userDrawn="1"/>
        </p:nvCxnSpPr>
        <p:spPr bwMode="gray">
          <a:xfrm>
            <a:off x="5754400"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2" name="Straight Connector 31"/>
          <p:cNvCxnSpPr/>
          <p:nvPr userDrawn="1"/>
        </p:nvCxnSpPr>
        <p:spPr bwMode="gray">
          <a:xfrm>
            <a:off x="5752943"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3" name="Straight Connector 32"/>
          <p:cNvCxnSpPr/>
          <p:nvPr userDrawn="1"/>
        </p:nvCxnSpPr>
        <p:spPr bwMode="gray">
          <a:xfrm>
            <a:off x="5752943"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4" name="Straight Connector 33"/>
          <p:cNvCxnSpPr/>
          <p:nvPr userDrawn="1"/>
        </p:nvCxnSpPr>
        <p:spPr bwMode="gray">
          <a:xfrm>
            <a:off x="8955527" y="2238607"/>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955527" y="3487659"/>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955527" y="4743881"/>
            <a:ext cx="289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43" name="Content Placeholder 3"/>
          <p:cNvSpPr>
            <a:spLocks noGrp="1"/>
          </p:cNvSpPr>
          <p:nvPr>
            <p:ph sz="quarter" idx="29"/>
          </p:nvPr>
        </p:nvSpPr>
        <p:spPr bwMode="gray">
          <a:xfrm>
            <a:off x="5757301" y="2317748"/>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4" name="Content Placeholder 3"/>
          <p:cNvSpPr>
            <a:spLocks noGrp="1"/>
          </p:cNvSpPr>
          <p:nvPr>
            <p:ph sz="quarter" idx="30"/>
          </p:nvPr>
        </p:nvSpPr>
        <p:spPr bwMode="gray">
          <a:xfrm>
            <a:off x="5757302" y="3573970"/>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Content Placeholder 3"/>
          <p:cNvSpPr>
            <a:spLocks noGrp="1"/>
          </p:cNvSpPr>
          <p:nvPr>
            <p:ph sz="quarter" idx="31"/>
          </p:nvPr>
        </p:nvSpPr>
        <p:spPr bwMode="gray">
          <a:xfrm>
            <a:off x="5757302" y="4830194"/>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6" name="Content Placeholder 3"/>
          <p:cNvSpPr>
            <a:spLocks noGrp="1"/>
          </p:cNvSpPr>
          <p:nvPr>
            <p:ph sz="quarter" idx="32"/>
          </p:nvPr>
        </p:nvSpPr>
        <p:spPr bwMode="gray">
          <a:xfrm>
            <a:off x="8955527" y="2317748"/>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7" name="Content Placeholder 3"/>
          <p:cNvSpPr>
            <a:spLocks noGrp="1"/>
          </p:cNvSpPr>
          <p:nvPr>
            <p:ph sz="quarter" idx="33"/>
          </p:nvPr>
        </p:nvSpPr>
        <p:spPr bwMode="gray">
          <a:xfrm>
            <a:off x="8955527" y="3573970"/>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8" name="Content Placeholder 3"/>
          <p:cNvSpPr>
            <a:spLocks noGrp="1"/>
          </p:cNvSpPr>
          <p:nvPr>
            <p:ph sz="quarter" idx="34"/>
          </p:nvPr>
        </p:nvSpPr>
        <p:spPr bwMode="gray">
          <a:xfrm>
            <a:off x="8955527" y="4830194"/>
            <a:ext cx="2898000" cy="1083600"/>
          </a:xfrm>
        </p:spPr>
        <p:txBody>
          <a:bodyPr lIns="0" tIns="0" rIns="0" bIns="0"/>
          <a:lstStyle>
            <a:lvl1pP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35"/>
          </p:nvPr>
        </p:nvSpPr>
        <p:spPr bwMode="gray"/>
        <p:txBody>
          <a:bodyPr/>
          <a:lstStyle/>
          <a:p>
            <a:r>
              <a:rPr lang="en-US"/>
              <a:t>March 4, 2021</a:t>
            </a:r>
          </a:p>
        </p:txBody>
      </p:sp>
      <p:sp>
        <p:nvSpPr>
          <p:cNvPr id="4" name="Footer Placeholder 3"/>
          <p:cNvSpPr>
            <a:spLocks noGrp="1"/>
          </p:cNvSpPr>
          <p:nvPr>
            <p:ph type="ftr" sz="quarter" idx="36"/>
          </p:nvPr>
        </p:nvSpPr>
        <p:spPr bwMode="gray"/>
        <p:txBody>
          <a:bodyPr/>
          <a:lstStyle/>
          <a:p>
            <a:pPr lvl="8"/>
            <a:endParaRPr lang="en-US"/>
          </a:p>
        </p:txBody>
      </p:sp>
      <p:sp>
        <p:nvSpPr>
          <p:cNvPr id="5" name="Slide Number Placeholder 4"/>
          <p:cNvSpPr>
            <a:spLocks noGrp="1"/>
          </p:cNvSpPr>
          <p:nvPr>
            <p:ph type="sldNum" sz="quarter" idx="37"/>
          </p:nvPr>
        </p:nvSpPr>
        <p:spPr bwMode="gray"/>
        <p:txBody>
          <a:bodyPr/>
          <a:lstStyle/>
          <a:p>
            <a:r>
              <a:rPr lang="en-US"/>
              <a:t>Slide </a:t>
            </a:r>
            <a:fld id="{619F89D8-7AE3-494A-97F3-03D680869632}" type="slidenum">
              <a:rPr lang="en-US" smtClean="0"/>
              <a:pPr/>
              <a:t>‹#›</a:t>
            </a:fld>
            <a:endParaRPr lang="en-US"/>
          </a:p>
        </p:txBody>
      </p:sp>
      <p:sp>
        <p:nvSpPr>
          <p:cNvPr id="41"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584451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51: Process">
    <p:spTree>
      <p:nvGrpSpPr>
        <p:cNvPr id="1" name=""/>
        <p:cNvGrpSpPr/>
        <p:nvPr/>
      </p:nvGrpSpPr>
      <p:grpSpPr>
        <a:xfrm>
          <a:off x="0" y="0"/>
          <a:ext cx="0" cy="0"/>
          <a:chOff x="0" y="0"/>
          <a:chExt cx="0" cy="0"/>
        </a:xfrm>
      </p:grpSpPr>
      <p:sp>
        <p:nvSpPr>
          <p:cNvPr id="9" name="Text Placeholder 11"/>
          <p:cNvSpPr>
            <a:spLocks noGrp="1"/>
          </p:cNvSpPr>
          <p:nvPr>
            <p:ph type="body" sz="quarter" idx="16"/>
          </p:nvPr>
        </p:nvSpPr>
        <p:spPr bwMode="gray">
          <a:xfrm>
            <a:off x="333264" y="1931945"/>
            <a:ext cx="3643200" cy="360000"/>
          </a:xfrm>
          <a:prstGeom prst="homePlate">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tx2"/>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945"/>
            <a:ext cx="3643200" cy="360000"/>
          </a:xfrm>
          <a:prstGeom prst="chevron">
            <a:avLst/>
          </a:prstGeom>
          <a:solidFill>
            <a:schemeClr val="accent4"/>
          </a:solidFill>
        </p:spPr>
        <p:txBody>
          <a:bodyPr lIns="28800" tIns="0" rIns="28800" anchor="ctr"/>
          <a:lstStyle>
            <a:lvl1pPr marL="0" indent="0" algn="ctr">
              <a:spcBef>
                <a:spcPts val="0"/>
              </a:spcBef>
              <a:buFont typeface="Arial" panose="020B0604020202020204" pitchFamily="34" charset="0"/>
              <a:buNone/>
              <a:defRPr sz="1600" b="0">
                <a:solidFill>
                  <a:schemeClr val="tx1"/>
                </a:solidFill>
              </a:defRPr>
            </a:lvl1pPr>
            <a:lvl2pPr marL="0" indent="0" algn="ctr">
              <a:spcBef>
                <a:spcPts val="0"/>
              </a:spcBef>
              <a:buNone/>
              <a:defRPr sz="1600" b="1">
                <a:solidFill>
                  <a:schemeClr val="tx1"/>
                </a:solidFill>
              </a:defRPr>
            </a:lvl2pPr>
            <a:lvl3pPr marL="0" indent="0" algn="ctr">
              <a:spcBef>
                <a:spcPts val="0"/>
              </a:spcBef>
              <a:buNone/>
              <a:defRPr sz="1600" b="1">
                <a:solidFill>
                  <a:schemeClr val="tx1"/>
                </a:solidFill>
              </a:defRPr>
            </a:lvl3pPr>
            <a:lvl4pPr marL="0" indent="0" algn="ctr">
              <a:spcBef>
                <a:spcPts val="0"/>
              </a:spcBef>
              <a:buNone/>
              <a:defRPr sz="1600" b="1">
                <a:solidFill>
                  <a:schemeClr val="tx1"/>
                </a:solidFill>
              </a:defRPr>
            </a:lvl4pPr>
            <a:lvl5pPr marL="0" indent="0" algn="ctr">
              <a:spcBef>
                <a:spcPts val="0"/>
              </a:spcBef>
              <a:buNone/>
              <a:defRPr sz="1600" b="1">
                <a:solidFill>
                  <a:schemeClr val="tx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3"/>
          </p:nvPr>
        </p:nvSpPr>
        <p:spPr bwMode="gray">
          <a:xfrm>
            <a:off x="333264"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2402146"/>
            <a:ext cx="3643200" cy="3511294"/>
          </a:xfrm>
        </p:spPr>
        <p:txBody>
          <a:bodyPr lIns="0" tIns="0" rIns="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7" name="Straight Connector 26"/>
          <p:cNvCxnSpPr/>
          <p:nvPr userDrawn="1"/>
        </p:nvCxnSpPr>
        <p:spPr bwMode="gray">
          <a:xfrm>
            <a:off x="4124130"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8062662" y="2473348"/>
            <a:ext cx="0" cy="3440092"/>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694438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52: Image">
    <p:spTree>
      <p:nvGrpSpPr>
        <p:cNvPr id="1" name=""/>
        <p:cNvGrpSpPr/>
        <p:nvPr/>
      </p:nvGrpSpPr>
      <p:grpSpPr>
        <a:xfrm>
          <a:off x="0" y="0"/>
          <a:ext cx="0" cy="0"/>
          <a:chOff x="0" y="0"/>
          <a:chExt cx="0" cy="0"/>
        </a:xfrm>
      </p:grpSpPr>
      <p:sp>
        <p:nvSpPr>
          <p:cNvPr id="9" name="Bildplatzhalter 8"/>
          <p:cNvSpPr>
            <a:spLocks noGrp="1"/>
          </p:cNvSpPr>
          <p:nvPr>
            <p:ph type="pic" sz="quarter" idx="17"/>
          </p:nvPr>
        </p:nvSpPr>
        <p:spPr bwMode="gray">
          <a:xfrm>
            <a:off x="2" y="0"/>
            <a:ext cx="12192000" cy="6858000"/>
          </a:xfrm>
          <a:custGeom>
            <a:avLst/>
            <a:gdLst>
              <a:gd name="connsiteX0" fmla="*/ 334746 w 12192000"/>
              <a:gd name="connsiteY0" fmla="*/ 530044 h 6858000"/>
              <a:gd name="connsiteX1" fmla="*/ 334746 w 12192000"/>
              <a:gd name="connsiteY1" fmla="*/ 558844 h 6858000"/>
              <a:gd name="connsiteX2" fmla="*/ 561546 w 12192000"/>
              <a:gd name="connsiteY2" fmla="*/ 558844 h 6858000"/>
              <a:gd name="connsiteX3" fmla="*/ 561546 w 12192000"/>
              <a:gd name="connsiteY3" fmla="*/ 530044 h 6858000"/>
              <a:gd name="connsiteX4" fmla="*/ 0 w 12192000"/>
              <a:gd name="connsiteY4" fmla="*/ 0 h 6858000"/>
              <a:gd name="connsiteX5" fmla="*/ 12192000 w 12192000"/>
              <a:gd name="connsiteY5" fmla="*/ 0 h 6858000"/>
              <a:gd name="connsiteX6" fmla="*/ 12192000 w 12192000"/>
              <a:gd name="connsiteY6" fmla="*/ 6858000 h 6858000"/>
              <a:gd name="connsiteX7" fmla="*/ 0 w 121920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2000" h="6858000">
                <a:moveTo>
                  <a:pt x="334746" y="530044"/>
                </a:moveTo>
                <a:lnTo>
                  <a:pt x="334746" y="558844"/>
                </a:lnTo>
                <a:lnTo>
                  <a:pt x="561546" y="558844"/>
                </a:lnTo>
                <a:lnTo>
                  <a:pt x="561546" y="530044"/>
                </a:lnTo>
                <a:close/>
                <a:moveTo>
                  <a:pt x="0" y="0"/>
                </a:moveTo>
                <a:lnTo>
                  <a:pt x="12192000" y="0"/>
                </a:lnTo>
                <a:lnTo>
                  <a:pt x="12192000" y="6858000"/>
                </a:lnTo>
                <a:lnTo>
                  <a:pt x="0" y="6858000"/>
                </a:lnTo>
                <a:close/>
              </a:path>
            </a:pathLst>
          </a:custGeom>
        </p:spPr>
        <p:txBody>
          <a:bodyPr wrap="square">
            <a:noAutofit/>
          </a:bodyPr>
          <a:lstStyle/>
          <a:p>
            <a:r>
              <a:rPr lang="en-US"/>
              <a:t>Click icon to add picture</a:t>
            </a:r>
          </a:p>
        </p:txBody>
      </p:sp>
      <p:sp>
        <p:nvSpPr>
          <p:cNvPr id="2" name="Title 1"/>
          <p:cNvSpPr>
            <a:spLocks noGrp="1"/>
          </p:cNvSpPr>
          <p:nvPr>
            <p:ph type="title"/>
          </p:nvPr>
        </p:nvSpPr>
        <p:spPr bwMode="gray">
          <a:xfrm>
            <a:off x="332366" y="622788"/>
            <a:ext cx="11520898" cy="396000"/>
          </a:xfrm>
        </p:spPr>
        <p:txBody>
          <a:bodyPr/>
          <a:lstStyle>
            <a:lvl1pPr>
              <a:defRPr sz="1800"/>
            </a:lvl1pPr>
          </a:lstStyle>
          <a:p>
            <a:r>
              <a:rPr lang="en-US"/>
              <a:t>Click to edit Master title style</a:t>
            </a:r>
          </a:p>
        </p:txBody>
      </p:sp>
      <p:sp>
        <p:nvSpPr>
          <p:cNvPr id="4" name="Date Placeholder 3"/>
          <p:cNvSpPr>
            <a:spLocks noGrp="1"/>
          </p:cNvSpPr>
          <p:nvPr>
            <p:ph type="dt" sz="half" idx="14"/>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March 4, 2021</a:t>
            </a:r>
          </a:p>
        </p:txBody>
      </p:sp>
      <p:sp>
        <p:nvSpPr>
          <p:cNvPr id="5" name="Footer Placeholder 4"/>
          <p:cNvSpPr>
            <a:spLocks noGrp="1"/>
          </p:cNvSpPr>
          <p:nvPr>
            <p:ph type="ftr" sz="quarter" idx="15"/>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6" name="Slide Number Placeholder 5"/>
          <p:cNvSpPr>
            <a:spLocks noGrp="1"/>
          </p:cNvSpPr>
          <p:nvPr>
            <p:ph type="sldNum" sz="quarter" idx="16"/>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sp>
        <p:nvSpPr>
          <p:cNvPr id="13" name="Rectangle 12"/>
          <p:cNvSpPr/>
          <p:nvPr userDrawn="1"/>
        </p:nvSpPr>
        <p:spPr bwMode="gray">
          <a:xfrm>
            <a:off x="242214" y="447781"/>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1800" b="1">
                <a:solidFill>
                  <a:srgbClr val="FF0000"/>
                </a:solidFill>
              </a:rPr>
              <a:t>—</a:t>
            </a:r>
            <a:endParaRPr lang="en-US" sz="1800" b="1" err="1">
              <a:solidFill>
                <a:srgbClr val="FF0000"/>
              </a:solidFill>
            </a:endParaRPr>
          </a:p>
        </p:txBody>
      </p:sp>
    </p:spTree>
    <p:extLst>
      <p:ext uri="{BB962C8B-B14F-4D97-AF65-F5344CB8AC3E}">
        <p14:creationId xmlns:p14="http://schemas.microsoft.com/office/powerpoint/2010/main" val="40499749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r>
              <a:rPr lang="en-US"/>
              <a:t>March 4, 2021</a:t>
            </a:r>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665408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53: 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4" name="Date Placeholder 3"/>
          <p:cNvSpPr>
            <a:spLocks noGrp="1"/>
          </p:cNvSpPr>
          <p:nvPr>
            <p:ph type="dt" sz="half" idx="14"/>
          </p:nvPr>
        </p:nvSpPr>
        <p:spPr bwMode="gray"/>
        <p:txBody>
          <a:bodyPr/>
          <a:lstStyle/>
          <a:p>
            <a:r>
              <a:rPr lang="en-US"/>
              <a:t>March 4, 2021</a:t>
            </a:r>
          </a:p>
        </p:txBody>
      </p:sp>
      <p:sp>
        <p:nvSpPr>
          <p:cNvPr id="5" name="Footer Placeholder 4"/>
          <p:cNvSpPr>
            <a:spLocks noGrp="1"/>
          </p:cNvSpPr>
          <p:nvPr>
            <p:ph type="ftr" sz="quarter" idx="15"/>
          </p:nvPr>
        </p:nvSpPr>
        <p:spPr bwMode="gray"/>
        <p:txBody>
          <a:bodyPr/>
          <a:lstStyle/>
          <a:p>
            <a:pPr lvl="8"/>
            <a:endParaRPr lang="en-US"/>
          </a:p>
        </p:txBody>
      </p:sp>
      <p:sp>
        <p:nvSpPr>
          <p:cNvPr id="6" name="Slide Number Placeholder 5"/>
          <p:cNvSpPr>
            <a:spLocks noGrp="1"/>
          </p:cNvSpPr>
          <p:nvPr>
            <p:ph type="sldNum" sz="quarter" idx="16"/>
          </p:nvPr>
        </p:nvSpPr>
        <p:spPr bwMode="gray"/>
        <p:txBody>
          <a:bodyPr/>
          <a:lstStyle/>
          <a:p>
            <a:r>
              <a:rPr lang="en-US"/>
              <a:t>Slide </a:t>
            </a:r>
            <a:fld id="{619F89D8-7AE3-494A-97F3-03D680869632}" type="slidenum">
              <a:rPr lang="en-US" smtClean="0"/>
              <a:pPr/>
              <a:t>‹#›</a:t>
            </a:fld>
            <a:endParaRPr lang="en-US"/>
          </a:p>
        </p:txBody>
      </p:sp>
      <p:sp>
        <p:nvSpPr>
          <p:cNvPr id="18"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723034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54: Final Slide">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endParaRPr lang="en-US"/>
          </a:p>
        </p:txBody>
      </p:sp>
      <p:sp>
        <p:nvSpPr>
          <p:cNvPr id="4" name="Date Placeholder 3"/>
          <p:cNvSpPr>
            <a:spLocks noGrp="1"/>
          </p:cNvSpPr>
          <p:nvPr>
            <p:ph type="dt" sz="half" idx="11"/>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March 4, 2021</a:t>
            </a:r>
          </a:p>
        </p:txBody>
      </p:sp>
      <p:sp>
        <p:nvSpPr>
          <p:cNvPr id="5" name="Slide Number Placeholder 4"/>
          <p:cNvSpPr>
            <a:spLocks noGrp="1"/>
          </p:cNvSpPr>
          <p:nvPr>
            <p:ph type="sldNum" sz="quarter" idx="12"/>
          </p:nvPr>
        </p:nvSpPr>
        <p:spPr bwMode="gray"/>
        <p:txBody>
          <a:bodyPr/>
          <a:lstStyle>
            <a:lvl1pPr>
              <a:defRPr>
                <a:noFill/>
              </a:defRPr>
            </a:lvl1pPr>
            <a:lvl2pPr>
              <a:defRPr>
                <a:noFill/>
              </a:defRPr>
            </a:lvl2pPr>
            <a:lvl3pPr>
              <a:defRPr>
                <a:noFill/>
              </a:defRPr>
            </a:lvl3pPr>
            <a:lvl4pPr>
              <a:defRPr>
                <a:noFill/>
              </a:defRPr>
            </a:lvl4pPr>
            <a:lvl5pPr>
              <a:defRPr>
                <a:noFill/>
              </a:defRPr>
            </a:lvl5pPr>
            <a:lvl6pPr>
              <a:defRPr>
                <a:noFill/>
              </a:defRPr>
            </a:lvl6pPr>
            <a:lvl7pPr>
              <a:defRPr>
                <a:noFill/>
              </a:defRPr>
            </a:lvl7pPr>
            <a:lvl8pPr>
              <a:defRPr>
                <a:noFill/>
              </a:defRPr>
            </a:lvl8pPr>
            <a:lvl9pPr>
              <a:defRPr>
                <a:noFill/>
              </a:defRPr>
            </a:lvl9pPr>
          </a:lstStyle>
          <a:p>
            <a:r>
              <a:rPr lang="en-US"/>
              <a:t>Slide </a:t>
            </a:r>
            <a:fld id="{619F89D8-7AE3-494A-97F3-03D680869632}" type="slidenum">
              <a:rPr lang="en-US" smtClean="0"/>
              <a:pPr/>
              <a:t>‹#›</a:t>
            </a:fld>
            <a:endParaRPr lang="en-US"/>
          </a:p>
        </p:txBody>
      </p:sp>
      <p:pic>
        <p:nvPicPr>
          <p:cNvPr id="7" name="Picture 19"/>
          <p:cNvPicPr>
            <a:picLocks noChangeAspect="1" noChangeArrowheads="1"/>
          </p:cNvPicPr>
          <p:nvPr userDrawn="1"/>
        </p:nvPicPr>
        <p:blipFill>
          <a:blip r:embed="rId2" cstate="screen">
            <a:extLst>
              <a:ext uri="{28A0092B-C50C-407E-A947-70E740481C1C}">
                <a14:useLocalDpi xmlns:a14="http://schemas.microsoft.com/office/drawing/2010/main"/>
              </a:ext>
            </a:extLst>
          </a:blip>
          <a:srcRect/>
          <a:stretch>
            <a:fillRect/>
          </a:stretch>
        </p:blipFill>
        <p:spPr bwMode="auto">
          <a:xfrm>
            <a:off x="4447616" y="2793573"/>
            <a:ext cx="3296776" cy="12640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200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a:extLst>
              <a:ext uri="{28A0092B-C50C-407E-A947-70E740481C1C}">
                <a14:useLocalDpi xmlns:a14="http://schemas.microsoft.com/office/drawing/2010/main"/>
              </a:ext>
            </a:extLst>
          </a:blip>
          <a:srcRect/>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3586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3: Title Slide 3">
    <p:spTree>
      <p:nvGrpSpPr>
        <p:cNvPr id="1" name=""/>
        <p:cNvGrpSpPr/>
        <p:nvPr/>
      </p:nvGrpSpPr>
      <p:grpSpPr>
        <a:xfrm>
          <a:off x="0" y="0"/>
          <a:ext cx="0" cy="0"/>
          <a:chOff x="0" y="0"/>
          <a:chExt cx="0" cy="0"/>
        </a:xfrm>
      </p:grpSpPr>
      <p:pic>
        <p:nvPicPr>
          <p:cNvPr id="41" name="Picture Placeholder 10"/>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gray">
          <a:xfrm>
            <a:off x="2" y="0"/>
            <a:ext cx="12192000" cy="4610100"/>
          </a:xfrm>
          <a:prstGeom prst="rect">
            <a:avLst/>
          </a:prstGeom>
        </p:spPr>
      </p:pic>
      <p:sp>
        <p:nvSpPr>
          <p:cNvPr id="22" name="Text Placeholder 5"/>
          <p:cNvSpPr>
            <a:spLocks noGrp="1"/>
          </p:cNvSpPr>
          <p:nvPr>
            <p:ph type="body" sz="quarter" idx="16"/>
          </p:nvPr>
        </p:nvSpPr>
        <p:spPr bwMode="gray">
          <a:xfrm>
            <a:off x="335757"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Rectangle 18"/>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3">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3770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 Title Slide 4">
    <p:spTree>
      <p:nvGrpSpPr>
        <p:cNvPr id="1" name=""/>
        <p:cNvGrpSpPr/>
        <p:nvPr/>
      </p:nvGrpSpPr>
      <p:grpSpPr>
        <a:xfrm>
          <a:off x="0" y="0"/>
          <a:ext cx="0" cy="0"/>
          <a:chOff x="0" y="0"/>
          <a:chExt cx="0" cy="0"/>
        </a:xfrm>
      </p:grpSpPr>
      <p:sp>
        <p:nvSpPr>
          <p:cNvPr id="5" name="Picture Placeholder 4"/>
          <p:cNvSpPr>
            <a:spLocks noGrp="1"/>
          </p:cNvSpPr>
          <p:nvPr>
            <p:ph type="pic" sz="quarter" idx="15"/>
          </p:nvPr>
        </p:nvSpPr>
        <p:spPr bwMode="gray">
          <a:xfrm>
            <a:off x="2" y="0"/>
            <a:ext cx="12192000" cy="4610100"/>
          </a:xfrm>
        </p:spPr>
        <p:txBody>
          <a:bodyPr/>
          <a:lstStyle/>
          <a:p>
            <a:r>
              <a:rPr lang="en-US"/>
              <a:t>Click icon to add picture</a:t>
            </a:r>
          </a:p>
        </p:txBody>
      </p:sp>
      <p:sp>
        <p:nvSpPr>
          <p:cNvPr id="22"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itle 1"/>
          <p:cNvSpPr>
            <a:spLocks noGrp="1"/>
          </p:cNvSpPr>
          <p:nvPr>
            <p:ph type="ctrTitle"/>
          </p:nvPr>
        </p:nvSpPr>
        <p:spPr bwMode="gray">
          <a:xfrm>
            <a:off x="340519" y="5205566"/>
            <a:ext cx="10112148" cy="504001"/>
          </a:xfrm>
        </p:spPr>
        <p:txBody>
          <a:bodyPr lIns="0" tIns="0" rIns="0" bIns="0" anchor="b"/>
          <a:lstStyle>
            <a:lvl1pPr>
              <a:defRPr sz="3200"/>
            </a:lvl1pPr>
          </a:lstStyle>
          <a:p>
            <a:r>
              <a:rPr lang="en-US"/>
              <a:t>Click to edit Master title style</a:t>
            </a:r>
          </a:p>
        </p:txBody>
      </p:sp>
      <p:sp>
        <p:nvSpPr>
          <p:cNvPr id="12" name="Subtitle 2"/>
          <p:cNvSpPr>
            <a:spLocks noGrp="1"/>
          </p:cNvSpPr>
          <p:nvPr>
            <p:ph type="subTitle" idx="1"/>
          </p:nvPr>
        </p:nvSpPr>
        <p:spPr bwMode="gray">
          <a:xfrm>
            <a:off x="340519"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3"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Rectangle 17"/>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4" name="Picture 19"/>
          <p:cNvPicPr>
            <a:picLocks noChangeAspect="1" noChangeArrowheads="1"/>
          </p:cNvPicPr>
          <p:nvPr userDrawn="1"/>
        </p:nvPicPr>
        <p:blipFill>
          <a:blip r:embed="rId2">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7257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5: Divider">
    <p:spTree>
      <p:nvGrpSpPr>
        <p:cNvPr id="1" name=""/>
        <p:cNvGrpSpPr/>
        <p:nvPr/>
      </p:nvGrpSpPr>
      <p:grpSpPr>
        <a:xfrm>
          <a:off x="0" y="0"/>
          <a:ext cx="0" cy="0"/>
          <a:chOff x="0" y="0"/>
          <a:chExt cx="0" cy="0"/>
        </a:xfrm>
      </p:grpSpPr>
      <p:pic>
        <p:nvPicPr>
          <p:cNvPr id="7" name="Picture 6"/>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bwMode="gray">
          <a:xfrm>
            <a:off x="1" y="0"/>
            <a:ext cx="12198845" cy="6858000"/>
          </a:xfrm>
          <a:prstGeom prst="rect">
            <a:avLst/>
          </a:prstGeom>
        </p:spPr>
      </p:pic>
      <p:sp>
        <p:nvSpPr>
          <p:cNvPr id="10" name="Rectangle 9">
            <a:extLst>
              <a:ext uri="{FF2B5EF4-FFF2-40B4-BE49-F238E27FC236}">
                <a16:creationId xmlns:a16="http://schemas.microsoft.com/office/drawing/2014/main" id="{F54DE7E8-58C9-4B5A-B686-53E1B76B68C9}"/>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9" name="Title 1">
            <a:extLst>
              <a:ext uri="{FF2B5EF4-FFF2-40B4-BE49-F238E27FC236}">
                <a16:creationId xmlns:a16="http://schemas.microsoft.com/office/drawing/2014/main" id="{26BA06A1-F808-4CBA-9D28-8D357F795D4C}"/>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1" name="Subtitle 2">
            <a:extLst>
              <a:ext uri="{FF2B5EF4-FFF2-40B4-BE49-F238E27FC236}">
                <a16:creationId xmlns:a16="http://schemas.microsoft.com/office/drawing/2014/main" id="{F7CD425E-9028-4049-A9A0-DC6F9DF08061}"/>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13623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6: Divider 2">
    <p:spTree>
      <p:nvGrpSpPr>
        <p:cNvPr id="1" name=""/>
        <p:cNvGrpSpPr/>
        <p:nvPr/>
      </p:nvGrpSpPr>
      <p:grpSpPr>
        <a:xfrm>
          <a:off x="0" y="0"/>
          <a:ext cx="0" cy="0"/>
          <a:chOff x="0" y="0"/>
          <a:chExt cx="0" cy="0"/>
        </a:xfrm>
      </p:grpSpPr>
      <p:sp>
        <p:nvSpPr>
          <p:cNvPr id="9" name="Rectangle 8"/>
          <p:cNvSpPr/>
          <p:nvPr userDrawn="1"/>
        </p:nvSpPr>
        <p:spPr bwMode="gray">
          <a:xfrm>
            <a:off x="2" y="0"/>
            <a:ext cx="12192000" cy="6858000"/>
          </a:xfrm>
          <a:prstGeom prst="rect">
            <a:avLst/>
          </a:prstGeom>
          <a:solidFill>
            <a:srgbClr val="FF000F"/>
          </a:solidFill>
          <a:ln w="25400" cap="flat" cmpd="sng" algn="ctr">
            <a:noFill/>
            <a:prstDash val="solid"/>
          </a:ln>
          <a:effectLst/>
        </p:spPr>
        <p:txBody>
          <a:bodyPr lIns="72009" tIns="72009" rIns="72009" bIns="72009" rtlCol="0" anchor="ctr"/>
          <a:lstStyle/>
          <a:p>
            <a:pPr marL="0" marR="0" lvl="0" indent="0" algn="ctr" defTabSz="914491"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FFFFFF"/>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sp>
        <p:nvSpPr>
          <p:cNvPr id="11" name="Rectangle 10">
            <a:extLst>
              <a:ext uri="{FF2B5EF4-FFF2-40B4-BE49-F238E27FC236}">
                <a16:creationId xmlns:a16="http://schemas.microsoft.com/office/drawing/2014/main" id="{94A90620-6E53-42BB-807B-70CAD0710CDD}"/>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1"/>
                </a:solidFill>
              </a:rPr>
              <a:t>—</a:t>
            </a:r>
            <a:endParaRPr lang="en-US" sz="3200" b="1" err="1">
              <a:solidFill>
                <a:schemeClr val="bg1"/>
              </a:solidFill>
            </a:endParaRPr>
          </a:p>
        </p:txBody>
      </p:sp>
      <p:sp>
        <p:nvSpPr>
          <p:cNvPr id="8" name="Title 1">
            <a:extLst>
              <a:ext uri="{FF2B5EF4-FFF2-40B4-BE49-F238E27FC236}">
                <a16:creationId xmlns:a16="http://schemas.microsoft.com/office/drawing/2014/main" id="{6B34BC21-AFED-46B1-8268-92A7B5BBDEE1}"/>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bg1"/>
                </a:solidFill>
              </a:defRPr>
            </a:lvl1pPr>
          </a:lstStyle>
          <a:p>
            <a:r>
              <a:rPr lang="en-US"/>
              <a:t>Click to edit Master title style</a:t>
            </a:r>
          </a:p>
        </p:txBody>
      </p:sp>
      <p:sp>
        <p:nvSpPr>
          <p:cNvPr id="10" name="Subtitle 2">
            <a:extLst>
              <a:ext uri="{FF2B5EF4-FFF2-40B4-BE49-F238E27FC236}">
                <a16:creationId xmlns:a16="http://schemas.microsoft.com/office/drawing/2014/main" id="{0C1FE702-2A26-4886-8C77-E6510DB1849C}"/>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bg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998023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7: Divider 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6884551-BCA1-4427-92BF-DB5CAA0DDF08}"/>
              </a:ext>
            </a:extLst>
          </p:cNvPr>
          <p:cNvSpPr/>
          <p:nvPr userDrawn="1"/>
        </p:nvSpPr>
        <p:spPr bwMode="gray">
          <a:xfrm>
            <a:off x="244800" y="414450"/>
            <a:ext cx="413300"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sp>
        <p:nvSpPr>
          <p:cNvPr id="5" name="Title 1">
            <a:extLst>
              <a:ext uri="{FF2B5EF4-FFF2-40B4-BE49-F238E27FC236}">
                <a16:creationId xmlns:a16="http://schemas.microsoft.com/office/drawing/2014/main" id="{FAC380CA-95DB-45F2-99D5-3A1E2DF54CD3}"/>
              </a:ext>
            </a:extLst>
          </p:cNvPr>
          <p:cNvSpPr>
            <a:spLocks noGrp="1"/>
          </p:cNvSpPr>
          <p:nvPr>
            <p:ph type="ctrTitle"/>
          </p:nvPr>
        </p:nvSpPr>
        <p:spPr bwMode="gray">
          <a:xfrm>
            <a:off x="335756" y="718060"/>
            <a:ext cx="11521282" cy="504000"/>
          </a:xfrm>
        </p:spPr>
        <p:txBody>
          <a:bodyPr lIns="0" tIns="0" rIns="0" bIns="0" anchor="b"/>
          <a:lstStyle>
            <a:lvl1pPr>
              <a:defRPr sz="3200">
                <a:solidFill>
                  <a:schemeClr val="tx1"/>
                </a:solidFill>
              </a:defRPr>
            </a:lvl1pPr>
          </a:lstStyle>
          <a:p>
            <a:r>
              <a:rPr lang="en-US"/>
              <a:t>Click to edit Master title style</a:t>
            </a:r>
          </a:p>
        </p:txBody>
      </p:sp>
      <p:sp>
        <p:nvSpPr>
          <p:cNvPr id="6" name="Subtitle 2">
            <a:extLst>
              <a:ext uri="{FF2B5EF4-FFF2-40B4-BE49-F238E27FC236}">
                <a16:creationId xmlns:a16="http://schemas.microsoft.com/office/drawing/2014/main" id="{EE182003-2699-4135-A685-461A4D33947D}"/>
              </a:ext>
            </a:extLst>
          </p:cNvPr>
          <p:cNvSpPr>
            <a:spLocks noGrp="1"/>
          </p:cNvSpPr>
          <p:nvPr>
            <p:ph type="subTitle" idx="1"/>
          </p:nvPr>
        </p:nvSpPr>
        <p:spPr bwMode="gray">
          <a:xfrm>
            <a:off x="335757" y="1264007"/>
            <a:ext cx="11521281"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72399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8: Agenda">
    <p:spTree>
      <p:nvGrpSpPr>
        <p:cNvPr id="1" name=""/>
        <p:cNvGrpSpPr/>
        <p:nvPr/>
      </p:nvGrpSpPr>
      <p:grpSpPr>
        <a:xfrm>
          <a:off x="0" y="0"/>
          <a:ext cx="0" cy="0"/>
          <a:chOff x="0" y="0"/>
          <a:chExt cx="0" cy="0"/>
        </a:xfrm>
      </p:grpSpPr>
      <p:sp>
        <p:nvSpPr>
          <p:cNvPr id="4" name="Content Placeholder 3"/>
          <p:cNvSpPr>
            <a:spLocks noGrp="1"/>
          </p:cNvSpPr>
          <p:nvPr>
            <p:ph sz="quarter" idx="17"/>
          </p:nvPr>
        </p:nvSpPr>
        <p:spPr bwMode="gray">
          <a:xfrm>
            <a:off x="332367" y="1931197"/>
            <a:ext cx="11520897" cy="3980439"/>
          </a:xfrm>
        </p:spPr>
        <p:txBody>
          <a:bodyPr/>
          <a:lstStyle>
            <a:lvl1pPr>
              <a:spcBef>
                <a:spcPts val="900"/>
              </a:spcBef>
              <a:defRPr sz="2000"/>
            </a:lvl1pPr>
            <a:lvl2pPr marL="0" indent="0">
              <a:spcBef>
                <a:spcPts val="900"/>
              </a:spcBef>
              <a:buNone/>
              <a:defRPr sz="2000">
                <a:solidFill>
                  <a:schemeClr val="accent4"/>
                </a:solidFill>
              </a:defRPr>
            </a:lvl2pPr>
            <a:lvl3pPr marL="252025" indent="-252025">
              <a:spcBef>
                <a:spcPts val="900"/>
              </a:spcBef>
              <a:buClr>
                <a:schemeClr val="accent4"/>
              </a:buClr>
              <a:buFont typeface="Symbol" panose="05050102010706020507" pitchFamily="18" charset="2"/>
              <a:buChar char=""/>
              <a:defRPr sz="2000">
                <a:solidFill>
                  <a:schemeClr val="accent4"/>
                </a:solidFill>
              </a:defRPr>
            </a:lvl3pPr>
            <a:lvl4pPr marL="252025" indent="-252025">
              <a:spcBef>
                <a:spcPts val="900"/>
              </a:spcBef>
              <a:buClr>
                <a:schemeClr val="accent4"/>
              </a:buClr>
              <a:buFont typeface="Symbol" panose="05050102010706020507" pitchFamily="18" charset="2"/>
              <a:buChar char=""/>
              <a:defRPr sz="2000">
                <a:solidFill>
                  <a:schemeClr val="accent4"/>
                </a:solidFill>
              </a:defRPr>
            </a:lvl4pPr>
            <a:lvl5pPr marL="252025" indent="-252025">
              <a:spcBef>
                <a:spcPts val="900"/>
              </a:spcBef>
              <a:buClr>
                <a:schemeClr val="accent4"/>
              </a:buClr>
              <a:buFont typeface="Symbol" panose="05050102010706020507" pitchFamily="18" charset="2"/>
              <a:buChar char=""/>
              <a:defRPr sz="2000">
                <a:solidFill>
                  <a:schemeClr val="accent4"/>
                </a:solidFill>
              </a:defRPr>
            </a:lvl5pPr>
            <a:lvl6pPr marL="252025" indent="-252025">
              <a:spcBef>
                <a:spcPts val="900"/>
              </a:spcBef>
              <a:buClr>
                <a:schemeClr val="accent4"/>
              </a:buClr>
              <a:buFont typeface="Symbol" panose="05050102010706020507" pitchFamily="18" charset="2"/>
              <a:buChar char=""/>
              <a:defRPr sz="2000">
                <a:solidFill>
                  <a:schemeClr val="accent4"/>
                </a:solidFill>
              </a:defRPr>
            </a:lvl6pPr>
            <a:lvl7pPr marL="252025" indent="-252025">
              <a:spcBef>
                <a:spcPts val="900"/>
              </a:spcBef>
              <a:buClr>
                <a:schemeClr val="accent4"/>
              </a:buClr>
              <a:buFont typeface="Symbol" panose="05050102010706020507" pitchFamily="18" charset="2"/>
              <a:buChar char=""/>
              <a:defRPr sz="2000">
                <a:solidFill>
                  <a:schemeClr val="accent4"/>
                </a:solidFill>
              </a:defRPr>
            </a:lvl7pPr>
            <a:lvl8pPr marL="252025" indent="-252025">
              <a:spcBef>
                <a:spcPts val="900"/>
              </a:spcBef>
              <a:buClr>
                <a:schemeClr val="accent4"/>
              </a:buClr>
              <a:buFont typeface="Symbol" panose="05050102010706020507" pitchFamily="18" charset="2"/>
              <a:buChar char=""/>
              <a:defRPr sz="2000">
                <a:solidFill>
                  <a:schemeClr val="accent4"/>
                </a:solidFill>
              </a:defRPr>
            </a:lvl8pPr>
            <a:lvl9pPr marL="252025" indent="-252025">
              <a:spcBef>
                <a:spcPts val="900"/>
              </a:spcBef>
              <a:buClr>
                <a:schemeClr val="accent4"/>
              </a:buClr>
              <a:buFont typeface="Symbol" panose="05050102010706020507" pitchFamily="18" charset="2"/>
              <a:buChar char=""/>
              <a:defRPr sz="2000">
                <a:solidFill>
                  <a:schemeClr val="accent4"/>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Date Placeholder 2"/>
          <p:cNvSpPr>
            <a:spLocks noGrp="1"/>
          </p:cNvSpPr>
          <p:nvPr>
            <p:ph type="dt" sz="half" idx="18"/>
          </p:nvPr>
        </p:nvSpPr>
        <p:spPr bwMode="gray"/>
        <p:txBody>
          <a:bodyPr/>
          <a:lstStyle/>
          <a:p>
            <a:r>
              <a:rPr lang="en-US"/>
              <a:t>March 4, 2021</a:t>
            </a:r>
          </a:p>
        </p:txBody>
      </p:sp>
      <p:sp>
        <p:nvSpPr>
          <p:cNvPr id="5" name="Footer Placeholder 4"/>
          <p:cNvSpPr>
            <a:spLocks noGrp="1"/>
          </p:cNvSpPr>
          <p:nvPr>
            <p:ph type="ftr" sz="quarter" idx="19"/>
          </p:nvPr>
        </p:nvSpPr>
        <p:spPr bwMode="gray"/>
        <p:txBody>
          <a:bodyPr/>
          <a:lstStyle/>
          <a:p>
            <a:pPr lvl="8"/>
            <a:endParaRPr lang="en-US"/>
          </a:p>
        </p:txBody>
      </p:sp>
      <p:sp>
        <p:nvSpPr>
          <p:cNvPr id="6" name="Slide Number Placeholder 5"/>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7" name="Title 6"/>
          <p:cNvSpPr>
            <a:spLocks noGrp="1"/>
          </p:cNvSpPr>
          <p:nvPr>
            <p:ph type="title"/>
          </p:nvPr>
        </p:nvSpPr>
        <p:spPr bwMode="gray"/>
        <p:txBody>
          <a:bodyPr/>
          <a:lstStyle/>
          <a:p>
            <a:r>
              <a:rPr lang="en-US"/>
              <a:t>Click to edit Master title style</a:t>
            </a:r>
          </a:p>
        </p:txBody>
      </p:sp>
    </p:spTree>
    <p:extLst>
      <p:ext uri="{BB962C8B-B14F-4D97-AF65-F5344CB8AC3E}">
        <p14:creationId xmlns:p14="http://schemas.microsoft.com/office/powerpoint/2010/main" val="1469084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r>
              <a:rPr lang="en-US"/>
              <a:t>March 4, 2021</a:t>
            </a:r>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888094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9: Content">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7"/>
            <a:ext cx="11520000" cy="398224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r>
              <a:rPr lang="en-US"/>
              <a:t>March 4, 2021</a:t>
            </a:r>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416314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0: Content &amp; Box">
    <p:spTree>
      <p:nvGrpSpPr>
        <p:cNvPr id="1" name=""/>
        <p:cNvGrpSpPr/>
        <p:nvPr/>
      </p:nvGrpSpPr>
      <p:grpSpPr>
        <a:xfrm>
          <a:off x="0" y="0"/>
          <a:ext cx="0" cy="0"/>
          <a:chOff x="0" y="0"/>
          <a:chExt cx="0" cy="0"/>
        </a:xfrm>
      </p:grpSpPr>
      <p:sp>
        <p:nvSpPr>
          <p:cNvPr id="9" name="Content Placeholder 8"/>
          <p:cNvSpPr>
            <a:spLocks noGrp="1"/>
          </p:cNvSpPr>
          <p:nvPr>
            <p:ph sz="quarter" idx="21"/>
          </p:nvPr>
        </p:nvSpPr>
        <p:spPr bwMode="gray">
          <a:xfrm>
            <a:off x="332367" y="1931195"/>
            <a:ext cx="11520000" cy="343099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gray">
          <a:xfrm>
            <a:off x="333264" y="682313"/>
            <a:ext cx="11520000" cy="396000"/>
          </a:xfrm>
        </p:spPr>
        <p:txBody>
          <a:bodyPr/>
          <a:lstStyle/>
          <a:p>
            <a:r>
              <a:rPr lang="en-US"/>
              <a:t>Click to edit Master title style</a:t>
            </a:r>
          </a:p>
        </p:txBody>
      </p:sp>
      <p:sp>
        <p:nvSpPr>
          <p:cNvPr id="4" name="Date Placeholder 3"/>
          <p:cNvSpPr>
            <a:spLocks noGrp="1"/>
          </p:cNvSpPr>
          <p:nvPr>
            <p:ph type="dt" sz="half" idx="18"/>
          </p:nvPr>
        </p:nvSpPr>
        <p:spPr bwMode="gray"/>
        <p:txBody>
          <a:bodyPr/>
          <a:lstStyle/>
          <a:p>
            <a:r>
              <a:rPr lang="en-US"/>
              <a:t>March 4, 2021</a:t>
            </a:r>
          </a:p>
        </p:txBody>
      </p:sp>
      <p:sp>
        <p:nvSpPr>
          <p:cNvPr id="6" name="Footer Placeholder 5"/>
          <p:cNvSpPr>
            <a:spLocks noGrp="1"/>
          </p:cNvSpPr>
          <p:nvPr>
            <p:ph type="ftr" sz="quarter" idx="19"/>
          </p:nvPr>
        </p:nvSpPr>
        <p:spPr bwMode="gray"/>
        <p:txBody>
          <a:bodyPr/>
          <a:lstStyle/>
          <a:p>
            <a:pPr lvl="8"/>
            <a:endParaRPr lang="en-US"/>
          </a:p>
        </p:txBody>
      </p:sp>
      <p:sp>
        <p:nvSpPr>
          <p:cNvPr id="11" name="Slide Number Placeholder 10"/>
          <p:cNvSpPr>
            <a:spLocks noGrp="1"/>
          </p:cNvSpPr>
          <p:nvPr>
            <p:ph type="sldNum" sz="quarter" idx="20"/>
          </p:nvPr>
        </p:nvSpPr>
        <p:spPr bwMode="gray"/>
        <p:txBody>
          <a:bodyPr/>
          <a:lstStyle/>
          <a:p>
            <a:r>
              <a:rPr lang="en-US"/>
              <a:t>Slide </a:t>
            </a:r>
            <a:fld id="{619F89D8-7AE3-494A-97F3-03D680869632}" type="slidenum">
              <a:rPr lang="en-US" smtClean="0"/>
              <a:pPr/>
              <a:t>‹#›</a:t>
            </a:fld>
            <a:endParaRPr lang="en-US"/>
          </a:p>
        </p:txBody>
      </p:sp>
      <p:sp>
        <p:nvSpPr>
          <p:cNvPr id="8" name="Subtitle 2"/>
          <p:cNvSpPr>
            <a:spLocks noGrp="1"/>
          </p:cNvSpPr>
          <p:nvPr>
            <p:ph type="subTitle" idx="13"/>
          </p:nvPr>
        </p:nvSpPr>
        <p:spPr bwMode="gray">
          <a:xfrm>
            <a:off x="332362"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0" name="Text Placeholder 7"/>
          <p:cNvSpPr>
            <a:spLocks noGrp="1"/>
          </p:cNvSpPr>
          <p:nvPr>
            <p:ph type="body" sz="quarter" idx="29"/>
          </p:nvPr>
        </p:nvSpPr>
        <p:spPr bwMode="gray">
          <a:xfrm>
            <a:off x="332362"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0832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1: Title &amp; Conten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6" name="Subtitle 2"/>
          <p:cNvSpPr>
            <a:spLocks noGrp="1"/>
          </p:cNvSpPr>
          <p:nvPr>
            <p:ph type="subTitle" idx="13"/>
          </p:nvPr>
        </p:nvSpPr>
        <p:spPr bwMode="gray">
          <a:xfrm>
            <a:off x="334139"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7" name="Text Placeholder 11"/>
          <p:cNvSpPr>
            <a:spLocks noGrp="1"/>
          </p:cNvSpPr>
          <p:nvPr>
            <p:ph type="body" sz="quarter" idx="16"/>
          </p:nvPr>
        </p:nvSpPr>
        <p:spPr bwMode="gray">
          <a:xfrm>
            <a:off x="332368" y="1931192"/>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15"/>
          <p:cNvSpPr>
            <a:spLocks noGrp="1"/>
          </p:cNvSpPr>
          <p:nvPr>
            <p:ph sz="quarter" idx="19"/>
          </p:nvPr>
        </p:nvSpPr>
        <p:spPr bwMode="gray">
          <a:xfrm>
            <a:off x="332367" y="2317637"/>
            <a:ext cx="11520000" cy="3594212"/>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22208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2: Title (5)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9" name="Straight Connector 8"/>
          <p:cNvCxnSpPr/>
          <p:nvPr userDrawn="1"/>
        </p:nvCxnSpPr>
        <p:spPr bwMode="gray">
          <a:xfrm>
            <a:off x="42716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0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6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0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6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0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6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0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3" y="1931195"/>
            <a:ext cx="3643200" cy="180926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6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0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3"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6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0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13290662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3: Title (6) &amp; Content (6)">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17"/>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11"/>
          <p:cNvSpPr>
            <a:spLocks noGrp="1"/>
          </p:cNvSpPr>
          <p:nvPr>
            <p:ph type="body" sz="quarter" idx="18"/>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1"/>
          <p:cNvSpPr>
            <a:spLocks noGrp="1"/>
          </p:cNvSpPr>
          <p:nvPr>
            <p:ph type="body" sz="quarter" idx="19"/>
          </p:nvPr>
        </p:nvSpPr>
        <p:spPr bwMode="gray">
          <a:xfrm>
            <a:off x="333264"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0" name="Straight Connector 19"/>
          <p:cNvCxnSpPr/>
          <p:nvPr userDrawn="1"/>
        </p:nvCxnSpPr>
        <p:spPr bwMode="gray">
          <a:xfrm>
            <a:off x="333264"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1" name="Straight Connector 20"/>
          <p:cNvCxnSpPr/>
          <p:nvPr userDrawn="1"/>
        </p:nvCxnSpPr>
        <p:spPr bwMode="gray">
          <a:xfrm>
            <a:off x="4271795"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2" name="Straight Connector 21"/>
          <p:cNvCxnSpPr/>
          <p:nvPr userDrawn="1"/>
        </p:nvCxnSpPr>
        <p:spPr bwMode="gray">
          <a:xfrm>
            <a:off x="8210327" y="4410680"/>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ext Placeholder 11"/>
          <p:cNvSpPr>
            <a:spLocks noGrp="1"/>
          </p:cNvSpPr>
          <p:nvPr>
            <p:ph type="body" sz="quarter" idx="20"/>
          </p:nvPr>
        </p:nvSpPr>
        <p:spPr bwMode="gray">
          <a:xfrm>
            <a:off x="4271796"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11"/>
          <p:cNvSpPr>
            <a:spLocks noGrp="1"/>
          </p:cNvSpPr>
          <p:nvPr>
            <p:ph type="body" sz="quarter" idx="21"/>
          </p:nvPr>
        </p:nvSpPr>
        <p:spPr bwMode="gray">
          <a:xfrm>
            <a:off x="8210327" y="4103378"/>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3"/>
          <p:cNvSpPr>
            <a:spLocks noGrp="1"/>
          </p:cNvSpPr>
          <p:nvPr>
            <p:ph sz="quarter" idx="23"/>
          </p:nvPr>
        </p:nvSpPr>
        <p:spPr bwMode="gray">
          <a:xfrm>
            <a:off x="333264"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Content Placeholder 3"/>
          <p:cNvSpPr>
            <a:spLocks noGrp="1"/>
          </p:cNvSpPr>
          <p:nvPr>
            <p:ph sz="quarter" idx="24"/>
          </p:nvPr>
        </p:nvSpPr>
        <p:spPr bwMode="gray">
          <a:xfrm>
            <a:off x="4271795"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Content Placeholder 3"/>
          <p:cNvSpPr>
            <a:spLocks noGrp="1"/>
          </p:cNvSpPr>
          <p:nvPr>
            <p:ph sz="quarter" idx="25"/>
          </p:nvPr>
        </p:nvSpPr>
        <p:spPr bwMode="gray">
          <a:xfrm>
            <a:off x="8210327" y="2317641"/>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Content Placeholder 3"/>
          <p:cNvSpPr>
            <a:spLocks noGrp="1"/>
          </p:cNvSpPr>
          <p:nvPr>
            <p:ph sz="quarter" idx="26"/>
          </p:nvPr>
        </p:nvSpPr>
        <p:spPr bwMode="gray">
          <a:xfrm>
            <a:off x="333264"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7"/>
          </p:nvPr>
        </p:nvSpPr>
        <p:spPr bwMode="gray">
          <a:xfrm>
            <a:off x="4271796"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28"/>
          </p:nvPr>
        </p:nvSpPr>
        <p:spPr bwMode="gray">
          <a:xfrm>
            <a:off x="8210327" y="4489826"/>
            <a:ext cx="3643200" cy="14228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87004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4: Title &amp; Content (8)">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1492"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3264"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3264"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7"/>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4202644"/>
            <a:ext cx="1739026" cy="17100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59472" y="2317637"/>
            <a:ext cx="3757689"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59472" y="4202644"/>
            <a:ext cx="3757689"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2" y="2317637"/>
            <a:ext cx="3759312" cy="17100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2" y="4202644"/>
            <a:ext cx="3759312" cy="17100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5" name="Straight Connector 24"/>
          <p:cNvCxnSpPr/>
          <p:nvPr userDrawn="1"/>
        </p:nvCxnSpPr>
        <p:spPr bwMode="gray">
          <a:xfrm>
            <a:off x="332368" y="4115141"/>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91149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5: Title &amp; Content (8) &amp; Box">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33264" y="682313"/>
            <a:ext cx="11520000" cy="396000"/>
          </a:xfrm>
        </p:spPr>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115200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32"/>
          <p:cNvSpPr>
            <a:spLocks noGrp="1"/>
          </p:cNvSpPr>
          <p:nvPr>
            <p:ph sz="quarter" idx="25"/>
          </p:nvPr>
        </p:nvSpPr>
        <p:spPr bwMode="gray">
          <a:xfrm>
            <a:off x="332367" y="2317637"/>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32"/>
          <p:cNvSpPr>
            <a:spLocks noGrp="1"/>
          </p:cNvSpPr>
          <p:nvPr>
            <p:ph sz="quarter" idx="26"/>
          </p:nvPr>
        </p:nvSpPr>
        <p:spPr bwMode="gray">
          <a:xfrm>
            <a:off x="332367"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32"/>
          <p:cNvSpPr>
            <a:spLocks noGrp="1"/>
          </p:cNvSpPr>
          <p:nvPr>
            <p:ph sz="quarter" idx="27"/>
          </p:nvPr>
        </p:nvSpPr>
        <p:spPr bwMode="gray">
          <a:xfrm>
            <a:off x="6163300" y="2317636"/>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2"/>
          <p:cNvSpPr>
            <a:spLocks noGrp="1"/>
          </p:cNvSpPr>
          <p:nvPr>
            <p:ph sz="quarter" idx="28"/>
          </p:nvPr>
        </p:nvSpPr>
        <p:spPr bwMode="gray">
          <a:xfrm>
            <a:off x="6163300" y="3925788"/>
            <a:ext cx="1739026" cy="1436400"/>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3"/>
          <p:cNvSpPr>
            <a:spLocks noGrp="1"/>
          </p:cNvSpPr>
          <p:nvPr>
            <p:ph sz="quarter" idx="18"/>
          </p:nvPr>
        </p:nvSpPr>
        <p:spPr bwMode="gray">
          <a:xfrm>
            <a:off x="2260482" y="2317636"/>
            <a:ext cx="3757436"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3"/>
          <p:cNvSpPr>
            <a:spLocks noGrp="1"/>
          </p:cNvSpPr>
          <p:nvPr>
            <p:ph sz="quarter" idx="19"/>
          </p:nvPr>
        </p:nvSpPr>
        <p:spPr bwMode="gray">
          <a:xfrm>
            <a:off x="2260482" y="3925788"/>
            <a:ext cx="3757436"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Content Placeholder 3"/>
          <p:cNvSpPr>
            <a:spLocks noGrp="1"/>
          </p:cNvSpPr>
          <p:nvPr>
            <p:ph sz="quarter" idx="20"/>
          </p:nvPr>
        </p:nvSpPr>
        <p:spPr bwMode="gray">
          <a:xfrm>
            <a:off x="8093953" y="2317636"/>
            <a:ext cx="3759312" cy="1436400"/>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1"/>
          </p:nvPr>
        </p:nvSpPr>
        <p:spPr bwMode="gray">
          <a:xfrm>
            <a:off x="8093953" y="3925788"/>
            <a:ext cx="3759312" cy="1436400"/>
          </a:xfrm>
        </p:spPr>
        <p:txBody>
          <a:bodyPr lIns="0" tIns="0" rIns="0" bIns="0"/>
          <a:lstStyle>
            <a:lvl1pPr rtl="0">
              <a:defRPr/>
            </a:lvl1pPr>
            <a:lvl2pPr rtl="0">
              <a:defRPr/>
            </a:lvl2pPr>
            <a:lvl3pPr rtl="0">
              <a:defRPr/>
            </a:lvl3pPr>
            <a:lvl4pPr rtl="0">
              <a:defRPr/>
            </a:lvl4pPr>
            <a:lvl5pPr rtl="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Text Placeholder 7"/>
          <p:cNvSpPr>
            <a:spLocks noGrp="1"/>
          </p:cNvSpPr>
          <p:nvPr>
            <p:ph type="body" sz="quarter" idx="29"/>
          </p:nvPr>
        </p:nvSpPr>
        <p:spPr bwMode="gray">
          <a:xfrm>
            <a:off x="333264" y="5453066"/>
            <a:ext cx="1152000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Subtitle 2"/>
          <p:cNvSpPr>
            <a:spLocks noGrp="1"/>
          </p:cNvSpPr>
          <p:nvPr>
            <p:ph type="subTitle" idx="13"/>
          </p:nvPr>
        </p:nvSpPr>
        <p:spPr bwMode="gray">
          <a:xfrm>
            <a:off x="333264" y="1085213"/>
            <a:ext cx="1152000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332368" y="2238495"/>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8" name="Straight Connector 27"/>
          <p:cNvCxnSpPr/>
          <p:nvPr userDrawn="1"/>
        </p:nvCxnSpPr>
        <p:spPr bwMode="gray">
          <a:xfrm>
            <a:off x="332368" y="3839912"/>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126476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6: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6"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0012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7: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343099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4309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430994"/>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ext Placeholder 7"/>
          <p:cNvSpPr>
            <a:spLocks noGrp="1"/>
          </p:cNvSpPr>
          <p:nvPr>
            <p:ph type="body" sz="quarter" idx="29"/>
          </p:nvPr>
        </p:nvSpPr>
        <p:spPr bwMode="gray">
          <a:xfrm>
            <a:off x="332368" y="5453066"/>
            <a:ext cx="11520896"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96506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8: Title (2)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43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9107" y="2317638"/>
            <a:ext cx="560442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2317638"/>
            <a:ext cx="5603434"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975152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9: Title (2) &amp; Content (2)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36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2365"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8327"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327"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327" y="2317638"/>
            <a:ext cx="5605200" cy="295097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5" y="2317638"/>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ext Placeholder 7"/>
          <p:cNvSpPr>
            <a:spLocks noGrp="1"/>
          </p:cNvSpPr>
          <p:nvPr>
            <p:ph type="body" sz="quarter" idx="29"/>
          </p:nvPr>
        </p:nvSpPr>
        <p:spPr bwMode="gray">
          <a:xfrm>
            <a:off x="332583" y="5453066"/>
            <a:ext cx="11520682"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53141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404372-55C2-4676-BE1B-7AB5862BEE24}"/>
              </a:ext>
            </a:extLst>
          </p:cNvPr>
          <p:cNvSpPr>
            <a:spLocks noGrp="1"/>
          </p:cNvSpPr>
          <p:nvPr>
            <p:ph type="title"/>
          </p:nvPr>
        </p:nvSpPr>
        <p:spPr>
          <a:xfrm>
            <a:off x="331200" y="691200"/>
            <a:ext cx="11530800" cy="367200"/>
          </a:xfrm>
        </p:spPr>
        <p:txBody>
          <a:bodyPr lIns="0" tIns="0" rIns="0" bIns="0"/>
          <a:lstStyle>
            <a:lvl1pPr>
              <a:defRPr b="1"/>
            </a:lvl1pPr>
          </a:lstStyle>
          <a:p>
            <a:r>
              <a:rPr lang="en-US" noProof="0"/>
              <a:t>Click to edit Master title style</a:t>
            </a:r>
          </a:p>
        </p:txBody>
      </p:sp>
      <p:sp>
        <p:nvSpPr>
          <p:cNvPr id="7" name="Text Placeholder 9">
            <a:extLst>
              <a:ext uri="{FF2B5EF4-FFF2-40B4-BE49-F238E27FC236}">
                <a16:creationId xmlns:a16="http://schemas.microsoft.com/office/drawing/2014/main" id="{191F879A-9D5C-4572-8E7C-BF6305780851}"/>
              </a:ext>
            </a:extLst>
          </p:cNvPr>
          <p:cNvSpPr>
            <a:spLocks noGrp="1"/>
          </p:cNvSpPr>
          <p:nvPr>
            <p:ph type="body" sz="quarter" idx="14" hasCustomPrompt="1"/>
          </p:nvPr>
        </p:nvSpPr>
        <p:spPr>
          <a:xfrm>
            <a:off x="331789" y="1057498"/>
            <a:ext cx="11530800" cy="486000"/>
          </a:xfrm>
        </p:spPr>
        <p:txBody>
          <a:bodyPr lIns="0" tIns="0" rIns="0" bIns="0"/>
          <a:lstStyle>
            <a:lvl1pPr>
              <a:defRPr sz="2400">
                <a:latin typeface="ABBvoice Light" panose="020D0403020503020204" pitchFamily="34" charset="0"/>
                <a:ea typeface="ABBvoice Light" panose="020D0403020503020204" pitchFamily="34" charset="0"/>
                <a:cs typeface="ABBvoice Light" panose="020D0403020503020204" pitchFamily="34" charset="0"/>
              </a:defRPr>
            </a:lvl1pPr>
          </a:lstStyle>
          <a:p>
            <a:pPr lvl="0"/>
            <a:r>
              <a:rPr lang="pl-PL" noProof="0"/>
              <a:t>Click to add subtitle</a:t>
            </a:r>
            <a:endParaRPr lang="en-US" noProof="0"/>
          </a:p>
        </p:txBody>
      </p:sp>
      <p:sp>
        <p:nvSpPr>
          <p:cNvPr id="3" name="Footer Placeholder 2">
            <a:extLst>
              <a:ext uri="{FF2B5EF4-FFF2-40B4-BE49-F238E27FC236}">
                <a16:creationId xmlns:a16="http://schemas.microsoft.com/office/drawing/2014/main" id="{9720BA48-2EC3-4080-A97C-33DE1D74B9FF}"/>
              </a:ext>
            </a:extLst>
          </p:cNvPr>
          <p:cNvSpPr>
            <a:spLocks noGrp="1"/>
          </p:cNvSpPr>
          <p:nvPr>
            <p:ph type="ftr" sz="quarter" idx="10"/>
          </p:nvPr>
        </p:nvSpPr>
        <p:spPr/>
        <p:txBody>
          <a:bodyPr lIns="0" tIns="0" rIns="0" bIns="0"/>
          <a:lstStyle/>
          <a:p>
            <a:endParaRPr lang="en-US" noProof="0"/>
          </a:p>
        </p:txBody>
      </p:sp>
      <p:sp>
        <p:nvSpPr>
          <p:cNvPr id="4" name="Date Placeholder 3">
            <a:extLst>
              <a:ext uri="{FF2B5EF4-FFF2-40B4-BE49-F238E27FC236}">
                <a16:creationId xmlns:a16="http://schemas.microsoft.com/office/drawing/2014/main" id="{BD672ED8-D8A6-4B60-9145-0B2F226FCF90}"/>
              </a:ext>
            </a:extLst>
          </p:cNvPr>
          <p:cNvSpPr>
            <a:spLocks noGrp="1"/>
          </p:cNvSpPr>
          <p:nvPr>
            <p:ph type="dt" sz="half" idx="11"/>
          </p:nvPr>
        </p:nvSpPr>
        <p:spPr/>
        <p:txBody>
          <a:bodyPr lIns="0" tIns="0" rIns="0" bIns="0"/>
          <a:lstStyle/>
          <a:p>
            <a:fld id="{B2016A11-4950-4F3F-938B-45DEE5F72969}" type="datetime4">
              <a:rPr lang="en-US" noProof="0"/>
              <a:pPr/>
              <a:t>April 26, 2024</a:t>
            </a:fld>
            <a:endParaRPr lang="en-US" noProof="0"/>
          </a:p>
        </p:txBody>
      </p:sp>
      <p:sp>
        <p:nvSpPr>
          <p:cNvPr id="5" name="Slide Number Placeholder 4">
            <a:extLst>
              <a:ext uri="{FF2B5EF4-FFF2-40B4-BE49-F238E27FC236}">
                <a16:creationId xmlns:a16="http://schemas.microsoft.com/office/drawing/2014/main" id="{B89B7E41-ACE0-4535-9419-94A5884DC919}"/>
              </a:ext>
            </a:extLst>
          </p:cNvPr>
          <p:cNvSpPr>
            <a:spLocks noGrp="1"/>
          </p:cNvSpPr>
          <p:nvPr>
            <p:ph type="sldNum" sz="quarter" idx="12"/>
          </p:nvPr>
        </p:nvSpPr>
        <p:spPr/>
        <p:txBody>
          <a:bodyPr lIns="0" tIns="0" rIns="0" bIns="0"/>
          <a:lstStyle/>
          <a:p>
            <a:r>
              <a:rPr lang="en-US" noProof="0"/>
              <a:t>Slide </a:t>
            </a:r>
            <a:fld id="{619F89D8-7AE3-494A-97F3-03D680869632}" type="slidenum">
              <a:rPr lang="en-US" noProof="0"/>
              <a:pPr/>
              <a:t>‹#›</a:t>
            </a:fld>
            <a:endParaRPr lang="en-US" noProof="0"/>
          </a:p>
        </p:txBody>
      </p:sp>
    </p:spTree>
    <p:extLst>
      <p:ext uri="{BB962C8B-B14F-4D97-AF65-F5344CB8AC3E}">
        <p14:creationId xmlns:p14="http://schemas.microsoft.com/office/powerpoint/2010/main" val="2378624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20: Title (2) &amp; Content (2)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4" y="2317638"/>
            <a:ext cx="5605200" cy="3594474"/>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38"/>
            <a:ext cx="56052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Gleichschenkliges Dreieck 46"/>
          <p:cNvSpPr/>
          <p:nvPr userDrawn="1"/>
        </p:nvSpPr>
        <p:spPr bwMode="gray">
          <a:xfrm rot="5400000">
            <a:off x="4334900" y="4088006"/>
            <a:ext cx="3523271" cy="124946"/>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6" name="Subtitle 2"/>
          <p:cNvSpPr>
            <a:spLocks noGrp="1"/>
          </p:cNvSpPr>
          <p:nvPr>
            <p:ph type="subTitle" idx="13"/>
          </p:nvPr>
        </p:nvSpPr>
        <p:spPr bwMode="gray">
          <a:xfrm>
            <a:off x="332367" y="1085213"/>
            <a:ext cx="1152087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112507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1: Title (2) &amp; Content (2) &amp; Box / Arrow">
    <p:spTree>
      <p:nvGrpSpPr>
        <p:cNvPr id="1" name=""/>
        <p:cNvGrpSpPr/>
        <p:nvPr/>
      </p:nvGrpSpPr>
      <p:grpSpPr>
        <a:xfrm>
          <a:off x="0" y="0"/>
          <a:ext cx="0" cy="0"/>
          <a:chOff x="0" y="0"/>
          <a:chExt cx="0" cy="0"/>
        </a:xfrm>
      </p:grpSpPr>
      <p:sp>
        <p:nvSpPr>
          <p:cNvPr id="16" name="Gleichschenkliges Dreieck 46"/>
          <p:cNvSpPr/>
          <p:nvPr userDrawn="1"/>
        </p:nvSpPr>
        <p:spPr bwMode="gray">
          <a:xfrm rot="5400000">
            <a:off x="4656514" y="3766499"/>
            <a:ext cx="2879662" cy="124579"/>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9" name="Straight Connector 8"/>
          <p:cNvCxnSpPr/>
          <p:nvPr userDrawn="1"/>
        </p:nvCxnSpPr>
        <p:spPr bwMode="gray">
          <a:xfrm>
            <a:off x="6243754" y="2238606"/>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0"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6248045" y="2317751"/>
            <a:ext cx="5605200" cy="2950867"/>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751"/>
            <a:ext cx="56052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 Placeholder 7"/>
          <p:cNvSpPr>
            <a:spLocks noGrp="1"/>
          </p:cNvSpPr>
          <p:nvPr>
            <p:ph type="body" sz="quarter" idx="29"/>
          </p:nvPr>
        </p:nvSpPr>
        <p:spPr bwMode="gray">
          <a:xfrm>
            <a:off x="332367" y="5453066"/>
            <a:ext cx="11521160" cy="460375"/>
          </a:xfrm>
          <a:solidFill>
            <a:schemeClr val="accent3"/>
          </a:solidFill>
        </p:spPr>
        <p:txBody>
          <a:bodyPr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p:cNvSpPr>
            <a:spLocks noGrp="1"/>
          </p:cNvSpPr>
          <p:nvPr>
            <p:ph type="subTitle" idx="13"/>
          </p:nvPr>
        </p:nvSpPr>
        <p:spPr bwMode="gray">
          <a:xfrm>
            <a:off x="332367" y="1085213"/>
            <a:ext cx="11521160"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383184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2: Title &amp; Content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2"/>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0"/>
          </p:nvPr>
        </p:nvSpPr>
        <p:spPr bwMode="gray">
          <a:xfrm>
            <a:off x="6248045" y="1931195"/>
            <a:ext cx="56052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2317640"/>
            <a:ext cx="5605200"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4" name="Straight Connector 23"/>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5266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3: Content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49107" y="1931194"/>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67" y="1931194"/>
            <a:ext cx="5603434" cy="398091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6249107" y="3989616"/>
            <a:ext cx="5604420"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3327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4: Title (3) &amp; Content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5"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5" y="404510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5" y="2318321"/>
            <a:ext cx="5605200" cy="148419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40"/>
            <a:ext cx="5605200" cy="359512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5" y="223917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5" y="4348008"/>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5" y="4432235"/>
            <a:ext cx="5605200" cy="148105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8" name="Subtitle 2"/>
          <p:cNvSpPr>
            <a:spLocks noGrp="1"/>
          </p:cNvSpPr>
          <p:nvPr>
            <p:ph type="subTitle" idx="13"/>
          </p:nvPr>
        </p:nvSpPr>
        <p:spPr bwMode="gray">
          <a:xfrm>
            <a:off x="332368" y="1085213"/>
            <a:ext cx="11521159"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2" name="Straight Connector 31"/>
          <p:cNvCxnSpPr/>
          <p:nvPr userDrawn="1"/>
        </p:nvCxnSpPr>
        <p:spPr bwMode="gray">
          <a:xfrm>
            <a:off x="6095999"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60699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5: Title (3) &amp; Content (3) &amp; Box">
    <p:spTree>
      <p:nvGrpSpPr>
        <p:cNvPr id="1" name=""/>
        <p:cNvGrpSpPr/>
        <p:nvPr/>
      </p:nvGrpSpPr>
      <p:grpSpPr>
        <a:xfrm>
          <a:off x="0" y="0"/>
          <a:ext cx="0" cy="0"/>
          <a:chOff x="0" y="0"/>
          <a:chExt cx="0" cy="0"/>
        </a:xfrm>
      </p:grpSpPr>
      <p:sp>
        <p:nvSpPr>
          <p:cNvPr id="27" name="Text Placeholder 11"/>
          <p:cNvSpPr>
            <a:spLocks noGrp="1"/>
          </p:cNvSpPr>
          <p:nvPr>
            <p:ph type="body" sz="quarter" idx="22"/>
          </p:nvPr>
        </p:nvSpPr>
        <p:spPr bwMode="gray">
          <a:xfrm>
            <a:off x="332366" y="5452639"/>
            <a:ext cx="11520877"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6248043" y="2317641"/>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7"/>
            <a:ext cx="5605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3264"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6248043" y="1931193"/>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6248043" y="3831247"/>
            <a:ext cx="5605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7" name="Straight Connector 10"/>
          <p:cNvCxnSpPr/>
          <p:nvPr userDrawn="1"/>
        </p:nvCxnSpPr>
        <p:spPr bwMode="gray">
          <a:xfrm>
            <a:off x="333264"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1" name="Straight Connector 9"/>
          <p:cNvCxnSpPr/>
          <p:nvPr userDrawn="1"/>
        </p:nvCxnSpPr>
        <p:spPr bwMode="gray">
          <a:xfrm>
            <a:off x="6248043" y="2238495"/>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6248043" y="4135561"/>
            <a:ext cx="5605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6248043" y="4214707"/>
            <a:ext cx="5605200"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19"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6095999"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87753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6: Title &amp; Content (2)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2582" y="1931195"/>
            <a:ext cx="206420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2700027" y="1931195"/>
            <a:ext cx="9153500"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582" y="2317640"/>
            <a:ext cx="2064201"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983" y="2238495"/>
            <a:ext cx="2062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2548405"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144687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7: Title &amp; Content (2) 3">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7" name="Text Placeholder 11"/>
          <p:cNvSpPr>
            <a:spLocks noGrp="1"/>
          </p:cNvSpPr>
          <p:nvPr>
            <p:ph type="body" sz="quarter" idx="16"/>
          </p:nvPr>
        </p:nvSpPr>
        <p:spPr bwMode="gray">
          <a:xfrm>
            <a:off x="333264" y="1931195"/>
            <a:ext cx="4093766"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0"/>
          </p:nvPr>
        </p:nvSpPr>
        <p:spPr bwMode="gray">
          <a:xfrm>
            <a:off x="4724929" y="1931195"/>
            <a:ext cx="7128598"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3" y="2317640"/>
            <a:ext cx="4093767" cy="3594475"/>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6" name="Straight Connector 15"/>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6" name="Straight Connector 25"/>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92074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8: Title (3) &amp; Content (3) 3">
    <p:spTree>
      <p:nvGrpSpPr>
        <p:cNvPr id="1" name=""/>
        <p:cNvGrpSpPr/>
        <p:nvPr/>
      </p:nvGrpSpPr>
      <p:grpSpPr>
        <a:xfrm>
          <a:off x="0" y="0"/>
          <a:ext cx="0" cy="0"/>
          <a:chOff x="0" y="0"/>
          <a:chExt cx="0" cy="0"/>
        </a:xfrm>
      </p:grpSpPr>
      <p:sp>
        <p:nvSpPr>
          <p:cNvPr id="12" name="Text Placeholder 11"/>
          <p:cNvSpPr>
            <a:spLocks noGrp="1"/>
          </p:cNvSpPr>
          <p:nvPr>
            <p:ph type="body" sz="quarter" idx="16"/>
          </p:nvPr>
        </p:nvSpPr>
        <p:spPr bwMode="gray">
          <a:xfrm>
            <a:off x="333264" y="1931193"/>
            <a:ext cx="409376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453" y="1931194"/>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453" y="4042705"/>
            <a:ext cx="7128811"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453" y="2317638"/>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5"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cxnSp>
        <p:nvCxnSpPr>
          <p:cNvPr id="11" name="Straight Connector 9"/>
          <p:cNvCxnSpPr/>
          <p:nvPr userDrawn="1"/>
        </p:nvCxnSpPr>
        <p:spPr bwMode="gray">
          <a:xfrm>
            <a:off x="4725264"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4" name="Straight Connector 14"/>
          <p:cNvCxnSpPr/>
          <p:nvPr userDrawn="1"/>
        </p:nvCxnSpPr>
        <p:spPr bwMode="gray">
          <a:xfrm>
            <a:off x="4725264" y="4349421"/>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8" name="Content Placeholder 15"/>
          <p:cNvSpPr>
            <a:spLocks noGrp="1"/>
          </p:cNvSpPr>
          <p:nvPr>
            <p:ph sz="quarter" idx="21"/>
          </p:nvPr>
        </p:nvSpPr>
        <p:spPr bwMode="gray">
          <a:xfrm>
            <a:off x="4724453" y="4428564"/>
            <a:ext cx="7128811" cy="148354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6" y="1085213"/>
            <a:ext cx="11521161"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7" name="Straight Connector 36"/>
          <p:cNvCxnSpPr/>
          <p:nvPr userDrawn="1"/>
        </p:nvCxnSpPr>
        <p:spPr bwMode="gray">
          <a:xfrm>
            <a:off x="4575980"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1" name="Straight Connector 40"/>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9081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9: Title (3) &amp; Content (3) &amp; Box 3">
    <p:spTree>
      <p:nvGrpSpPr>
        <p:cNvPr id="1" name=""/>
        <p:cNvGrpSpPr/>
        <p:nvPr/>
      </p:nvGrpSpPr>
      <p:grpSpPr>
        <a:xfrm>
          <a:off x="0" y="0"/>
          <a:ext cx="0" cy="0"/>
          <a:chOff x="0" y="0"/>
          <a:chExt cx="0" cy="0"/>
        </a:xfrm>
      </p:grpSpPr>
      <p:cxnSp>
        <p:nvCxnSpPr>
          <p:cNvPr id="42" name="Straight Connector 41"/>
          <p:cNvCxnSpPr/>
          <p:nvPr userDrawn="1"/>
        </p:nvCxnSpPr>
        <p:spPr bwMode="gray">
          <a:xfrm>
            <a:off x="457598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7" name="Text Placeholder 11"/>
          <p:cNvSpPr>
            <a:spLocks noGrp="1"/>
          </p:cNvSpPr>
          <p:nvPr>
            <p:ph type="body" sz="quarter" idx="22"/>
          </p:nvPr>
        </p:nvSpPr>
        <p:spPr bwMode="gray">
          <a:xfrm>
            <a:off x="332366" y="5452639"/>
            <a:ext cx="11521161" cy="460800"/>
          </a:xfrm>
          <a:solidFill>
            <a:schemeClr val="accent3"/>
          </a:solidFill>
        </p:spPr>
        <p:txBody>
          <a:bodyPr lIns="0" tIns="0" rIns="0" anchor="ctr"/>
          <a:lstStyle>
            <a:lvl1pPr marL="0" indent="0" algn="ctr">
              <a:spcBef>
                <a:spcPts val="0"/>
              </a:spcBef>
              <a:buFont typeface="Arial" panose="020B0604020202020204" pitchFamily="34" charset="0"/>
              <a:buNone/>
              <a:defRPr sz="1600" b="1">
                <a:solidFill>
                  <a:schemeClr val="bg1"/>
                </a:solidFill>
              </a:defRPr>
            </a:lvl1pPr>
            <a:lvl2pPr marL="0" indent="0" algn="ctr">
              <a:spcBef>
                <a:spcPts val="0"/>
              </a:spcBef>
              <a:buNone/>
              <a:defRPr sz="1600" b="1">
                <a:solidFill>
                  <a:schemeClr val="bg1"/>
                </a:solidFill>
              </a:defRPr>
            </a:lvl2pPr>
            <a:lvl3pPr marL="0" indent="0" algn="ctr">
              <a:spcBef>
                <a:spcPts val="0"/>
              </a:spcBef>
              <a:buNone/>
              <a:defRPr sz="1600" b="1">
                <a:solidFill>
                  <a:schemeClr val="bg1"/>
                </a:solidFill>
              </a:defRPr>
            </a:lvl3pPr>
            <a:lvl4pPr marL="0" indent="0" algn="ctr">
              <a:spcBef>
                <a:spcPts val="0"/>
              </a:spcBef>
              <a:buNone/>
              <a:defRPr sz="1600" b="1">
                <a:solidFill>
                  <a:schemeClr val="bg1"/>
                </a:solidFill>
              </a:defRPr>
            </a:lvl4pPr>
            <a:lvl5pPr marL="0" indent="0" algn="ctr">
              <a:spcBef>
                <a:spcPts val="0"/>
              </a:spcBef>
              <a:buNone/>
              <a:defRPr sz="1600" b="1">
                <a:solidFill>
                  <a:schemeClr val="bg1"/>
                </a:solidFill>
              </a:defRPr>
            </a:lvl5pPr>
            <a:lvl6pPr marL="0" indent="0" algn="ctr">
              <a:spcBef>
                <a:spcPts val="0"/>
              </a:spcBef>
              <a:buNone/>
              <a:defRPr sz="1600" b="1">
                <a:solidFill>
                  <a:schemeClr val="bg1"/>
                </a:solidFill>
              </a:defRPr>
            </a:lvl6pPr>
            <a:lvl7pPr marL="0" indent="0" algn="ctr">
              <a:spcBef>
                <a:spcPts val="0"/>
              </a:spcBef>
              <a:buNone/>
              <a:defRPr sz="1600" b="1">
                <a:solidFill>
                  <a:schemeClr val="bg1"/>
                </a:solidFill>
              </a:defRPr>
            </a:lvl7pPr>
            <a:lvl8pPr marL="0" indent="0" algn="ctr">
              <a:spcBef>
                <a:spcPts val="0"/>
              </a:spcBef>
              <a:buNone/>
              <a:defRPr sz="1600" b="1">
                <a:solidFill>
                  <a:schemeClr val="bg1"/>
                </a:solidFill>
              </a:defRPr>
            </a:lvl8pPr>
            <a:lvl9pPr marL="0"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Content Placeholder 15"/>
          <p:cNvSpPr>
            <a:spLocks noGrp="1"/>
          </p:cNvSpPr>
          <p:nvPr>
            <p:ph sz="quarter" idx="20"/>
          </p:nvPr>
        </p:nvSpPr>
        <p:spPr bwMode="gray">
          <a:xfrm>
            <a:off x="4724930" y="2317641"/>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15"/>
          <p:cNvSpPr>
            <a:spLocks noGrp="1"/>
          </p:cNvSpPr>
          <p:nvPr>
            <p:ph sz="quarter" idx="19"/>
          </p:nvPr>
        </p:nvSpPr>
        <p:spPr bwMode="gray">
          <a:xfrm>
            <a:off x="333264" y="2317638"/>
            <a:ext cx="4094664" cy="295097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11"/>
          <p:cNvSpPr>
            <a:spLocks noGrp="1"/>
          </p:cNvSpPr>
          <p:nvPr>
            <p:ph type="body" sz="quarter" idx="16"/>
          </p:nvPr>
        </p:nvSpPr>
        <p:spPr bwMode="gray">
          <a:xfrm>
            <a:off x="332367" y="1931193"/>
            <a:ext cx="4094664"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11"/>
          <p:cNvSpPr>
            <a:spLocks noGrp="1"/>
          </p:cNvSpPr>
          <p:nvPr>
            <p:ph type="body" sz="quarter" idx="17"/>
          </p:nvPr>
        </p:nvSpPr>
        <p:spPr bwMode="gray">
          <a:xfrm>
            <a:off x="4724930" y="1931193"/>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11"/>
          <p:cNvSpPr>
            <a:spLocks noGrp="1"/>
          </p:cNvSpPr>
          <p:nvPr>
            <p:ph type="body" sz="quarter" idx="18"/>
          </p:nvPr>
        </p:nvSpPr>
        <p:spPr bwMode="gray">
          <a:xfrm>
            <a:off x="4724930" y="3831247"/>
            <a:ext cx="7129297"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ußzeilenplatzhalter 2"/>
          <p:cNvSpPr>
            <a:spLocks noGrp="1"/>
          </p:cNvSpPr>
          <p:nvPr>
            <p:ph type="ftr" sz="quarter" idx="10"/>
          </p:nvPr>
        </p:nvSpPr>
        <p:spPr bwMode="gray"/>
        <p:txBody>
          <a:bodyPr/>
          <a:lstStyle/>
          <a:p>
            <a:pPr lvl="8"/>
            <a:endParaRPr lang="en-US"/>
          </a:p>
        </p:txBody>
      </p:sp>
      <p:sp>
        <p:nvSpPr>
          <p:cNvPr id="4" name="Datumsplatzhalter 3"/>
          <p:cNvSpPr>
            <a:spLocks noGrp="1"/>
          </p:cNvSpPr>
          <p:nvPr>
            <p:ph type="dt" sz="half" idx="11"/>
          </p:nvPr>
        </p:nvSpPr>
        <p:spPr bwMode="gray"/>
        <p:txBody>
          <a:bodyPr/>
          <a:lstStyle/>
          <a:p>
            <a:r>
              <a:rPr lang="en-US"/>
              <a:t>March 4, 2021</a:t>
            </a:r>
          </a:p>
        </p:txBody>
      </p:sp>
      <p:sp>
        <p:nvSpPr>
          <p:cNvPr id="5" name="Foliennummernplatzhalt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28" name="Content Placeholder 15"/>
          <p:cNvSpPr>
            <a:spLocks noGrp="1"/>
          </p:cNvSpPr>
          <p:nvPr>
            <p:ph sz="quarter" idx="21"/>
          </p:nvPr>
        </p:nvSpPr>
        <p:spPr bwMode="gray">
          <a:xfrm>
            <a:off x="4724930" y="4214707"/>
            <a:ext cx="7128597" cy="105391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9" name="Straight Connector 9"/>
          <p:cNvCxnSpPr/>
          <p:nvPr userDrawn="1"/>
        </p:nvCxnSpPr>
        <p:spPr bwMode="gray">
          <a:xfrm>
            <a:off x="4724930" y="2238495"/>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9" name="Straight Connector 28"/>
          <p:cNvCxnSpPr/>
          <p:nvPr userDrawn="1"/>
        </p:nvCxnSpPr>
        <p:spPr bwMode="gray">
          <a:xfrm>
            <a:off x="4727528" y="4136597"/>
            <a:ext cx="7128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6" name="Title 5"/>
          <p:cNvSpPr>
            <a:spLocks noGrp="1"/>
          </p:cNvSpPr>
          <p:nvPr>
            <p:ph type="title"/>
          </p:nvPr>
        </p:nvSpPr>
        <p:spPr/>
        <p:txBody>
          <a:bodyPr/>
          <a:lstStyle/>
          <a:p>
            <a:r>
              <a:rPr lang="en-US"/>
              <a:t>Click to edit Master title style</a:t>
            </a:r>
          </a:p>
        </p:txBody>
      </p:sp>
      <p:sp>
        <p:nvSpPr>
          <p:cNvPr id="20"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5" name="Straight Connector 44"/>
          <p:cNvCxnSpPr/>
          <p:nvPr userDrawn="1"/>
        </p:nvCxnSpPr>
        <p:spPr bwMode="gray">
          <a:xfrm>
            <a:off x="333264" y="2238495"/>
            <a:ext cx="4093769"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3220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pic>
        <p:nvPicPr>
          <p:cNvPr id="1027" name="Picture 3"/>
          <p:cNvPicPr>
            <a:picLocks noChangeAspect="1" noChangeArrowheads="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2"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6" name="Text Placeholder 5"/>
          <p:cNvSpPr>
            <a:spLocks noGrp="1"/>
          </p:cNvSpPr>
          <p:nvPr>
            <p:ph type="body" sz="quarter" idx="16"/>
          </p:nvPr>
        </p:nvSpPr>
        <p:spPr bwMode="gray">
          <a:xfrm>
            <a:off x="334963" y="365752"/>
            <a:ext cx="1528942" cy="230400"/>
          </a:xfrm>
          <a:prstGeom prst="roundRect">
            <a:avLst>
              <a:gd name="adj" fmla="val 50000"/>
            </a:avLst>
          </a:prstGeom>
          <a:solidFill>
            <a:schemeClr val="accent2"/>
          </a:solidFill>
        </p:spPr>
        <p:txBody>
          <a:bodyPr anchor="ctr"/>
          <a:lstStyle>
            <a:lvl1pPr marL="0" indent="0" algn="ctr">
              <a:spcBef>
                <a:spcPts val="0"/>
              </a:spcBef>
              <a:buFont typeface="Arial" panose="020B0604020202020204" pitchFamily="34" charset="0"/>
              <a:buNone/>
              <a:defRPr sz="900" cap="all" baseline="0">
                <a:solidFill>
                  <a:schemeClr val="bg1"/>
                </a:solidFill>
              </a:defRPr>
            </a:lvl1pPr>
            <a:lvl2pPr marL="0" indent="0" algn="ctr">
              <a:spcBef>
                <a:spcPts val="0"/>
              </a:spcBef>
              <a:buNone/>
              <a:defRPr sz="900" cap="all" baseline="0">
                <a:solidFill>
                  <a:schemeClr val="bg1"/>
                </a:solidFill>
              </a:defRPr>
            </a:lvl2pPr>
            <a:lvl3pPr marL="0" indent="0" algn="ctr">
              <a:spcBef>
                <a:spcPts val="0"/>
              </a:spcBef>
              <a:buNone/>
              <a:defRPr sz="900" cap="all" baseline="0">
                <a:solidFill>
                  <a:schemeClr val="bg1"/>
                </a:solidFill>
              </a:defRPr>
            </a:lvl3pPr>
            <a:lvl4pPr marL="0" indent="0" algn="ctr">
              <a:spcBef>
                <a:spcPts val="0"/>
              </a:spcBef>
              <a:buNone/>
              <a:defRPr sz="900" cap="all" baseline="0">
                <a:solidFill>
                  <a:schemeClr val="bg1"/>
                </a:solidFill>
              </a:defRPr>
            </a:lvl4pPr>
            <a:lvl5pPr marL="0" indent="0" algn="ctr">
              <a:spcBef>
                <a:spcPts val="0"/>
              </a:spcBef>
              <a:buNone/>
              <a:defRPr sz="900" cap="all" baseline="0">
                <a:solidFill>
                  <a:schemeClr val="bg1"/>
                </a:solidFill>
              </a:defRPr>
            </a:lvl5pPr>
            <a:lvl6pPr marL="0" indent="0" algn="ctr">
              <a:spcBef>
                <a:spcPts val="0"/>
              </a:spcBef>
              <a:buNone/>
              <a:defRPr sz="900" cap="all" baseline="0">
                <a:solidFill>
                  <a:schemeClr val="bg1"/>
                </a:solidFill>
              </a:defRPr>
            </a:lvl6pPr>
            <a:lvl7pPr marL="0" indent="0" algn="ctr">
              <a:spcBef>
                <a:spcPts val="0"/>
              </a:spcBef>
              <a:buNone/>
              <a:defRPr sz="900" cap="all" baseline="0">
                <a:solidFill>
                  <a:schemeClr val="bg1"/>
                </a:solidFill>
              </a:defRPr>
            </a:lvl7pPr>
            <a:lvl8pPr marL="0" indent="0" algn="ctr">
              <a:spcBef>
                <a:spcPts val="0"/>
              </a:spcBef>
              <a:buNone/>
              <a:defRPr sz="900" cap="all" baseline="0">
                <a:solidFill>
                  <a:schemeClr val="bg1"/>
                </a:solidFill>
              </a:defRPr>
            </a:lvl8pPr>
            <a:lvl9pPr marL="0" indent="0" algn="ctr">
              <a:spcBef>
                <a:spcPts val="0"/>
              </a:spcBef>
              <a:buNone/>
              <a:defRPr sz="900" cap="all" baseline="0">
                <a:solidFill>
                  <a:schemeClr val="bg1"/>
                </a:solidFill>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7"/>
          <p:cNvSpPr>
            <a:spLocks noGrp="1"/>
          </p:cNvSpPr>
          <p:nvPr>
            <p:ph type="body" sz="quarter" idx="13"/>
          </p:nvPr>
        </p:nvSpPr>
        <p:spPr bwMode="gray">
          <a:xfrm>
            <a:off x="340519" y="5000633"/>
            <a:ext cx="10112937" cy="224432"/>
          </a:xfrm>
        </p:spPr>
        <p:txBody>
          <a:bodyPr lIns="0" tIns="0" rIns="0" bIns="0" anchor="b"/>
          <a:lstStyle>
            <a:lvl1pPr marL="1588" indent="0">
              <a:buFont typeface="Arial" panose="020B0604020202020204" pitchFamily="34" charset="0"/>
              <a:buNone/>
              <a:defRPr sz="1000" cap="all" baseline="0"/>
            </a:lvl1pPr>
            <a:lvl2pPr marL="1588" indent="0">
              <a:buNone/>
              <a:defRPr sz="1000" cap="all" baseline="0"/>
            </a:lvl2pPr>
            <a:lvl3pPr marL="1588" indent="0">
              <a:buNone/>
              <a:defRPr sz="1000" cap="all" baseline="0"/>
            </a:lvl3pPr>
            <a:lvl4pPr marL="1588" indent="0">
              <a:buNone/>
              <a:defRPr sz="1000" cap="all" baseline="0"/>
            </a:lvl4pPr>
            <a:lvl5pPr marL="1588" indent="0">
              <a:buNone/>
              <a:defRPr sz="1000" cap="all" baseline="0"/>
            </a:lvl5pPr>
            <a:lvl6pPr marL="1588" indent="0">
              <a:buNone/>
              <a:defRPr sz="1000" cap="all" baseline="0"/>
            </a:lvl6pPr>
            <a:lvl7pPr marL="1588" indent="0">
              <a:buNone/>
              <a:defRPr sz="1000" cap="all" baseline="0"/>
            </a:lvl7pPr>
            <a:lvl8pPr marL="1588" indent="0">
              <a:buNone/>
              <a:defRPr sz="1000" cap="all" baseline="0"/>
            </a:lvl8pPr>
            <a:lvl9pPr marL="1588" indent="0">
              <a:buNone/>
              <a:defRPr sz="1000" cap="all" baseline="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ctrTitle"/>
          </p:nvPr>
        </p:nvSpPr>
        <p:spPr bwMode="gray">
          <a:xfrm>
            <a:off x="340519" y="5205567"/>
            <a:ext cx="10112148" cy="504000"/>
          </a:xfrm>
        </p:spPr>
        <p:txBody>
          <a:bodyPr lIns="0" tIns="0" rIns="0" bIns="0" anchor="b"/>
          <a:lstStyle>
            <a:lvl1pPr>
              <a:defRPr sz="3200"/>
            </a:lvl1pPr>
          </a:lstStyle>
          <a:p>
            <a:r>
              <a:rPr lang="en-US"/>
              <a:t>Click to edit Master title style</a:t>
            </a:r>
          </a:p>
        </p:txBody>
      </p:sp>
      <p:sp>
        <p:nvSpPr>
          <p:cNvPr id="3" name="Subtitle 2"/>
          <p:cNvSpPr>
            <a:spLocks noGrp="1"/>
          </p:cNvSpPr>
          <p:nvPr>
            <p:ph type="subTitle" idx="1"/>
          </p:nvPr>
        </p:nvSpPr>
        <p:spPr bwMode="gray">
          <a:xfrm>
            <a:off x="340520" y="5751514"/>
            <a:ext cx="10112147" cy="360865"/>
          </a:xfrm>
        </p:spPr>
        <p:txBody>
          <a:bodyPr lIns="0" tIns="0" rIns="0" bIns="0"/>
          <a:lstStyle>
            <a:lvl1pPr marL="0" indent="0" algn="l">
              <a:buNone/>
              <a:defRPr sz="20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20" name="Text Placeholder 19"/>
          <p:cNvSpPr>
            <a:spLocks noGrp="1"/>
          </p:cNvSpPr>
          <p:nvPr>
            <p:ph type="body" sz="quarter" idx="14"/>
          </p:nvPr>
        </p:nvSpPr>
        <p:spPr bwMode="gray">
          <a:xfrm>
            <a:off x="340519" y="6109996"/>
            <a:ext cx="10112937" cy="280092"/>
          </a:xfrm>
        </p:spPr>
        <p:txBody>
          <a:bodyPr lIns="0" tIns="0" rIns="0" bIns="0"/>
          <a:lstStyle>
            <a:lvl1pPr marL="0" indent="0">
              <a:buFont typeface="Arial" panose="020B0604020202020204" pitchFamily="34" charset="0"/>
              <a:buNone/>
              <a:defRPr/>
            </a:lvl1pPr>
            <a:lvl2pPr marL="0" indent="0">
              <a:buNone/>
              <a:defRPr/>
            </a:lvl2pPr>
            <a:lvl3pPr marL="0" indent="0">
              <a:buNone/>
              <a:defRPr/>
            </a:lvl3pPr>
            <a:lvl4pPr marL="0" indent="0">
              <a:buNone/>
              <a:defRPr/>
            </a:lvl4pPr>
            <a:lvl5pPr marL="0" indent="0">
              <a:buNone/>
              <a:defRPr/>
            </a:lvl5pPr>
            <a:lvl6pPr marL="0" indent="0">
              <a:buNone/>
              <a:defRPr/>
            </a:lvl6pPr>
            <a:lvl7pPr marL="0" indent="0">
              <a:buNone/>
              <a:defRPr/>
            </a:lvl7pPr>
            <a:lvl8pPr marL="0" indent="0">
              <a:buNone/>
              <a:defRPr/>
            </a:lvl8pPr>
            <a:lvl9pPr marL="0" indent="0">
              <a:buNone/>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Rectangle 16"/>
          <p:cNvSpPr/>
          <p:nvPr userDrawn="1"/>
        </p:nvSpPr>
        <p:spPr bwMode="gray">
          <a:xfrm>
            <a:off x="249357" y="4828013"/>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3200" b="1">
                <a:solidFill>
                  <a:schemeClr val="bg2"/>
                </a:solidFill>
              </a:rPr>
              <a:t>—</a:t>
            </a:r>
            <a:endParaRPr lang="en-US" sz="3200" b="1" err="1">
              <a:solidFill>
                <a:schemeClr val="bg2"/>
              </a:solidFill>
            </a:endParaRPr>
          </a:p>
        </p:txBody>
      </p:sp>
      <p:pic>
        <p:nvPicPr>
          <p:cNvPr id="10" name="Picture 19"/>
          <p:cNvPicPr>
            <a:picLocks noChangeAspect="1" noChangeArrowheads="1"/>
          </p:cNvPicPr>
          <p:nvPr userDrawn="1"/>
        </p:nvPicPr>
        <p:blipFill>
          <a:blip r:embed="rId3" cstate="screen">
            <a:extLst>
              <a:ext uri="{28A0092B-C50C-407E-A947-70E740481C1C}">
                <a14:useLocalDpi xmlns:a14="http://schemas.microsoft.com/office/drawing/2010/main"/>
              </a:ext>
            </a:extLst>
          </a:blip>
          <a:srcRect/>
          <a:stretch>
            <a:fillRect/>
          </a:stretch>
        </p:blipFill>
        <p:spPr bwMode="auto">
          <a:xfrm>
            <a:off x="10979643" y="6160150"/>
            <a:ext cx="873621" cy="33496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707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30: Title (3) &amp;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5"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184"/>
            <a:ext cx="3643200" cy="3594931"/>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5" name="Straight Connector 34"/>
          <p:cNvCxnSpPr/>
          <p:nvPr userDrawn="1"/>
        </p:nvCxnSpPr>
        <p:spPr bwMode="gray">
          <a:xfrm>
            <a:off x="4124130"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6" name="Straight Connector 35"/>
          <p:cNvCxnSpPr/>
          <p:nvPr userDrawn="1"/>
        </p:nvCxnSpPr>
        <p:spPr bwMode="gray">
          <a:xfrm>
            <a:off x="8062662" y="2388386"/>
            <a:ext cx="0" cy="352664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494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31: Title (3) &amp; Content (3) &amp; Box 2">
    <p:spTree>
      <p:nvGrpSpPr>
        <p:cNvPr id="1" name=""/>
        <p:cNvGrpSpPr/>
        <p:nvPr/>
      </p:nvGrpSpPr>
      <p:grpSpPr>
        <a:xfrm>
          <a:off x="0" y="0"/>
          <a:ext cx="0" cy="0"/>
          <a:chOff x="0" y="0"/>
          <a:chExt cx="0" cy="0"/>
        </a:xfrm>
      </p:grpSpPr>
      <p:sp>
        <p:nvSpPr>
          <p:cNvPr id="18" name="Text Placeholder 17"/>
          <p:cNvSpPr>
            <a:spLocks noGrp="1"/>
          </p:cNvSpPr>
          <p:nvPr>
            <p:ph type="body" sz="quarter" idx="28"/>
          </p:nvPr>
        </p:nvSpPr>
        <p:spPr bwMode="gray">
          <a:xfrm>
            <a:off x="333264" y="5452639"/>
            <a:ext cx="1152026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5"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34" name="Straight Connector 33"/>
          <p:cNvCxnSpPr/>
          <p:nvPr userDrawn="1"/>
        </p:nvCxnSpPr>
        <p:spPr bwMode="gray">
          <a:xfrm>
            <a:off x="4124130"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35" name="Straight Connector 34"/>
          <p:cNvCxnSpPr/>
          <p:nvPr userDrawn="1"/>
        </p:nvCxnSpPr>
        <p:spPr bwMode="gray">
          <a:xfrm>
            <a:off x="8062661" y="2388842"/>
            <a:ext cx="0" cy="287977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971938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32: Title (3) &amp; Content (3)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6"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917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8318"/>
            <a:ext cx="3643200" cy="359379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Gleichschenkliges Dreieck 46"/>
          <p:cNvSpPr/>
          <p:nvPr userDrawn="1"/>
        </p:nvSpPr>
        <p:spPr bwMode="gray">
          <a:xfrm rot="5400000">
            <a:off x="6301200" y="4088360"/>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19" name="Gleichschenkliges Dreieck 46"/>
          <p:cNvSpPr/>
          <p:nvPr userDrawn="1"/>
        </p:nvSpPr>
        <p:spPr bwMode="gray">
          <a:xfrm rot="5400000">
            <a:off x="2362815" y="4091269"/>
            <a:ext cx="3522591"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Subtitle 2"/>
          <p:cNvSpPr>
            <a:spLocks noGrp="1"/>
          </p:cNvSpPr>
          <p:nvPr>
            <p:ph type="subTitle" idx="13"/>
          </p:nvPr>
        </p:nvSpPr>
        <p:spPr bwMode="gray">
          <a:xfrm>
            <a:off x="332368" y="1085213"/>
            <a:ext cx="11520896"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066309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3: Title (3) &amp; Content (3) &amp; Box / Arrow">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1" name="Content Placeholder 3"/>
          <p:cNvSpPr>
            <a:spLocks noGrp="1"/>
          </p:cNvSpPr>
          <p:nvPr>
            <p:ph sz="quarter" idx="23"/>
          </p:nvPr>
        </p:nvSpPr>
        <p:spPr bwMode="gray">
          <a:xfrm>
            <a:off x="333264"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5"/>
          </p:nvPr>
        </p:nvSpPr>
        <p:spPr bwMode="gray">
          <a:xfrm>
            <a:off x="4271795"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495"/>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2" name="Content Placeholder 3"/>
          <p:cNvSpPr>
            <a:spLocks noGrp="1"/>
          </p:cNvSpPr>
          <p:nvPr>
            <p:ph sz="quarter" idx="27"/>
          </p:nvPr>
        </p:nvSpPr>
        <p:spPr bwMode="gray">
          <a:xfrm>
            <a:off x="8210327" y="2317638"/>
            <a:ext cx="3643200" cy="2950978"/>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Text Placeholder 17"/>
          <p:cNvSpPr>
            <a:spLocks noGrp="1"/>
          </p:cNvSpPr>
          <p:nvPr>
            <p:ph type="body" sz="quarter" idx="28"/>
          </p:nvPr>
        </p:nvSpPr>
        <p:spPr bwMode="gray">
          <a:xfrm>
            <a:off x="332581" y="5452639"/>
            <a:ext cx="11520683"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
        <p:nvSpPr>
          <p:cNvPr id="19" name="Gleichschenkliges Dreieck 46"/>
          <p:cNvSpPr/>
          <p:nvPr userDrawn="1"/>
        </p:nvSpPr>
        <p:spPr bwMode="gray">
          <a:xfrm rot="5400000">
            <a:off x="6622950" y="3766612"/>
            <a:ext cx="2879092"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
        <p:nvSpPr>
          <p:cNvPr id="24" name="Gleichschenkliges Dreieck 46"/>
          <p:cNvSpPr/>
          <p:nvPr userDrawn="1"/>
        </p:nvSpPr>
        <p:spPr bwMode="gray">
          <a:xfrm rot="5400000">
            <a:off x="2684564" y="3769521"/>
            <a:ext cx="2879093" cy="124922"/>
          </a:xfrm>
          <a:prstGeom prst="triangle">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sz="1349">
              <a:latin typeface="ABBvoice" panose="020D0603020503020204" pitchFamily="34" charset="0"/>
              <a:ea typeface="ABBvoice" panose="020D0603020503020204" pitchFamily="34" charset="0"/>
              <a:cs typeface="ABBvoice" panose="020D0603020503020204" pitchFamily="34" charset="0"/>
            </a:endParaRPr>
          </a:p>
        </p:txBody>
      </p:sp>
    </p:spTree>
    <p:extLst>
      <p:ext uri="{BB962C8B-B14F-4D97-AF65-F5344CB8AC3E}">
        <p14:creationId xmlns:p14="http://schemas.microsoft.com/office/powerpoint/2010/main" val="1016017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4: Title (3) &amp; Content (6)">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2"/>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67378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3"/>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279370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35: Title (3) &amp; Content (6) &amp; Box">
    <p:spTree>
      <p:nvGrpSpPr>
        <p:cNvPr id="1" name=""/>
        <p:cNvGrpSpPr/>
        <p:nvPr/>
      </p:nvGrpSpPr>
      <p:grpSpPr>
        <a:xfrm>
          <a:off x="0" y="0"/>
          <a:ext cx="0" cy="0"/>
          <a:chOff x="0" y="0"/>
          <a:chExt cx="0" cy="0"/>
        </a:xfrm>
      </p:grpSpPr>
      <p:sp>
        <p:nvSpPr>
          <p:cNvPr id="28" name="Content Placeholder 3"/>
          <p:cNvSpPr>
            <a:spLocks noGrp="1"/>
          </p:cNvSpPr>
          <p:nvPr>
            <p:ph sz="quarter" idx="28"/>
          </p:nvPr>
        </p:nvSpPr>
        <p:spPr bwMode="gray">
          <a:xfrm>
            <a:off x="333264"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4271796"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0" name="Content Placeholder 3"/>
          <p:cNvSpPr>
            <a:spLocks noGrp="1"/>
          </p:cNvSpPr>
          <p:nvPr>
            <p:ph sz="quarter" idx="30"/>
          </p:nvPr>
        </p:nvSpPr>
        <p:spPr bwMode="gray">
          <a:xfrm>
            <a:off x="8210327" y="2317751"/>
            <a:ext cx="3643200" cy="1692493"/>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4271796"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8210327" y="4239659"/>
            <a:ext cx="3643200" cy="102895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userDrawn="1"/>
        </p:nvCxnSpPr>
        <p:spPr bwMode="gray">
          <a:xfrm>
            <a:off x="333264"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ext Placeholder 11"/>
          <p:cNvSpPr>
            <a:spLocks noGrp="1"/>
          </p:cNvSpPr>
          <p:nvPr>
            <p:ph type="body" sz="quarter" idx="24"/>
          </p:nvPr>
        </p:nvSpPr>
        <p:spPr bwMode="gray">
          <a:xfrm>
            <a:off x="4271796"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bwMode="gray">
          <a:xfrm>
            <a:off x="4271796"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ext Placeholder 11"/>
          <p:cNvSpPr>
            <a:spLocks noGrp="1"/>
          </p:cNvSpPr>
          <p:nvPr>
            <p:ph type="body" sz="quarter" idx="26"/>
          </p:nvPr>
        </p:nvSpPr>
        <p:spPr bwMode="gray">
          <a:xfrm>
            <a:off x="8210327" y="1931191"/>
            <a:ext cx="36432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1" name="Straight Connector 20"/>
          <p:cNvCxnSpPr/>
          <p:nvPr userDrawn="1"/>
        </p:nvCxnSpPr>
        <p:spPr bwMode="gray">
          <a:xfrm>
            <a:off x="8210327" y="2238606"/>
            <a:ext cx="36432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ext Placeholder 17"/>
          <p:cNvSpPr>
            <a:spLocks noGrp="1"/>
          </p:cNvSpPr>
          <p:nvPr>
            <p:ph type="body" sz="quarter" idx="31"/>
          </p:nvPr>
        </p:nvSpPr>
        <p:spPr bwMode="gray">
          <a:xfrm>
            <a:off x="333264" y="5452639"/>
            <a:ext cx="11520000"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spTree>
    <p:extLst>
      <p:ext uri="{BB962C8B-B14F-4D97-AF65-F5344CB8AC3E}">
        <p14:creationId xmlns:p14="http://schemas.microsoft.com/office/powerpoint/2010/main" val="4040190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36: Content (5)">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332367"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2355"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8"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313943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291292" y="1931194"/>
            <a:ext cx="5609417" cy="3980918"/>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9049511" y="1931194"/>
            <a:ext cx="0" cy="3980918"/>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Content Placeholder 3"/>
          <p:cNvSpPr>
            <a:spLocks noGrp="1"/>
          </p:cNvSpPr>
          <p:nvPr>
            <p:ph sz="quarter" idx="22"/>
          </p:nvPr>
        </p:nvSpPr>
        <p:spPr bwMode="gray">
          <a:xfrm>
            <a:off x="9197845" y="3989616"/>
            <a:ext cx="2655682" cy="192249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3"/>
          <p:cNvSpPr>
            <a:spLocks noGrp="1"/>
          </p:cNvSpPr>
          <p:nvPr>
            <p:ph sz="quarter" idx="23"/>
          </p:nvPr>
        </p:nvSpPr>
        <p:spPr bwMode="gray">
          <a:xfrm>
            <a:off x="9198313" y="1931194"/>
            <a:ext cx="2655214" cy="1922496"/>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938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37: Title (4) &amp; Content (4)">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495"/>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638"/>
            <a:ext cx="2656800" cy="3594474"/>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1" name="Straight Connector 40"/>
          <p:cNvCxnSpPr/>
          <p:nvPr userDrawn="1"/>
        </p:nvCxnSpPr>
        <p:spPr bwMode="gray">
          <a:xfrm>
            <a:off x="3138908"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2" name="Straight Connector 41"/>
          <p:cNvCxnSpPr/>
          <p:nvPr userDrawn="1"/>
        </p:nvCxnSpPr>
        <p:spPr bwMode="gray">
          <a:xfrm>
            <a:off x="9047884"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6093396" y="2388843"/>
            <a:ext cx="0" cy="3523271"/>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574335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38: Title (4) &amp; Content (4) &amp; Box">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9" name="Text Placeholder 11"/>
          <p:cNvSpPr>
            <a:spLocks noGrp="1"/>
          </p:cNvSpPr>
          <p:nvPr>
            <p:ph type="body" sz="quarter" idx="16"/>
          </p:nvPr>
        </p:nvSpPr>
        <p:spPr bwMode="gray">
          <a:xfrm>
            <a:off x="333264"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3"/>
          <p:cNvSpPr>
            <a:spLocks noGrp="1"/>
          </p:cNvSpPr>
          <p:nvPr>
            <p:ph sz="quarter" idx="23"/>
          </p:nvPr>
        </p:nvSpPr>
        <p:spPr bwMode="gray">
          <a:xfrm>
            <a:off x="333264"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11"/>
          <p:cNvSpPr>
            <a:spLocks noGrp="1"/>
          </p:cNvSpPr>
          <p:nvPr>
            <p:ph type="body" sz="quarter" idx="24"/>
          </p:nvPr>
        </p:nvSpPr>
        <p:spPr bwMode="gray">
          <a:xfrm>
            <a:off x="3287752"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Content Placeholder 3"/>
          <p:cNvSpPr>
            <a:spLocks noGrp="1"/>
          </p:cNvSpPr>
          <p:nvPr>
            <p:ph sz="quarter" idx="25"/>
          </p:nvPr>
        </p:nvSpPr>
        <p:spPr bwMode="gray">
          <a:xfrm>
            <a:off x="3287752"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1"/>
          <p:cNvSpPr>
            <a:spLocks noGrp="1"/>
          </p:cNvSpPr>
          <p:nvPr>
            <p:ph type="body" sz="quarter" idx="26"/>
          </p:nvPr>
        </p:nvSpPr>
        <p:spPr bwMode="gray">
          <a:xfrm>
            <a:off x="6242240"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3"/>
          <p:cNvSpPr>
            <a:spLocks noGrp="1"/>
          </p:cNvSpPr>
          <p:nvPr>
            <p:ph sz="quarter" idx="27"/>
          </p:nvPr>
        </p:nvSpPr>
        <p:spPr bwMode="gray">
          <a:xfrm>
            <a:off x="6242240"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8" name="Straight Connector 17"/>
          <p:cNvCxnSpPr/>
          <p:nvPr userDrawn="1"/>
        </p:nvCxnSpPr>
        <p:spPr bwMode="gray">
          <a:xfrm>
            <a:off x="333264"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19" name="Straight Connector 18"/>
          <p:cNvCxnSpPr/>
          <p:nvPr userDrawn="1"/>
        </p:nvCxnSpPr>
        <p:spPr bwMode="gray">
          <a:xfrm>
            <a:off x="3287752"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3" name="Straight Connector 22"/>
          <p:cNvCxnSpPr/>
          <p:nvPr userDrawn="1"/>
        </p:nvCxnSpPr>
        <p:spPr bwMode="gray">
          <a:xfrm>
            <a:off x="6242240"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24" name="Straight Connector 23"/>
          <p:cNvCxnSpPr/>
          <p:nvPr userDrawn="1"/>
        </p:nvCxnSpPr>
        <p:spPr bwMode="gray">
          <a:xfrm>
            <a:off x="9196727" y="2238606"/>
            <a:ext cx="26568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26" name="Text Placeholder 11"/>
          <p:cNvSpPr>
            <a:spLocks noGrp="1"/>
          </p:cNvSpPr>
          <p:nvPr>
            <p:ph type="body" sz="quarter" idx="28"/>
          </p:nvPr>
        </p:nvSpPr>
        <p:spPr bwMode="gray">
          <a:xfrm>
            <a:off x="9196727" y="1931193"/>
            <a:ext cx="2656800" cy="252000"/>
          </a:xfrm>
        </p:spPr>
        <p:txBody>
          <a:bodyPr lIns="0" tIns="0" rIns="0" anchor="t"/>
          <a:lstStyle>
            <a:lvl1pPr marL="0" indent="0">
              <a:spcBef>
                <a:spcPts val="0"/>
              </a:spcBef>
              <a:buFont typeface="Arial" panose="020B0604020202020204" pitchFamily="34" charset="0"/>
              <a:buNone/>
              <a:defRPr sz="1600" b="1">
                <a:solidFill>
                  <a:schemeClr val="tx2"/>
                </a:solidFill>
              </a:defRPr>
            </a:lvl1pPr>
            <a:lvl2pPr marL="0" indent="0">
              <a:spcBef>
                <a:spcPts val="0"/>
              </a:spcBef>
              <a:buNone/>
              <a:defRPr sz="1600" b="1">
                <a:solidFill>
                  <a:schemeClr val="tx2"/>
                </a:solidFill>
              </a:defRPr>
            </a:lvl2pPr>
            <a:lvl3pPr marL="0" indent="0">
              <a:spcBef>
                <a:spcPts val="0"/>
              </a:spcBef>
              <a:buNone/>
              <a:defRPr sz="1600" b="1">
                <a:solidFill>
                  <a:schemeClr val="tx2"/>
                </a:solidFill>
              </a:defRPr>
            </a:lvl3pPr>
            <a:lvl4pPr marL="0" indent="0">
              <a:spcBef>
                <a:spcPts val="0"/>
              </a:spcBef>
              <a:buNone/>
              <a:defRPr sz="1600" b="1">
                <a:solidFill>
                  <a:schemeClr val="tx2"/>
                </a:solidFill>
              </a:defRPr>
            </a:lvl4pPr>
            <a:lvl5pPr marL="0" indent="0">
              <a:spcBef>
                <a:spcPts val="0"/>
              </a:spcBef>
              <a:buNone/>
              <a:defRPr sz="1600" b="1">
                <a:solidFill>
                  <a:schemeClr val="tx2"/>
                </a:solidFill>
              </a:defRPr>
            </a:lvl5pPr>
            <a:lvl6pPr marL="0" indent="0">
              <a:spcBef>
                <a:spcPts val="0"/>
              </a:spcBef>
              <a:buNone/>
              <a:defRPr sz="1600" b="1">
                <a:solidFill>
                  <a:schemeClr val="tx2"/>
                </a:solidFill>
              </a:defRPr>
            </a:lvl6pPr>
            <a:lvl7pPr marL="0" indent="0">
              <a:spcBef>
                <a:spcPts val="0"/>
              </a:spcBef>
              <a:buNone/>
              <a:defRPr sz="1600" b="1">
                <a:solidFill>
                  <a:schemeClr val="tx2"/>
                </a:solidFill>
              </a:defRPr>
            </a:lvl7pPr>
            <a:lvl8pPr marL="0" indent="0">
              <a:spcBef>
                <a:spcPts val="0"/>
              </a:spcBef>
              <a:buNone/>
              <a:defRPr sz="1600" b="1">
                <a:solidFill>
                  <a:schemeClr val="tx2"/>
                </a:solidFill>
              </a:defRPr>
            </a:lvl8pPr>
            <a:lvl9pPr marL="0" indent="0">
              <a:spcBef>
                <a:spcPts val="0"/>
              </a:spcBef>
              <a:buNone/>
              <a:defRPr sz="1600" b="1">
                <a:solidFill>
                  <a:schemeClr val="tx2"/>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9" name="Content Placeholder 3"/>
          <p:cNvSpPr>
            <a:spLocks noGrp="1"/>
          </p:cNvSpPr>
          <p:nvPr>
            <p:ph sz="quarter" idx="29"/>
          </p:nvPr>
        </p:nvSpPr>
        <p:spPr bwMode="gray">
          <a:xfrm>
            <a:off x="9196727" y="2317752"/>
            <a:ext cx="2656800" cy="2950867"/>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ext Placeholder 17"/>
          <p:cNvSpPr>
            <a:spLocks noGrp="1"/>
          </p:cNvSpPr>
          <p:nvPr>
            <p:ph type="body" sz="quarter" idx="30"/>
          </p:nvPr>
        </p:nvSpPr>
        <p:spPr bwMode="gray">
          <a:xfrm>
            <a:off x="332366" y="5452639"/>
            <a:ext cx="11520897" cy="460800"/>
          </a:xfrm>
          <a:solidFill>
            <a:schemeClr val="accent3"/>
          </a:solidFill>
        </p:spPr>
        <p:txBody>
          <a:bodyPr anchor="ctr"/>
          <a:lstStyle>
            <a:lvl1pPr marL="7939" indent="0" algn="ctr">
              <a:spcBef>
                <a:spcPts val="0"/>
              </a:spcBef>
              <a:buFont typeface="Arial" panose="020B0604020202020204" pitchFamily="34" charset="0"/>
              <a:buNone/>
              <a:defRPr sz="1600" b="1">
                <a:solidFill>
                  <a:schemeClr val="bg1"/>
                </a:solidFill>
              </a:defRPr>
            </a:lvl1pPr>
            <a:lvl2pPr marL="7939" indent="0" algn="ctr">
              <a:spcBef>
                <a:spcPts val="0"/>
              </a:spcBef>
              <a:buNone/>
              <a:defRPr sz="1600" b="1">
                <a:solidFill>
                  <a:schemeClr val="bg1"/>
                </a:solidFill>
              </a:defRPr>
            </a:lvl2pPr>
            <a:lvl3pPr marL="7939" indent="0" algn="ctr">
              <a:spcBef>
                <a:spcPts val="0"/>
              </a:spcBef>
              <a:buNone/>
              <a:defRPr sz="1600" b="1">
                <a:solidFill>
                  <a:schemeClr val="bg1"/>
                </a:solidFill>
              </a:defRPr>
            </a:lvl3pPr>
            <a:lvl4pPr marL="7939" indent="0" algn="ctr">
              <a:spcBef>
                <a:spcPts val="0"/>
              </a:spcBef>
              <a:buNone/>
              <a:defRPr sz="1600" b="1">
                <a:solidFill>
                  <a:schemeClr val="bg1"/>
                </a:solidFill>
              </a:defRPr>
            </a:lvl4pPr>
            <a:lvl5pPr marL="7939" indent="0" algn="ctr">
              <a:spcBef>
                <a:spcPts val="0"/>
              </a:spcBef>
              <a:buNone/>
              <a:defRPr sz="1600" b="1">
                <a:solidFill>
                  <a:schemeClr val="bg1"/>
                </a:solidFill>
              </a:defRPr>
            </a:lvl5pPr>
            <a:lvl6pPr marL="7939" indent="0" algn="ctr">
              <a:spcBef>
                <a:spcPts val="0"/>
              </a:spcBef>
              <a:buNone/>
              <a:defRPr sz="1600" b="1">
                <a:solidFill>
                  <a:schemeClr val="bg1"/>
                </a:solidFill>
              </a:defRPr>
            </a:lvl6pPr>
            <a:lvl7pPr marL="7939" indent="0" algn="ctr">
              <a:spcBef>
                <a:spcPts val="0"/>
              </a:spcBef>
              <a:buNone/>
              <a:defRPr sz="1600" b="1">
                <a:solidFill>
                  <a:schemeClr val="bg1"/>
                </a:solidFill>
              </a:defRPr>
            </a:lvl7pPr>
            <a:lvl8pPr marL="7939" indent="0" algn="ctr">
              <a:spcBef>
                <a:spcPts val="0"/>
              </a:spcBef>
              <a:buNone/>
              <a:defRPr sz="1600" b="1">
                <a:solidFill>
                  <a:schemeClr val="bg1"/>
                </a:solidFill>
              </a:defRPr>
            </a:lvl8pPr>
            <a:lvl9pPr marL="7939" indent="0" algn="ctr">
              <a:spcBef>
                <a:spcPts val="0"/>
              </a:spcBef>
              <a:buNone/>
              <a:defRPr sz="1600" b="1">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31"/>
          </p:nvPr>
        </p:nvSpPr>
        <p:spPr bwMode="gray"/>
        <p:txBody>
          <a:bodyPr/>
          <a:lstStyle/>
          <a:p>
            <a:r>
              <a:rPr lang="en-US"/>
              <a:t>March 4, 2021</a:t>
            </a:r>
          </a:p>
        </p:txBody>
      </p:sp>
      <p:sp>
        <p:nvSpPr>
          <p:cNvPr id="8" name="Footer Placeholder 7"/>
          <p:cNvSpPr>
            <a:spLocks noGrp="1"/>
          </p:cNvSpPr>
          <p:nvPr>
            <p:ph type="ftr" sz="quarter" idx="32"/>
          </p:nvPr>
        </p:nvSpPr>
        <p:spPr bwMode="gray"/>
        <p:txBody>
          <a:bodyPr/>
          <a:lstStyle/>
          <a:p>
            <a:pPr lvl="8"/>
            <a:endParaRPr lang="en-US"/>
          </a:p>
        </p:txBody>
      </p:sp>
      <p:sp>
        <p:nvSpPr>
          <p:cNvPr id="10" name="Slide Number Placeholder 9"/>
          <p:cNvSpPr>
            <a:spLocks noGrp="1"/>
          </p:cNvSpPr>
          <p:nvPr>
            <p:ph type="sldNum" sz="quarter" idx="33"/>
          </p:nvPr>
        </p:nvSpPr>
        <p:spPr bwMode="gray"/>
        <p:txBody>
          <a:bodyPr/>
          <a:lstStyle/>
          <a:p>
            <a:r>
              <a:rPr lang="en-US"/>
              <a:t>Slide </a:t>
            </a:r>
            <a:fld id="{619F89D8-7AE3-494A-97F3-03D680869632}" type="slidenum">
              <a:rPr lang="en-US" smtClean="0"/>
              <a:pPr/>
              <a:t>‹#›</a:t>
            </a:fld>
            <a:endParaRPr lang="en-US"/>
          </a:p>
        </p:txBody>
      </p:sp>
      <p:sp>
        <p:nvSpPr>
          <p:cNvPr id="31"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42" name="Straight Connector 41"/>
          <p:cNvCxnSpPr/>
          <p:nvPr userDrawn="1"/>
        </p:nvCxnSpPr>
        <p:spPr bwMode="gray">
          <a:xfrm>
            <a:off x="3138908"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3" name="Straight Connector 42"/>
          <p:cNvCxnSpPr/>
          <p:nvPr userDrawn="1"/>
        </p:nvCxnSpPr>
        <p:spPr bwMode="gray">
          <a:xfrm>
            <a:off x="9047884"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cxnSp>
        <p:nvCxnSpPr>
          <p:cNvPr id="44" name="Straight Connector 43"/>
          <p:cNvCxnSpPr/>
          <p:nvPr userDrawn="1"/>
        </p:nvCxnSpPr>
        <p:spPr bwMode="gray">
          <a:xfrm>
            <a:off x="6093396" y="2388954"/>
            <a:ext cx="0" cy="2879665"/>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01227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9: Content (3) 2">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p>
        </p:txBody>
      </p:sp>
      <p:sp>
        <p:nvSpPr>
          <p:cNvPr id="3" name="Footer Placeholder 2"/>
          <p:cNvSpPr>
            <a:spLocks noGrp="1"/>
          </p:cNvSpPr>
          <p:nvPr>
            <p:ph type="ftr" sz="quarter" idx="10"/>
          </p:nvPr>
        </p:nvSpPr>
        <p:spPr bwMode="gray"/>
        <p:txBody>
          <a:bodyPr/>
          <a:lstStyle/>
          <a:p>
            <a:pPr lvl="8"/>
            <a:endParaRPr lang="en-US"/>
          </a:p>
        </p:txBody>
      </p:sp>
      <p:sp>
        <p:nvSpPr>
          <p:cNvPr id="4" name="Date Placeholder 3"/>
          <p:cNvSpPr>
            <a:spLocks noGrp="1"/>
          </p:cNvSpPr>
          <p:nvPr>
            <p:ph type="dt" sz="half" idx="11"/>
          </p:nvPr>
        </p:nvSpPr>
        <p:spPr bwMode="gray"/>
        <p:txBody>
          <a:bodyPr/>
          <a:lstStyle/>
          <a:p>
            <a:r>
              <a:rPr lang="en-US"/>
              <a:t>March 4, 2021</a:t>
            </a:r>
          </a:p>
        </p:txBody>
      </p:sp>
      <p:sp>
        <p:nvSpPr>
          <p:cNvPr id="5" name="Slide Number Placeholder 4"/>
          <p:cNvSpPr>
            <a:spLocks noGrp="1"/>
          </p:cNvSpPr>
          <p:nvPr>
            <p:ph type="sldNum" sz="quarter" idx="12"/>
          </p:nvPr>
        </p:nvSpPr>
        <p:spPr bwMode="gray"/>
        <p:txBody>
          <a:bodyPr/>
          <a:lstStyle/>
          <a:p>
            <a:r>
              <a:rPr lang="en-US"/>
              <a:t>Slide </a:t>
            </a:r>
            <a:fld id="{619F89D8-7AE3-494A-97F3-03D680869632}" type="slidenum">
              <a:rPr lang="en-US" smtClean="0"/>
              <a:pPr/>
              <a:t>‹#›</a:t>
            </a:fld>
            <a:endParaRPr lang="en-US"/>
          </a:p>
        </p:txBody>
      </p:sp>
      <p:sp>
        <p:nvSpPr>
          <p:cNvPr id="11" name="Content Placeholder 3"/>
          <p:cNvSpPr>
            <a:spLocks noGrp="1"/>
          </p:cNvSpPr>
          <p:nvPr>
            <p:ph sz="quarter" idx="20"/>
          </p:nvPr>
        </p:nvSpPr>
        <p:spPr bwMode="gray">
          <a:xfrm>
            <a:off x="6250004" y="1931197"/>
            <a:ext cx="5603523" cy="1853869"/>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3"/>
          <p:cNvSpPr>
            <a:spLocks noGrp="1"/>
          </p:cNvSpPr>
          <p:nvPr>
            <p:ph sz="quarter" idx="19"/>
          </p:nvPr>
        </p:nvSpPr>
        <p:spPr bwMode="gray">
          <a:xfrm>
            <a:off x="333264" y="1931197"/>
            <a:ext cx="5602537" cy="1853869"/>
          </a:xfr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ubtitle 2"/>
          <p:cNvSpPr>
            <a:spLocks noGrp="1"/>
          </p:cNvSpPr>
          <p:nvPr>
            <p:ph type="subTitle" idx="13"/>
          </p:nvPr>
        </p:nvSpPr>
        <p:spPr bwMode="gray">
          <a:xfrm>
            <a:off x="332367" y="1085213"/>
            <a:ext cx="11520897" cy="504000"/>
          </a:xfrm>
        </p:spPr>
        <p:txBody>
          <a:bodyPr lIns="0" tIns="0" rIns="0" bIns="0"/>
          <a:lstStyle>
            <a:lvl1pPr marL="0" indent="0" algn="l">
              <a:buNone/>
              <a:defRPr sz="1800">
                <a:solidFill>
                  <a:schemeClr val="tx1"/>
                </a:solidFill>
              </a:defRPr>
            </a:lvl1pPr>
            <a:lvl2pPr marL="0" indent="0" algn="l">
              <a:buNone/>
              <a:defRPr sz="2000">
                <a:solidFill>
                  <a:schemeClr val="tx1"/>
                </a:solidFill>
              </a:defRPr>
            </a:lvl2pPr>
            <a:lvl3pPr marL="0" indent="0" algn="l">
              <a:buNone/>
              <a:defRPr sz="2000">
                <a:solidFill>
                  <a:schemeClr val="tx1"/>
                </a:solidFill>
              </a:defRPr>
            </a:lvl3pPr>
            <a:lvl4pPr marL="0" indent="0" algn="l">
              <a:buNone/>
              <a:defRPr sz="2000">
                <a:solidFill>
                  <a:schemeClr val="tx1"/>
                </a:solidFill>
              </a:defRPr>
            </a:lvl4pPr>
            <a:lvl5pPr marL="0" indent="0" algn="l">
              <a:buNone/>
              <a:defRPr sz="2000">
                <a:solidFill>
                  <a:schemeClr val="tx1"/>
                </a:solidFill>
              </a:defRPr>
            </a:lvl5pPr>
            <a:lvl6pPr marL="0" indent="0" algn="l">
              <a:buNone/>
              <a:defRPr sz="2000">
                <a:solidFill>
                  <a:schemeClr val="tx1"/>
                </a:solidFill>
              </a:defRPr>
            </a:lvl6pPr>
            <a:lvl7pPr marL="0" indent="0" algn="l">
              <a:buNone/>
              <a:defRPr sz="2000">
                <a:solidFill>
                  <a:schemeClr val="tx1"/>
                </a:solidFill>
              </a:defRPr>
            </a:lvl7pPr>
            <a:lvl8pPr marL="0" indent="0" algn="l">
              <a:buNone/>
              <a:defRPr sz="2000">
                <a:solidFill>
                  <a:schemeClr val="tx1"/>
                </a:solidFill>
              </a:defRPr>
            </a:lvl8pPr>
            <a:lvl9pPr marL="0" indent="0" algn="l">
              <a:buNone/>
              <a:defRPr sz="2000">
                <a:solidFill>
                  <a:schemeClr val="tx1"/>
                </a:solidFill>
              </a:defRPr>
            </a:lvl9pPr>
          </a:lstStyle>
          <a:p>
            <a:pPr lvl="0"/>
            <a:r>
              <a:rPr lang="en-US"/>
              <a:t>Click to edit Master subtitle style</a:t>
            </a:r>
          </a:p>
        </p:txBody>
      </p:sp>
      <p:cxnSp>
        <p:nvCxnSpPr>
          <p:cNvPr id="21" name="Straight Connector 20"/>
          <p:cNvCxnSpPr/>
          <p:nvPr userDrawn="1"/>
        </p:nvCxnSpPr>
        <p:spPr bwMode="gray">
          <a:xfrm>
            <a:off x="6095999" y="1931197"/>
            <a:ext cx="0" cy="1853869"/>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
        <p:nvSpPr>
          <p:cNvPr id="16" name="Content Placeholder 3"/>
          <p:cNvSpPr>
            <a:spLocks noGrp="1"/>
          </p:cNvSpPr>
          <p:nvPr>
            <p:ph sz="quarter" idx="21"/>
          </p:nvPr>
        </p:nvSpPr>
        <p:spPr bwMode="gray">
          <a:xfrm>
            <a:off x="332367" y="4064036"/>
            <a:ext cx="11520897" cy="1848076"/>
          </a:xfrm>
        </p:spPr>
        <p:txBody>
          <a:bodyPr lIns="0" tIns="0" rIns="0" bIns="0"/>
          <a:lstStyle>
            <a:lvl1pPr>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bwMode="gray">
          <a:xfrm>
            <a:off x="333527" y="3922317"/>
            <a:ext cx="11520000" cy="0"/>
          </a:xfrm>
          <a:prstGeom prst="line">
            <a:avLst/>
          </a:prstGeom>
          <a:ln w="12700">
            <a:solidFill>
              <a:schemeClr val="tx1"/>
            </a:soli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46125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1.xml"/><Relationship Id="rId18" Type="http://schemas.openxmlformats.org/officeDocument/2006/relationships/slideLayout" Target="../slideLayouts/slideLayout26.xml"/><Relationship Id="rId26" Type="http://schemas.openxmlformats.org/officeDocument/2006/relationships/slideLayout" Target="../slideLayouts/slideLayout34.xml"/><Relationship Id="rId39" Type="http://schemas.openxmlformats.org/officeDocument/2006/relationships/slideLayout" Target="../slideLayouts/slideLayout47.xml"/><Relationship Id="rId21" Type="http://schemas.openxmlformats.org/officeDocument/2006/relationships/slideLayout" Target="../slideLayouts/slideLayout29.xml"/><Relationship Id="rId34" Type="http://schemas.openxmlformats.org/officeDocument/2006/relationships/slideLayout" Target="../slideLayouts/slideLayout42.xml"/><Relationship Id="rId42" Type="http://schemas.openxmlformats.org/officeDocument/2006/relationships/slideLayout" Target="../slideLayouts/slideLayout50.xml"/><Relationship Id="rId47" Type="http://schemas.openxmlformats.org/officeDocument/2006/relationships/slideLayout" Target="../slideLayouts/slideLayout55.xml"/><Relationship Id="rId50" Type="http://schemas.openxmlformats.org/officeDocument/2006/relationships/slideLayout" Target="../slideLayouts/slideLayout58.xml"/><Relationship Id="rId55" Type="http://schemas.openxmlformats.org/officeDocument/2006/relationships/tags" Target="../tags/tag1.xml"/><Relationship Id="rId7" Type="http://schemas.openxmlformats.org/officeDocument/2006/relationships/slideLayout" Target="../slideLayouts/slideLayout15.xml"/><Relationship Id="rId2" Type="http://schemas.openxmlformats.org/officeDocument/2006/relationships/slideLayout" Target="../slideLayouts/slideLayout10.xml"/><Relationship Id="rId16" Type="http://schemas.openxmlformats.org/officeDocument/2006/relationships/slideLayout" Target="../slideLayouts/slideLayout24.xml"/><Relationship Id="rId29" Type="http://schemas.openxmlformats.org/officeDocument/2006/relationships/slideLayout" Target="../slideLayouts/slideLayout37.xml"/><Relationship Id="rId11" Type="http://schemas.openxmlformats.org/officeDocument/2006/relationships/slideLayout" Target="../slideLayouts/slideLayout19.xml"/><Relationship Id="rId24" Type="http://schemas.openxmlformats.org/officeDocument/2006/relationships/slideLayout" Target="../slideLayouts/slideLayout32.xml"/><Relationship Id="rId32" Type="http://schemas.openxmlformats.org/officeDocument/2006/relationships/slideLayout" Target="../slideLayouts/slideLayout40.xml"/><Relationship Id="rId37" Type="http://schemas.openxmlformats.org/officeDocument/2006/relationships/slideLayout" Target="../slideLayouts/slideLayout45.xml"/><Relationship Id="rId40" Type="http://schemas.openxmlformats.org/officeDocument/2006/relationships/slideLayout" Target="../slideLayouts/slideLayout48.xml"/><Relationship Id="rId45" Type="http://schemas.openxmlformats.org/officeDocument/2006/relationships/slideLayout" Target="../slideLayouts/slideLayout53.xml"/><Relationship Id="rId53" Type="http://schemas.openxmlformats.org/officeDocument/2006/relationships/slideLayout" Target="../slideLayouts/slideLayout61.xml"/><Relationship Id="rId58" Type="http://schemas.openxmlformats.org/officeDocument/2006/relationships/image" Target="../media/image2.emf"/><Relationship Id="rId5" Type="http://schemas.openxmlformats.org/officeDocument/2006/relationships/slideLayout" Target="../slideLayouts/slideLayout13.xml"/><Relationship Id="rId19" Type="http://schemas.openxmlformats.org/officeDocument/2006/relationships/slideLayout" Target="../slideLayouts/slideLayout27.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 Id="rId22" Type="http://schemas.openxmlformats.org/officeDocument/2006/relationships/slideLayout" Target="../slideLayouts/slideLayout30.xml"/><Relationship Id="rId27" Type="http://schemas.openxmlformats.org/officeDocument/2006/relationships/slideLayout" Target="../slideLayouts/slideLayout35.xml"/><Relationship Id="rId30" Type="http://schemas.openxmlformats.org/officeDocument/2006/relationships/slideLayout" Target="../slideLayouts/slideLayout38.xml"/><Relationship Id="rId35" Type="http://schemas.openxmlformats.org/officeDocument/2006/relationships/slideLayout" Target="../slideLayouts/slideLayout43.xml"/><Relationship Id="rId43" Type="http://schemas.openxmlformats.org/officeDocument/2006/relationships/slideLayout" Target="../slideLayouts/slideLayout51.xml"/><Relationship Id="rId48" Type="http://schemas.openxmlformats.org/officeDocument/2006/relationships/slideLayout" Target="../slideLayouts/slideLayout56.xml"/><Relationship Id="rId56" Type="http://schemas.openxmlformats.org/officeDocument/2006/relationships/tags" Target="../tags/tag2.xml"/><Relationship Id="rId8" Type="http://schemas.openxmlformats.org/officeDocument/2006/relationships/slideLayout" Target="../slideLayouts/slideLayout16.xml"/><Relationship Id="rId51" Type="http://schemas.openxmlformats.org/officeDocument/2006/relationships/slideLayout" Target="../slideLayouts/slideLayout59.xml"/><Relationship Id="rId3" Type="http://schemas.openxmlformats.org/officeDocument/2006/relationships/slideLayout" Target="../slideLayouts/slideLayout11.xml"/><Relationship Id="rId12" Type="http://schemas.openxmlformats.org/officeDocument/2006/relationships/slideLayout" Target="../slideLayouts/slideLayout20.xml"/><Relationship Id="rId17" Type="http://schemas.openxmlformats.org/officeDocument/2006/relationships/slideLayout" Target="../slideLayouts/slideLayout25.xml"/><Relationship Id="rId25" Type="http://schemas.openxmlformats.org/officeDocument/2006/relationships/slideLayout" Target="../slideLayouts/slideLayout33.xml"/><Relationship Id="rId33" Type="http://schemas.openxmlformats.org/officeDocument/2006/relationships/slideLayout" Target="../slideLayouts/slideLayout41.xml"/><Relationship Id="rId38" Type="http://schemas.openxmlformats.org/officeDocument/2006/relationships/slideLayout" Target="../slideLayouts/slideLayout46.xml"/><Relationship Id="rId46" Type="http://schemas.openxmlformats.org/officeDocument/2006/relationships/slideLayout" Target="../slideLayouts/slideLayout54.xml"/><Relationship Id="rId59" Type="http://schemas.openxmlformats.org/officeDocument/2006/relationships/image" Target="../media/image3.png"/><Relationship Id="rId20" Type="http://schemas.openxmlformats.org/officeDocument/2006/relationships/slideLayout" Target="../slideLayouts/slideLayout28.xml"/><Relationship Id="rId41" Type="http://schemas.openxmlformats.org/officeDocument/2006/relationships/slideLayout" Target="../slideLayouts/slideLayout49.xml"/><Relationship Id="rId54"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slideLayout" Target="../slideLayouts/slideLayout14.xml"/><Relationship Id="rId15" Type="http://schemas.openxmlformats.org/officeDocument/2006/relationships/slideLayout" Target="../slideLayouts/slideLayout23.xml"/><Relationship Id="rId23" Type="http://schemas.openxmlformats.org/officeDocument/2006/relationships/slideLayout" Target="../slideLayouts/slideLayout31.xml"/><Relationship Id="rId28" Type="http://schemas.openxmlformats.org/officeDocument/2006/relationships/slideLayout" Target="../slideLayouts/slideLayout36.xml"/><Relationship Id="rId36" Type="http://schemas.openxmlformats.org/officeDocument/2006/relationships/slideLayout" Target="../slideLayouts/slideLayout44.xml"/><Relationship Id="rId49" Type="http://schemas.openxmlformats.org/officeDocument/2006/relationships/slideLayout" Target="../slideLayouts/slideLayout57.xml"/><Relationship Id="rId57" Type="http://schemas.openxmlformats.org/officeDocument/2006/relationships/oleObject" Target="../embeddings/oleObject1.bin"/><Relationship Id="rId10" Type="http://schemas.openxmlformats.org/officeDocument/2006/relationships/slideLayout" Target="../slideLayouts/slideLayout18.xml"/><Relationship Id="rId31" Type="http://schemas.openxmlformats.org/officeDocument/2006/relationships/slideLayout" Target="../slideLayouts/slideLayout39.xml"/><Relationship Id="rId44" Type="http://schemas.openxmlformats.org/officeDocument/2006/relationships/slideLayout" Target="../slideLayouts/slideLayout52.xml"/><Relationship Id="rId52" Type="http://schemas.openxmlformats.org/officeDocument/2006/relationships/slideLayout" Target="../slideLayouts/slideLayout60.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slideLayout" Target="../slideLayouts/slideLayout111.xml"/><Relationship Id="rId55" Type="http://schemas.openxmlformats.org/officeDocument/2006/relationships/slideLayout" Target="../slideLayouts/slideLayout116.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3" Type="http://schemas.openxmlformats.org/officeDocument/2006/relationships/slideLayout" Target="../slideLayouts/slideLayout114.xml"/><Relationship Id="rId5" Type="http://schemas.openxmlformats.org/officeDocument/2006/relationships/slideLayout" Target="../slideLayouts/slideLayout66.xml"/><Relationship Id="rId19" Type="http://schemas.openxmlformats.org/officeDocument/2006/relationships/slideLayout" Target="../slideLayouts/slideLayout80.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56" Type="http://schemas.openxmlformats.org/officeDocument/2006/relationships/theme" Target="../theme/theme3.xml"/><Relationship Id="rId8" Type="http://schemas.openxmlformats.org/officeDocument/2006/relationships/slideLayout" Target="../slideLayouts/slideLayout69.xml"/><Relationship Id="rId51" Type="http://schemas.openxmlformats.org/officeDocument/2006/relationships/slideLayout" Target="../slideLayouts/slideLayout112.xml"/><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54" Type="http://schemas.openxmlformats.org/officeDocument/2006/relationships/slideLayout" Target="../slideLayouts/slideLayout115.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slideLayout" Target="../slideLayouts/slideLayout110.xml"/><Relationship Id="rId57" Type="http://schemas.openxmlformats.org/officeDocument/2006/relationships/image" Target="../media/image9.png"/><Relationship Id="rId10" Type="http://schemas.openxmlformats.org/officeDocument/2006/relationships/slideLayout" Target="../slideLayouts/slideLayout71.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320751" y="645363"/>
            <a:ext cx="2601595" cy="512444"/>
          </a:xfrm>
          <a:prstGeom prst="rect">
            <a:avLst/>
          </a:prstGeom>
        </p:spPr>
        <p:txBody>
          <a:bodyPr wrap="square" lIns="0" tIns="0" rIns="0" bIns="0">
            <a:spAutoFit/>
          </a:bodyPr>
          <a:lstStyle>
            <a:lvl1pPr>
              <a:defRPr sz="3200" b="0" i="0">
                <a:solidFill>
                  <a:schemeClr val="tx1"/>
                </a:solidFill>
                <a:latin typeface="ABBvoice"/>
                <a:cs typeface="ABBvoice"/>
              </a:defRPr>
            </a:lvl1pPr>
          </a:lstStyle>
          <a:p>
            <a:endParaRPr/>
          </a:p>
        </p:txBody>
      </p:sp>
      <p:sp>
        <p:nvSpPr>
          <p:cNvPr id="3" name="Holder 3"/>
          <p:cNvSpPr>
            <a:spLocks noGrp="1"/>
          </p:cNvSpPr>
          <p:nvPr>
            <p:ph type="body" idx="1"/>
          </p:nvPr>
        </p:nvSpPr>
        <p:spPr>
          <a:xfrm>
            <a:off x="3816477" y="2401519"/>
            <a:ext cx="7959090" cy="3267710"/>
          </a:xfrm>
          <a:prstGeom prst="rect">
            <a:avLst/>
          </a:prstGeom>
        </p:spPr>
        <p:txBody>
          <a:bodyPr wrap="square" lIns="0" tIns="0" rIns="0" bIns="0">
            <a:spAutoFit/>
          </a:bodyPr>
          <a:lstStyle>
            <a:lvl1pPr>
              <a:defRPr sz="1600" b="0" i="0">
                <a:solidFill>
                  <a:schemeClr val="tx1"/>
                </a:solidFill>
                <a:latin typeface="ABBvoice"/>
                <a:cs typeface="ABBvoice"/>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4/26/2024</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778" r:id="rId8"/>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132EDF2F-9D57-4472-957E-1BF2A308FEFF}"/>
              </a:ext>
            </a:extLst>
          </p:cNvPr>
          <p:cNvGraphicFramePr>
            <a:graphicFrameLocks noChangeAspect="1"/>
          </p:cNvGraphicFramePr>
          <p:nvPr userDrawn="1">
            <p:custDataLst>
              <p:tags r:id="rId55"/>
            </p:custDataLst>
            <p:extLst>
              <p:ext uri="{D42A27DB-BD31-4B8C-83A1-F6EECF244321}">
                <p14:modId xmlns:p14="http://schemas.microsoft.com/office/powerpoint/2010/main" val="748308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360" imgH="360" progId="TCLayout.ActiveDocument.1">
                  <p:embed/>
                </p:oleObj>
              </mc:Choice>
              <mc:Fallback>
                <p:oleObj name="think-cell Slide" r:id="rId57" imgW="360" imgH="360" progId="TCLayout.ActiveDocument.1">
                  <p:embed/>
                  <p:pic>
                    <p:nvPicPr>
                      <p:cNvPr id="11" name="Object 10" hidden="1">
                        <a:extLst>
                          <a:ext uri="{FF2B5EF4-FFF2-40B4-BE49-F238E27FC236}">
                            <a16:creationId xmlns:a16="http://schemas.microsoft.com/office/drawing/2014/main" id="{132EDF2F-9D57-4472-957E-1BF2A308FEFF}"/>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6E585EB0-BCFD-4AF0-9491-56EC1D4B49C5}"/>
              </a:ext>
            </a:extLst>
          </p:cNvPr>
          <p:cNvSpPr/>
          <p:nvPr userDrawn="1">
            <p:custDataLst>
              <p:tags r:id="rId56"/>
            </p:custDataLst>
          </p:nvPr>
        </p:nvSpPr>
        <p:spPr bwMode="gray">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err="1">
              <a:latin typeface="ABBvoice" panose="020D0603020503020204" pitchFamily="34" charset="0"/>
              <a:ea typeface="ABBvoice" panose="020D0603020503020204" pitchFamily="34" charset="0"/>
              <a:cs typeface="ABBvoice" panose="020D0603020503020204" pitchFamily="34" charset="0"/>
              <a:sym typeface="ABBvoice" panose="020D0603020503020204" pitchFamily="34" charset="0"/>
            </a:endParaRPr>
          </a:p>
        </p:txBody>
      </p:sp>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March 4, 2021</a:t>
            </a:r>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Slide </a:t>
            </a:r>
            <a:fld id="{619F89D8-7AE3-494A-97F3-03D680869632}" type="slidenum">
              <a:rPr lang="en-US" smtClean="0"/>
              <a:pPr/>
              <a:t>‹#›</a:t>
            </a:fld>
            <a:endParaRPr lang="en-US"/>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a:solidFill>
                  <a:schemeClr val="bg2"/>
                </a:solidFill>
              </a:rPr>
              <a:t>—</a:t>
            </a:r>
            <a:endParaRPr lang="en-US" sz="2400" b="1" err="1">
              <a:solidFill>
                <a:schemeClr val="bg2"/>
              </a:solidFill>
            </a:endParaRPr>
          </a:p>
        </p:txBody>
      </p:sp>
      <p:pic>
        <p:nvPicPr>
          <p:cNvPr id="16" name="Picture 19"/>
          <p:cNvPicPr>
            <a:picLocks noChangeAspect="1" noChangeArrowheads="1"/>
          </p:cNvPicPr>
          <p:nvPr userDrawn="1"/>
        </p:nvPicPr>
        <p:blipFill>
          <a:blip r:embed="rId59"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4247031"/>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 id="2147483673" r:id="rId5"/>
    <p:sldLayoutId id="2147483674" r:id="rId6"/>
    <p:sldLayoutId id="2147483675" r:id="rId7"/>
    <p:sldLayoutId id="2147483676" r:id="rId8"/>
    <p:sldLayoutId id="2147483677" r:id="rId9"/>
    <p:sldLayoutId id="2147483678" r:id="rId10"/>
    <p:sldLayoutId id="2147483679" r:id="rId11"/>
    <p:sldLayoutId id="2147483680" r:id="rId12"/>
    <p:sldLayoutId id="2147483681" r:id="rId13"/>
    <p:sldLayoutId id="2147483682" r:id="rId14"/>
    <p:sldLayoutId id="2147483683" r:id="rId15"/>
    <p:sldLayoutId id="2147483684" r:id="rId16"/>
    <p:sldLayoutId id="2147483685" r:id="rId17"/>
    <p:sldLayoutId id="2147483686" r:id="rId18"/>
    <p:sldLayoutId id="2147483687" r:id="rId19"/>
    <p:sldLayoutId id="2147483688" r:id="rId20"/>
    <p:sldLayoutId id="2147483689" r:id="rId21"/>
    <p:sldLayoutId id="2147483690" r:id="rId22"/>
    <p:sldLayoutId id="2147483691" r:id="rId23"/>
    <p:sldLayoutId id="2147483692" r:id="rId24"/>
    <p:sldLayoutId id="2147483693" r:id="rId25"/>
    <p:sldLayoutId id="2147483694" r:id="rId26"/>
    <p:sldLayoutId id="2147483695" r:id="rId27"/>
    <p:sldLayoutId id="2147483696" r:id="rId28"/>
    <p:sldLayoutId id="2147483697" r:id="rId29"/>
    <p:sldLayoutId id="2147483698" r:id="rId30"/>
    <p:sldLayoutId id="2147483699" r:id="rId31"/>
    <p:sldLayoutId id="2147483700" r:id="rId32"/>
    <p:sldLayoutId id="2147483701" r:id="rId33"/>
    <p:sldLayoutId id="2147483702" r:id="rId34"/>
    <p:sldLayoutId id="2147483703" r:id="rId35"/>
    <p:sldLayoutId id="2147483704" r:id="rId36"/>
    <p:sldLayoutId id="2147483705" r:id="rId37"/>
    <p:sldLayoutId id="2147483706" r:id="rId38"/>
    <p:sldLayoutId id="2147483707" r:id="rId39"/>
    <p:sldLayoutId id="2147483708" r:id="rId40"/>
    <p:sldLayoutId id="2147483709" r:id="rId41"/>
    <p:sldLayoutId id="2147483710" r:id="rId42"/>
    <p:sldLayoutId id="2147483711" r:id="rId43"/>
    <p:sldLayoutId id="2147483712" r:id="rId44"/>
    <p:sldLayoutId id="2147483713" r:id="rId45"/>
    <p:sldLayoutId id="2147483714" r:id="rId46"/>
    <p:sldLayoutId id="2147483715" r:id="rId47"/>
    <p:sldLayoutId id="2147483716" r:id="rId48"/>
    <p:sldLayoutId id="2147483717" r:id="rId49"/>
    <p:sldLayoutId id="2147483718" r:id="rId50"/>
    <p:sldLayoutId id="2147483719" r:id="rId51"/>
    <p:sldLayoutId id="2147483720" r:id="rId52"/>
    <p:sldLayoutId id="2147483721" r:id="rId5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333264" y="682313"/>
            <a:ext cx="11520000" cy="396000"/>
          </a:xfrm>
          <a:prstGeom prst="rect">
            <a:avLst/>
          </a:prstGeom>
        </p:spPr>
        <p:txBody>
          <a:bodyPr vert="horz" lIns="0" tIns="0" rIns="0" bIns="0" rtlCol="0" anchor="t">
            <a:noAutofit/>
          </a:bodyPr>
          <a:lstStyle/>
          <a:p>
            <a:r>
              <a:rPr lang="en-US"/>
              <a:t>Click to edit Master title style</a:t>
            </a:r>
          </a:p>
        </p:txBody>
      </p:sp>
      <p:sp>
        <p:nvSpPr>
          <p:cNvPr id="5" name="Footer Placeholder 4"/>
          <p:cNvSpPr>
            <a:spLocks noGrp="1"/>
          </p:cNvSpPr>
          <p:nvPr>
            <p:ph type="ftr" sz="quarter" idx="3"/>
          </p:nvPr>
        </p:nvSpPr>
        <p:spPr bwMode="gray">
          <a:xfrm>
            <a:off x="2499782" y="6298397"/>
            <a:ext cx="8490250" cy="500072"/>
          </a:xfrm>
          <a:prstGeom prst="rect">
            <a:avLst/>
          </a:prstGeom>
          <a:noFill/>
        </p:spPr>
        <p:txBody>
          <a:bodyPr vert="horz" lIns="0" tIns="0" rIns="0" bIns="0" rtlCol="0" anchor="ctr">
            <a:noAutofit/>
          </a:bodyPr>
          <a:lstStyle>
            <a:lvl1pPr algn="l" rtl="0">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endParaRPr lang="de-DE"/>
          </a:p>
        </p:txBody>
      </p:sp>
      <p:sp>
        <p:nvSpPr>
          <p:cNvPr id="4" name="Date Placeholder 3"/>
          <p:cNvSpPr>
            <a:spLocks noGrp="1"/>
          </p:cNvSpPr>
          <p:nvPr>
            <p:ph type="dt" sz="half" idx="2"/>
          </p:nvPr>
        </p:nvSpPr>
        <p:spPr bwMode="gray">
          <a:xfrm>
            <a:off x="332367" y="6489341"/>
            <a:ext cx="1162951" cy="118192"/>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March 4, 2021</a:t>
            </a:r>
          </a:p>
        </p:txBody>
      </p:sp>
      <p:sp>
        <p:nvSpPr>
          <p:cNvPr id="3" name="Text Placeholder 2"/>
          <p:cNvSpPr>
            <a:spLocks noGrp="1"/>
          </p:cNvSpPr>
          <p:nvPr>
            <p:ph type="body" idx="1"/>
          </p:nvPr>
        </p:nvSpPr>
        <p:spPr bwMode="gray">
          <a:xfrm>
            <a:off x="333264" y="1931194"/>
            <a:ext cx="11520000" cy="398217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4"/>
          </p:nvPr>
        </p:nvSpPr>
        <p:spPr bwMode="gray">
          <a:xfrm>
            <a:off x="1798114" y="6488733"/>
            <a:ext cx="676888" cy="118800"/>
          </a:xfrm>
          <a:prstGeom prst="rect">
            <a:avLst/>
          </a:prstGeom>
        </p:spPr>
        <p:txBody>
          <a:bodyPr vert="horz" lIns="0" tIns="0" rIns="0" bIns="0" rtlCol="0" anchor="ctr">
            <a:noAutofit/>
          </a:bodyPr>
          <a:lstStyle>
            <a:lvl1pPr algn="l">
              <a:defRPr sz="1000">
                <a:solidFill>
                  <a:schemeClr val="accent3"/>
                </a:solidFill>
              </a:defRPr>
            </a:lvl1pPr>
            <a:lvl2pPr marL="0" indent="0">
              <a:defRPr sz="1000">
                <a:solidFill>
                  <a:schemeClr val="accent3"/>
                </a:solidFill>
              </a:defRPr>
            </a:lvl2pPr>
            <a:lvl3pPr marL="0" indent="0">
              <a:defRPr sz="1000">
                <a:solidFill>
                  <a:schemeClr val="accent3"/>
                </a:solidFill>
              </a:defRPr>
            </a:lvl3pPr>
            <a:lvl4pPr marL="0" indent="0">
              <a:defRPr sz="1000">
                <a:solidFill>
                  <a:schemeClr val="accent3"/>
                </a:solidFill>
              </a:defRPr>
            </a:lvl4pPr>
            <a:lvl5pPr marL="0" indent="0">
              <a:defRPr sz="1000">
                <a:solidFill>
                  <a:schemeClr val="accent3"/>
                </a:solidFill>
              </a:defRPr>
            </a:lvl5pPr>
            <a:lvl6pPr marL="0" indent="0">
              <a:defRPr sz="1000">
                <a:solidFill>
                  <a:schemeClr val="accent3"/>
                </a:solidFill>
              </a:defRPr>
            </a:lvl6pPr>
            <a:lvl7pPr marL="0" indent="0">
              <a:defRPr sz="1000">
                <a:solidFill>
                  <a:schemeClr val="accent3"/>
                </a:solidFill>
              </a:defRPr>
            </a:lvl7pPr>
            <a:lvl8pPr marL="0" indent="0">
              <a:defRPr sz="1000">
                <a:solidFill>
                  <a:schemeClr val="accent3"/>
                </a:solidFill>
              </a:defRPr>
            </a:lvl8pPr>
            <a:lvl9pPr marL="0" indent="0">
              <a:defRPr sz="1000">
                <a:solidFill>
                  <a:schemeClr val="accent3"/>
                </a:solidFill>
              </a:defRPr>
            </a:lvl9pPr>
          </a:lstStyle>
          <a:p>
            <a:r>
              <a:rPr lang="en-US"/>
              <a:t>Slide </a:t>
            </a:r>
            <a:fld id="{619F89D8-7AE3-494A-97F3-03D680869632}" type="slidenum">
              <a:rPr lang="en-US" smtClean="0"/>
              <a:pPr/>
              <a:t>‹#›</a:t>
            </a:fld>
            <a:endParaRPr lang="en-US"/>
          </a:p>
        </p:txBody>
      </p:sp>
      <p:cxnSp>
        <p:nvCxnSpPr>
          <p:cNvPr id="35" name="Straight Connector 34"/>
          <p:cNvCxnSpPr/>
          <p:nvPr/>
        </p:nvCxnSpPr>
        <p:spPr bwMode="gray">
          <a:xfrm>
            <a:off x="335577" y="6094413"/>
            <a:ext cx="11520000" cy="0"/>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grpSp>
        <p:nvGrpSpPr>
          <p:cNvPr id="68" name="Group 67"/>
          <p:cNvGrpSpPr/>
          <p:nvPr/>
        </p:nvGrpSpPr>
        <p:grpSpPr bwMode="gray">
          <a:xfrm>
            <a:off x="334271" y="6327549"/>
            <a:ext cx="337946" cy="88364"/>
            <a:chOff x="61913" y="5218113"/>
            <a:chExt cx="3138487" cy="820737"/>
          </a:xfrm>
          <a:solidFill>
            <a:schemeClr val="accent3"/>
          </a:solidFill>
        </p:grpSpPr>
        <p:sp>
          <p:nvSpPr>
            <p:cNvPr id="69" name="Freeform 16"/>
            <p:cNvSpPr>
              <a:spLocks noEditPoints="1"/>
            </p:cNvSpPr>
            <p:nvPr userDrawn="1"/>
          </p:nvSpPr>
          <p:spPr bwMode="gray">
            <a:xfrm>
              <a:off x="61913" y="5218113"/>
              <a:ext cx="828675" cy="820737"/>
            </a:xfrm>
            <a:custGeom>
              <a:avLst/>
              <a:gdLst>
                <a:gd name="T0" fmla="*/ 111 w 221"/>
                <a:gd name="T1" fmla="*/ 219 h 219"/>
                <a:gd name="T2" fmla="*/ 53 w 221"/>
                <a:gd name="T3" fmla="*/ 203 h 219"/>
                <a:gd name="T4" fmla="*/ 14 w 221"/>
                <a:gd name="T5" fmla="*/ 163 h 219"/>
                <a:gd name="T6" fmla="*/ 0 w 221"/>
                <a:gd name="T7" fmla="*/ 109 h 219"/>
                <a:gd name="T8" fmla="*/ 15 w 221"/>
                <a:gd name="T9" fmla="*/ 53 h 219"/>
                <a:gd name="T10" fmla="*/ 56 w 221"/>
                <a:gd name="T11" fmla="*/ 14 h 219"/>
                <a:gd name="T12" fmla="*/ 111 w 221"/>
                <a:gd name="T13" fmla="*/ 0 h 219"/>
                <a:gd name="T14" fmla="*/ 168 w 221"/>
                <a:gd name="T15" fmla="*/ 15 h 219"/>
                <a:gd name="T16" fmla="*/ 207 w 221"/>
                <a:gd name="T17" fmla="*/ 55 h 219"/>
                <a:gd name="T18" fmla="*/ 221 w 221"/>
                <a:gd name="T19" fmla="*/ 109 h 219"/>
                <a:gd name="T20" fmla="*/ 206 w 221"/>
                <a:gd name="T21" fmla="*/ 166 h 219"/>
                <a:gd name="T22" fmla="*/ 165 w 221"/>
                <a:gd name="T23" fmla="*/ 205 h 219"/>
                <a:gd name="T24" fmla="*/ 111 w 221"/>
                <a:gd name="T25" fmla="*/ 219 h 219"/>
                <a:gd name="T26" fmla="*/ 111 w 221"/>
                <a:gd name="T27" fmla="*/ 190 h 219"/>
                <a:gd name="T28" fmla="*/ 153 w 221"/>
                <a:gd name="T29" fmla="*/ 180 h 219"/>
                <a:gd name="T30" fmla="*/ 181 w 221"/>
                <a:gd name="T31" fmla="*/ 151 h 219"/>
                <a:gd name="T32" fmla="*/ 191 w 221"/>
                <a:gd name="T33" fmla="*/ 109 h 219"/>
                <a:gd name="T34" fmla="*/ 180 w 221"/>
                <a:gd name="T35" fmla="*/ 67 h 219"/>
                <a:gd name="T36" fmla="*/ 151 w 221"/>
                <a:gd name="T37" fmla="*/ 38 h 219"/>
                <a:gd name="T38" fmla="*/ 111 w 221"/>
                <a:gd name="T39" fmla="*/ 28 h 219"/>
                <a:gd name="T40" fmla="*/ 68 w 221"/>
                <a:gd name="T41" fmla="*/ 39 h 219"/>
                <a:gd name="T42" fmla="*/ 40 w 221"/>
                <a:gd name="T43" fmla="*/ 68 h 219"/>
                <a:gd name="T44" fmla="*/ 31 w 221"/>
                <a:gd name="T45" fmla="*/ 109 h 219"/>
                <a:gd name="T46" fmla="*/ 41 w 221"/>
                <a:gd name="T47" fmla="*/ 152 h 219"/>
                <a:gd name="T48" fmla="*/ 70 w 221"/>
                <a:gd name="T49" fmla="*/ 180 h 219"/>
                <a:gd name="T50" fmla="*/ 111 w 221"/>
                <a:gd name="T51" fmla="*/ 190 h 219"/>
                <a:gd name="T52" fmla="*/ 115 w 221"/>
                <a:gd name="T53" fmla="*/ 50 h 219"/>
                <a:gd name="T54" fmla="*/ 139 w 221"/>
                <a:gd name="T55" fmla="*/ 54 h 219"/>
                <a:gd name="T56" fmla="*/ 156 w 221"/>
                <a:gd name="T57" fmla="*/ 63 h 219"/>
                <a:gd name="T58" fmla="*/ 145 w 221"/>
                <a:gd name="T59" fmla="*/ 85 h 219"/>
                <a:gd name="T60" fmla="*/ 117 w 221"/>
                <a:gd name="T61" fmla="*/ 76 h 219"/>
                <a:gd name="T62" fmla="*/ 93 w 221"/>
                <a:gd name="T63" fmla="*/ 85 h 219"/>
                <a:gd name="T64" fmla="*/ 84 w 221"/>
                <a:gd name="T65" fmla="*/ 110 h 219"/>
                <a:gd name="T66" fmla="*/ 93 w 221"/>
                <a:gd name="T67" fmla="*/ 134 h 219"/>
                <a:gd name="T68" fmla="*/ 117 w 221"/>
                <a:gd name="T69" fmla="*/ 143 h 219"/>
                <a:gd name="T70" fmla="*/ 146 w 221"/>
                <a:gd name="T71" fmla="*/ 132 h 219"/>
                <a:gd name="T72" fmla="*/ 158 w 221"/>
                <a:gd name="T73" fmla="*/ 153 h 219"/>
                <a:gd name="T74" fmla="*/ 140 w 221"/>
                <a:gd name="T75" fmla="*/ 165 h 219"/>
                <a:gd name="T76" fmla="*/ 115 w 221"/>
                <a:gd name="T77" fmla="*/ 169 h 219"/>
                <a:gd name="T78" fmla="*/ 71 w 221"/>
                <a:gd name="T79" fmla="*/ 153 h 219"/>
                <a:gd name="T80" fmla="*/ 54 w 221"/>
                <a:gd name="T81" fmla="*/ 111 h 219"/>
                <a:gd name="T82" fmla="*/ 71 w 221"/>
                <a:gd name="T83" fmla="*/ 67 h 219"/>
                <a:gd name="T84" fmla="*/ 115 w 221"/>
                <a:gd name="T85" fmla="*/ 50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21" h="219">
                  <a:moveTo>
                    <a:pt x="111" y="219"/>
                  </a:moveTo>
                  <a:cubicBezTo>
                    <a:pt x="89" y="219"/>
                    <a:pt x="70" y="214"/>
                    <a:pt x="53" y="203"/>
                  </a:cubicBezTo>
                  <a:cubicBezTo>
                    <a:pt x="36" y="193"/>
                    <a:pt x="23" y="180"/>
                    <a:pt x="14" y="163"/>
                  </a:cubicBezTo>
                  <a:cubicBezTo>
                    <a:pt x="4" y="147"/>
                    <a:pt x="0" y="129"/>
                    <a:pt x="0" y="109"/>
                  </a:cubicBezTo>
                  <a:cubicBezTo>
                    <a:pt x="0" y="88"/>
                    <a:pt x="5" y="70"/>
                    <a:pt x="15" y="53"/>
                  </a:cubicBezTo>
                  <a:cubicBezTo>
                    <a:pt x="25" y="36"/>
                    <a:pt x="39" y="23"/>
                    <a:pt x="56" y="14"/>
                  </a:cubicBezTo>
                  <a:cubicBezTo>
                    <a:pt x="73" y="5"/>
                    <a:pt x="91" y="0"/>
                    <a:pt x="111" y="0"/>
                  </a:cubicBezTo>
                  <a:cubicBezTo>
                    <a:pt x="132" y="0"/>
                    <a:pt x="151" y="5"/>
                    <a:pt x="168" y="15"/>
                  </a:cubicBezTo>
                  <a:cubicBezTo>
                    <a:pt x="185" y="26"/>
                    <a:pt x="198" y="39"/>
                    <a:pt x="207" y="55"/>
                  </a:cubicBezTo>
                  <a:cubicBezTo>
                    <a:pt x="217" y="72"/>
                    <a:pt x="221" y="90"/>
                    <a:pt x="221" y="109"/>
                  </a:cubicBezTo>
                  <a:cubicBezTo>
                    <a:pt x="221" y="130"/>
                    <a:pt x="216" y="149"/>
                    <a:pt x="206" y="166"/>
                  </a:cubicBezTo>
                  <a:cubicBezTo>
                    <a:pt x="196" y="183"/>
                    <a:pt x="182" y="196"/>
                    <a:pt x="165" y="205"/>
                  </a:cubicBezTo>
                  <a:cubicBezTo>
                    <a:pt x="149" y="214"/>
                    <a:pt x="130" y="219"/>
                    <a:pt x="111" y="219"/>
                  </a:cubicBezTo>
                  <a:close/>
                  <a:moveTo>
                    <a:pt x="111" y="190"/>
                  </a:moveTo>
                  <a:cubicBezTo>
                    <a:pt x="127" y="190"/>
                    <a:pt x="141" y="187"/>
                    <a:pt x="153" y="180"/>
                  </a:cubicBezTo>
                  <a:cubicBezTo>
                    <a:pt x="165" y="173"/>
                    <a:pt x="174" y="163"/>
                    <a:pt x="181" y="151"/>
                  </a:cubicBezTo>
                  <a:cubicBezTo>
                    <a:pt x="187" y="139"/>
                    <a:pt x="191" y="125"/>
                    <a:pt x="191" y="109"/>
                  </a:cubicBezTo>
                  <a:cubicBezTo>
                    <a:pt x="191" y="93"/>
                    <a:pt x="187" y="79"/>
                    <a:pt x="180" y="67"/>
                  </a:cubicBezTo>
                  <a:cubicBezTo>
                    <a:pt x="173" y="55"/>
                    <a:pt x="163" y="45"/>
                    <a:pt x="151" y="38"/>
                  </a:cubicBezTo>
                  <a:cubicBezTo>
                    <a:pt x="139" y="32"/>
                    <a:pt x="126" y="28"/>
                    <a:pt x="111" y="28"/>
                  </a:cubicBezTo>
                  <a:cubicBezTo>
                    <a:pt x="95" y="28"/>
                    <a:pt x="81" y="32"/>
                    <a:pt x="68" y="39"/>
                  </a:cubicBezTo>
                  <a:cubicBezTo>
                    <a:pt x="56" y="46"/>
                    <a:pt x="47" y="56"/>
                    <a:pt x="40" y="68"/>
                  </a:cubicBezTo>
                  <a:cubicBezTo>
                    <a:pt x="34" y="80"/>
                    <a:pt x="31" y="94"/>
                    <a:pt x="31" y="109"/>
                  </a:cubicBezTo>
                  <a:cubicBezTo>
                    <a:pt x="31" y="126"/>
                    <a:pt x="34" y="140"/>
                    <a:pt x="41" y="152"/>
                  </a:cubicBezTo>
                  <a:cubicBezTo>
                    <a:pt x="48" y="164"/>
                    <a:pt x="58" y="174"/>
                    <a:pt x="70" y="180"/>
                  </a:cubicBezTo>
                  <a:cubicBezTo>
                    <a:pt x="82" y="187"/>
                    <a:pt x="95" y="190"/>
                    <a:pt x="111" y="190"/>
                  </a:cubicBezTo>
                  <a:close/>
                  <a:moveTo>
                    <a:pt x="115" y="50"/>
                  </a:moveTo>
                  <a:cubicBezTo>
                    <a:pt x="124" y="50"/>
                    <a:pt x="131" y="51"/>
                    <a:pt x="139" y="54"/>
                  </a:cubicBezTo>
                  <a:cubicBezTo>
                    <a:pt x="146" y="56"/>
                    <a:pt x="152" y="59"/>
                    <a:pt x="156" y="63"/>
                  </a:cubicBezTo>
                  <a:cubicBezTo>
                    <a:pt x="145" y="85"/>
                    <a:pt x="145" y="85"/>
                    <a:pt x="145" y="85"/>
                  </a:cubicBezTo>
                  <a:cubicBezTo>
                    <a:pt x="137" y="79"/>
                    <a:pt x="128" y="76"/>
                    <a:pt x="117" y="76"/>
                  </a:cubicBezTo>
                  <a:cubicBezTo>
                    <a:pt x="107" y="76"/>
                    <a:pt x="99" y="79"/>
                    <a:pt x="93" y="85"/>
                  </a:cubicBezTo>
                  <a:cubicBezTo>
                    <a:pt x="87" y="91"/>
                    <a:pt x="84" y="100"/>
                    <a:pt x="84" y="110"/>
                  </a:cubicBezTo>
                  <a:cubicBezTo>
                    <a:pt x="84" y="120"/>
                    <a:pt x="87" y="128"/>
                    <a:pt x="93" y="134"/>
                  </a:cubicBezTo>
                  <a:cubicBezTo>
                    <a:pt x="99" y="140"/>
                    <a:pt x="107" y="143"/>
                    <a:pt x="117" y="143"/>
                  </a:cubicBezTo>
                  <a:cubicBezTo>
                    <a:pt x="129" y="143"/>
                    <a:pt x="138" y="139"/>
                    <a:pt x="146" y="132"/>
                  </a:cubicBezTo>
                  <a:cubicBezTo>
                    <a:pt x="158" y="153"/>
                    <a:pt x="158" y="153"/>
                    <a:pt x="158" y="153"/>
                  </a:cubicBezTo>
                  <a:cubicBezTo>
                    <a:pt x="153" y="158"/>
                    <a:pt x="147" y="162"/>
                    <a:pt x="140" y="165"/>
                  </a:cubicBezTo>
                  <a:cubicBezTo>
                    <a:pt x="132" y="168"/>
                    <a:pt x="124" y="169"/>
                    <a:pt x="115" y="169"/>
                  </a:cubicBezTo>
                  <a:cubicBezTo>
                    <a:pt x="97" y="169"/>
                    <a:pt x="82" y="164"/>
                    <a:pt x="71" y="153"/>
                  </a:cubicBezTo>
                  <a:cubicBezTo>
                    <a:pt x="60" y="142"/>
                    <a:pt x="54" y="128"/>
                    <a:pt x="54" y="111"/>
                  </a:cubicBezTo>
                  <a:cubicBezTo>
                    <a:pt x="54" y="93"/>
                    <a:pt x="60" y="78"/>
                    <a:pt x="71" y="67"/>
                  </a:cubicBezTo>
                  <a:cubicBezTo>
                    <a:pt x="82" y="56"/>
                    <a:pt x="97" y="50"/>
                    <a:pt x="115" y="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0" name="Freeform 17"/>
            <p:cNvSpPr>
              <a:spLocks noEditPoints="1"/>
            </p:cNvSpPr>
            <p:nvPr userDrawn="1"/>
          </p:nvSpPr>
          <p:spPr bwMode="gray">
            <a:xfrm>
              <a:off x="957263" y="5237163"/>
              <a:ext cx="773112" cy="782637"/>
            </a:xfrm>
            <a:custGeom>
              <a:avLst/>
              <a:gdLst>
                <a:gd name="T0" fmla="*/ 305 w 487"/>
                <a:gd name="T1" fmla="*/ 0 h 493"/>
                <a:gd name="T2" fmla="*/ 487 w 487"/>
                <a:gd name="T3" fmla="*/ 493 h 493"/>
                <a:gd name="T4" fmla="*/ 369 w 487"/>
                <a:gd name="T5" fmla="*/ 493 h 493"/>
                <a:gd name="T6" fmla="*/ 336 w 487"/>
                <a:gd name="T7" fmla="*/ 390 h 493"/>
                <a:gd name="T8" fmla="*/ 151 w 487"/>
                <a:gd name="T9" fmla="*/ 390 h 493"/>
                <a:gd name="T10" fmla="*/ 118 w 487"/>
                <a:gd name="T11" fmla="*/ 493 h 493"/>
                <a:gd name="T12" fmla="*/ 0 w 487"/>
                <a:gd name="T13" fmla="*/ 493 h 493"/>
                <a:gd name="T14" fmla="*/ 184 w 487"/>
                <a:gd name="T15" fmla="*/ 0 h 493"/>
                <a:gd name="T16" fmla="*/ 305 w 487"/>
                <a:gd name="T17" fmla="*/ 0 h 493"/>
                <a:gd name="T18" fmla="*/ 180 w 487"/>
                <a:gd name="T19" fmla="*/ 300 h 493"/>
                <a:gd name="T20" fmla="*/ 307 w 487"/>
                <a:gd name="T21" fmla="*/ 300 h 493"/>
                <a:gd name="T22" fmla="*/ 243 w 487"/>
                <a:gd name="T23" fmla="*/ 104 h 493"/>
                <a:gd name="T24" fmla="*/ 180 w 487"/>
                <a:gd name="T25" fmla="*/ 30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7" h="493">
                  <a:moveTo>
                    <a:pt x="305" y="0"/>
                  </a:moveTo>
                  <a:lnTo>
                    <a:pt x="487" y="493"/>
                  </a:lnTo>
                  <a:lnTo>
                    <a:pt x="369" y="493"/>
                  </a:lnTo>
                  <a:lnTo>
                    <a:pt x="336" y="390"/>
                  </a:lnTo>
                  <a:lnTo>
                    <a:pt x="151" y="390"/>
                  </a:lnTo>
                  <a:lnTo>
                    <a:pt x="118" y="493"/>
                  </a:lnTo>
                  <a:lnTo>
                    <a:pt x="0" y="493"/>
                  </a:lnTo>
                  <a:lnTo>
                    <a:pt x="184" y="0"/>
                  </a:lnTo>
                  <a:lnTo>
                    <a:pt x="305" y="0"/>
                  </a:lnTo>
                  <a:close/>
                  <a:moveTo>
                    <a:pt x="180" y="300"/>
                  </a:moveTo>
                  <a:lnTo>
                    <a:pt x="307" y="300"/>
                  </a:lnTo>
                  <a:lnTo>
                    <a:pt x="243" y="104"/>
                  </a:lnTo>
                  <a:lnTo>
                    <a:pt x="180" y="3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1" name="Freeform 18"/>
            <p:cNvSpPr>
              <a:spLocks noEditPoints="1"/>
            </p:cNvSpPr>
            <p:nvPr userDrawn="1"/>
          </p:nvSpPr>
          <p:spPr bwMode="gray">
            <a:xfrm>
              <a:off x="1819275" y="5237163"/>
              <a:ext cx="622300" cy="782637"/>
            </a:xfrm>
            <a:custGeom>
              <a:avLst/>
              <a:gdLst>
                <a:gd name="T0" fmla="*/ 0 w 166"/>
                <a:gd name="T1" fmla="*/ 0 h 209"/>
                <a:gd name="T2" fmla="*/ 82 w 166"/>
                <a:gd name="T3" fmla="*/ 0 h 209"/>
                <a:gd name="T4" fmla="*/ 132 w 166"/>
                <a:gd name="T5" fmla="*/ 15 h 209"/>
                <a:gd name="T6" fmla="*/ 150 w 166"/>
                <a:gd name="T7" fmla="*/ 53 h 209"/>
                <a:gd name="T8" fmla="*/ 128 w 166"/>
                <a:gd name="T9" fmla="*/ 94 h 209"/>
                <a:gd name="T10" fmla="*/ 166 w 166"/>
                <a:gd name="T11" fmla="*/ 146 h 209"/>
                <a:gd name="T12" fmla="*/ 146 w 166"/>
                <a:gd name="T13" fmla="*/ 192 h 209"/>
                <a:gd name="T14" fmla="*/ 86 w 166"/>
                <a:gd name="T15" fmla="*/ 209 h 209"/>
                <a:gd name="T16" fmla="*/ 0 w 166"/>
                <a:gd name="T17" fmla="*/ 209 h 209"/>
                <a:gd name="T18" fmla="*/ 0 w 166"/>
                <a:gd name="T19" fmla="*/ 0 h 209"/>
                <a:gd name="T20" fmla="*/ 78 w 166"/>
                <a:gd name="T21" fmla="*/ 81 h 209"/>
                <a:gd name="T22" fmla="*/ 99 w 166"/>
                <a:gd name="T23" fmla="*/ 75 h 209"/>
                <a:gd name="T24" fmla="*/ 106 w 166"/>
                <a:gd name="T25" fmla="*/ 59 h 209"/>
                <a:gd name="T26" fmla="*/ 99 w 166"/>
                <a:gd name="T27" fmla="*/ 42 h 209"/>
                <a:gd name="T28" fmla="*/ 79 w 166"/>
                <a:gd name="T29" fmla="*/ 37 h 209"/>
                <a:gd name="T30" fmla="*/ 46 w 166"/>
                <a:gd name="T31" fmla="*/ 37 h 209"/>
                <a:gd name="T32" fmla="*/ 46 w 166"/>
                <a:gd name="T33" fmla="*/ 81 h 209"/>
                <a:gd name="T34" fmla="*/ 78 w 166"/>
                <a:gd name="T35" fmla="*/ 81 h 209"/>
                <a:gd name="T36" fmla="*/ 84 w 166"/>
                <a:gd name="T37" fmla="*/ 172 h 209"/>
                <a:gd name="T38" fmla="*/ 111 w 166"/>
                <a:gd name="T39" fmla="*/ 165 h 209"/>
                <a:gd name="T40" fmla="*/ 120 w 166"/>
                <a:gd name="T41" fmla="*/ 145 h 209"/>
                <a:gd name="T42" fmla="*/ 111 w 166"/>
                <a:gd name="T43" fmla="*/ 124 h 209"/>
                <a:gd name="T44" fmla="*/ 85 w 166"/>
                <a:gd name="T45" fmla="*/ 117 h 209"/>
                <a:gd name="T46" fmla="*/ 46 w 166"/>
                <a:gd name="T47" fmla="*/ 117 h 209"/>
                <a:gd name="T48" fmla="*/ 46 w 166"/>
                <a:gd name="T49" fmla="*/ 172 h 209"/>
                <a:gd name="T50" fmla="*/ 84 w 166"/>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6" h="209">
                  <a:moveTo>
                    <a:pt x="0" y="0"/>
                  </a:moveTo>
                  <a:cubicBezTo>
                    <a:pt x="82" y="0"/>
                    <a:pt x="82" y="0"/>
                    <a:pt x="82" y="0"/>
                  </a:cubicBezTo>
                  <a:cubicBezTo>
                    <a:pt x="103" y="0"/>
                    <a:pt x="119" y="5"/>
                    <a:pt x="132" y="15"/>
                  </a:cubicBezTo>
                  <a:cubicBezTo>
                    <a:pt x="144" y="24"/>
                    <a:pt x="150" y="37"/>
                    <a:pt x="150" y="53"/>
                  </a:cubicBezTo>
                  <a:cubicBezTo>
                    <a:pt x="150" y="71"/>
                    <a:pt x="143" y="84"/>
                    <a:pt x="128" y="94"/>
                  </a:cubicBezTo>
                  <a:cubicBezTo>
                    <a:pt x="154" y="103"/>
                    <a:pt x="166" y="120"/>
                    <a:pt x="166" y="146"/>
                  </a:cubicBezTo>
                  <a:cubicBezTo>
                    <a:pt x="166" y="166"/>
                    <a:pt x="160" y="182"/>
                    <a:pt x="146" y="192"/>
                  </a:cubicBezTo>
                  <a:cubicBezTo>
                    <a:pt x="132" y="203"/>
                    <a:pt x="112" y="209"/>
                    <a:pt x="86" y="209"/>
                  </a:cubicBezTo>
                  <a:cubicBezTo>
                    <a:pt x="0" y="209"/>
                    <a:pt x="0" y="209"/>
                    <a:pt x="0" y="209"/>
                  </a:cubicBezTo>
                  <a:lnTo>
                    <a:pt x="0" y="0"/>
                  </a:lnTo>
                  <a:close/>
                  <a:moveTo>
                    <a:pt x="78" y="81"/>
                  </a:moveTo>
                  <a:cubicBezTo>
                    <a:pt x="87" y="81"/>
                    <a:pt x="94" y="79"/>
                    <a:pt x="99" y="75"/>
                  </a:cubicBezTo>
                  <a:cubicBezTo>
                    <a:pt x="104" y="71"/>
                    <a:pt x="106" y="66"/>
                    <a:pt x="106" y="59"/>
                  </a:cubicBezTo>
                  <a:cubicBezTo>
                    <a:pt x="106" y="52"/>
                    <a:pt x="104" y="46"/>
                    <a:pt x="99" y="42"/>
                  </a:cubicBezTo>
                  <a:cubicBezTo>
                    <a:pt x="94" y="38"/>
                    <a:pt x="87" y="37"/>
                    <a:pt x="79" y="37"/>
                  </a:cubicBezTo>
                  <a:cubicBezTo>
                    <a:pt x="46" y="37"/>
                    <a:pt x="46" y="37"/>
                    <a:pt x="46" y="37"/>
                  </a:cubicBezTo>
                  <a:cubicBezTo>
                    <a:pt x="46" y="81"/>
                    <a:pt x="46" y="81"/>
                    <a:pt x="46" y="81"/>
                  </a:cubicBezTo>
                  <a:lnTo>
                    <a:pt x="78" y="81"/>
                  </a:lnTo>
                  <a:close/>
                  <a:moveTo>
                    <a:pt x="84" y="172"/>
                  </a:moveTo>
                  <a:cubicBezTo>
                    <a:pt x="96" y="172"/>
                    <a:pt x="105" y="169"/>
                    <a:pt x="111" y="165"/>
                  </a:cubicBezTo>
                  <a:cubicBezTo>
                    <a:pt x="117" y="160"/>
                    <a:pt x="120" y="154"/>
                    <a:pt x="120" y="145"/>
                  </a:cubicBezTo>
                  <a:cubicBezTo>
                    <a:pt x="120"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sp>
          <p:nvSpPr>
            <p:cNvPr id="72" name="Freeform 19"/>
            <p:cNvSpPr>
              <a:spLocks noEditPoints="1"/>
            </p:cNvSpPr>
            <p:nvPr userDrawn="1"/>
          </p:nvSpPr>
          <p:spPr bwMode="gray">
            <a:xfrm>
              <a:off x="2573338" y="5237163"/>
              <a:ext cx="627062" cy="782637"/>
            </a:xfrm>
            <a:custGeom>
              <a:avLst/>
              <a:gdLst>
                <a:gd name="T0" fmla="*/ 0 w 167"/>
                <a:gd name="T1" fmla="*/ 0 h 209"/>
                <a:gd name="T2" fmla="*/ 82 w 167"/>
                <a:gd name="T3" fmla="*/ 0 h 209"/>
                <a:gd name="T4" fmla="*/ 132 w 167"/>
                <a:gd name="T5" fmla="*/ 15 h 209"/>
                <a:gd name="T6" fmla="*/ 150 w 167"/>
                <a:gd name="T7" fmla="*/ 53 h 209"/>
                <a:gd name="T8" fmla="*/ 128 w 167"/>
                <a:gd name="T9" fmla="*/ 94 h 209"/>
                <a:gd name="T10" fmla="*/ 167 w 167"/>
                <a:gd name="T11" fmla="*/ 146 h 209"/>
                <a:gd name="T12" fmla="*/ 146 w 167"/>
                <a:gd name="T13" fmla="*/ 192 h 209"/>
                <a:gd name="T14" fmla="*/ 86 w 167"/>
                <a:gd name="T15" fmla="*/ 209 h 209"/>
                <a:gd name="T16" fmla="*/ 0 w 167"/>
                <a:gd name="T17" fmla="*/ 209 h 209"/>
                <a:gd name="T18" fmla="*/ 0 w 167"/>
                <a:gd name="T19" fmla="*/ 0 h 209"/>
                <a:gd name="T20" fmla="*/ 79 w 167"/>
                <a:gd name="T21" fmla="*/ 81 h 209"/>
                <a:gd name="T22" fmla="*/ 99 w 167"/>
                <a:gd name="T23" fmla="*/ 75 h 209"/>
                <a:gd name="T24" fmla="*/ 106 w 167"/>
                <a:gd name="T25" fmla="*/ 59 h 209"/>
                <a:gd name="T26" fmla="*/ 99 w 167"/>
                <a:gd name="T27" fmla="*/ 42 h 209"/>
                <a:gd name="T28" fmla="*/ 79 w 167"/>
                <a:gd name="T29" fmla="*/ 37 h 209"/>
                <a:gd name="T30" fmla="*/ 46 w 167"/>
                <a:gd name="T31" fmla="*/ 37 h 209"/>
                <a:gd name="T32" fmla="*/ 46 w 167"/>
                <a:gd name="T33" fmla="*/ 81 h 209"/>
                <a:gd name="T34" fmla="*/ 79 w 167"/>
                <a:gd name="T35" fmla="*/ 81 h 209"/>
                <a:gd name="T36" fmla="*/ 84 w 167"/>
                <a:gd name="T37" fmla="*/ 172 h 209"/>
                <a:gd name="T38" fmla="*/ 111 w 167"/>
                <a:gd name="T39" fmla="*/ 165 h 209"/>
                <a:gd name="T40" fmla="*/ 121 w 167"/>
                <a:gd name="T41" fmla="*/ 145 h 209"/>
                <a:gd name="T42" fmla="*/ 111 w 167"/>
                <a:gd name="T43" fmla="*/ 124 h 209"/>
                <a:gd name="T44" fmla="*/ 85 w 167"/>
                <a:gd name="T45" fmla="*/ 117 h 209"/>
                <a:gd name="T46" fmla="*/ 46 w 167"/>
                <a:gd name="T47" fmla="*/ 117 h 209"/>
                <a:gd name="T48" fmla="*/ 46 w 167"/>
                <a:gd name="T49" fmla="*/ 172 h 209"/>
                <a:gd name="T50" fmla="*/ 84 w 167"/>
                <a:gd name="T51" fmla="*/ 172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09">
                  <a:moveTo>
                    <a:pt x="0" y="0"/>
                  </a:moveTo>
                  <a:cubicBezTo>
                    <a:pt x="82" y="0"/>
                    <a:pt x="82" y="0"/>
                    <a:pt x="82" y="0"/>
                  </a:cubicBezTo>
                  <a:cubicBezTo>
                    <a:pt x="103" y="0"/>
                    <a:pt x="120" y="5"/>
                    <a:pt x="132" y="15"/>
                  </a:cubicBezTo>
                  <a:cubicBezTo>
                    <a:pt x="144" y="24"/>
                    <a:pt x="150" y="37"/>
                    <a:pt x="150" y="53"/>
                  </a:cubicBezTo>
                  <a:cubicBezTo>
                    <a:pt x="150" y="71"/>
                    <a:pt x="143" y="84"/>
                    <a:pt x="128" y="94"/>
                  </a:cubicBezTo>
                  <a:cubicBezTo>
                    <a:pt x="154" y="103"/>
                    <a:pt x="167" y="120"/>
                    <a:pt x="167" y="146"/>
                  </a:cubicBezTo>
                  <a:cubicBezTo>
                    <a:pt x="167" y="166"/>
                    <a:pt x="160" y="182"/>
                    <a:pt x="146" y="192"/>
                  </a:cubicBezTo>
                  <a:cubicBezTo>
                    <a:pt x="132" y="203"/>
                    <a:pt x="112" y="209"/>
                    <a:pt x="86" y="209"/>
                  </a:cubicBezTo>
                  <a:cubicBezTo>
                    <a:pt x="0" y="209"/>
                    <a:pt x="0" y="209"/>
                    <a:pt x="0" y="209"/>
                  </a:cubicBezTo>
                  <a:lnTo>
                    <a:pt x="0" y="0"/>
                  </a:lnTo>
                  <a:close/>
                  <a:moveTo>
                    <a:pt x="79" y="81"/>
                  </a:moveTo>
                  <a:cubicBezTo>
                    <a:pt x="87" y="81"/>
                    <a:pt x="94" y="79"/>
                    <a:pt x="99" y="75"/>
                  </a:cubicBezTo>
                  <a:cubicBezTo>
                    <a:pt x="104" y="71"/>
                    <a:pt x="106" y="66"/>
                    <a:pt x="106" y="59"/>
                  </a:cubicBezTo>
                  <a:cubicBezTo>
                    <a:pt x="106" y="52"/>
                    <a:pt x="104" y="46"/>
                    <a:pt x="99" y="42"/>
                  </a:cubicBezTo>
                  <a:cubicBezTo>
                    <a:pt x="94" y="38"/>
                    <a:pt x="88" y="37"/>
                    <a:pt x="79" y="37"/>
                  </a:cubicBezTo>
                  <a:cubicBezTo>
                    <a:pt x="46" y="37"/>
                    <a:pt x="46" y="37"/>
                    <a:pt x="46" y="37"/>
                  </a:cubicBezTo>
                  <a:cubicBezTo>
                    <a:pt x="46" y="81"/>
                    <a:pt x="46" y="81"/>
                    <a:pt x="46" y="81"/>
                  </a:cubicBezTo>
                  <a:lnTo>
                    <a:pt x="79" y="81"/>
                  </a:lnTo>
                  <a:close/>
                  <a:moveTo>
                    <a:pt x="84" y="172"/>
                  </a:moveTo>
                  <a:cubicBezTo>
                    <a:pt x="96" y="172"/>
                    <a:pt x="105" y="169"/>
                    <a:pt x="111" y="165"/>
                  </a:cubicBezTo>
                  <a:cubicBezTo>
                    <a:pt x="118" y="160"/>
                    <a:pt x="121" y="154"/>
                    <a:pt x="121" y="145"/>
                  </a:cubicBezTo>
                  <a:cubicBezTo>
                    <a:pt x="121" y="136"/>
                    <a:pt x="117" y="129"/>
                    <a:pt x="111" y="124"/>
                  </a:cubicBezTo>
                  <a:cubicBezTo>
                    <a:pt x="105" y="119"/>
                    <a:pt x="96" y="117"/>
                    <a:pt x="85" y="117"/>
                  </a:cubicBezTo>
                  <a:cubicBezTo>
                    <a:pt x="46" y="117"/>
                    <a:pt x="46" y="117"/>
                    <a:pt x="46" y="117"/>
                  </a:cubicBezTo>
                  <a:cubicBezTo>
                    <a:pt x="46" y="172"/>
                    <a:pt x="46" y="172"/>
                    <a:pt x="46" y="172"/>
                  </a:cubicBezTo>
                  <a:lnTo>
                    <a:pt x="84" y="1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a:p>
          </p:txBody>
        </p:sp>
      </p:grpSp>
      <p:cxnSp>
        <p:nvCxnSpPr>
          <p:cNvPr id="73" name="Straight Connector 72"/>
          <p:cNvCxnSpPr/>
          <p:nvPr/>
        </p:nvCxnSpPr>
        <p:spPr bwMode="gray">
          <a:xfrm>
            <a:off x="1692854" y="6472543"/>
            <a:ext cx="0" cy="132461"/>
          </a:xfrm>
          <a:prstGeom prst="line">
            <a:avLst/>
          </a:prstGeom>
          <a:ln w="12700">
            <a:solidFill>
              <a:schemeClr val="accent3"/>
            </a:solidFill>
          </a:ln>
        </p:spPr>
        <p:style>
          <a:lnRef idx="1">
            <a:schemeClr val="accent3"/>
          </a:lnRef>
          <a:fillRef idx="0">
            <a:schemeClr val="accent3"/>
          </a:fillRef>
          <a:effectRef idx="0">
            <a:schemeClr val="accent3"/>
          </a:effectRef>
          <a:fontRef idx="minor">
            <a:schemeClr val="tx1"/>
          </a:fontRef>
        </p:style>
      </p:cxnSp>
      <p:sp>
        <p:nvSpPr>
          <p:cNvPr id="7" name="Rectangle 6"/>
          <p:cNvSpPr/>
          <p:nvPr userDrawn="1"/>
        </p:nvSpPr>
        <p:spPr bwMode="gray">
          <a:xfrm>
            <a:off x="242214" y="426352"/>
            <a:ext cx="550971" cy="1583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de-DE" sz="2400" b="1">
                <a:solidFill>
                  <a:schemeClr val="bg2"/>
                </a:solidFill>
              </a:rPr>
              <a:t>—</a:t>
            </a:r>
            <a:endParaRPr lang="en-US" sz="2400" b="1" err="1">
              <a:solidFill>
                <a:schemeClr val="bg2"/>
              </a:solidFill>
            </a:endParaRPr>
          </a:p>
        </p:txBody>
      </p:sp>
      <p:pic>
        <p:nvPicPr>
          <p:cNvPr id="16" name="Picture 19"/>
          <p:cNvPicPr>
            <a:picLocks noChangeAspect="1" noChangeArrowheads="1"/>
          </p:cNvPicPr>
          <p:nvPr userDrawn="1"/>
        </p:nvPicPr>
        <p:blipFill>
          <a:blip r:embed="rId57">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89939311"/>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 id="2147483759" r:id="rId37"/>
    <p:sldLayoutId id="2147483760" r:id="rId38"/>
    <p:sldLayoutId id="2147483761" r:id="rId39"/>
    <p:sldLayoutId id="2147483762" r:id="rId40"/>
    <p:sldLayoutId id="2147483763" r:id="rId41"/>
    <p:sldLayoutId id="2147483764" r:id="rId42"/>
    <p:sldLayoutId id="2147483765" r:id="rId43"/>
    <p:sldLayoutId id="2147483766" r:id="rId44"/>
    <p:sldLayoutId id="2147483767" r:id="rId45"/>
    <p:sldLayoutId id="2147483768" r:id="rId46"/>
    <p:sldLayoutId id="2147483769" r:id="rId47"/>
    <p:sldLayoutId id="2147483770" r:id="rId48"/>
    <p:sldLayoutId id="2147483771" r:id="rId49"/>
    <p:sldLayoutId id="2147483772" r:id="rId50"/>
    <p:sldLayoutId id="2147483773" r:id="rId51"/>
    <p:sldLayoutId id="2147483774" r:id="rId52"/>
    <p:sldLayoutId id="2147483775" r:id="rId53"/>
    <p:sldLayoutId id="2147483776" r:id="rId54"/>
    <p:sldLayoutId id="2147483779" r:id="rId5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p:txStyles>
    <p:titleStyle>
      <a:lvl1pPr algn="l" defTabSz="914491" rtl="0" eaLnBrk="1" latinLnBrk="0" hangingPunct="1">
        <a:spcBef>
          <a:spcPct val="0"/>
        </a:spcBef>
        <a:buNone/>
        <a:defRPr sz="2400" b="1" kern="1200">
          <a:solidFill>
            <a:schemeClr val="tx1"/>
          </a:solidFill>
          <a:latin typeface="+mj-lt"/>
          <a:ea typeface="+mj-ea"/>
          <a:cs typeface="+mj-cs"/>
        </a:defRPr>
      </a:lvl1pPr>
    </p:titleStyle>
    <p:body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p:bodyStyle>
    <p:otherStyle>
      <a:defPPr>
        <a:defRPr lang="en-US"/>
      </a:defPPr>
      <a:lvl1pPr marL="0" algn="l" defTabSz="914491" rtl="0" eaLnBrk="1" latinLnBrk="0" hangingPunct="1">
        <a:defRPr sz="1800" kern="1200">
          <a:solidFill>
            <a:schemeClr val="tx1"/>
          </a:solidFill>
          <a:latin typeface="+mn-lt"/>
          <a:ea typeface="+mn-ea"/>
          <a:cs typeface="+mn-cs"/>
        </a:defRPr>
      </a:lvl1pPr>
      <a:lvl2pPr marL="457246" algn="l" defTabSz="914491" rtl="0" eaLnBrk="1" latinLnBrk="0" hangingPunct="1">
        <a:defRPr sz="1800" kern="1200">
          <a:solidFill>
            <a:schemeClr val="tx1"/>
          </a:solidFill>
          <a:latin typeface="+mn-lt"/>
          <a:ea typeface="+mn-ea"/>
          <a:cs typeface="+mn-cs"/>
        </a:defRPr>
      </a:lvl2pPr>
      <a:lvl3pPr marL="914491" algn="l" defTabSz="914491" rtl="0" eaLnBrk="1" latinLnBrk="0" hangingPunct="1">
        <a:defRPr sz="1800" kern="1200">
          <a:solidFill>
            <a:schemeClr val="tx1"/>
          </a:solidFill>
          <a:latin typeface="+mn-lt"/>
          <a:ea typeface="+mn-ea"/>
          <a:cs typeface="+mn-cs"/>
        </a:defRPr>
      </a:lvl3pPr>
      <a:lvl4pPr marL="1371737" algn="l" defTabSz="914491" rtl="0" eaLnBrk="1" latinLnBrk="0" hangingPunct="1">
        <a:defRPr sz="1800" kern="1200">
          <a:solidFill>
            <a:schemeClr val="tx1"/>
          </a:solidFill>
          <a:latin typeface="+mn-lt"/>
          <a:ea typeface="+mn-ea"/>
          <a:cs typeface="+mn-cs"/>
        </a:defRPr>
      </a:lvl4pPr>
      <a:lvl5pPr marL="1828983" algn="l" defTabSz="914491" rtl="0" eaLnBrk="1" latinLnBrk="0" hangingPunct="1">
        <a:defRPr sz="1800" kern="1200">
          <a:solidFill>
            <a:schemeClr val="tx1"/>
          </a:solidFill>
          <a:latin typeface="+mn-lt"/>
          <a:ea typeface="+mn-ea"/>
          <a:cs typeface="+mn-cs"/>
        </a:defRPr>
      </a:lvl5pPr>
      <a:lvl6pPr marL="2286229" algn="l" defTabSz="914491" rtl="0" eaLnBrk="1" latinLnBrk="0" hangingPunct="1">
        <a:defRPr sz="1800" kern="1200">
          <a:solidFill>
            <a:schemeClr val="tx1"/>
          </a:solidFill>
          <a:latin typeface="+mn-lt"/>
          <a:ea typeface="+mn-ea"/>
          <a:cs typeface="+mn-cs"/>
        </a:defRPr>
      </a:lvl6pPr>
      <a:lvl7pPr marL="2743474" algn="l" defTabSz="914491" rtl="0" eaLnBrk="1" latinLnBrk="0" hangingPunct="1">
        <a:defRPr sz="1800" kern="1200">
          <a:solidFill>
            <a:schemeClr val="tx1"/>
          </a:solidFill>
          <a:latin typeface="+mn-lt"/>
          <a:ea typeface="+mn-ea"/>
          <a:cs typeface="+mn-cs"/>
        </a:defRPr>
      </a:lvl7pPr>
      <a:lvl8pPr marL="3200720" algn="l" defTabSz="914491" rtl="0" eaLnBrk="1" latinLnBrk="0" hangingPunct="1">
        <a:defRPr sz="1800" kern="1200">
          <a:solidFill>
            <a:schemeClr val="tx1"/>
          </a:solidFill>
          <a:latin typeface="+mn-lt"/>
          <a:ea typeface="+mn-ea"/>
          <a:cs typeface="+mn-cs"/>
        </a:defRPr>
      </a:lvl8pPr>
      <a:lvl9pPr marL="3657966" algn="l" defTabSz="914491"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218">
          <p15:clr>
            <a:srgbClr val="F26B43"/>
          </p15:clr>
        </p15:guide>
        <p15:guide id="2" pos="7469">
          <p15:clr>
            <a:srgbClr val="F26B43"/>
          </p15:clr>
        </p15:guide>
        <p15:guide id="3" pos="212">
          <p15:clr>
            <a:srgbClr val="F26B43"/>
          </p15:clr>
        </p15:guide>
        <p15:guide id="4" orient="horz" pos="3726">
          <p15:clr>
            <a:srgbClr val="F26B43"/>
          </p15:clr>
        </p15:guide>
        <p15:guide id="5" pos="3840">
          <p15:clr>
            <a:srgbClr val="F26B43"/>
          </p15:clr>
        </p15:guide>
        <p15:guide id="6" orient="horz" pos="2474">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3.jpeg"/><Relationship Id="rId1" Type="http://schemas.openxmlformats.org/officeDocument/2006/relationships/slideLayout" Target="../slideLayouts/slideLayout11.xml"/></Relationships>
</file>

<file path=ppt/slides/_rels/slide10.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customXml" Target="../../customXml/item5.xml"/><Relationship Id="rId1" Type="http://schemas.openxmlformats.org/officeDocument/2006/relationships/customXml" Target="../../customXml/item4.xml"/></Relationships>
</file>

<file path=ppt/slides/_rels/slide12.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image" Target="../media/image44.jpeg"/><Relationship Id="rId1" Type="http://schemas.openxmlformats.org/officeDocument/2006/relationships/slideLayout" Target="../slideLayouts/slideLayout16.xml"/><Relationship Id="rId6" Type="http://schemas.openxmlformats.org/officeDocument/2006/relationships/image" Target="../media/image24.png"/><Relationship Id="rId5" Type="http://schemas.openxmlformats.org/officeDocument/2006/relationships/image" Target="../media/image23.jpeg"/><Relationship Id="rId4" Type="http://schemas.openxmlformats.org/officeDocument/2006/relationships/image" Target="../media/image3.png"/></Relationships>
</file>

<file path=ppt/slides/_rels/slide13.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46.jp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image" Target="../media/image48.jpg"/><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15.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51.jp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58.jpg"/><Relationship Id="rId3" Type="http://schemas.openxmlformats.org/officeDocument/2006/relationships/image" Target="../media/image53.jpg"/><Relationship Id="rId7" Type="http://schemas.openxmlformats.org/officeDocument/2006/relationships/image" Target="../media/image57.jpg"/><Relationship Id="rId2" Type="http://schemas.openxmlformats.org/officeDocument/2006/relationships/image" Target="../media/image52.jpg"/><Relationship Id="rId1" Type="http://schemas.openxmlformats.org/officeDocument/2006/relationships/slideLayout" Target="../slideLayouts/slideLayout2.xml"/><Relationship Id="rId6" Type="http://schemas.openxmlformats.org/officeDocument/2006/relationships/image" Target="../media/image56.jpg"/><Relationship Id="rId5" Type="http://schemas.openxmlformats.org/officeDocument/2006/relationships/image" Target="../media/image55.jpg"/><Relationship Id="rId4" Type="http://schemas.openxmlformats.org/officeDocument/2006/relationships/image" Target="../media/image54.jpg"/><Relationship Id="rId9" Type="http://schemas.openxmlformats.org/officeDocument/2006/relationships/image" Target="../media/image59.jpg"/></Relationships>
</file>

<file path=ppt/slides/_rels/slide17.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60.jp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55.jpg"/><Relationship Id="rId3" Type="http://schemas.openxmlformats.org/officeDocument/2006/relationships/image" Target="../media/image53.jpg"/><Relationship Id="rId7" Type="http://schemas.openxmlformats.org/officeDocument/2006/relationships/image" Target="../media/image63.jpg"/><Relationship Id="rId2" Type="http://schemas.openxmlformats.org/officeDocument/2006/relationships/image" Target="../media/image52.jpg"/><Relationship Id="rId1" Type="http://schemas.openxmlformats.org/officeDocument/2006/relationships/slideLayout" Target="../slideLayouts/slideLayout2.xml"/><Relationship Id="rId6" Type="http://schemas.openxmlformats.org/officeDocument/2006/relationships/image" Target="../media/image62.jpg"/><Relationship Id="rId5" Type="http://schemas.openxmlformats.org/officeDocument/2006/relationships/image" Target="../media/image61.jpg"/><Relationship Id="rId4" Type="http://schemas.openxmlformats.org/officeDocument/2006/relationships/image" Target="../media/image54.jpg"/><Relationship Id="rId9" Type="http://schemas.openxmlformats.org/officeDocument/2006/relationships/image" Target="../media/image56.jpg"/></Relationships>
</file>

<file path=ppt/slides/_rels/slide19.xml.rels><?xml version="1.0" encoding="UTF-8" standalone="yes"?>
<Relationships xmlns="http://schemas.openxmlformats.org/package/2006/relationships"><Relationship Id="rId3" Type="http://schemas.openxmlformats.org/officeDocument/2006/relationships/image" Target="../media/image47.jpg"/><Relationship Id="rId2" Type="http://schemas.openxmlformats.org/officeDocument/2006/relationships/image" Target="../media/image64.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6.jpg"/><Relationship Id="rId7" Type="http://schemas.openxmlformats.org/officeDocument/2006/relationships/image" Target="../media/image57.jpg"/><Relationship Id="rId2" Type="http://schemas.openxmlformats.org/officeDocument/2006/relationships/image" Target="../media/image65.jpg"/><Relationship Id="rId1" Type="http://schemas.openxmlformats.org/officeDocument/2006/relationships/slideLayout" Target="../slideLayouts/slideLayout2.xml"/><Relationship Id="rId6" Type="http://schemas.openxmlformats.org/officeDocument/2006/relationships/image" Target="../media/image69.jpg"/><Relationship Id="rId5" Type="http://schemas.openxmlformats.org/officeDocument/2006/relationships/image" Target="../media/image68.jpg"/><Relationship Id="rId4" Type="http://schemas.openxmlformats.org/officeDocument/2006/relationships/image" Target="../media/image67.jpg"/></Relationships>
</file>

<file path=ppt/slides/_rels/slide2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73.jpg"/><Relationship Id="rId7" Type="http://schemas.openxmlformats.org/officeDocument/2006/relationships/image" Target="../media/image77.jpg"/><Relationship Id="rId2" Type="http://schemas.openxmlformats.org/officeDocument/2006/relationships/image" Target="../media/image72.jpg"/><Relationship Id="rId1" Type="http://schemas.openxmlformats.org/officeDocument/2006/relationships/slideLayout" Target="../slideLayouts/slideLayout2.xml"/><Relationship Id="rId6" Type="http://schemas.openxmlformats.org/officeDocument/2006/relationships/image" Target="../media/image76.jpg"/><Relationship Id="rId5" Type="http://schemas.openxmlformats.org/officeDocument/2006/relationships/image" Target="../media/image75.jpg"/><Relationship Id="rId4" Type="http://schemas.openxmlformats.org/officeDocument/2006/relationships/image" Target="../media/image74.jpg"/></Relationships>
</file>

<file path=ppt/slides/_rels/slide23.xml.rels><?xml version="1.0" encoding="UTF-8" standalone="yes"?>
<Relationships xmlns="http://schemas.openxmlformats.org/package/2006/relationships"><Relationship Id="rId3" Type="http://schemas.openxmlformats.org/officeDocument/2006/relationships/image" Target="../media/image79.jpg"/><Relationship Id="rId7" Type="http://schemas.openxmlformats.org/officeDocument/2006/relationships/image" Target="../media/image83.jpg"/><Relationship Id="rId2" Type="http://schemas.openxmlformats.org/officeDocument/2006/relationships/image" Target="../media/image78.jpg"/><Relationship Id="rId1" Type="http://schemas.openxmlformats.org/officeDocument/2006/relationships/slideLayout" Target="../slideLayouts/slideLayout2.xml"/><Relationship Id="rId6" Type="http://schemas.openxmlformats.org/officeDocument/2006/relationships/image" Target="../media/image82.jpg"/><Relationship Id="rId5" Type="http://schemas.openxmlformats.org/officeDocument/2006/relationships/image" Target="../media/image81.jpg"/><Relationship Id="rId4" Type="http://schemas.openxmlformats.org/officeDocument/2006/relationships/image" Target="../media/image80.jpg"/></Relationships>
</file>

<file path=ppt/slides/_rels/slide24.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84.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6.jpeg"/><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7.jpeg"/><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image" Target="../media/image88.jp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2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3.png"/><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1.jpeg"/><Relationship Id="rId1" Type="http://schemas.openxmlformats.org/officeDocument/2006/relationships/slideLayout" Target="../slideLayouts/slideLayout16.xml"/></Relationships>
</file>

<file path=ppt/slides/_rels/slide31.xml.rels><?xml version="1.0" encoding="UTF-8" standalone="yes"?>
<Relationships xmlns="http://schemas.openxmlformats.org/package/2006/relationships"><Relationship Id="rId3" Type="http://schemas.openxmlformats.org/officeDocument/2006/relationships/image" Target="../media/image92.jpeg"/><Relationship Id="rId2" Type="http://schemas.openxmlformats.org/officeDocument/2006/relationships/image" Target="../media/image3.png"/><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3.jpeg"/><Relationship Id="rId1" Type="http://schemas.openxmlformats.org/officeDocument/2006/relationships/slideLayout" Target="../slideLayouts/slideLayout16.xml"/></Relationships>
</file>

<file path=ppt/slides/_rels/slide33.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34.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jpg"/><Relationship Id="rId1" Type="http://schemas.openxmlformats.org/officeDocument/2006/relationships/slideLayout" Target="../slideLayouts/slideLayout2.xml"/><Relationship Id="rId4" Type="http://schemas.openxmlformats.org/officeDocument/2006/relationships/image" Target="../media/image21.png"/></Relationships>
</file>

<file path=ppt/slides/_rels/slide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00.jp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image" Target="../media/image101.jpg"/><Relationship Id="rId1" Type="http://schemas.openxmlformats.org/officeDocument/2006/relationships/slideLayout" Target="../slideLayouts/slideLayout116.xml"/></Relationships>
</file>

<file path=ppt/slides/_rels/slide37.xml.rels><?xml version="1.0" encoding="UTF-8" standalone="yes"?>
<Relationships xmlns="http://schemas.openxmlformats.org/package/2006/relationships"><Relationship Id="rId8" Type="http://schemas.openxmlformats.org/officeDocument/2006/relationships/image" Target="../media/image108.jpg"/><Relationship Id="rId3" Type="http://schemas.openxmlformats.org/officeDocument/2006/relationships/image" Target="../media/image103.jpg"/><Relationship Id="rId7" Type="http://schemas.openxmlformats.org/officeDocument/2006/relationships/image" Target="../media/image107.jpg"/><Relationship Id="rId12" Type="http://schemas.openxmlformats.org/officeDocument/2006/relationships/image" Target="../media/image112.jpg"/><Relationship Id="rId2" Type="http://schemas.openxmlformats.org/officeDocument/2006/relationships/image" Target="../media/image102.jpg"/><Relationship Id="rId1" Type="http://schemas.openxmlformats.org/officeDocument/2006/relationships/slideLayout" Target="../slideLayouts/slideLayout2.xml"/><Relationship Id="rId6" Type="http://schemas.openxmlformats.org/officeDocument/2006/relationships/image" Target="../media/image106.jpg"/><Relationship Id="rId11" Type="http://schemas.openxmlformats.org/officeDocument/2006/relationships/image" Target="../media/image111.png"/><Relationship Id="rId5" Type="http://schemas.openxmlformats.org/officeDocument/2006/relationships/image" Target="../media/image105.jpg"/><Relationship Id="rId10" Type="http://schemas.openxmlformats.org/officeDocument/2006/relationships/image" Target="../media/image110.jpeg"/><Relationship Id="rId4" Type="http://schemas.openxmlformats.org/officeDocument/2006/relationships/image" Target="../media/image104.jpg"/><Relationship Id="rId9" Type="http://schemas.openxmlformats.org/officeDocument/2006/relationships/image" Target="../media/image109.png"/></Relationships>
</file>

<file path=ppt/slides/_rels/slide38.xml.rels><?xml version="1.0" encoding="UTF-8" standalone="yes"?>
<Relationships xmlns="http://schemas.openxmlformats.org/package/2006/relationships"><Relationship Id="rId2" Type="http://schemas.openxmlformats.org/officeDocument/2006/relationships/image" Target="../media/image11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6.png"/><Relationship Id="rId7" Type="http://schemas.microsoft.com/office/2007/relationships/hdphoto" Target="../media/hdphoto2.wdp"/><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8.png"/><Relationship Id="rId5" Type="http://schemas.openxmlformats.org/officeDocument/2006/relationships/image" Target="../media/image17.jpeg"/><Relationship Id="rId10" Type="http://schemas.openxmlformats.org/officeDocument/2006/relationships/image" Target="../media/image3.png"/><Relationship Id="rId4" Type="http://schemas.microsoft.com/office/2007/relationships/hdphoto" Target="../media/hdphoto1.wdp"/><Relationship Id="rId9" Type="http://schemas.microsoft.com/office/2007/relationships/hdphoto" Target="../media/hdphoto3.wdp"/></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6.xml"/><Relationship Id="rId6" Type="http://schemas.openxmlformats.org/officeDocument/2006/relationships/image" Target="../media/image3.png"/><Relationship Id="rId5" Type="http://schemas.openxmlformats.org/officeDocument/2006/relationships/image" Target="../media/image25.jpe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8.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8">
            <a:extLst>
              <a:ext uri="{FF2B5EF4-FFF2-40B4-BE49-F238E27FC236}">
                <a16:creationId xmlns:a16="http://schemas.microsoft.com/office/drawing/2014/main" id="{6BC77AA5-7DA5-402F-8275-1E06DE439BB4}"/>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3176" y="0"/>
            <a:ext cx="12192000" cy="6858000"/>
          </a:xfrm>
          <a:prstGeom prst="rect">
            <a:avLst/>
          </a:prstGeom>
        </p:spPr>
      </p:pic>
      <p:sp>
        <p:nvSpPr>
          <p:cNvPr id="5" name="Title 4">
            <a:extLst>
              <a:ext uri="{FF2B5EF4-FFF2-40B4-BE49-F238E27FC236}">
                <a16:creationId xmlns:a16="http://schemas.microsoft.com/office/drawing/2014/main" id="{8863ECBC-73A5-43BA-8B2B-DD9F5C2CCE0C}"/>
              </a:ext>
            </a:extLst>
          </p:cNvPr>
          <p:cNvSpPr>
            <a:spLocks noGrp="1"/>
          </p:cNvSpPr>
          <p:nvPr>
            <p:ph type="ctrTitle"/>
          </p:nvPr>
        </p:nvSpPr>
        <p:spPr>
          <a:xfrm>
            <a:off x="340519" y="5285617"/>
            <a:ext cx="10112148" cy="990828"/>
          </a:xfrm>
        </p:spPr>
        <p:txBody>
          <a:bodyPr/>
          <a:lstStyle/>
          <a:p>
            <a:br>
              <a:rPr lang="en-US" noProof="0" dirty="0"/>
            </a:br>
            <a:br>
              <a:rPr lang="en-US" noProof="0" dirty="0"/>
            </a:br>
            <a:r>
              <a:rPr lang="en-US" noProof="0" dirty="0">
                <a:solidFill>
                  <a:schemeClr val="bg2"/>
                </a:solidFill>
              </a:rPr>
              <a:t>—</a:t>
            </a:r>
            <a:br>
              <a:rPr lang="en-US" noProof="0" dirty="0"/>
            </a:br>
            <a:r>
              <a:rPr lang="en-US" sz="5400" noProof="0" dirty="0"/>
              <a:t>ABB</a:t>
            </a:r>
            <a:br>
              <a:rPr lang="en-US" sz="5400" noProof="0" dirty="0"/>
            </a:br>
            <a:r>
              <a:rPr lang="en-US" sz="5400" b="0" dirty="0">
                <a:latin typeface="ABBvoice Light" panose="020D0403020503020204" pitchFamily="34" charset="0"/>
                <a:ea typeface="ABBvoice Light" panose="020D0403020503020204" pitchFamily="34" charset="0"/>
                <a:cs typeface="ABBvoice Light" panose="020D0403020503020204" pitchFamily="34" charset="0"/>
              </a:rPr>
              <a:t>Let’s write the future. Together.</a:t>
            </a:r>
            <a:endParaRPr lang="en-US" sz="5400" b="0" noProof="0" dirty="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8" name="Picture 19">
            <a:extLst>
              <a:ext uri="{FF2B5EF4-FFF2-40B4-BE49-F238E27FC236}">
                <a16:creationId xmlns:a16="http://schemas.microsoft.com/office/drawing/2014/main" id="{F529A083-B1AE-45A9-889E-805BAD7351B9}"/>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11" name="Date Placeholder 3">
            <a:extLst>
              <a:ext uri="{FF2B5EF4-FFF2-40B4-BE49-F238E27FC236}">
                <a16:creationId xmlns:a16="http://schemas.microsoft.com/office/drawing/2014/main" id="{F8FFEFB2-8D5A-49BF-A9EE-F99246DA0F74}"/>
              </a:ext>
            </a:extLst>
          </p:cNvPr>
          <p:cNvSpPr txBox="1">
            <a:spLocks/>
          </p:cNvSpPr>
          <p:nvPr/>
        </p:nvSpPr>
        <p:spPr>
          <a:xfrm>
            <a:off x="332367" y="6489341"/>
            <a:ext cx="1420233" cy="2906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January</a:t>
            </a:r>
            <a:r>
              <a:rPr kumimoji="0" lang="pl-PL" sz="1000" b="0" i="0" u="none" strike="noStrike" kern="1200" cap="none" spc="0" normalizeH="0" baseline="0" noProof="0">
                <a:ln>
                  <a:noFill/>
                </a:ln>
                <a:solidFill>
                  <a:srgbClr val="A9A9A9"/>
                </a:solidFill>
                <a:effectLst/>
                <a:uLnTx/>
                <a:uFillTx/>
                <a:latin typeface="ABBvoice"/>
                <a:ea typeface="ABBvoice"/>
                <a:cs typeface="ABBvoice"/>
              </a:rPr>
              <a:t>,</a:t>
            </a:r>
            <a:r>
              <a:rPr kumimoji="0" lang="en-US" sz="1000" b="0" i="0" u="none" strike="noStrike" kern="1200" cap="none" spc="0" normalizeH="0" baseline="0" noProof="0">
                <a:ln>
                  <a:noFill/>
                </a:ln>
                <a:solidFill>
                  <a:srgbClr val="A9A9A9"/>
                </a:solidFill>
                <a:effectLst/>
                <a:uLnTx/>
                <a:uFillTx/>
                <a:latin typeface="ABBvoice"/>
                <a:ea typeface="ABBvoice"/>
                <a:cs typeface="ABBvoice"/>
              </a:rPr>
              <a:t> 2024</a:t>
            </a:r>
          </a:p>
        </p:txBody>
      </p:sp>
    </p:spTree>
    <p:extLst>
      <p:ext uri="{BB962C8B-B14F-4D97-AF65-F5344CB8AC3E}">
        <p14:creationId xmlns:p14="http://schemas.microsoft.com/office/powerpoint/2010/main" val="40283185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1149"/>
            <a:ext cx="7942580" cy="443070"/>
          </a:xfrm>
          <a:prstGeom prst="rect">
            <a:avLst/>
          </a:prstGeom>
        </p:spPr>
        <p:txBody>
          <a:bodyPr vert="horz" wrap="square" lIns="0" tIns="12065" rIns="0" bIns="0" rtlCol="0">
            <a:spAutoFit/>
          </a:bodyPr>
          <a:lstStyle/>
          <a:p>
            <a:pPr>
              <a:lnSpc>
                <a:spcPct val="100000"/>
              </a:lnSpc>
              <a:spcBef>
                <a:spcPts val="95"/>
              </a:spcBef>
            </a:pPr>
            <a:r>
              <a:rPr sz="2800" b="1" dirty="0">
                <a:latin typeface="ABBvoice"/>
                <a:cs typeface="ABBvoice"/>
              </a:rPr>
              <a:t>ABB</a:t>
            </a:r>
            <a:r>
              <a:rPr sz="2800" b="1" spc="-100" dirty="0">
                <a:latin typeface="ABBvoice"/>
                <a:cs typeface="ABBvoice"/>
              </a:rPr>
              <a:t> </a:t>
            </a:r>
            <a:r>
              <a:rPr sz="2800" b="1" dirty="0">
                <a:latin typeface="ABBvoice"/>
                <a:cs typeface="ABBvoice"/>
              </a:rPr>
              <a:t>in</a:t>
            </a:r>
            <a:r>
              <a:rPr sz="2800" b="1" spc="-95" dirty="0">
                <a:latin typeface="ABBvoice"/>
                <a:cs typeface="ABBvoice"/>
              </a:rPr>
              <a:t> </a:t>
            </a:r>
            <a:r>
              <a:rPr sz="2800" b="1" dirty="0">
                <a:latin typeface="ABBvoice"/>
                <a:cs typeface="ABBvoice"/>
              </a:rPr>
              <a:t>Canada</a:t>
            </a:r>
            <a:r>
              <a:rPr sz="2800" b="1" spc="-80" dirty="0">
                <a:latin typeface="ABBvoice"/>
                <a:cs typeface="ABBvoice"/>
              </a:rPr>
              <a:t> </a:t>
            </a:r>
            <a:r>
              <a:rPr sz="2800" b="1" dirty="0">
                <a:latin typeface="ABBvoice"/>
                <a:cs typeface="ABBvoice"/>
              </a:rPr>
              <a:t>employees</a:t>
            </a:r>
            <a:r>
              <a:rPr sz="2800" b="1" spc="-55" dirty="0">
                <a:latin typeface="ABBvoice"/>
                <a:cs typeface="ABBvoice"/>
              </a:rPr>
              <a:t> </a:t>
            </a:r>
            <a:r>
              <a:rPr sz="2800" b="1" dirty="0">
                <a:latin typeface="ABBvoice"/>
                <a:cs typeface="ABBvoice"/>
              </a:rPr>
              <a:t>coast</a:t>
            </a:r>
            <a:r>
              <a:rPr sz="2800" b="1" spc="-80" dirty="0">
                <a:latin typeface="ABBvoice"/>
                <a:cs typeface="ABBvoice"/>
              </a:rPr>
              <a:t> </a:t>
            </a:r>
            <a:r>
              <a:rPr sz="2800" b="1" dirty="0">
                <a:latin typeface="ABBvoice"/>
                <a:cs typeface="ABBvoice"/>
              </a:rPr>
              <a:t>to</a:t>
            </a:r>
            <a:r>
              <a:rPr sz="2800" b="1" spc="-75" dirty="0">
                <a:latin typeface="ABBvoice"/>
                <a:cs typeface="ABBvoice"/>
              </a:rPr>
              <a:t> </a:t>
            </a:r>
            <a:r>
              <a:rPr sz="2800" b="1" spc="-20" dirty="0">
                <a:latin typeface="ABBvoice"/>
                <a:cs typeface="ABBvoice"/>
              </a:rPr>
              <a:t>coast</a:t>
            </a:r>
          </a:p>
        </p:txBody>
      </p:sp>
      <p:pic>
        <p:nvPicPr>
          <p:cNvPr id="4" name="object 4"/>
          <p:cNvPicPr/>
          <p:nvPr/>
        </p:nvPicPr>
        <p:blipFill>
          <a:blip r:embed="rId2" cstate="print"/>
          <a:stretch>
            <a:fillRect/>
          </a:stretch>
        </p:blipFill>
        <p:spPr>
          <a:xfrm>
            <a:off x="1740407" y="1667255"/>
            <a:ext cx="8135111" cy="4809744"/>
          </a:xfrm>
          <a:prstGeom prst="rect">
            <a:avLst/>
          </a:prstGeom>
        </p:spPr>
      </p:pic>
      <p:sp>
        <p:nvSpPr>
          <p:cNvPr id="5" name="object 5"/>
          <p:cNvSpPr txBox="1"/>
          <p:nvPr/>
        </p:nvSpPr>
        <p:spPr>
          <a:xfrm>
            <a:off x="3025520" y="3899408"/>
            <a:ext cx="547370" cy="467995"/>
          </a:xfrm>
          <a:prstGeom prst="rect">
            <a:avLst/>
          </a:prstGeom>
        </p:spPr>
        <p:txBody>
          <a:bodyPr vert="horz" wrap="square" lIns="0" tIns="13970" rIns="0" bIns="0" rtlCol="0">
            <a:spAutoFit/>
          </a:bodyPr>
          <a:lstStyle/>
          <a:p>
            <a:pPr marL="12700" marR="5080" indent="1270" algn="ctr">
              <a:lnSpc>
                <a:spcPct val="100000"/>
              </a:lnSpc>
              <a:spcBef>
                <a:spcPts val="110"/>
              </a:spcBef>
            </a:pPr>
            <a:r>
              <a:rPr sz="900" b="1" spc="-10" dirty="0">
                <a:latin typeface="ABBvoice"/>
                <a:cs typeface="ABBvoice"/>
              </a:rPr>
              <a:t>British Columbia </a:t>
            </a:r>
            <a:r>
              <a:rPr sz="1100" spc="-25" dirty="0">
                <a:solidFill>
                  <a:srgbClr val="FF000F"/>
                </a:solidFill>
                <a:latin typeface="ABBvoice"/>
                <a:cs typeface="ABBvoice"/>
              </a:rPr>
              <a:t>6</a:t>
            </a:r>
            <a:r>
              <a:rPr lang="en-US" sz="1100" spc="-25" dirty="0">
                <a:solidFill>
                  <a:srgbClr val="FF000F"/>
                </a:solidFill>
                <a:latin typeface="ABBvoice"/>
                <a:cs typeface="ABBvoice"/>
              </a:rPr>
              <a:t>4</a:t>
            </a:r>
            <a:endParaRPr sz="1100" dirty="0">
              <a:latin typeface="ABBvoice"/>
              <a:cs typeface="ABBvoice"/>
            </a:endParaRPr>
          </a:p>
        </p:txBody>
      </p:sp>
      <p:sp>
        <p:nvSpPr>
          <p:cNvPr id="6" name="object 6"/>
          <p:cNvSpPr txBox="1"/>
          <p:nvPr/>
        </p:nvSpPr>
        <p:spPr>
          <a:xfrm>
            <a:off x="3889375" y="4329429"/>
            <a:ext cx="424180" cy="330835"/>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Alberta</a:t>
            </a:r>
            <a:endParaRPr sz="900" b="1" dirty="0">
              <a:latin typeface="ABBvoice"/>
              <a:cs typeface="ABBvoice"/>
            </a:endParaRPr>
          </a:p>
          <a:p>
            <a:pPr algn="ctr">
              <a:lnSpc>
                <a:spcPts val="1315"/>
              </a:lnSpc>
            </a:pPr>
            <a:r>
              <a:rPr sz="1100" spc="-25" dirty="0">
                <a:solidFill>
                  <a:srgbClr val="FF000F"/>
                </a:solidFill>
                <a:latin typeface="ABBvoice"/>
                <a:cs typeface="ABBvoice"/>
              </a:rPr>
              <a:t>17</a:t>
            </a:r>
            <a:r>
              <a:rPr lang="en-US" sz="1100" spc="-25" dirty="0">
                <a:solidFill>
                  <a:srgbClr val="FF000F"/>
                </a:solidFill>
                <a:latin typeface="ABBvoice"/>
                <a:cs typeface="ABBvoice"/>
              </a:rPr>
              <a:t>2</a:t>
            </a:r>
            <a:endParaRPr sz="1100" dirty="0">
              <a:latin typeface="ABBvoice"/>
              <a:cs typeface="ABBvoice"/>
            </a:endParaRPr>
          </a:p>
        </p:txBody>
      </p:sp>
      <p:sp>
        <p:nvSpPr>
          <p:cNvPr id="7" name="object 7"/>
          <p:cNvSpPr txBox="1"/>
          <p:nvPr/>
        </p:nvSpPr>
        <p:spPr>
          <a:xfrm>
            <a:off x="5196966" y="4516373"/>
            <a:ext cx="546735" cy="330835"/>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Manitoba</a:t>
            </a:r>
            <a:endParaRPr sz="900" b="1" dirty="0">
              <a:latin typeface="ABBvoice"/>
              <a:cs typeface="ABBvoice"/>
            </a:endParaRPr>
          </a:p>
          <a:p>
            <a:pPr marL="1270" algn="ctr">
              <a:lnSpc>
                <a:spcPts val="1315"/>
              </a:lnSpc>
            </a:pPr>
            <a:r>
              <a:rPr lang="en-US" sz="1100" spc="-25" dirty="0">
                <a:solidFill>
                  <a:srgbClr val="FF000F"/>
                </a:solidFill>
                <a:latin typeface="ABBvoice"/>
                <a:cs typeface="ABBvoice"/>
              </a:rPr>
              <a:t>8</a:t>
            </a:r>
            <a:endParaRPr sz="1100" dirty="0">
              <a:latin typeface="ABBvoice"/>
              <a:cs typeface="ABBvoice"/>
            </a:endParaRPr>
          </a:p>
        </p:txBody>
      </p:sp>
      <p:sp>
        <p:nvSpPr>
          <p:cNvPr id="8" name="object 8"/>
          <p:cNvSpPr txBox="1"/>
          <p:nvPr/>
        </p:nvSpPr>
        <p:spPr>
          <a:xfrm>
            <a:off x="7306819" y="4634229"/>
            <a:ext cx="444500" cy="331470"/>
          </a:xfrm>
          <a:prstGeom prst="rect">
            <a:avLst/>
          </a:prstGeom>
        </p:spPr>
        <p:txBody>
          <a:bodyPr vert="horz" wrap="square" lIns="0" tIns="13970" rIns="0" bIns="0" rtlCol="0">
            <a:spAutoFit/>
          </a:bodyPr>
          <a:lstStyle/>
          <a:p>
            <a:pPr marL="12700">
              <a:lnSpc>
                <a:spcPts val="1075"/>
              </a:lnSpc>
              <a:spcBef>
                <a:spcPts val="110"/>
              </a:spcBef>
            </a:pPr>
            <a:r>
              <a:rPr sz="900" b="1" spc="-10" dirty="0">
                <a:latin typeface="ABBvoice"/>
                <a:cs typeface="ABBvoice"/>
              </a:rPr>
              <a:t>Quebec</a:t>
            </a:r>
            <a:endParaRPr sz="900" b="1" dirty="0">
              <a:latin typeface="ABBvoice"/>
              <a:cs typeface="ABBvoice"/>
            </a:endParaRPr>
          </a:p>
          <a:p>
            <a:pPr marL="43815">
              <a:lnSpc>
                <a:spcPts val="1315"/>
              </a:lnSpc>
            </a:pPr>
            <a:r>
              <a:rPr sz="1100" spc="-20" dirty="0">
                <a:solidFill>
                  <a:srgbClr val="FF000F"/>
                </a:solidFill>
                <a:latin typeface="ABBvoice"/>
                <a:cs typeface="ABBvoice"/>
              </a:rPr>
              <a:t>24</a:t>
            </a:r>
            <a:r>
              <a:rPr lang="en-US" sz="1100" spc="-20" dirty="0">
                <a:solidFill>
                  <a:srgbClr val="FF000F"/>
                </a:solidFill>
                <a:latin typeface="ABBvoice"/>
                <a:cs typeface="ABBvoice"/>
              </a:rPr>
              <a:t>94</a:t>
            </a:r>
            <a:endParaRPr sz="1100" dirty="0">
              <a:latin typeface="ABBvoice"/>
              <a:cs typeface="ABBvoice"/>
            </a:endParaRPr>
          </a:p>
        </p:txBody>
      </p:sp>
      <p:sp>
        <p:nvSpPr>
          <p:cNvPr id="9" name="object 9"/>
          <p:cNvSpPr txBox="1"/>
          <p:nvPr/>
        </p:nvSpPr>
        <p:spPr>
          <a:xfrm>
            <a:off x="6146039" y="5078729"/>
            <a:ext cx="447040" cy="331470"/>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Ontario</a:t>
            </a:r>
            <a:endParaRPr sz="900" b="1" dirty="0">
              <a:latin typeface="ABBvoice"/>
              <a:cs typeface="ABBvoice"/>
            </a:endParaRPr>
          </a:p>
          <a:p>
            <a:pPr algn="ctr">
              <a:lnSpc>
                <a:spcPts val="1315"/>
              </a:lnSpc>
            </a:pPr>
            <a:r>
              <a:rPr lang="en-US" sz="1100" spc="-25" dirty="0">
                <a:solidFill>
                  <a:srgbClr val="FF000F"/>
                </a:solidFill>
                <a:latin typeface="ABBvoice"/>
                <a:cs typeface="ABBvoice"/>
              </a:rPr>
              <a:t>416</a:t>
            </a:r>
            <a:endParaRPr sz="1100" dirty="0">
              <a:latin typeface="ABBvoice"/>
              <a:cs typeface="ABBvoice"/>
            </a:endParaRPr>
          </a:p>
        </p:txBody>
      </p:sp>
      <p:sp>
        <p:nvSpPr>
          <p:cNvPr id="10" name="object 10"/>
          <p:cNvSpPr txBox="1"/>
          <p:nvPr/>
        </p:nvSpPr>
        <p:spPr>
          <a:xfrm>
            <a:off x="4225544" y="4879085"/>
            <a:ext cx="812800" cy="330835"/>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Saskatchewan</a:t>
            </a:r>
            <a:endParaRPr sz="900" b="1" dirty="0">
              <a:latin typeface="ABBvoice"/>
              <a:cs typeface="ABBvoice"/>
            </a:endParaRPr>
          </a:p>
          <a:p>
            <a:pPr algn="ctr">
              <a:lnSpc>
                <a:spcPts val="1315"/>
              </a:lnSpc>
            </a:pPr>
            <a:r>
              <a:rPr lang="en-US" sz="1100" dirty="0">
                <a:solidFill>
                  <a:srgbClr val="FF000F"/>
                </a:solidFill>
                <a:latin typeface="ABBvoice"/>
                <a:cs typeface="ABBvoice"/>
              </a:rPr>
              <a:t>8</a:t>
            </a:r>
            <a:endParaRPr sz="1100" dirty="0">
              <a:latin typeface="ABBvoice"/>
              <a:cs typeface="ABBvoice"/>
            </a:endParaRPr>
          </a:p>
        </p:txBody>
      </p:sp>
      <p:sp>
        <p:nvSpPr>
          <p:cNvPr id="12" name="object 12"/>
          <p:cNvSpPr txBox="1"/>
          <p:nvPr/>
        </p:nvSpPr>
        <p:spPr>
          <a:xfrm>
            <a:off x="8824086" y="3797249"/>
            <a:ext cx="823594" cy="469265"/>
          </a:xfrm>
          <a:prstGeom prst="rect">
            <a:avLst/>
          </a:prstGeom>
        </p:spPr>
        <p:txBody>
          <a:bodyPr vert="horz" wrap="square" lIns="0" tIns="14605" rIns="0" bIns="0" rtlCol="0">
            <a:spAutoFit/>
          </a:bodyPr>
          <a:lstStyle/>
          <a:p>
            <a:pPr marL="12065" marR="5080" algn="ctr">
              <a:lnSpc>
                <a:spcPct val="100000"/>
              </a:lnSpc>
              <a:spcBef>
                <a:spcPts val="115"/>
              </a:spcBef>
            </a:pPr>
            <a:r>
              <a:rPr sz="900" b="1" spc="-10" dirty="0">
                <a:latin typeface="ABBvoice"/>
                <a:cs typeface="ABBvoice"/>
              </a:rPr>
              <a:t>Newfoundland </a:t>
            </a:r>
            <a:r>
              <a:rPr sz="900" b="1" dirty="0">
                <a:latin typeface="ABBvoice"/>
                <a:cs typeface="ABBvoice"/>
              </a:rPr>
              <a:t>and</a:t>
            </a:r>
            <a:r>
              <a:rPr sz="900" b="1" spc="-10" dirty="0">
                <a:latin typeface="ABBvoice"/>
                <a:cs typeface="ABBvoice"/>
              </a:rPr>
              <a:t> Labrador</a:t>
            </a:r>
            <a:r>
              <a:rPr sz="900" b="1" spc="500" dirty="0">
                <a:latin typeface="ABBvoice"/>
                <a:cs typeface="ABBvoice"/>
              </a:rPr>
              <a:t> </a:t>
            </a:r>
            <a:r>
              <a:rPr sz="1100" spc="-50" dirty="0">
                <a:solidFill>
                  <a:srgbClr val="FF000F"/>
                </a:solidFill>
                <a:latin typeface="ABBvoice"/>
                <a:cs typeface="ABBvoice"/>
              </a:rPr>
              <a:t>5</a:t>
            </a:r>
            <a:endParaRPr sz="1100" dirty="0">
              <a:latin typeface="ABBvoice"/>
              <a:cs typeface="ABBvoice"/>
            </a:endParaRPr>
          </a:p>
        </p:txBody>
      </p:sp>
      <p:sp>
        <p:nvSpPr>
          <p:cNvPr id="14" name="object 14"/>
          <p:cNvSpPr txBox="1"/>
          <p:nvPr/>
        </p:nvSpPr>
        <p:spPr>
          <a:xfrm>
            <a:off x="8841740" y="5448680"/>
            <a:ext cx="370205" cy="468630"/>
          </a:xfrm>
          <a:prstGeom prst="rect">
            <a:avLst/>
          </a:prstGeom>
        </p:spPr>
        <p:txBody>
          <a:bodyPr vert="horz" wrap="square" lIns="0" tIns="13970" rIns="0" bIns="0" rtlCol="0">
            <a:spAutoFit/>
          </a:bodyPr>
          <a:lstStyle/>
          <a:p>
            <a:pPr marL="12700" marR="5080" algn="ctr">
              <a:lnSpc>
                <a:spcPct val="100000"/>
              </a:lnSpc>
              <a:spcBef>
                <a:spcPts val="110"/>
              </a:spcBef>
            </a:pPr>
            <a:r>
              <a:rPr sz="900" b="1" spc="-20" dirty="0">
                <a:latin typeface="ABBvoice"/>
                <a:cs typeface="ABBvoice"/>
              </a:rPr>
              <a:t>Nova</a:t>
            </a:r>
            <a:r>
              <a:rPr sz="900" b="1" spc="-10" dirty="0">
                <a:latin typeface="ABBvoice"/>
                <a:cs typeface="ABBvoice"/>
              </a:rPr>
              <a:t> Scotia </a:t>
            </a:r>
            <a:r>
              <a:rPr lang="en-US" sz="1100" spc="-25" dirty="0">
                <a:solidFill>
                  <a:srgbClr val="FF000F"/>
                </a:solidFill>
                <a:latin typeface="ABBvoice"/>
                <a:cs typeface="ABBvoice"/>
              </a:rPr>
              <a:t>15</a:t>
            </a:r>
            <a:endParaRPr sz="1100" dirty="0">
              <a:latin typeface="ABBvoice"/>
              <a:cs typeface="ABBvoice"/>
            </a:endParaRPr>
          </a:p>
        </p:txBody>
      </p:sp>
      <p:cxnSp>
        <p:nvCxnSpPr>
          <p:cNvPr id="20" name="Straight Connector 19">
            <a:extLst>
              <a:ext uri="{FF2B5EF4-FFF2-40B4-BE49-F238E27FC236}">
                <a16:creationId xmlns:a16="http://schemas.microsoft.com/office/drawing/2014/main" id="{53A5CD0E-E8BB-684D-22D4-2BEF8C90E889}"/>
              </a:ext>
            </a:extLst>
          </p:cNvPr>
          <p:cNvCxnSpPr/>
          <p:nvPr/>
        </p:nvCxnSpPr>
        <p:spPr>
          <a:xfrm flipH="1">
            <a:off x="9041257" y="4157133"/>
            <a:ext cx="68876" cy="359240"/>
          </a:xfrm>
          <a:prstGeom prst="line">
            <a:avLst/>
          </a:prstGeom>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F86C8371-FD67-4307-A328-CBA76EE55386}"/>
              </a:ext>
            </a:extLst>
          </p:cNvPr>
          <p:cNvCxnSpPr>
            <a:cxnSpLocks/>
          </p:cNvCxnSpPr>
          <p:nvPr/>
        </p:nvCxnSpPr>
        <p:spPr>
          <a:xfrm flipH="1">
            <a:off x="8619112" y="4036538"/>
            <a:ext cx="204974" cy="96867"/>
          </a:xfrm>
          <a:prstGeom prst="line">
            <a:avLst/>
          </a:prstGeom>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48896907-748B-0E76-87F8-E9E417BA7C7F}"/>
              </a:ext>
            </a:extLst>
          </p:cNvPr>
          <p:cNvCxnSpPr>
            <a:cxnSpLocks/>
          </p:cNvCxnSpPr>
          <p:nvPr/>
        </p:nvCxnSpPr>
        <p:spPr>
          <a:xfrm>
            <a:off x="8636766" y="5492875"/>
            <a:ext cx="204974" cy="111928"/>
          </a:xfrm>
          <a:prstGeom prst="line">
            <a:avLst/>
          </a:prstGeom>
        </p:spPr>
        <p:style>
          <a:lnRef idx="1">
            <a:schemeClr val="dk1"/>
          </a:lnRef>
          <a:fillRef idx="0">
            <a:schemeClr val="dk1"/>
          </a:fillRef>
          <a:effectRef idx="0">
            <a:schemeClr val="dk1"/>
          </a:effectRef>
          <a:fontRef idx="minor">
            <a:schemeClr val="tx1"/>
          </a:fontRef>
        </p:style>
      </p:cxn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9354C3-7B33-43D5-8DC8-C4FEB3CCF6AA}"/>
              </a:ext>
            </a:extLst>
          </p:cNvPr>
          <p:cNvSpPr>
            <a:spLocks noGrp="1"/>
          </p:cNvSpPr>
          <p:nvPr>
            <p:ph type="title"/>
          </p:nvPr>
        </p:nvSpPr>
        <p:spPr>
          <a:xfrm>
            <a:off x="407403" y="716601"/>
            <a:ext cx="11530800" cy="430887"/>
          </a:xfrm>
        </p:spPr>
        <p:txBody>
          <a:bodyPr/>
          <a:lstStyle/>
          <a:p>
            <a:r>
              <a:rPr lang="en-US" sz="2800" dirty="0"/>
              <a:t>ABB in Canada locations</a:t>
            </a:r>
          </a:p>
        </p:txBody>
      </p:sp>
      <p:sp>
        <p:nvSpPr>
          <p:cNvPr id="3" name="Text Placeholder 2">
            <a:extLst>
              <a:ext uri="{FF2B5EF4-FFF2-40B4-BE49-F238E27FC236}">
                <a16:creationId xmlns:a16="http://schemas.microsoft.com/office/drawing/2014/main" id="{A759A7DB-7A1D-45BA-A7F8-A4560EA50A28}"/>
              </a:ext>
            </a:extLst>
          </p:cNvPr>
          <p:cNvSpPr>
            <a:spLocks noGrp="1"/>
          </p:cNvSpPr>
          <p:nvPr>
            <p:ph type="body" sz="quarter" idx="14"/>
          </p:nvPr>
        </p:nvSpPr>
        <p:spPr>
          <a:xfrm>
            <a:off x="407992" y="1082899"/>
            <a:ext cx="11530800" cy="369332"/>
          </a:xfrm>
        </p:spPr>
        <p:txBody>
          <a:bodyPr/>
          <a:lstStyle/>
          <a:p>
            <a:r>
              <a:rPr lang="en-US" dirty="0"/>
              <a:t>40 functions across 33 locations</a:t>
            </a:r>
          </a:p>
        </p:txBody>
      </p:sp>
      <p:sp>
        <p:nvSpPr>
          <p:cNvPr id="7" name="Text Placeholder 3">
            <a:extLst>
              <a:ext uri="{FF2B5EF4-FFF2-40B4-BE49-F238E27FC236}">
                <a16:creationId xmlns:a16="http://schemas.microsoft.com/office/drawing/2014/main" id="{7DC72E9A-4328-4482-AF8C-8C1ED954C4A5}"/>
              </a:ext>
            </a:extLst>
          </p:cNvPr>
          <p:cNvSpPr txBox="1">
            <a:spLocks/>
          </p:cNvSpPr>
          <p:nvPr/>
        </p:nvSpPr>
        <p:spPr>
          <a:xfrm>
            <a:off x="622763" y="2842854"/>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Alberta</a:t>
            </a:r>
            <a:br>
              <a:rPr lang="en-US" dirty="0">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3 manufacturing &amp; assembly facility</a:t>
            </a:r>
          </a:p>
          <a:p>
            <a:r>
              <a:rPr lang="en-US" sz="1100" dirty="0">
                <a:latin typeface="ABBvoice" panose="020D0603020503020204" pitchFamily="34" charset="0"/>
                <a:ea typeface="ABBvoice" panose="020D0603020503020204" pitchFamily="34" charset="0"/>
                <a:cs typeface="ABBvoice" panose="020D0603020503020204" pitchFamily="34" charset="0"/>
              </a:rPr>
              <a:t>1 sales &amp; service location</a:t>
            </a:r>
          </a:p>
          <a:p>
            <a:r>
              <a:rPr lang="en-US" sz="1100" dirty="0">
                <a:latin typeface="ABBvoice" panose="020D0603020503020204" pitchFamily="34" charset="0"/>
                <a:ea typeface="ABBvoice" panose="020D0603020503020204" pitchFamily="34" charset="0"/>
                <a:cs typeface="ABBvoice" panose="020D0603020503020204" pitchFamily="34" charset="0"/>
              </a:rPr>
              <a:t>3 distribution centers</a:t>
            </a:r>
          </a:p>
          <a:p>
            <a:endParaRPr lang="en-US" sz="1100" dirty="0">
              <a:latin typeface="ABBvoice" panose="020D0603020503020204" pitchFamily="34" charset="0"/>
              <a:ea typeface="ABBvoice" panose="020D0603020503020204" pitchFamily="34" charset="0"/>
              <a:cs typeface="ABBvoice" panose="020D0603020503020204" pitchFamily="34" charset="0"/>
            </a:endParaRPr>
          </a:p>
          <a:p>
            <a:endParaRPr lang="en-US" sz="1100" dirty="0">
              <a:latin typeface="ABBvoice" panose="020D0603020503020204" pitchFamily="34" charset="0"/>
              <a:ea typeface="ABBvoice" panose="020D0603020503020204" pitchFamily="34" charset="0"/>
              <a:cs typeface="ABBvoice" panose="020D0603020503020204" pitchFamily="34" charset="0"/>
            </a:endParaRPr>
          </a:p>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8" name="Text Placeholder 3">
            <a:extLst>
              <a:ext uri="{FF2B5EF4-FFF2-40B4-BE49-F238E27FC236}">
                <a16:creationId xmlns:a16="http://schemas.microsoft.com/office/drawing/2014/main" id="{BD78C2A0-83CC-4DC8-BAAC-069EC713BCF3}"/>
              </a:ext>
            </a:extLst>
          </p:cNvPr>
          <p:cNvSpPr txBox="1">
            <a:spLocks/>
          </p:cNvSpPr>
          <p:nvPr/>
        </p:nvSpPr>
        <p:spPr>
          <a:xfrm>
            <a:off x="622763" y="2017028"/>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British Columbia</a:t>
            </a:r>
            <a:r>
              <a:rPr lang="en-US" dirty="0">
                <a:solidFill>
                  <a:srgbClr val="FF0000"/>
                </a:solidFill>
                <a:latin typeface="ABBvoice" panose="020D0603020503020204" pitchFamily="34" charset="0"/>
                <a:ea typeface="ABBvoice" panose="020D0603020503020204" pitchFamily="34" charset="0"/>
                <a:cs typeface="ABBvoice" panose="020D0603020503020204" pitchFamily="34" charset="0"/>
              </a:rPr>
              <a:t> </a:t>
            </a:r>
            <a:br>
              <a:rPr lang="en-US" dirty="0">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1 sales &amp; service location</a:t>
            </a:r>
          </a:p>
          <a:p>
            <a:r>
              <a:rPr lang="en-US" sz="1100" dirty="0">
                <a:latin typeface="ABBvoice" panose="020D0603020503020204" pitchFamily="34" charset="0"/>
                <a:ea typeface="ABBvoice" panose="020D0603020503020204" pitchFamily="34" charset="0"/>
                <a:cs typeface="ABBvoice" panose="020D0603020503020204" pitchFamily="34" charset="0"/>
              </a:rPr>
              <a:t>1 distribution center</a:t>
            </a:r>
          </a:p>
          <a:p>
            <a:endParaRPr lang="en-US" dirty="0">
              <a:latin typeface="ABBvoice" panose="020D0603020503020204" pitchFamily="34" charset="0"/>
              <a:ea typeface="ABBvoice" panose="020D0603020503020204" pitchFamily="34" charset="0"/>
              <a:cs typeface="ABBvoice" panose="020D0603020503020204" pitchFamily="34" charset="0"/>
            </a:endParaRPr>
          </a:p>
        </p:txBody>
      </p:sp>
      <p:sp>
        <p:nvSpPr>
          <p:cNvPr id="9" name="Text Placeholder 3">
            <a:extLst>
              <a:ext uri="{FF2B5EF4-FFF2-40B4-BE49-F238E27FC236}">
                <a16:creationId xmlns:a16="http://schemas.microsoft.com/office/drawing/2014/main" id="{07698F00-5C1C-4DAD-8DC7-694FC8F8881B}"/>
              </a:ext>
            </a:extLst>
          </p:cNvPr>
          <p:cNvSpPr txBox="1">
            <a:spLocks/>
          </p:cNvSpPr>
          <p:nvPr/>
        </p:nvSpPr>
        <p:spPr>
          <a:xfrm>
            <a:off x="622763" y="3822131"/>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Saskatchewan</a:t>
            </a:r>
            <a:br>
              <a:rPr lang="en-US" b="1" dirty="0">
                <a:solidFill>
                  <a:schemeClr val="bg2"/>
                </a:solidFill>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1 sales &amp; service location</a:t>
            </a:r>
            <a:endParaRPr lang="en-US" sz="1050" dirty="0">
              <a:latin typeface="ABBvoice" panose="020D0603020503020204" pitchFamily="34" charset="0"/>
              <a:ea typeface="ABBvoice" panose="020D0603020503020204" pitchFamily="34" charset="0"/>
              <a:cs typeface="ABBvoice" panose="020D0603020503020204" pitchFamily="34" charset="0"/>
            </a:endParaRPr>
          </a:p>
        </p:txBody>
      </p:sp>
      <p:grpSp>
        <p:nvGrpSpPr>
          <p:cNvPr id="3520" name="Group 3519">
            <a:extLst>
              <a:ext uri="{FF2B5EF4-FFF2-40B4-BE49-F238E27FC236}">
                <a16:creationId xmlns:a16="http://schemas.microsoft.com/office/drawing/2014/main" id="{304D609E-1AA7-7725-61C4-37E388173A0E}"/>
              </a:ext>
            </a:extLst>
          </p:cNvPr>
          <p:cNvGrpSpPr/>
          <p:nvPr/>
        </p:nvGrpSpPr>
        <p:grpSpPr>
          <a:xfrm>
            <a:off x="6096000" y="309738"/>
            <a:ext cx="5516033" cy="8223408"/>
            <a:chOff x="5375313" y="229503"/>
            <a:chExt cx="5589020" cy="8332218"/>
          </a:xfrm>
        </p:grpSpPr>
        <p:sp>
          <p:nvSpPr>
            <p:cNvPr id="3279" name="object 12">
              <a:extLst>
                <a:ext uri="{FF2B5EF4-FFF2-40B4-BE49-F238E27FC236}">
                  <a16:creationId xmlns:a16="http://schemas.microsoft.com/office/drawing/2014/main" id="{B55B5631-06F9-BFB2-BBF2-F6A394193431}"/>
                </a:ext>
              </a:extLst>
            </p:cNvPr>
            <p:cNvSpPr txBox="1"/>
            <p:nvPr/>
          </p:nvSpPr>
          <p:spPr>
            <a:xfrm>
              <a:off x="10140739" y="5284327"/>
              <a:ext cx="823594" cy="467124"/>
            </a:xfrm>
            <a:prstGeom prst="rect">
              <a:avLst/>
            </a:prstGeom>
          </p:spPr>
          <p:txBody>
            <a:bodyPr vert="horz" wrap="square" lIns="0" tIns="14605" rIns="0" bIns="0" rtlCol="0">
              <a:spAutoFit/>
            </a:bodyPr>
            <a:lstStyle/>
            <a:p>
              <a:pPr marL="12065" marR="5080" algn="ctr">
                <a:lnSpc>
                  <a:spcPct val="100000"/>
                </a:lnSpc>
                <a:spcBef>
                  <a:spcPts val="115"/>
                </a:spcBef>
              </a:pPr>
              <a:r>
                <a:rPr sz="900" b="1" spc="-10" dirty="0">
                  <a:latin typeface="ABBvoice"/>
                  <a:cs typeface="ABBvoice"/>
                </a:rPr>
                <a:t>Newfoundland </a:t>
              </a:r>
              <a:r>
                <a:rPr sz="900" b="1" dirty="0">
                  <a:latin typeface="ABBvoice"/>
                  <a:cs typeface="ABBvoice"/>
                </a:rPr>
                <a:t>and</a:t>
              </a:r>
              <a:r>
                <a:rPr sz="900" b="1" spc="-10" dirty="0">
                  <a:latin typeface="ABBvoice"/>
                  <a:cs typeface="ABBvoice"/>
                </a:rPr>
                <a:t> Labrador</a:t>
              </a:r>
              <a:r>
                <a:rPr sz="900" b="1" spc="500" dirty="0">
                  <a:latin typeface="ABBvoice"/>
                  <a:cs typeface="ABBvoice"/>
                </a:rPr>
                <a:t> </a:t>
              </a:r>
              <a:r>
                <a:rPr lang="en-US" sz="1100" spc="-50" dirty="0">
                  <a:solidFill>
                    <a:srgbClr val="FF000F"/>
                  </a:solidFill>
                  <a:latin typeface="ABBvoice"/>
                  <a:cs typeface="ABBvoice"/>
                </a:rPr>
                <a:t>1</a:t>
              </a:r>
              <a:endParaRPr sz="1100" dirty="0">
                <a:latin typeface="ABBvoice"/>
                <a:cs typeface="ABBvoice"/>
              </a:endParaRPr>
            </a:p>
          </p:txBody>
        </p:sp>
        <p:grpSp>
          <p:nvGrpSpPr>
            <p:cNvPr id="3287" name="Group 3286">
              <a:extLst>
                <a:ext uri="{FF2B5EF4-FFF2-40B4-BE49-F238E27FC236}">
                  <a16:creationId xmlns:a16="http://schemas.microsoft.com/office/drawing/2014/main" id="{371F5D6D-48C6-F6E1-1AB5-D4A291D316A6}"/>
                </a:ext>
              </a:extLst>
            </p:cNvPr>
            <p:cNvGrpSpPr/>
            <p:nvPr/>
          </p:nvGrpSpPr>
          <p:grpSpPr>
            <a:xfrm>
              <a:off x="5375313" y="229503"/>
              <a:ext cx="5177223" cy="8332218"/>
              <a:chOff x="5375313" y="229503"/>
              <a:chExt cx="5177223" cy="8332218"/>
            </a:xfrm>
          </p:grpSpPr>
          <p:sp>
            <p:nvSpPr>
              <p:cNvPr id="3275" name="object 14">
                <a:extLst>
                  <a:ext uri="{FF2B5EF4-FFF2-40B4-BE49-F238E27FC236}">
                    <a16:creationId xmlns:a16="http://schemas.microsoft.com/office/drawing/2014/main" id="{686DA652-119C-30A9-F164-A2C1EDAF7373}"/>
                  </a:ext>
                </a:extLst>
              </p:cNvPr>
              <p:cNvSpPr txBox="1"/>
              <p:nvPr/>
            </p:nvSpPr>
            <p:spPr>
              <a:xfrm>
                <a:off x="9912694" y="6307141"/>
                <a:ext cx="370205" cy="468630"/>
              </a:xfrm>
              <a:prstGeom prst="rect">
                <a:avLst/>
              </a:prstGeom>
            </p:spPr>
            <p:txBody>
              <a:bodyPr vert="horz" wrap="square" lIns="0" tIns="13970" rIns="0" bIns="0" rtlCol="0">
                <a:spAutoFit/>
              </a:bodyPr>
              <a:lstStyle/>
              <a:p>
                <a:pPr marL="12700" marR="5080" algn="ctr">
                  <a:lnSpc>
                    <a:spcPct val="100000"/>
                  </a:lnSpc>
                  <a:spcBef>
                    <a:spcPts val="110"/>
                  </a:spcBef>
                </a:pPr>
                <a:r>
                  <a:rPr sz="900" b="1" spc="-20" dirty="0">
                    <a:latin typeface="ABBvoice"/>
                    <a:cs typeface="ABBvoice"/>
                  </a:rPr>
                  <a:t>Nova</a:t>
                </a:r>
                <a:r>
                  <a:rPr sz="900" b="1" spc="-10" dirty="0">
                    <a:latin typeface="ABBvoice"/>
                    <a:cs typeface="ABBvoice"/>
                  </a:rPr>
                  <a:t> Scotia </a:t>
                </a:r>
                <a:r>
                  <a:rPr lang="en-US" sz="1100" spc="-25" dirty="0">
                    <a:solidFill>
                      <a:srgbClr val="FF000F"/>
                    </a:solidFill>
                    <a:latin typeface="ABBvoice"/>
                    <a:cs typeface="ABBvoice"/>
                  </a:rPr>
                  <a:t>1</a:t>
                </a:r>
                <a:endParaRPr sz="1100" dirty="0">
                  <a:latin typeface="ABBvoice"/>
                  <a:cs typeface="ABBvoice"/>
                </a:endParaRPr>
              </a:p>
            </p:txBody>
          </p:sp>
          <p:grpSp>
            <p:nvGrpSpPr>
              <p:cNvPr id="3286" name="Group 3285">
                <a:extLst>
                  <a:ext uri="{FF2B5EF4-FFF2-40B4-BE49-F238E27FC236}">
                    <a16:creationId xmlns:a16="http://schemas.microsoft.com/office/drawing/2014/main" id="{7282595C-CC21-5300-C6B8-06CFBD3ED801}"/>
                  </a:ext>
                </a:extLst>
              </p:cNvPr>
              <p:cNvGrpSpPr/>
              <p:nvPr/>
            </p:nvGrpSpPr>
            <p:grpSpPr>
              <a:xfrm>
                <a:off x="5375313" y="229503"/>
                <a:ext cx="5177223" cy="8332218"/>
                <a:chOff x="5375313" y="229503"/>
                <a:chExt cx="5177223" cy="8332218"/>
              </a:xfrm>
            </p:grpSpPr>
            <p:grpSp>
              <p:nvGrpSpPr>
                <p:cNvPr id="1884" name="Group 1883">
                  <a:extLst>
                    <a:ext uri="{FF2B5EF4-FFF2-40B4-BE49-F238E27FC236}">
                      <a16:creationId xmlns:a16="http://schemas.microsoft.com/office/drawing/2014/main" id="{82DAB1DB-D432-0BD0-13FB-2035E1494F1F}"/>
                    </a:ext>
                  </a:extLst>
                </p:cNvPr>
                <p:cNvGrpSpPr>
                  <a:grpSpLocks noChangeAspect="1"/>
                </p:cNvGrpSpPr>
                <p:nvPr/>
              </p:nvGrpSpPr>
              <p:grpSpPr>
                <a:xfrm>
                  <a:off x="5375313" y="229503"/>
                  <a:ext cx="4912906" cy="8332218"/>
                  <a:chOff x="720990" y="233093"/>
                  <a:chExt cx="1874033" cy="3178333"/>
                </a:xfrm>
                <a:solidFill>
                  <a:schemeClr val="bg1">
                    <a:lumMod val="65000"/>
                  </a:schemeClr>
                </a:solidFill>
              </p:grpSpPr>
              <p:grpSp>
                <p:nvGrpSpPr>
                  <p:cNvPr id="1885" name="Graphic 2">
                    <a:extLst>
                      <a:ext uri="{FF2B5EF4-FFF2-40B4-BE49-F238E27FC236}">
                        <a16:creationId xmlns:a16="http://schemas.microsoft.com/office/drawing/2014/main" id="{627AE920-CF24-C2AF-1158-8B78C2A4312B}"/>
                      </a:ext>
                    </a:extLst>
                  </p:cNvPr>
                  <p:cNvGrpSpPr/>
                  <p:nvPr/>
                </p:nvGrpSpPr>
                <p:grpSpPr>
                  <a:xfrm>
                    <a:off x="720990" y="233093"/>
                    <a:ext cx="1874033" cy="2421338"/>
                    <a:chOff x="720990" y="233093"/>
                    <a:chExt cx="1874033" cy="2421338"/>
                  </a:xfrm>
                  <a:grpFill/>
                </p:grpSpPr>
                <p:sp>
                  <p:nvSpPr>
                    <p:cNvPr id="1977" name="Freeform: Shape 1976">
                      <a:extLst>
                        <a:ext uri="{FF2B5EF4-FFF2-40B4-BE49-F238E27FC236}">
                          <a16:creationId xmlns:a16="http://schemas.microsoft.com/office/drawing/2014/main" id="{37FCC80D-D8E2-1606-7885-356EAF14F20E}"/>
                        </a:ext>
                      </a:extLst>
                    </p:cNvPr>
                    <p:cNvSpPr/>
                    <p:nvPr/>
                  </p:nvSpPr>
                  <p:spPr>
                    <a:xfrm>
                      <a:off x="1164295" y="2031103"/>
                      <a:ext cx="214226" cy="404150"/>
                    </a:xfrm>
                    <a:custGeom>
                      <a:avLst/>
                      <a:gdLst>
                        <a:gd name="connsiteX0" fmla="*/ 214227 w 214226"/>
                        <a:gd name="connsiteY0" fmla="*/ 404151 h 404150"/>
                        <a:gd name="connsiteX1" fmla="*/ 207476 w 214226"/>
                        <a:gd name="connsiteY1" fmla="*/ 404151 h 404150"/>
                        <a:gd name="connsiteX2" fmla="*/ 198475 w 214226"/>
                        <a:gd name="connsiteY2" fmla="*/ 404151 h 404150"/>
                        <a:gd name="connsiteX3" fmla="*/ 189474 w 214226"/>
                        <a:gd name="connsiteY3" fmla="*/ 404151 h 404150"/>
                        <a:gd name="connsiteX4" fmla="*/ 180472 w 214226"/>
                        <a:gd name="connsiteY4" fmla="*/ 404151 h 404150"/>
                        <a:gd name="connsiteX5" fmla="*/ 171471 w 214226"/>
                        <a:gd name="connsiteY5" fmla="*/ 404151 h 404150"/>
                        <a:gd name="connsiteX6" fmla="*/ 162470 w 214226"/>
                        <a:gd name="connsiteY6" fmla="*/ 404151 h 404150"/>
                        <a:gd name="connsiteX7" fmla="*/ 153469 w 214226"/>
                        <a:gd name="connsiteY7" fmla="*/ 404151 h 404150"/>
                        <a:gd name="connsiteX8" fmla="*/ 144468 w 214226"/>
                        <a:gd name="connsiteY8" fmla="*/ 404151 h 404150"/>
                        <a:gd name="connsiteX9" fmla="*/ 135467 w 214226"/>
                        <a:gd name="connsiteY9" fmla="*/ 404151 h 404150"/>
                        <a:gd name="connsiteX10" fmla="*/ 128266 w 214226"/>
                        <a:gd name="connsiteY10" fmla="*/ 404151 h 404150"/>
                        <a:gd name="connsiteX11" fmla="*/ 128716 w 214226"/>
                        <a:gd name="connsiteY11" fmla="*/ 403251 h 404150"/>
                        <a:gd name="connsiteX12" fmla="*/ 128716 w 214226"/>
                        <a:gd name="connsiteY12" fmla="*/ 402350 h 404150"/>
                        <a:gd name="connsiteX13" fmla="*/ 126916 w 214226"/>
                        <a:gd name="connsiteY13" fmla="*/ 400550 h 404150"/>
                        <a:gd name="connsiteX14" fmla="*/ 126466 w 214226"/>
                        <a:gd name="connsiteY14" fmla="*/ 398750 h 404150"/>
                        <a:gd name="connsiteX15" fmla="*/ 126016 w 214226"/>
                        <a:gd name="connsiteY15" fmla="*/ 397850 h 404150"/>
                        <a:gd name="connsiteX16" fmla="*/ 122415 w 214226"/>
                        <a:gd name="connsiteY16" fmla="*/ 396500 h 404150"/>
                        <a:gd name="connsiteX17" fmla="*/ 121965 w 214226"/>
                        <a:gd name="connsiteY17" fmla="*/ 395600 h 404150"/>
                        <a:gd name="connsiteX18" fmla="*/ 121965 w 214226"/>
                        <a:gd name="connsiteY18" fmla="*/ 395149 h 404150"/>
                        <a:gd name="connsiteX19" fmla="*/ 121065 w 214226"/>
                        <a:gd name="connsiteY19" fmla="*/ 394250 h 404150"/>
                        <a:gd name="connsiteX20" fmla="*/ 119715 w 214226"/>
                        <a:gd name="connsiteY20" fmla="*/ 392449 h 404150"/>
                        <a:gd name="connsiteX21" fmla="*/ 117915 w 214226"/>
                        <a:gd name="connsiteY21" fmla="*/ 390649 h 404150"/>
                        <a:gd name="connsiteX22" fmla="*/ 117465 w 214226"/>
                        <a:gd name="connsiteY22" fmla="*/ 389749 h 404150"/>
                        <a:gd name="connsiteX23" fmla="*/ 117465 w 214226"/>
                        <a:gd name="connsiteY23" fmla="*/ 388849 h 404150"/>
                        <a:gd name="connsiteX24" fmla="*/ 117915 w 214226"/>
                        <a:gd name="connsiteY24" fmla="*/ 386599 h 404150"/>
                        <a:gd name="connsiteX25" fmla="*/ 117915 w 214226"/>
                        <a:gd name="connsiteY25" fmla="*/ 385698 h 404150"/>
                        <a:gd name="connsiteX26" fmla="*/ 117465 w 214226"/>
                        <a:gd name="connsiteY26" fmla="*/ 385248 h 404150"/>
                        <a:gd name="connsiteX27" fmla="*/ 115664 w 214226"/>
                        <a:gd name="connsiteY27" fmla="*/ 385248 h 404150"/>
                        <a:gd name="connsiteX28" fmla="*/ 114764 w 214226"/>
                        <a:gd name="connsiteY28" fmla="*/ 384798 h 404150"/>
                        <a:gd name="connsiteX29" fmla="*/ 114314 w 214226"/>
                        <a:gd name="connsiteY29" fmla="*/ 384348 h 404150"/>
                        <a:gd name="connsiteX30" fmla="*/ 114314 w 214226"/>
                        <a:gd name="connsiteY30" fmla="*/ 383898 h 404150"/>
                        <a:gd name="connsiteX31" fmla="*/ 115214 w 214226"/>
                        <a:gd name="connsiteY31" fmla="*/ 382548 h 404150"/>
                        <a:gd name="connsiteX32" fmla="*/ 116114 w 214226"/>
                        <a:gd name="connsiteY32" fmla="*/ 379848 h 404150"/>
                        <a:gd name="connsiteX33" fmla="*/ 116114 w 214226"/>
                        <a:gd name="connsiteY33" fmla="*/ 377597 h 404150"/>
                        <a:gd name="connsiteX34" fmla="*/ 115214 w 214226"/>
                        <a:gd name="connsiteY34" fmla="*/ 373097 h 404150"/>
                        <a:gd name="connsiteX35" fmla="*/ 115214 w 214226"/>
                        <a:gd name="connsiteY35" fmla="*/ 372197 h 404150"/>
                        <a:gd name="connsiteX36" fmla="*/ 115664 w 214226"/>
                        <a:gd name="connsiteY36" fmla="*/ 371296 h 404150"/>
                        <a:gd name="connsiteX37" fmla="*/ 115664 w 214226"/>
                        <a:gd name="connsiteY37" fmla="*/ 369946 h 404150"/>
                        <a:gd name="connsiteX38" fmla="*/ 115214 w 214226"/>
                        <a:gd name="connsiteY38" fmla="*/ 368596 h 404150"/>
                        <a:gd name="connsiteX39" fmla="*/ 114314 w 214226"/>
                        <a:gd name="connsiteY39" fmla="*/ 366346 h 404150"/>
                        <a:gd name="connsiteX40" fmla="*/ 112964 w 214226"/>
                        <a:gd name="connsiteY40" fmla="*/ 358695 h 404150"/>
                        <a:gd name="connsiteX41" fmla="*/ 108463 w 214226"/>
                        <a:gd name="connsiteY41" fmla="*/ 352394 h 404150"/>
                        <a:gd name="connsiteX42" fmla="*/ 107113 w 214226"/>
                        <a:gd name="connsiteY42" fmla="*/ 351494 h 404150"/>
                        <a:gd name="connsiteX43" fmla="*/ 106213 w 214226"/>
                        <a:gd name="connsiteY43" fmla="*/ 351044 h 404150"/>
                        <a:gd name="connsiteX44" fmla="*/ 105313 w 214226"/>
                        <a:gd name="connsiteY44" fmla="*/ 351044 h 404150"/>
                        <a:gd name="connsiteX45" fmla="*/ 103963 w 214226"/>
                        <a:gd name="connsiteY45" fmla="*/ 351944 h 404150"/>
                        <a:gd name="connsiteX46" fmla="*/ 103513 w 214226"/>
                        <a:gd name="connsiteY46" fmla="*/ 351944 h 404150"/>
                        <a:gd name="connsiteX47" fmla="*/ 103063 w 214226"/>
                        <a:gd name="connsiteY47" fmla="*/ 351494 h 404150"/>
                        <a:gd name="connsiteX48" fmla="*/ 102163 w 214226"/>
                        <a:gd name="connsiteY48" fmla="*/ 350594 h 404150"/>
                        <a:gd name="connsiteX49" fmla="*/ 101263 w 214226"/>
                        <a:gd name="connsiteY49" fmla="*/ 349244 h 404150"/>
                        <a:gd name="connsiteX50" fmla="*/ 101263 w 214226"/>
                        <a:gd name="connsiteY50" fmla="*/ 348794 h 404150"/>
                        <a:gd name="connsiteX51" fmla="*/ 101263 w 214226"/>
                        <a:gd name="connsiteY51" fmla="*/ 348344 h 404150"/>
                        <a:gd name="connsiteX52" fmla="*/ 101263 w 214226"/>
                        <a:gd name="connsiteY52" fmla="*/ 347894 h 404150"/>
                        <a:gd name="connsiteX53" fmla="*/ 100813 w 214226"/>
                        <a:gd name="connsiteY53" fmla="*/ 346993 h 404150"/>
                        <a:gd name="connsiteX54" fmla="*/ 100362 w 214226"/>
                        <a:gd name="connsiteY54" fmla="*/ 346093 h 404150"/>
                        <a:gd name="connsiteX55" fmla="*/ 99912 w 214226"/>
                        <a:gd name="connsiteY55" fmla="*/ 345643 h 404150"/>
                        <a:gd name="connsiteX56" fmla="*/ 100362 w 214226"/>
                        <a:gd name="connsiteY56" fmla="*/ 345643 h 404150"/>
                        <a:gd name="connsiteX57" fmla="*/ 99912 w 214226"/>
                        <a:gd name="connsiteY57" fmla="*/ 345643 h 404150"/>
                        <a:gd name="connsiteX58" fmla="*/ 99462 w 214226"/>
                        <a:gd name="connsiteY58" fmla="*/ 345643 h 404150"/>
                        <a:gd name="connsiteX59" fmla="*/ 99012 w 214226"/>
                        <a:gd name="connsiteY59" fmla="*/ 345643 h 404150"/>
                        <a:gd name="connsiteX60" fmla="*/ 98112 w 214226"/>
                        <a:gd name="connsiteY60" fmla="*/ 344743 h 404150"/>
                        <a:gd name="connsiteX61" fmla="*/ 94062 w 214226"/>
                        <a:gd name="connsiteY61" fmla="*/ 341593 h 404150"/>
                        <a:gd name="connsiteX62" fmla="*/ 94062 w 214226"/>
                        <a:gd name="connsiteY62" fmla="*/ 341143 h 404150"/>
                        <a:gd name="connsiteX63" fmla="*/ 94962 w 214226"/>
                        <a:gd name="connsiteY63" fmla="*/ 339793 h 404150"/>
                        <a:gd name="connsiteX64" fmla="*/ 94962 w 214226"/>
                        <a:gd name="connsiteY64" fmla="*/ 338893 h 404150"/>
                        <a:gd name="connsiteX65" fmla="*/ 94512 w 214226"/>
                        <a:gd name="connsiteY65" fmla="*/ 337992 h 404150"/>
                        <a:gd name="connsiteX66" fmla="*/ 90911 w 214226"/>
                        <a:gd name="connsiteY66" fmla="*/ 334392 h 404150"/>
                        <a:gd name="connsiteX67" fmla="*/ 87761 w 214226"/>
                        <a:gd name="connsiteY67" fmla="*/ 333492 h 404150"/>
                        <a:gd name="connsiteX68" fmla="*/ 86411 w 214226"/>
                        <a:gd name="connsiteY68" fmla="*/ 332592 h 404150"/>
                        <a:gd name="connsiteX69" fmla="*/ 85961 w 214226"/>
                        <a:gd name="connsiteY69" fmla="*/ 331692 h 404150"/>
                        <a:gd name="connsiteX70" fmla="*/ 85511 w 214226"/>
                        <a:gd name="connsiteY70" fmla="*/ 329441 h 404150"/>
                        <a:gd name="connsiteX71" fmla="*/ 85511 w 214226"/>
                        <a:gd name="connsiteY71" fmla="*/ 328991 h 404150"/>
                        <a:gd name="connsiteX72" fmla="*/ 85061 w 214226"/>
                        <a:gd name="connsiteY72" fmla="*/ 328541 h 404150"/>
                        <a:gd name="connsiteX73" fmla="*/ 83260 w 214226"/>
                        <a:gd name="connsiteY73" fmla="*/ 327641 h 404150"/>
                        <a:gd name="connsiteX74" fmla="*/ 82360 w 214226"/>
                        <a:gd name="connsiteY74" fmla="*/ 326741 h 404150"/>
                        <a:gd name="connsiteX75" fmla="*/ 81010 w 214226"/>
                        <a:gd name="connsiteY75" fmla="*/ 325841 h 404150"/>
                        <a:gd name="connsiteX76" fmla="*/ 80560 w 214226"/>
                        <a:gd name="connsiteY76" fmla="*/ 324941 h 404150"/>
                        <a:gd name="connsiteX77" fmla="*/ 80110 w 214226"/>
                        <a:gd name="connsiteY77" fmla="*/ 321340 h 404150"/>
                        <a:gd name="connsiteX78" fmla="*/ 78760 w 214226"/>
                        <a:gd name="connsiteY78" fmla="*/ 319540 h 404150"/>
                        <a:gd name="connsiteX79" fmla="*/ 77860 w 214226"/>
                        <a:gd name="connsiteY79" fmla="*/ 318190 h 404150"/>
                        <a:gd name="connsiteX80" fmla="*/ 76960 w 214226"/>
                        <a:gd name="connsiteY80" fmla="*/ 317290 h 404150"/>
                        <a:gd name="connsiteX81" fmla="*/ 76059 w 214226"/>
                        <a:gd name="connsiteY81" fmla="*/ 315940 h 404150"/>
                        <a:gd name="connsiteX82" fmla="*/ 74709 w 214226"/>
                        <a:gd name="connsiteY82" fmla="*/ 314589 h 404150"/>
                        <a:gd name="connsiteX83" fmla="*/ 73359 w 214226"/>
                        <a:gd name="connsiteY83" fmla="*/ 310989 h 404150"/>
                        <a:gd name="connsiteX84" fmla="*/ 72459 w 214226"/>
                        <a:gd name="connsiteY84" fmla="*/ 310089 h 404150"/>
                        <a:gd name="connsiteX85" fmla="*/ 71559 w 214226"/>
                        <a:gd name="connsiteY85" fmla="*/ 309639 h 404150"/>
                        <a:gd name="connsiteX86" fmla="*/ 70659 w 214226"/>
                        <a:gd name="connsiteY86" fmla="*/ 310089 h 404150"/>
                        <a:gd name="connsiteX87" fmla="*/ 69759 w 214226"/>
                        <a:gd name="connsiteY87" fmla="*/ 310539 h 404150"/>
                        <a:gd name="connsiteX88" fmla="*/ 69309 w 214226"/>
                        <a:gd name="connsiteY88" fmla="*/ 310989 h 404150"/>
                        <a:gd name="connsiteX89" fmla="*/ 69309 w 214226"/>
                        <a:gd name="connsiteY89" fmla="*/ 311889 h 404150"/>
                        <a:gd name="connsiteX90" fmla="*/ 68859 w 214226"/>
                        <a:gd name="connsiteY90" fmla="*/ 312339 h 404150"/>
                        <a:gd name="connsiteX91" fmla="*/ 67058 w 214226"/>
                        <a:gd name="connsiteY91" fmla="*/ 312339 h 404150"/>
                        <a:gd name="connsiteX92" fmla="*/ 66608 w 214226"/>
                        <a:gd name="connsiteY92" fmla="*/ 311439 h 404150"/>
                        <a:gd name="connsiteX93" fmla="*/ 64358 w 214226"/>
                        <a:gd name="connsiteY93" fmla="*/ 306488 h 404150"/>
                        <a:gd name="connsiteX94" fmla="*/ 63458 w 214226"/>
                        <a:gd name="connsiteY94" fmla="*/ 305138 h 404150"/>
                        <a:gd name="connsiteX95" fmla="*/ 59857 w 214226"/>
                        <a:gd name="connsiteY95" fmla="*/ 301088 h 404150"/>
                        <a:gd name="connsiteX96" fmla="*/ 58057 w 214226"/>
                        <a:gd name="connsiteY96" fmla="*/ 297487 h 404150"/>
                        <a:gd name="connsiteX97" fmla="*/ 57607 w 214226"/>
                        <a:gd name="connsiteY97" fmla="*/ 297487 h 404150"/>
                        <a:gd name="connsiteX98" fmla="*/ 56707 w 214226"/>
                        <a:gd name="connsiteY98" fmla="*/ 297937 h 404150"/>
                        <a:gd name="connsiteX99" fmla="*/ 52206 w 214226"/>
                        <a:gd name="connsiteY99" fmla="*/ 297937 h 404150"/>
                        <a:gd name="connsiteX100" fmla="*/ 48606 w 214226"/>
                        <a:gd name="connsiteY100" fmla="*/ 295687 h 404150"/>
                        <a:gd name="connsiteX101" fmla="*/ 47706 w 214226"/>
                        <a:gd name="connsiteY101" fmla="*/ 294787 h 404150"/>
                        <a:gd name="connsiteX102" fmla="*/ 46806 w 214226"/>
                        <a:gd name="connsiteY102" fmla="*/ 293437 h 404150"/>
                        <a:gd name="connsiteX103" fmla="*/ 48606 w 214226"/>
                        <a:gd name="connsiteY103" fmla="*/ 290736 h 404150"/>
                        <a:gd name="connsiteX104" fmla="*/ 48606 w 214226"/>
                        <a:gd name="connsiteY104" fmla="*/ 289836 h 404150"/>
                        <a:gd name="connsiteX105" fmla="*/ 48156 w 214226"/>
                        <a:gd name="connsiteY105" fmla="*/ 289386 h 404150"/>
                        <a:gd name="connsiteX106" fmla="*/ 45456 w 214226"/>
                        <a:gd name="connsiteY106" fmla="*/ 288036 h 404150"/>
                        <a:gd name="connsiteX107" fmla="*/ 42755 w 214226"/>
                        <a:gd name="connsiteY107" fmla="*/ 286236 h 404150"/>
                        <a:gd name="connsiteX108" fmla="*/ 42305 w 214226"/>
                        <a:gd name="connsiteY108" fmla="*/ 287136 h 404150"/>
                        <a:gd name="connsiteX109" fmla="*/ 41855 w 214226"/>
                        <a:gd name="connsiteY109" fmla="*/ 288486 h 404150"/>
                        <a:gd name="connsiteX110" fmla="*/ 41405 w 214226"/>
                        <a:gd name="connsiteY110" fmla="*/ 288936 h 404150"/>
                        <a:gd name="connsiteX111" fmla="*/ 38705 w 214226"/>
                        <a:gd name="connsiteY111" fmla="*/ 289836 h 404150"/>
                        <a:gd name="connsiteX112" fmla="*/ 38255 w 214226"/>
                        <a:gd name="connsiteY112" fmla="*/ 289836 h 404150"/>
                        <a:gd name="connsiteX113" fmla="*/ 37805 w 214226"/>
                        <a:gd name="connsiteY113" fmla="*/ 288936 h 404150"/>
                        <a:gd name="connsiteX114" fmla="*/ 37805 w 214226"/>
                        <a:gd name="connsiteY114" fmla="*/ 288036 h 404150"/>
                        <a:gd name="connsiteX115" fmla="*/ 38255 w 214226"/>
                        <a:gd name="connsiteY115" fmla="*/ 286686 h 404150"/>
                        <a:gd name="connsiteX116" fmla="*/ 37355 w 214226"/>
                        <a:gd name="connsiteY116" fmla="*/ 285336 h 404150"/>
                        <a:gd name="connsiteX117" fmla="*/ 36905 w 214226"/>
                        <a:gd name="connsiteY117" fmla="*/ 283986 h 404150"/>
                        <a:gd name="connsiteX118" fmla="*/ 35554 w 214226"/>
                        <a:gd name="connsiteY118" fmla="*/ 281735 h 404150"/>
                        <a:gd name="connsiteX119" fmla="*/ 36005 w 214226"/>
                        <a:gd name="connsiteY119" fmla="*/ 279935 h 404150"/>
                        <a:gd name="connsiteX120" fmla="*/ 35554 w 214226"/>
                        <a:gd name="connsiteY120" fmla="*/ 278585 h 404150"/>
                        <a:gd name="connsiteX121" fmla="*/ 35104 w 214226"/>
                        <a:gd name="connsiteY121" fmla="*/ 277235 h 404150"/>
                        <a:gd name="connsiteX122" fmla="*/ 33754 w 214226"/>
                        <a:gd name="connsiteY122" fmla="*/ 275885 h 404150"/>
                        <a:gd name="connsiteX123" fmla="*/ 33304 w 214226"/>
                        <a:gd name="connsiteY123" fmla="*/ 274084 h 404150"/>
                        <a:gd name="connsiteX124" fmla="*/ 32404 w 214226"/>
                        <a:gd name="connsiteY124" fmla="*/ 272734 h 404150"/>
                        <a:gd name="connsiteX125" fmla="*/ 31954 w 214226"/>
                        <a:gd name="connsiteY125" fmla="*/ 272284 h 404150"/>
                        <a:gd name="connsiteX126" fmla="*/ 29704 w 214226"/>
                        <a:gd name="connsiteY126" fmla="*/ 271834 h 404150"/>
                        <a:gd name="connsiteX127" fmla="*/ 29254 w 214226"/>
                        <a:gd name="connsiteY127" fmla="*/ 271384 h 404150"/>
                        <a:gd name="connsiteX128" fmla="*/ 28353 w 214226"/>
                        <a:gd name="connsiteY128" fmla="*/ 269134 h 404150"/>
                        <a:gd name="connsiteX129" fmla="*/ 28353 w 214226"/>
                        <a:gd name="connsiteY129" fmla="*/ 267334 h 404150"/>
                        <a:gd name="connsiteX130" fmla="*/ 27453 w 214226"/>
                        <a:gd name="connsiteY130" fmla="*/ 265983 h 404150"/>
                        <a:gd name="connsiteX131" fmla="*/ 26553 w 214226"/>
                        <a:gd name="connsiteY131" fmla="*/ 265533 h 404150"/>
                        <a:gd name="connsiteX132" fmla="*/ 26553 w 214226"/>
                        <a:gd name="connsiteY132" fmla="*/ 263733 h 404150"/>
                        <a:gd name="connsiteX133" fmla="*/ 26103 w 214226"/>
                        <a:gd name="connsiteY133" fmla="*/ 262833 h 404150"/>
                        <a:gd name="connsiteX134" fmla="*/ 23853 w 214226"/>
                        <a:gd name="connsiteY134" fmla="*/ 260583 h 404150"/>
                        <a:gd name="connsiteX135" fmla="*/ 22053 w 214226"/>
                        <a:gd name="connsiteY135" fmla="*/ 259683 h 404150"/>
                        <a:gd name="connsiteX136" fmla="*/ 21603 w 214226"/>
                        <a:gd name="connsiteY136" fmla="*/ 260583 h 404150"/>
                        <a:gd name="connsiteX137" fmla="*/ 21603 w 214226"/>
                        <a:gd name="connsiteY137" fmla="*/ 262833 h 404150"/>
                        <a:gd name="connsiteX138" fmla="*/ 21153 w 214226"/>
                        <a:gd name="connsiteY138" fmla="*/ 262833 h 404150"/>
                        <a:gd name="connsiteX139" fmla="*/ 16652 w 214226"/>
                        <a:gd name="connsiteY139" fmla="*/ 260583 h 404150"/>
                        <a:gd name="connsiteX140" fmla="*/ 15752 w 214226"/>
                        <a:gd name="connsiteY140" fmla="*/ 259232 h 404150"/>
                        <a:gd name="connsiteX141" fmla="*/ 13952 w 214226"/>
                        <a:gd name="connsiteY141" fmla="*/ 255182 h 404150"/>
                        <a:gd name="connsiteX142" fmla="*/ 13052 w 214226"/>
                        <a:gd name="connsiteY142" fmla="*/ 254732 h 404150"/>
                        <a:gd name="connsiteX143" fmla="*/ 9901 w 214226"/>
                        <a:gd name="connsiteY143" fmla="*/ 254282 h 404150"/>
                        <a:gd name="connsiteX144" fmla="*/ 8551 w 214226"/>
                        <a:gd name="connsiteY144" fmla="*/ 254732 h 404150"/>
                        <a:gd name="connsiteX145" fmla="*/ 7651 w 214226"/>
                        <a:gd name="connsiteY145" fmla="*/ 254282 h 404150"/>
                        <a:gd name="connsiteX146" fmla="*/ 6751 w 214226"/>
                        <a:gd name="connsiteY146" fmla="*/ 253382 h 404150"/>
                        <a:gd name="connsiteX147" fmla="*/ 4501 w 214226"/>
                        <a:gd name="connsiteY147" fmla="*/ 250231 h 404150"/>
                        <a:gd name="connsiteX148" fmla="*/ 3600 w 214226"/>
                        <a:gd name="connsiteY148" fmla="*/ 249781 h 404150"/>
                        <a:gd name="connsiteX149" fmla="*/ 2700 w 214226"/>
                        <a:gd name="connsiteY149" fmla="*/ 249331 h 404150"/>
                        <a:gd name="connsiteX150" fmla="*/ 2700 w 214226"/>
                        <a:gd name="connsiteY150" fmla="*/ 247531 h 404150"/>
                        <a:gd name="connsiteX151" fmla="*/ 2250 w 214226"/>
                        <a:gd name="connsiteY151" fmla="*/ 246181 h 404150"/>
                        <a:gd name="connsiteX152" fmla="*/ 2250 w 214226"/>
                        <a:gd name="connsiteY152" fmla="*/ 245731 h 404150"/>
                        <a:gd name="connsiteX153" fmla="*/ 2700 w 214226"/>
                        <a:gd name="connsiteY153" fmla="*/ 245731 h 404150"/>
                        <a:gd name="connsiteX154" fmla="*/ 5851 w 214226"/>
                        <a:gd name="connsiteY154" fmla="*/ 245731 h 404150"/>
                        <a:gd name="connsiteX155" fmla="*/ 5851 w 214226"/>
                        <a:gd name="connsiteY155" fmla="*/ 245281 h 404150"/>
                        <a:gd name="connsiteX156" fmla="*/ 4050 w 214226"/>
                        <a:gd name="connsiteY156" fmla="*/ 243030 h 404150"/>
                        <a:gd name="connsiteX157" fmla="*/ 2700 w 214226"/>
                        <a:gd name="connsiteY157" fmla="*/ 242580 h 404150"/>
                        <a:gd name="connsiteX158" fmla="*/ 2250 w 214226"/>
                        <a:gd name="connsiteY158" fmla="*/ 242130 h 404150"/>
                        <a:gd name="connsiteX159" fmla="*/ 1800 w 214226"/>
                        <a:gd name="connsiteY159" fmla="*/ 240330 h 404150"/>
                        <a:gd name="connsiteX160" fmla="*/ 450 w 214226"/>
                        <a:gd name="connsiteY160" fmla="*/ 239430 h 404150"/>
                        <a:gd name="connsiteX161" fmla="*/ 0 w 214226"/>
                        <a:gd name="connsiteY161" fmla="*/ 237630 h 404150"/>
                        <a:gd name="connsiteX162" fmla="*/ 0 w 214226"/>
                        <a:gd name="connsiteY162" fmla="*/ 223678 h 404150"/>
                        <a:gd name="connsiteX163" fmla="*/ 0 w 214226"/>
                        <a:gd name="connsiteY163" fmla="*/ 209726 h 404150"/>
                        <a:gd name="connsiteX164" fmla="*/ 0 w 214226"/>
                        <a:gd name="connsiteY164" fmla="*/ 195775 h 404150"/>
                        <a:gd name="connsiteX165" fmla="*/ 0 w 214226"/>
                        <a:gd name="connsiteY165" fmla="*/ 183173 h 404150"/>
                        <a:gd name="connsiteX166" fmla="*/ 0 w 214226"/>
                        <a:gd name="connsiteY166" fmla="*/ 168771 h 404150"/>
                        <a:gd name="connsiteX167" fmla="*/ 0 w 214226"/>
                        <a:gd name="connsiteY167" fmla="*/ 154369 h 404150"/>
                        <a:gd name="connsiteX168" fmla="*/ 0 w 214226"/>
                        <a:gd name="connsiteY168" fmla="*/ 139517 h 404150"/>
                        <a:gd name="connsiteX169" fmla="*/ 0 w 214226"/>
                        <a:gd name="connsiteY169" fmla="*/ 124666 h 404150"/>
                        <a:gd name="connsiteX170" fmla="*/ 0 w 214226"/>
                        <a:gd name="connsiteY170" fmla="*/ 109814 h 404150"/>
                        <a:gd name="connsiteX171" fmla="*/ 0 w 214226"/>
                        <a:gd name="connsiteY171" fmla="*/ 94512 h 404150"/>
                        <a:gd name="connsiteX172" fmla="*/ 0 w 214226"/>
                        <a:gd name="connsiteY172" fmla="*/ 79210 h 404150"/>
                        <a:gd name="connsiteX173" fmla="*/ 0 w 214226"/>
                        <a:gd name="connsiteY173" fmla="*/ 63908 h 404150"/>
                        <a:gd name="connsiteX174" fmla="*/ 0 w 214226"/>
                        <a:gd name="connsiteY174" fmla="*/ 48156 h 404150"/>
                        <a:gd name="connsiteX175" fmla="*/ 0 w 214226"/>
                        <a:gd name="connsiteY175" fmla="*/ 32404 h 404150"/>
                        <a:gd name="connsiteX176" fmla="*/ 0 w 214226"/>
                        <a:gd name="connsiteY176" fmla="*/ 16202 h 404150"/>
                        <a:gd name="connsiteX177" fmla="*/ 0 w 214226"/>
                        <a:gd name="connsiteY177" fmla="*/ 0 h 404150"/>
                        <a:gd name="connsiteX178" fmla="*/ 13052 w 214226"/>
                        <a:gd name="connsiteY178" fmla="*/ 0 h 404150"/>
                        <a:gd name="connsiteX179" fmla="*/ 26103 w 214226"/>
                        <a:gd name="connsiteY179" fmla="*/ 0 h 404150"/>
                        <a:gd name="connsiteX180" fmla="*/ 39155 w 214226"/>
                        <a:gd name="connsiteY180" fmla="*/ 0 h 404150"/>
                        <a:gd name="connsiteX181" fmla="*/ 52206 w 214226"/>
                        <a:gd name="connsiteY181" fmla="*/ 0 h 404150"/>
                        <a:gd name="connsiteX182" fmla="*/ 65258 w 214226"/>
                        <a:gd name="connsiteY182" fmla="*/ 0 h 404150"/>
                        <a:gd name="connsiteX183" fmla="*/ 78310 w 214226"/>
                        <a:gd name="connsiteY183" fmla="*/ 0 h 404150"/>
                        <a:gd name="connsiteX184" fmla="*/ 91361 w 214226"/>
                        <a:gd name="connsiteY184" fmla="*/ 0 h 404150"/>
                        <a:gd name="connsiteX185" fmla="*/ 104413 w 214226"/>
                        <a:gd name="connsiteY185" fmla="*/ 0 h 404150"/>
                        <a:gd name="connsiteX186" fmla="*/ 117465 w 214226"/>
                        <a:gd name="connsiteY186" fmla="*/ 0 h 404150"/>
                        <a:gd name="connsiteX187" fmla="*/ 130516 w 214226"/>
                        <a:gd name="connsiteY187" fmla="*/ 0 h 404150"/>
                        <a:gd name="connsiteX188" fmla="*/ 143568 w 214226"/>
                        <a:gd name="connsiteY188" fmla="*/ 0 h 404150"/>
                        <a:gd name="connsiteX189" fmla="*/ 156620 w 214226"/>
                        <a:gd name="connsiteY189" fmla="*/ 0 h 404150"/>
                        <a:gd name="connsiteX190" fmla="*/ 169671 w 214226"/>
                        <a:gd name="connsiteY190" fmla="*/ 0 h 404150"/>
                        <a:gd name="connsiteX191" fmla="*/ 182723 w 214226"/>
                        <a:gd name="connsiteY191" fmla="*/ 0 h 404150"/>
                        <a:gd name="connsiteX192" fmla="*/ 195774 w 214226"/>
                        <a:gd name="connsiteY192" fmla="*/ 0 h 404150"/>
                        <a:gd name="connsiteX193" fmla="*/ 208826 w 214226"/>
                        <a:gd name="connsiteY193" fmla="*/ 0 h 404150"/>
                        <a:gd name="connsiteX194" fmla="*/ 208826 w 214226"/>
                        <a:gd name="connsiteY194" fmla="*/ 14402 h 404150"/>
                        <a:gd name="connsiteX195" fmla="*/ 208826 w 214226"/>
                        <a:gd name="connsiteY195" fmla="*/ 28804 h 404150"/>
                        <a:gd name="connsiteX196" fmla="*/ 208826 w 214226"/>
                        <a:gd name="connsiteY196" fmla="*/ 43205 h 404150"/>
                        <a:gd name="connsiteX197" fmla="*/ 208826 w 214226"/>
                        <a:gd name="connsiteY197" fmla="*/ 57157 h 404150"/>
                        <a:gd name="connsiteX198" fmla="*/ 208826 w 214226"/>
                        <a:gd name="connsiteY198" fmla="*/ 71109 h 404150"/>
                        <a:gd name="connsiteX199" fmla="*/ 208826 w 214226"/>
                        <a:gd name="connsiteY199" fmla="*/ 85061 h 404150"/>
                        <a:gd name="connsiteX200" fmla="*/ 208826 w 214226"/>
                        <a:gd name="connsiteY200" fmla="*/ 98562 h 404150"/>
                        <a:gd name="connsiteX201" fmla="*/ 208826 w 214226"/>
                        <a:gd name="connsiteY201" fmla="*/ 112064 h 404150"/>
                        <a:gd name="connsiteX202" fmla="*/ 208826 w 214226"/>
                        <a:gd name="connsiteY202" fmla="*/ 125566 h 404150"/>
                        <a:gd name="connsiteX203" fmla="*/ 208826 w 214226"/>
                        <a:gd name="connsiteY203" fmla="*/ 138617 h 404150"/>
                        <a:gd name="connsiteX204" fmla="*/ 208826 w 214226"/>
                        <a:gd name="connsiteY204" fmla="*/ 151669 h 404150"/>
                        <a:gd name="connsiteX205" fmla="*/ 208826 w 214226"/>
                        <a:gd name="connsiteY205" fmla="*/ 164721 h 404150"/>
                        <a:gd name="connsiteX206" fmla="*/ 208826 w 214226"/>
                        <a:gd name="connsiteY206" fmla="*/ 177772 h 404150"/>
                        <a:gd name="connsiteX207" fmla="*/ 208826 w 214226"/>
                        <a:gd name="connsiteY207" fmla="*/ 190374 h 404150"/>
                        <a:gd name="connsiteX208" fmla="*/ 208826 w 214226"/>
                        <a:gd name="connsiteY208" fmla="*/ 202975 h 404150"/>
                        <a:gd name="connsiteX209" fmla="*/ 208826 w 214226"/>
                        <a:gd name="connsiteY209" fmla="*/ 215577 h 404150"/>
                        <a:gd name="connsiteX210" fmla="*/ 208826 w 214226"/>
                        <a:gd name="connsiteY210" fmla="*/ 228179 h 404150"/>
                        <a:gd name="connsiteX211" fmla="*/ 208826 w 214226"/>
                        <a:gd name="connsiteY211" fmla="*/ 240330 h 404150"/>
                        <a:gd name="connsiteX212" fmla="*/ 208826 w 214226"/>
                        <a:gd name="connsiteY212" fmla="*/ 252482 h 404150"/>
                        <a:gd name="connsiteX213" fmla="*/ 208826 w 214226"/>
                        <a:gd name="connsiteY213" fmla="*/ 264633 h 404150"/>
                        <a:gd name="connsiteX214" fmla="*/ 208826 w 214226"/>
                        <a:gd name="connsiteY214" fmla="*/ 276785 h 404150"/>
                        <a:gd name="connsiteX215" fmla="*/ 208826 w 214226"/>
                        <a:gd name="connsiteY215" fmla="*/ 288936 h 404150"/>
                        <a:gd name="connsiteX216" fmla="*/ 208826 w 214226"/>
                        <a:gd name="connsiteY216" fmla="*/ 300638 h 404150"/>
                        <a:gd name="connsiteX217" fmla="*/ 208826 w 214226"/>
                        <a:gd name="connsiteY217" fmla="*/ 312339 h 404150"/>
                        <a:gd name="connsiteX218" fmla="*/ 208826 w 214226"/>
                        <a:gd name="connsiteY218" fmla="*/ 324041 h 404150"/>
                        <a:gd name="connsiteX219" fmla="*/ 208826 w 214226"/>
                        <a:gd name="connsiteY219" fmla="*/ 335742 h 404150"/>
                        <a:gd name="connsiteX220" fmla="*/ 208826 w 214226"/>
                        <a:gd name="connsiteY220" fmla="*/ 347444 h 404150"/>
                        <a:gd name="connsiteX221" fmla="*/ 208826 w 214226"/>
                        <a:gd name="connsiteY221" fmla="*/ 358695 h 404150"/>
                        <a:gd name="connsiteX222" fmla="*/ 208826 w 214226"/>
                        <a:gd name="connsiteY222" fmla="*/ 369946 h 404150"/>
                        <a:gd name="connsiteX223" fmla="*/ 208826 w 214226"/>
                        <a:gd name="connsiteY223" fmla="*/ 381198 h 404150"/>
                        <a:gd name="connsiteX224" fmla="*/ 208826 w 214226"/>
                        <a:gd name="connsiteY224" fmla="*/ 392449 h 404150"/>
                        <a:gd name="connsiteX225" fmla="*/ 208826 w 214226"/>
                        <a:gd name="connsiteY225" fmla="*/ 404151 h 40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Lst>
                      <a:rect l="l" t="t" r="r" b="b"/>
                      <a:pathLst>
                        <a:path w="214226" h="404150">
                          <a:moveTo>
                            <a:pt x="214227" y="404151"/>
                          </a:moveTo>
                          <a:lnTo>
                            <a:pt x="207476" y="404151"/>
                          </a:lnTo>
                          <a:lnTo>
                            <a:pt x="198475" y="404151"/>
                          </a:lnTo>
                          <a:lnTo>
                            <a:pt x="189474" y="404151"/>
                          </a:lnTo>
                          <a:lnTo>
                            <a:pt x="180472" y="404151"/>
                          </a:lnTo>
                          <a:lnTo>
                            <a:pt x="171471" y="404151"/>
                          </a:lnTo>
                          <a:lnTo>
                            <a:pt x="162470" y="404151"/>
                          </a:lnTo>
                          <a:lnTo>
                            <a:pt x="153469" y="404151"/>
                          </a:lnTo>
                          <a:lnTo>
                            <a:pt x="144468" y="404151"/>
                          </a:lnTo>
                          <a:lnTo>
                            <a:pt x="135467" y="404151"/>
                          </a:lnTo>
                          <a:lnTo>
                            <a:pt x="128266" y="404151"/>
                          </a:lnTo>
                          <a:lnTo>
                            <a:pt x="128716" y="403251"/>
                          </a:lnTo>
                          <a:lnTo>
                            <a:pt x="128716" y="402350"/>
                          </a:lnTo>
                          <a:lnTo>
                            <a:pt x="126916" y="400550"/>
                          </a:lnTo>
                          <a:lnTo>
                            <a:pt x="126466" y="398750"/>
                          </a:lnTo>
                          <a:lnTo>
                            <a:pt x="126016" y="397850"/>
                          </a:lnTo>
                          <a:lnTo>
                            <a:pt x="122415" y="396500"/>
                          </a:lnTo>
                          <a:lnTo>
                            <a:pt x="121965" y="395600"/>
                          </a:lnTo>
                          <a:lnTo>
                            <a:pt x="121965" y="395149"/>
                          </a:lnTo>
                          <a:lnTo>
                            <a:pt x="121065" y="394250"/>
                          </a:lnTo>
                          <a:lnTo>
                            <a:pt x="119715" y="392449"/>
                          </a:lnTo>
                          <a:lnTo>
                            <a:pt x="117915" y="390649"/>
                          </a:lnTo>
                          <a:lnTo>
                            <a:pt x="117465" y="389749"/>
                          </a:lnTo>
                          <a:lnTo>
                            <a:pt x="117465" y="388849"/>
                          </a:lnTo>
                          <a:lnTo>
                            <a:pt x="117915" y="386599"/>
                          </a:lnTo>
                          <a:lnTo>
                            <a:pt x="117915" y="385698"/>
                          </a:lnTo>
                          <a:lnTo>
                            <a:pt x="117465" y="385248"/>
                          </a:lnTo>
                          <a:lnTo>
                            <a:pt x="115664" y="385248"/>
                          </a:lnTo>
                          <a:lnTo>
                            <a:pt x="114764" y="384798"/>
                          </a:lnTo>
                          <a:lnTo>
                            <a:pt x="114314" y="384348"/>
                          </a:lnTo>
                          <a:lnTo>
                            <a:pt x="114314" y="383898"/>
                          </a:lnTo>
                          <a:lnTo>
                            <a:pt x="115214" y="382548"/>
                          </a:lnTo>
                          <a:lnTo>
                            <a:pt x="116114" y="379848"/>
                          </a:lnTo>
                          <a:lnTo>
                            <a:pt x="116114" y="377597"/>
                          </a:lnTo>
                          <a:lnTo>
                            <a:pt x="115214" y="373097"/>
                          </a:lnTo>
                          <a:lnTo>
                            <a:pt x="115214" y="372197"/>
                          </a:lnTo>
                          <a:lnTo>
                            <a:pt x="115664" y="371296"/>
                          </a:lnTo>
                          <a:lnTo>
                            <a:pt x="115664" y="369946"/>
                          </a:lnTo>
                          <a:lnTo>
                            <a:pt x="115214" y="368596"/>
                          </a:lnTo>
                          <a:lnTo>
                            <a:pt x="114314" y="366346"/>
                          </a:lnTo>
                          <a:lnTo>
                            <a:pt x="112964" y="358695"/>
                          </a:lnTo>
                          <a:lnTo>
                            <a:pt x="108463" y="352394"/>
                          </a:lnTo>
                          <a:lnTo>
                            <a:pt x="107113" y="351494"/>
                          </a:lnTo>
                          <a:lnTo>
                            <a:pt x="106213" y="351044"/>
                          </a:lnTo>
                          <a:lnTo>
                            <a:pt x="105313" y="351044"/>
                          </a:lnTo>
                          <a:lnTo>
                            <a:pt x="103963" y="351944"/>
                          </a:lnTo>
                          <a:lnTo>
                            <a:pt x="103513" y="351944"/>
                          </a:lnTo>
                          <a:lnTo>
                            <a:pt x="103063" y="351494"/>
                          </a:lnTo>
                          <a:lnTo>
                            <a:pt x="102163" y="350594"/>
                          </a:lnTo>
                          <a:lnTo>
                            <a:pt x="101263" y="349244"/>
                          </a:lnTo>
                          <a:lnTo>
                            <a:pt x="101263" y="348794"/>
                          </a:lnTo>
                          <a:lnTo>
                            <a:pt x="101263" y="348344"/>
                          </a:lnTo>
                          <a:lnTo>
                            <a:pt x="101263" y="347894"/>
                          </a:lnTo>
                          <a:lnTo>
                            <a:pt x="100813" y="346993"/>
                          </a:lnTo>
                          <a:lnTo>
                            <a:pt x="100362" y="346093"/>
                          </a:lnTo>
                          <a:lnTo>
                            <a:pt x="99912" y="345643"/>
                          </a:lnTo>
                          <a:lnTo>
                            <a:pt x="100362" y="345643"/>
                          </a:lnTo>
                          <a:lnTo>
                            <a:pt x="99912" y="345643"/>
                          </a:lnTo>
                          <a:lnTo>
                            <a:pt x="99462" y="345643"/>
                          </a:lnTo>
                          <a:lnTo>
                            <a:pt x="99012" y="345643"/>
                          </a:lnTo>
                          <a:lnTo>
                            <a:pt x="98112" y="344743"/>
                          </a:lnTo>
                          <a:lnTo>
                            <a:pt x="94062" y="341593"/>
                          </a:lnTo>
                          <a:lnTo>
                            <a:pt x="94062" y="341143"/>
                          </a:lnTo>
                          <a:lnTo>
                            <a:pt x="94962" y="339793"/>
                          </a:lnTo>
                          <a:lnTo>
                            <a:pt x="94962" y="338893"/>
                          </a:lnTo>
                          <a:lnTo>
                            <a:pt x="94512" y="337992"/>
                          </a:lnTo>
                          <a:lnTo>
                            <a:pt x="90911" y="334392"/>
                          </a:lnTo>
                          <a:lnTo>
                            <a:pt x="87761" y="333492"/>
                          </a:lnTo>
                          <a:lnTo>
                            <a:pt x="86411" y="332592"/>
                          </a:lnTo>
                          <a:lnTo>
                            <a:pt x="85961" y="331692"/>
                          </a:lnTo>
                          <a:lnTo>
                            <a:pt x="85511" y="329441"/>
                          </a:lnTo>
                          <a:lnTo>
                            <a:pt x="85511" y="328991"/>
                          </a:lnTo>
                          <a:lnTo>
                            <a:pt x="85061" y="328541"/>
                          </a:lnTo>
                          <a:lnTo>
                            <a:pt x="83260" y="327641"/>
                          </a:lnTo>
                          <a:lnTo>
                            <a:pt x="82360" y="326741"/>
                          </a:lnTo>
                          <a:lnTo>
                            <a:pt x="81010" y="325841"/>
                          </a:lnTo>
                          <a:lnTo>
                            <a:pt x="80560" y="324941"/>
                          </a:lnTo>
                          <a:lnTo>
                            <a:pt x="80110" y="321340"/>
                          </a:lnTo>
                          <a:lnTo>
                            <a:pt x="78760" y="319540"/>
                          </a:lnTo>
                          <a:lnTo>
                            <a:pt x="77860" y="318190"/>
                          </a:lnTo>
                          <a:lnTo>
                            <a:pt x="76960" y="317290"/>
                          </a:lnTo>
                          <a:lnTo>
                            <a:pt x="76059" y="315940"/>
                          </a:lnTo>
                          <a:lnTo>
                            <a:pt x="74709" y="314589"/>
                          </a:lnTo>
                          <a:lnTo>
                            <a:pt x="73359" y="310989"/>
                          </a:lnTo>
                          <a:lnTo>
                            <a:pt x="72459" y="310089"/>
                          </a:lnTo>
                          <a:lnTo>
                            <a:pt x="71559" y="309639"/>
                          </a:lnTo>
                          <a:lnTo>
                            <a:pt x="70659" y="310089"/>
                          </a:lnTo>
                          <a:lnTo>
                            <a:pt x="69759" y="310539"/>
                          </a:lnTo>
                          <a:lnTo>
                            <a:pt x="69309" y="310989"/>
                          </a:lnTo>
                          <a:lnTo>
                            <a:pt x="69309" y="311889"/>
                          </a:lnTo>
                          <a:lnTo>
                            <a:pt x="68859" y="312339"/>
                          </a:lnTo>
                          <a:lnTo>
                            <a:pt x="67058" y="312339"/>
                          </a:lnTo>
                          <a:lnTo>
                            <a:pt x="66608" y="311439"/>
                          </a:lnTo>
                          <a:lnTo>
                            <a:pt x="64358" y="306488"/>
                          </a:lnTo>
                          <a:lnTo>
                            <a:pt x="63458" y="305138"/>
                          </a:lnTo>
                          <a:lnTo>
                            <a:pt x="59857" y="301088"/>
                          </a:lnTo>
                          <a:lnTo>
                            <a:pt x="58057" y="297487"/>
                          </a:lnTo>
                          <a:lnTo>
                            <a:pt x="57607" y="297487"/>
                          </a:lnTo>
                          <a:lnTo>
                            <a:pt x="56707" y="297937"/>
                          </a:lnTo>
                          <a:lnTo>
                            <a:pt x="52206" y="297937"/>
                          </a:lnTo>
                          <a:lnTo>
                            <a:pt x="48606" y="295687"/>
                          </a:lnTo>
                          <a:lnTo>
                            <a:pt x="47706" y="294787"/>
                          </a:lnTo>
                          <a:lnTo>
                            <a:pt x="46806" y="293437"/>
                          </a:lnTo>
                          <a:lnTo>
                            <a:pt x="48606" y="290736"/>
                          </a:lnTo>
                          <a:lnTo>
                            <a:pt x="48606" y="289836"/>
                          </a:lnTo>
                          <a:lnTo>
                            <a:pt x="48156" y="289386"/>
                          </a:lnTo>
                          <a:lnTo>
                            <a:pt x="45456" y="288036"/>
                          </a:lnTo>
                          <a:lnTo>
                            <a:pt x="42755" y="286236"/>
                          </a:lnTo>
                          <a:lnTo>
                            <a:pt x="42305" y="287136"/>
                          </a:lnTo>
                          <a:lnTo>
                            <a:pt x="41855" y="288486"/>
                          </a:lnTo>
                          <a:lnTo>
                            <a:pt x="41405" y="288936"/>
                          </a:lnTo>
                          <a:lnTo>
                            <a:pt x="38705" y="289836"/>
                          </a:lnTo>
                          <a:lnTo>
                            <a:pt x="38255" y="289836"/>
                          </a:lnTo>
                          <a:lnTo>
                            <a:pt x="37805" y="288936"/>
                          </a:lnTo>
                          <a:lnTo>
                            <a:pt x="37805" y="288036"/>
                          </a:lnTo>
                          <a:lnTo>
                            <a:pt x="38255" y="286686"/>
                          </a:lnTo>
                          <a:lnTo>
                            <a:pt x="37355" y="285336"/>
                          </a:lnTo>
                          <a:lnTo>
                            <a:pt x="36905" y="283986"/>
                          </a:lnTo>
                          <a:lnTo>
                            <a:pt x="35554" y="281735"/>
                          </a:lnTo>
                          <a:lnTo>
                            <a:pt x="36005" y="279935"/>
                          </a:lnTo>
                          <a:lnTo>
                            <a:pt x="35554" y="278585"/>
                          </a:lnTo>
                          <a:lnTo>
                            <a:pt x="35104" y="277235"/>
                          </a:lnTo>
                          <a:lnTo>
                            <a:pt x="33754" y="275885"/>
                          </a:lnTo>
                          <a:lnTo>
                            <a:pt x="33304" y="274084"/>
                          </a:lnTo>
                          <a:lnTo>
                            <a:pt x="32404" y="272734"/>
                          </a:lnTo>
                          <a:lnTo>
                            <a:pt x="31954" y="272284"/>
                          </a:lnTo>
                          <a:lnTo>
                            <a:pt x="29704" y="271834"/>
                          </a:lnTo>
                          <a:lnTo>
                            <a:pt x="29254" y="271384"/>
                          </a:lnTo>
                          <a:lnTo>
                            <a:pt x="28353" y="269134"/>
                          </a:lnTo>
                          <a:lnTo>
                            <a:pt x="28353" y="267334"/>
                          </a:lnTo>
                          <a:lnTo>
                            <a:pt x="27453" y="265983"/>
                          </a:lnTo>
                          <a:lnTo>
                            <a:pt x="26553" y="265533"/>
                          </a:lnTo>
                          <a:lnTo>
                            <a:pt x="26553" y="263733"/>
                          </a:lnTo>
                          <a:lnTo>
                            <a:pt x="26103" y="262833"/>
                          </a:lnTo>
                          <a:lnTo>
                            <a:pt x="23853" y="260583"/>
                          </a:lnTo>
                          <a:lnTo>
                            <a:pt x="22053" y="259683"/>
                          </a:lnTo>
                          <a:lnTo>
                            <a:pt x="21603" y="260583"/>
                          </a:lnTo>
                          <a:lnTo>
                            <a:pt x="21603" y="262833"/>
                          </a:lnTo>
                          <a:lnTo>
                            <a:pt x="21153" y="262833"/>
                          </a:lnTo>
                          <a:lnTo>
                            <a:pt x="16652" y="260583"/>
                          </a:lnTo>
                          <a:lnTo>
                            <a:pt x="15752" y="259232"/>
                          </a:lnTo>
                          <a:lnTo>
                            <a:pt x="13952" y="255182"/>
                          </a:lnTo>
                          <a:lnTo>
                            <a:pt x="13052" y="254732"/>
                          </a:lnTo>
                          <a:lnTo>
                            <a:pt x="9901" y="254282"/>
                          </a:lnTo>
                          <a:lnTo>
                            <a:pt x="8551" y="254732"/>
                          </a:lnTo>
                          <a:lnTo>
                            <a:pt x="7651" y="254282"/>
                          </a:lnTo>
                          <a:lnTo>
                            <a:pt x="6751" y="253382"/>
                          </a:lnTo>
                          <a:lnTo>
                            <a:pt x="4501" y="250231"/>
                          </a:lnTo>
                          <a:lnTo>
                            <a:pt x="3600" y="249781"/>
                          </a:lnTo>
                          <a:lnTo>
                            <a:pt x="2700" y="249331"/>
                          </a:lnTo>
                          <a:lnTo>
                            <a:pt x="2700" y="247531"/>
                          </a:lnTo>
                          <a:lnTo>
                            <a:pt x="2250" y="246181"/>
                          </a:lnTo>
                          <a:lnTo>
                            <a:pt x="2250" y="245731"/>
                          </a:lnTo>
                          <a:lnTo>
                            <a:pt x="2700" y="245731"/>
                          </a:lnTo>
                          <a:lnTo>
                            <a:pt x="5851" y="245731"/>
                          </a:lnTo>
                          <a:lnTo>
                            <a:pt x="5851" y="245281"/>
                          </a:lnTo>
                          <a:lnTo>
                            <a:pt x="4050" y="243030"/>
                          </a:lnTo>
                          <a:lnTo>
                            <a:pt x="2700" y="242580"/>
                          </a:lnTo>
                          <a:lnTo>
                            <a:pt x="2250" y="242130"/>
                          </a:lnTo>
                          <a:lnTo>
                            <a:pt x="1800" y="240330"/>
                          </a:lnTo>
                          <a:lnTo>
                            <a:pt x="450" y="239430"/>
                          </a:lnTo>
                          <a:lnTo>
                            <a:pt x="0" y="237630"/>
                          </a:lnTo>
                          <a:lnTo>
                            <a:pt x="0" y="223678"/>
                          </a:lnTo>
                          <a:lnTo>
                            <a:pt x="0" y="209726"/>
                          </a:lnTo>
                          <a:lnTo>
                            <a:pt x="0" y="195775"/>
                          </a:lnTo>
                          <a:lnTo>
                            <a:pt x="0" y="183173"/>
                          </a:lnTo>
                          <a:lnTo>
                            <a:pt x="0" y="168771"/>
                          </a:lnTo>
                          <a:lnTo>
                            <a:pt x="0" y="154369"/>
                          </a:lnTo>
                          <a:lnTo>
                            <a:pt x="0" y="139517"/>
                          </a:lnTo>
                          <a:lnTo>
                            <a:pt x="0" y="124666"/>
                          </a:lnTo>
                          <a:lnTo>
                            <a:pt x="0" y="109814"/>
                          </a:lnTo>
                          <a:lnTo>
                            <a:pt x="0" y="94512"/>
                          </a:lnTo>
                          <a:lnTo>
                            <a:pt x="0" y="79210"/>
                          </a:lnTo>
                          <a:lnTo>
                            <a:pt x="0" y="63908"/>
                          </a:lnTo>
                          <a:lnTo>
                            <a:pt x="0" y="48156"/>
                          </a:lnTo>
                          <a:lnTo>
                            <a:pt x="0" y="32404"/>
                          </a:lnTo>
                          <a:lnTo>
                            <a:pt x="0" y="16202"/>
                          </a:lnTo>
                          <a:lnTo>
                            <a:pt x="0" y="0"/>
                          </a:lnTo>
                          <a:lnTo>
                            <a:pt x="13052" y="0"/>
                          </a:lnTo>
                          <a:lnTo>
                            <a:pt x="26103" y="0"/>
                          </a:lnTo>
                          <a:lnTo>
                            <a:pt x="39155" y="0"/>
                          </a:lnTo>
                          <a:lnTo>
                            <a:pt x="52206" y="0"/>
                          </a:lnTo>
                          <a:lnTo>
                            <a:pt x="65258" y="0"/>
                          </a:lnTo>
                          <a:lnTo>
                            <a:pt x="78310" y="0"/>
                          </a:lnTo>
                          <a:lnTo>
                            <a:pt x="91361" y="0"/>
                          </a:lnTo>
                          <a:lnTo>
                            <a:pt x="104413" y="0"/>
                          </a:lnTo>
                          <a:lnTo>
                            <a:pt x="117465" y="0"/>
                          </a:lnTo>
                          <a:lnTo>
                            <a:pt x="130516" y="0"/>
                          </a:lnTo>
                          <a:lnTo>
                            <a:pt x="143568" y="0"/>
                          </a:lnTo>
                          <a:lnTo>
                            <a:pt x="156620" y="0"/>
                          </a:lnTo>
                          <a:lnTo>
                            <a:pt x="169671" y="0"/>
                          </a:lnTo>
                          <a:lnTo>
                            <a:pt x="182723" y="0"/>
                          </a:lnTo>
                          <a:lnTo>
                            <a:pt x="195774" y="0"/>
                          </a:lnTo>
                          <a:lnTo>
                            <a:pt x="208826" y="0"/>
                          </a:lnTo>
                          <a:lnTo>
                            <a:pt x="208826" y="14402"/>
                          </a:lnTo>
                          <a:lnTo>
                            <a:pt x="208826" y="28804"/>
                          </a:lnTo>
                          <a:lnTo>
                            <a:pt x="208826" y="43205"/>
                          </a:lnTo>
                          <a:lnTo>
                            <a:pt x="208826" y="57157"/>
                          </a:lnTo>
                          <a:lnTo>
                            <a:pt x="208826" y="71109"/>
                          </a:lnTo>
                          <a:lnTo>
                            <a:pt x="208826" y="85061"/>
                          </a:lnTo>
                          <a:lnTo>
                            <a:pt x="208826" y="98562"/>
                          </a:lnTo>
                          <a:lnTo>
                            <a:pt x="208826" y="112064"/>
                          </a:lnTo>
                          <a:lnTo>
                            <a:pt x="208826" y="125566"/>
                          </a:lnTo>
                          <a:lnTo>
                            <a:pt x="208826" y="138617"/>
                          </a:lnTo>
                          <a:lnTo>
                            <a:pt x="208826" y="151669"/>
                          </a:lnTo>
                          <a:lnTo>
                            <a:pt x="208826" y="164721"/>
                          </a:lnTo>
                          <a:lnTo>
                            <a:pt x="208826" y="177772"/>
                          </a:lnTo>
                          <a:lnTo>
                            <a:pt x="208826" y="190374"/>
                          </a:lnTo>
                          <a:lnTo>
                            <a:pt x="208826" y="202975"/>
                          </a:lnTo>
                          <a:lnTo>
                            <a:pt x="208826" y="215577"/>
                          </a:lnTo>
                          <a:lnTo>
                            <a:pt x="208826" y="228179"/>
                          </a:lnTo>
                          <a:lnTo>
                            <a:pt x="208826" y="240330"/>
                          </a:lnTo>
                          <a:lnTo>
                            <a:pt x="208826" y="252482"/>
                          </a:lnTo>
                          <a:lnTo>
                            <a:pt x="208826" y="264633"/>
                          </a:lnTo>
                          <a:lnTo>
                            <a:pt x="208826" y="276785"/>
                          </a:lnTo>
                          <a:lnTo>
                            <a:pt x="208826" y="288936"/>
                          </a:lnTo>
                          <a:lnTo>
                            <a:pt x="208826" y="300638"/>
                          </a:lnTo>
                          <a:lnTo>
                            <a:pt x="208826" y="312339"/>
                          </a:lnTo>
                          <a:lnTo>
                            <a:pt x="208826" y="324041"/>
                          </a:lnTo>
                          <a:lnTo>
                            <a:pt x="208826" y="335742"/>
                          </a:lnTo>
                          <a:lnTo>
                            <a:pt x="208826" y="347444"/>
                          </a:lnTo>
                          <a:lnTo>
                            <a:pt x="208826" y="358695"/>
                          </a:lnTo>
                          <a:lnTo>
                            <a:pt x="208826" y="369946"/>
                          </a:lnTo>
                          <a:lnTo>
                            <a:pt x="208826" y="381198"/>
                          </a:lnTo>
                          <a:lnTo>
                            <a:pt x="208826" y="392449"/>
                          </a:lnTo>
                          <a:lnTo>
                            <a:pt x="208826" y="4041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78" name="Freeform: Shape 1977">
                      <a:extLst>
                        <a:ext uri="{FF2B5EF4-FFF2-40B4-BE49-F238E27FC236}">
                          <a16:creationId xmlns:a16="http://schemas.microsoft.com/office/drawing/2014/main" id="{5E5B98EE-C372-A9D3-FF48-9DED6E558AFD}"/>
                        </a:ext>
                      </a:extLst>
                    </p:cNvPr>
                    <p:cNvSpPr/>
                    <p:nvPr/>
                  </p:nvSpPr>
                  <p:spPr>
                    <a:xfrm>
                      <a:off x="761045" y="2031103"/>
                      <a:ext cx="533766" cy="426203"/>
                    </a:xfrm>
                    <a:custGeom>
                      <a:avLst/>
                      <a:gdLst>
                        <a:gd name="connsiteX0" fmla="*/ 324491 w 533766"/>
                        <a:gd name="connsiteY0" fmla="*/ 0 h 426203"/>
                        <a:gd name="connsiteX1" fmla="*/ 334392 w 533766"/>
                        <a:gd name="connsiteY1" fmla="*/ 0 h 426203"/>
                        <a:gd name="connsiteX2" fmla="*/ 344293 w 533766"/>
                        <a:gd name="connsiteY2" fmla="*/ 0 h 426203"/>
                        <a:gd name="connsiteX3" fmla="*/ 354194 w 533766"/>
                        <a:gd name="connsiteY3" fmla="*/ 0 h 426203"/>
                        <a:gd name="connsiteX4" fmla="*/ 364095 w 533766"/>
                        <a:gd name="connsiteY4" fmla="*/ 0 h 426203"/>
                        <a:gd name="connsiteX5" fmla="*/ 373997 w 533766"/>
                        <a:gd name="connsiteY5" fmla="*/ 0 h 426203"/>
                        <a:gd name="connsiteX6" fmla="*/ 383898 w 533766"/>
                        <a:gd name="connsiteY6" fmla="*/ 0 h 426203"/>
                        <a:gd name="connsiteX7" fmla="*/ 393799 w 533766"/>
                        <a:gd name="connsiteY7" fmla="*/ 0 h 426203"/>
                        <a:gd name="connsiteX8" fmla="*/ 403700 w 533766"/>
                        <a:gd name="connsiteY8" fmla="*/ 0 h 426203"/>
                        <a:gd name="connsiteX9" fmla="*/ 403700 w 533766"/>
                        <a:gd name="connsiteY9" fmla="*/ 16202 h 426203"/>
                        <a:gd name="connsiteX10" fmla="*/ 403700 w 533766"/>
                        <a:gd name="connsiteY10" fmla="*/ 32404 h 426203"/>
                        <a:gd name="connsiteX11" fmla="*/ 403700 w 533766"/>
                        <a:gd name="connsiteY11" fmla="*/ 48156 h 426203"/>
                        <a:gd name="connsiteX12" fmla="*/ 403700 w 533766"/>
                        <a:gd name="connsiteY12" fmla="*/ 63908 h 426203"/>
                        <a:gd name="connsiteX13" fmla="*/ 403700 w 533766"/>
                        <a:gd name="connsiteY13" fmla="*/ 79210 h 426203"/>
                        <a:gd name="connsiteX14" fmla="*/ 403700 w 533766"/>
                        <a:gd name="connsiteY14" fmla="*/ 94512 h 426203"/>
                        <a:gd name="connsiteX15" fmla="*/ 403700 w 533766"/>
                        <a:gd name="connsiteY15" fmla="*/ 109814 h 426203"/>
                        <a:gd name="connsiteX16" fmla="*/ 403700 w 533766"/>
                        <a:gd name="connsiteY16" fmla="*/ 124666 h 426203"/>
                        <a:gd name="connsiteX17" fmla="*/ 403700 w 533766"/>
                        <a:gd name="connsiteY17" fmla="*/ 139517 h 426203"/>
                        <a:gd name="connsiteX18" fmla="*/ 403700 w 533766"/>
                        <a:gd name="connsiteY18" fmla="*/ 154369 h 426203"/>
                        <a:gd name="connsiteX19" fmla="*/ 403700 w 533766"/>
                        <a:gd name="connsiteY19" fmla="*/ 168771 h 426203"/>
                        <a:gd name="connsiteX20" fmla="*/ 403700 w 533766"/>
                        <a:gd name="connsiteY20" fmla="*/ 183173 h 426203"/>
                        <a:gd name="connsiteX21" fmla="*/ 403700 w 533766"/>
                        <a:gd name="connsiteY21" fmla="*/ 197575 h 426203"/>
                        <a:gd name="connsiteX22" fmla="*/ 403700 w 533766"/>
                        <a:gd name="connsiteY22" fmla="*/ 211526 h 426203"/>
                        <a:gd name="connsiteX23" fmla="*/ 403700 w 533766"/>
                        <a:gd name="connsiteY23" fmla="*/ 225478 h 426203"/>
                        <a:gd name="connsiteX24" fmla="*/ 403700 w 533766"/>
                        <a:gd name="connsiteY24" fmla="*/ 239430 h 426203"/>
                        <a:gd name="connsiteX25" fmla="*/ 404150 w 533766"/>
                        <a:gd name="connsiteY25" fmla="*/ 241230 h 426203"/>
                        <a:gd name="connsiteX26" fmla="*/ 405501 w 533766"/>
                        <a:gd name="connsiteY26" fmla="*/ 242130 h 426203"/>
                        <a:gd name="connsiteX27" fmla="*/ 405951 w 533766"/>
                        <a:gd name="connsiteY27" fmla="*/ 243931 h 426203"/>
                        <a:gd name="connsiteX28" fmla="*/ 406401 w 533766"/>
                        <a:gd name="connsiteY28" fmla="*/ 244381 h 426203"/>
                        <a:gd name="connsiteX29" fmla="*/ 407751 w 533766"/>
                        <a:gd name="connsiteY29" fmla="*/ 244831 h 426203"/>
                        <a:gd name="connsiteX30" fmla="*/ 409551 w 533766"/>
                        <a:gd name="connsiteY30" fmla="*/ 247081 h 426203"/>
                        <a:gd name="connsiteX31" fmla="*/ 409551 w 533766"/>
                        <a:gd name="connsiteY31" fmla="*/ 247531 h 426203"/>
                        <a:gd name="connsiteX32" fmla="*/ 406401 w 533766"/>
                        <a:gd name="connsiteY32" fmla="*/ 247531 h 426203"/>
                        <a:gd name="connsiteX33" fmla="*/ 405951 w 533766"/>
                        <a:gd name="connsiteY33" fmla="*/ 247531 h 426203"/>
                        <a:gd name="connsiteX34" fmla="*/ 405951 w 533766"/>
                        <a:gd name="connsiteY34" fmla="*/ 247981 h 426203"/>
                        <a:gd name="connsiteX35" fmla="*/ 406401 w 533766"/>
                        <a:gd name="connsiteY35" fmla="*/ 249331 h 426203"/>
                        <a:gd name="connsiteX36" fmla="*/ 406401 w 533766"/>
                        <a:gd name="connsiteY36" fmla="*/ 251132 h 426203"/>
                        <a:gd name="connsiteX37" fmla="*/ 407301 w 533766"/>
                        <a:gd name="connsiteY37" fmla="*/ 251582 h 426203"/>
                        <a:gd name="connsiteX38" fmla="*/ 408201 w 533766"/>
                        <a:gd name="connsiteY38" fmla="*/ 252032 h 426203"/>
                        <a:gd name="connsiteX39" fmla="*/ 410451 w 533766"/>
                        <a:gd name="connsiteY39" fmla="*/ 255182 h 426203"/>
                        <a:gd name="connsiteX40" fmla="*/ 411351 w 533766"/>
                        <a:gd name="connsiteY40" fmla="*/ 256082 h 426203"/>
                        <a:gd name="connsiteX41" fmla="*/ 412252 w 533766"/>
                        <a:gd name="connsiteY41" fmla="*/ 256532 h 426203"/>
                        <a:gd name="connsiteX42" fmla="*/ 413602 w 533766"/>
                        <a:gd name="connsiteY42" fmla="*/ 256082 h 426203"/>
                        <a:gd name="connsiteX43" fmla="*/ 416752 w 533766"/>
                        <a:gd name="connsiteY43" fmla="*/ 256532 h 426203"/>
                        <a:gd name="connsiteX44" fmla="*/ 417652 w 533766"/>
                        <a:gd name="connsiteY44" fmla="*/ 256982 h 426203"/>
                        <a:gd name="connsiteX45" fmla="*/ 419452 w 533766"/>
                        <a:gd name="connsiteY45" fmla="*/ 261033 h 426203"/>
                        <a:gd name="connsiteX46" fmla="*/ 420353 w 533766"/>
                        <a:gd name="connsiteY46" fmla="*/ 262383 h 426203"/>
                        <a:gd name="connsiteX47" fmla="*/ 424853 w 533766"/>
                        <a:gd name="connsiteY47" fmla="*/ 264633 h 426203"/>
                        <a:gd name="connsiteX48" fmla="*/ 425303 w 533766"/>
                        <a:gd name="connsiteY48" fmla="*/ 264633 h 426203"/>
                        <a:gd name="connsiteX49" fmla="*/ 425303 w 533766"/>
                        <a:gd name="connsiteY49" fmla="*/ 262383 h 426203"/>
                        <a:gd name="connsiteX50" fmla="*/ 425753 w 533766"/>
                        <a:gd name="connsiteY50" fmla="*/ 261483 h 426203"/>
                        <a:gd name="connsiteX51" fmla="*/ 427553 w 533766"/>
                        <a:gd name="connsiteY51" fmla="*/ 262383 h 426203"/>
                        <a:gd name="connsiteX52" fmla="*/ 429804 w 533766"/>
                        <a:gd name="connsiteY52" fmla="*/ 264633 h 426203"/>
                        <a:gd name="connsiteX53" fmla="*/ 430254 w 533766"/>
                        <a:gd name="connsiteY53" fmla="*/ 265533 h 426203"/>
                        <a:gd name="connsiteX54" fmla="*/ 430254 w 533766"/>
                        <a:gd name="connsiteY54" fmla="*/ 267334 h 426203"/>
                        <a:gd name="connsiteX55" fmla="*/ 431154 w 533766"/>
                        <a:gd name="connsiteY55" fmla="*/ 267784 h 426203"/>
                        <a:gd name="connsiteX56" fmla="*/ 432504 w 533766"/>
                        <a:gd name="connsiteY56" fmla="*/ 269134 h 426203"/>
                        <a:gd name="connsiteX57" fmla="*/ 432504 w 533766"/>
                        <a:gd name="connsiteY57" fmla="*/ 270934 h 426203"/>
                        <a:gd name="connsiteX58" fmla="*/ 433404 w 533766"/>
                        <a:gd name="connsiteY58" fmla="*/ 273184 h 426203"/>
                        <a:gd name="connsiteX59" fmla="*/ 433854 w 533766"/>
                        <a:gd name="connsiteY59" fmla="*/ 273634 h 426203"/>
                        <a:gd name="connsiteX60" fmla="*/ 436104 w 533766"/>
                        <a:gd name="connsiteY60" fmla="*/ 274084 h 426203"/>
                        <a:gd name="connsiteX61" fmla="*/ 436555 w 533766"/>
                        <a:gd name="connsiteY61" fmla="*/ 274534 h 426203"/>
                        <a:gd name="connsiteX62" fmla="*/ 437455 w 533766"/>
                        <a:gd name="connsiteY62" fmla="*/ 275885 h 426203"/>
                        <a:gd name="connsiteX63" fmla="*/ 437905 w 533766"/>
                        <a:gd name="connsiteY63" fmla="*/ 277685 h 426203"/>
                        <a:gd name="connsiteX64" fmla="*/ 439255 w 533766"/>
                        <a:gd name="connsiteY64" fmla="*/ 279035 h 426203"/>
                        <a:gd name="connsiteX65" fmla="*/ 439705 w 533766"/>
                        <a:gd name="connsiteY65" fmla="*/ 280385 h 426203"/>
                        <a:gd name="connsiteX66" fmla="*/ 440155 w 533766"/>
                        <a:gd name="connsiteY66" fmla="*/ 281735 h 426203"/>
                        <a:gd name="connsiteX67" fmla="*/ 439705 w 533766"/>
                        <a:gd name="connsiteY67" fmla="*/ 283535 h 426203"/>
                        <a:gd name="connsiteX68" fmla="*/ 441055 w 533766"/>
                        <a:gd name="connsiteY68" fmla="*/ 285786 h 426203"/>
                        <a:gd name="connsiteX69" fmla="*/ 441505 w 533766"/>
                        <a:gd name="connsiteY69" fmla="*/ 287136 h 426203"/>
                        <a:gd name="connsiteX70" fmla="*/ 442405 w 533766"/>
                        <a:gd name="connsiteY70" fmla="*/ 288486 h 426203"/>
                        <a:gd name="connsiteX71" fmla="*/ 441955 w 533766"/>
                        <a:gd name="connsiteY71" fmla="*/ 289836 h 426203"/>
                        <a:gd name="connsiteX72" fmla="*/ 441955 w 533766"/>
                        <a:gd name="connsiteY72" fmla="*/ 290736 h 426203"/>
                        <a:gd name="connsiteX73" fmla="*/ 442405 w 533766"/>
                        <a:gd name="connsiteY73" fmla="*/ 291637 h 426203"/>
                        <a:gd name="connsiteX74" fmla="*/ 442855 w 533766"/>
                        <a:gd name="connsiteY74" fmla="*/ 291637 h 426203"/>
                        <a:gd name="connsiteX75" fmla="*/ 445556 w 533766"/>
                        <a:gd name="connsiteY75" fmla="*/ 290736 h 426203"/>
                        <a:gd name="connsiteX76" fmla="*/ 446006 w 533766"/>
                        <a:gd name="connsiteY76" fmla="*/ 290286 h 426203"/>
                        <a:gd name="connsiteX77" fmla="*/ 446456 w 533766"/>
                        <a:gd name="connsiteY77" fmla="*/ 288936 h 426203"/>
                        <a:gd name="connsiteX78" fmla="*/ 446906 w 533766"/>
                        <a:gd name="connsiteY78" fmla="*/ 288036 h 426203"/>
                        <a:gd name="connsiteX79" fmla="*/ 449606 w 533766"/>
                        <a:gd name="connsiteY79" fmla="*/ 289836 h 426203"/>
                        <a:gd name="connsiteX80" fmla="*/ 452307 w 533766"/>
                        <a:gd name="connsiteY80" fmla="*/ 291187 h 426203"/>
                        <a:gd name="connsiteX81" fmla="*/ 452757 w 533766"/>
                        <a:gd name="connsiteY81" fmla="*/ 291637 h 426203"/>
                        <a:gd name="connsiteX82" fmla="*/ 452757 w 533766"/>
                        <a:gd name="connsiteY82" fmla="*/ 292537 h 426203"/>
                        <a:gd name="connsiteX83" fmla="*/ 450956 w 533766"/>
                        <a:gd name="connsiteY83" fmla="*/ 295237 h 426203"/>
                        <a:gd name="connsiteX84" fmla="*/ 451856 w 533766"/>
                        <a:gd name="connsiteY84" fmla="*/ 296587 h 426203"/>
                        <a:gd name="connsiteX85" fmla="*/ 452757 w 533766"/>
                        <a:gd name="connsiteY85" fmla="*/ 297487 h 426203"/>
                        <a:gd name="connsiteX86" fmla="*/ 456357 w 533766"/>
                        <a:gd name="connsiteY86" fmla="*/ 299738 h 426203"/>
                        <a:gd name="connsiteX87" fmla="*/ 460858 w 533766"/>
                        <a:gd name="connsiteY87" fmla="*/ 299738 h 426203"/>
                        <a:gd name="connsiteX88" fmla="*/ 461758 w 533766"/>
                        <a:gd name="connsiteY88" fmla="*/ 299287 h 426203"/>
                        <a:gd name="connsiteX89" fmla="*/ 462208 w 533766"/>
                        <a:gd name="connsiteY89" fmla="*/ 299287 h 426203"/>
                        <a:gd name="connsiteX90" fmla="*/ 464008 w 533766"/>
                        <a:gd name="connsiteY90" fmla="*/ 302888 h 426203"/>
                        <a:gd name="connsiteX91" fmla="*/ 467608 w 533766"/>
                        <a:gd name="connsiteY91" fmla="*/ 306938 h 426203"/>
                        <a:gd name="connsiteX92" fmla="*/ 468509 w 533766"/>
                        <a:gd name="connsiteY92" fmla="*/ 308289 h 426203"/>
                        <a:gd name="connsiteX93" fmla="*/ 470759 w 533766"/>
                        <a:gd name="connsiteY93" fmla="*/ 313239 h 426203"/>
                        <a:gd name="connsiteX94" fmla="*/ 471209 w 533766"/>
                        <a:gd name="connsiteY94" fmla="*/ 314139 h 426203"/>
                        <a:gd name="connsiteX95" fmla="*/ 473009 w 533766"/>
                        <a:gd name="connsiteY95" fmla="*/ 314139 h 426203"/>
                        <a:gd name="connsiteX96" fmla="*/ 473459 w 533766"/>
                        <a:gd name="connsiteY96" fmla="*/ 313689 h 426203"/>
                        <a:gd name="connsiteX97" fmla="*/ 473459 w 533766"/>
                        <a:gd name="connsiteY97" fmla="*/ 312789 h 426203"/>
                        <a:gd name="connsiteX98" fmla="*/ 473909 w 533766"/>
                        <a:gd name="connsiteY98" fmla="*/ 312339 h 426203"/>
                        <a:gd name="connsiteX99" fmla="*/ 474809 w 533766"/>
                        <a:gd name="connsiteY99" fmla="*/ 311889 h 426203"/>
                        <a:gd name="connsiteX100" fmla="*/ 475709 w 533766"/>
                        <a:gd name="connsiteY100" fmla="*/ 311439 h 426203"/>
                        <a:gd name="connsiteX101" fmla="*/ 476610 w 533766"/>
                        <a:gd name="connsiteY101" fmla="*/ 311889 h 426203"/>
                        <a:gd name="connsiteX102" fmla="*/ 477510 w 533766"/>
                        <a:gd name="connsiteY102" fmla="*/ 312789 h 426203"/>
                        <a:gd name="connsiteX103" fmla="*/ 478860 w 533766"/>
                        <a:gd name="connsiteY103" fmla="*/ 316390 h 426203"/>
                        <a:gd name="connsiteX104" fmla="*/ 480210 w 533766"/>
                        <a:gd name="connsiteY104" fmla="*/ 317740 h 426203"/>
                        <a:gd name="connsiteX105" fmla="*/ 481110 w 533766"/>
                        <a:gd name="connsiteY105" fmla="*/ 319090 h 426203"/>
                        <a:gd name="connsiteX106" fmla="*/ 482010 w 533766"/>
                        <a:gd name="connsiteY106" fmla="*/ 319990 h 426203"/>
                        <a:gd name="connsiteX107" fmla="*/ 482910 w 533766"/>
                        <a:gd name="connsiteY107" fmla="*/ 321790 h 426203"/>
                        <a:gd name="connsiteX108" fmla="*/ 484261 w 533766"/>
                        <a:gd name="connsiteY108" fmla="*/ 323591 h 426203"/>
                        <a:gd name="connsiteX109" fmla="*/ 484711 w 533766"/>
                        <a:gd name="connsiteY109" fmla="*/ 327191 h 426203"/>
                        <a:gd name="connsiteX110" fmla="*/ 485161 w 533766"/>
                        <a:gd name="connsiteY110" fmla="*/ 328091 h 426203"/>
                        <a:gd name="connsiteX111" fmla="*/ 486511 w 533766"/>
                        <a:gd name="connsiteY111" fmla="*/ 328991 h 426203"/>
                        <a:gd name="connsiteX112" fmla="*/ 487411 w 533766"/>
                        <a:gd name="connsiteY112" fmla="*/ 329891 h 426203"/>
                        <a:gd name="connsiteX113" fmla="*/ 489211 w 533766"/>
                        <a:gd name="connsiteY113" fmla="*/ 330791 h 426203"/>
                        <a:gd name="connsiteX114" fmla="*/ 489661 w 533766"/>
                        <a:gd name="connsiteY114" fmla="*/ 331241 h 426203"/>
                        <a:gd name="connsiteX115" fmla="*/ 489661 w 533766"/>
                        <a:gd name="connsiteY115" fmla="*/ 331692 h 426203"/>
                        <a:gd name="connsiteX116" fmla="*/ 490111 w 533766"/>
                        <a:gd name="connsiteY116" fmla="*/ 333942 h 426203"/>
                        <a:gd name="connsiteX117" fmla="*/ 490561 w 533766"/>
                        <a:gd name="connsiteY117" fmla="*/ 334842 h 426203"/>
                        <a:gd name="connsiteX118" fmla="*/ 491911 w 533766"/>
                        <a:gd name="connsiteY118" fmla="*/ 335742 h 426203"/>
                        <a:gd name="connsiteX119" fmla="*/ 495062 w 533766"/>
                        <a:gd name="connsiteY119" fmla="*/ 336642 h 426203"/>
                        <a:gd name="connsiteX120" fmla="*/ 498662 w 533766"/>
                        <a:gd name="connsiteY120" fmla="*/ 340243 h 426203"/>
                        <a:gd name="connsiteX121" fmla="*/ 499112 w 533766"/>
                        <a:gd name="connsiteY121" fmla="*/ 341143 h 426203"/>
                        <a:gd name="connsiteX122" fmla="*/ 499112 w 533766"/>
                        <a:gd name="connsiteY122" fmla="*/ 342043 h 426203"/>
                        <a:gd name="connsiteX123" fmla="*/ 498212 w 533766"/>
                        <a:gd name="connsiteY123" fmla="*/ 343393 h 426203"/>
                        <a:gd name="connsiteX124" fmla="*/ 498212 w 533766"/>
                        <a:gd name="connsiteY124" fmla="*/ 343843 h 426203"/>
                        <a:gd name="connsiteX125" fmla="*/ 502263 w 533766"/>
                        <a:gd name="connsiteY125" fmla="*/ 346993 h 426203"/>
                        <a:gd name="connsiteX126" fmla="*/ 503163 w 533766"/>
                        <a:gd name="connsiteY126" fmla="*/ 347894 h 426203"/>
                        <a:gd name="connsiteX127" fmla="*/ 503613 w 533766"/>
                        <a:gd name="connsiteY127" fmla="*/ 347894 h 426203"/>
                        <a:gd name="connsiteX128" fmla="*/ 504063 w 533766"/>
                        <a:gd name="connsiteY128" fmla="*/ 347894 h 426203"/>
                        <a:gd name="connsiteX129" fmla="*/ 504513 w 533766"/>
                        <a:gd name="connsiteY129" fmla="*/ 347894 h 426203"/>
                        <a:gd name="connsiteX130" fmla="*/ 504963 w 533766"/>
                        <a:gd name="connsiteY130" fmla="*/ 347894 h 426203"/>
                        <a:gd name="connsiteX131" fmla="*/ 505413 w 533766"/>
                        <a:gd name="connsiteY131" fmla="*/ 348344 h 426203"/>
                        <a:gd name="connsiteX132" fmla="*/ 505863 w 533766"/>
                        <a:gd name="connsiteY132" fmla="*/ 349244 h 426203"/>
                        <a:gd name="connsiteX133" fmla="*/ 506313 w 533766"/>
                        <a:gd name="connsiteY133" fmla="*/ 350144 h 426203"/>
                        <a:gd name="connsiteX134" fmla="*/ 506313 w 533766"/>
                        <a:gd name="connsiteY134" fmla="*/ 350594 h 426203"/>
                        <a:gd name="connsiteX135" fmla="*/ 506313 w 533766"/>
                        <a:gd name="connsiteY135" fmla="*/ 351044 h 426203"/>
                        <a:gd name="connsiteX136" fmla="*/ 506313 w 533766"/>
                        <a:gd name="connsiteY136" fmla="*/ 351494 h 426203"/>
                        <a:gd name="connsiteX137" fmla="*/ 507213 w 533766"/>
                        <a:gd name="connsiteY137" fmla="*/ 352844 h 426203"/>
                        <a:gd name="connsiteX138" fmla="*/ 508113 w 533766"/>
                        <a:gd name="connsiteY138" fmla="*/ 353744 h 426203"/>
                        <a:gd name="connsiteX139" fmla="*/ 508564 w 533766"/>
                        <a:gd name="connsiteY139" fmla="*/ 354194 h 426203"/>
                        <a:gd name="connsiteX140" fmla="*/ 509014 w 533766"/>
                        <a:gd name="connsiteY140" fmla="*/ 354194 h 426203"/>
                        <a:gd name="connsiteX141" fmla="*/ 510364 w 533766"/>
                        <a:gd name="connsiteY141" fmla="*/ 353294 h 426203"/>
                        <a:gd name="connsiteX142" fmla="*/ 511264 w 533766"/>
                        <a:gd name="connsiteY142" fmla="*/ 353294 h 426203"/>
                        <a:gd name="connsiteX143" fmla="*/ 512164 w 533766"/>
                        <a:gd name="connsiteY143" fmla="*/ 353744 h 426203"/>
                        <a:gd name="connsiteX144" fmla="*/ 513514 w 533766"/>
                        <a:gd name="connsiteY144" fmla="*/ 354644 h 426203"/>
                        <a:gd name="connsiteX145" fmla="*/ 518015 w 533766"/>
                        <a:gd name="connsiteY145" fmla="*/ 360945 h 426203"/>
                        <a:gd name="connsiteX146" fmla="*/ 519365 w 533766"/>
                        <a:gd name="connsiteY146" fmla="*/ 368596 h 426203"/>
                        <a:gd name="connsiteX147" fmla="*/ 520265 w 533766"/>
                        <a:gd name="connsiteY147" fmla="*/ 370847 h 426203"/>
                        <a:gd name="connsiteX148" fmla="*/ 520715 w 533766"/>
                        <a:gd name="connsiteY148" fmla="*/ 372197 h 426203"/>
                        <a:gd name="connsiteX149" fmla="*/ 520715 w 533766"/>
                        <a:gd name="connsiteY149" fmla="*/ 373547 h 426203"/>
                        <a:gd name="connsiteX150" fmla="*/ 520265 w 533766"/>
                        <a:gd name="connsiteY150" fmla="*/ 374447 h 426203"/>
                        <a:gd name="connsiteX151" fmla="*/ 520265 w 533766"/>
                        <a:gd name="connsiteY151" fmla="*/ 375347 h 426203"/>
                        <a:gd name="connsiteX152" fmla="*/ 521165 w 533766"/>
                        <a:gd name="connsiteY152" fmla="*/ 379848 h 426203"/>
                        <a:gd name="connsiteX153" fmla="*/ 521165 w 533766"/>
                        <a:gd name="connsiteY153" fmla="*/ 382098 h 426203"/>
                        <a:gd name="connsiteX154" fmla="*/ 520265 w 533766"/>
                        <a:gd name="connsiteY154" fmla="*/ 384798 h 426203"/>
                        <a:gd name="connsiteX155" fmla="*/ 519365 w 533766"/>
                        <a:gd name="connsiteY155" fmla="*/ 386148 h 426203"/>
                        <a:gd name="connsiteX156" fmla="*/ 519365 w 533766"/>
                        <a:gd name="connsiteY156" fmla="*/ 386599 h 426203"/>
                        <a:gd name="connsiteX157" fmla="*/ 519815 w 533766"/>
                        <a:gd name="connsiteY157" fmla="*/ 387048 h 426203"/>
                        <a:gd name="connsiteX158" fmla="*/ 520715 w 533766"/>
                        <a:gd name="connsiteY158" fmla="*/ 387499 h 426203"/>
                        <a:gd name="connsiteX159" fmla="*/ 522515 w 533766"/>
                        <a:gd name="connsiteY159" fmla="*/ 387499 h 426203"/>
                        <a:gd name="connsiteX160" fmla="*/ 522965 w 533766"/>
                        <a:gd name="connsiteY160" fmla="*/ 387949 h 426203"/>
                        <a:gd name="connsiteX161" fmla="*/ 522965 w 533766"/>
                        <a:gd name="connsiteY161" fmla="*/ 388849 h 426203"/>
                        <a:gd name="connsiteX162" fmla="*/ 522515 w 533766"/>
                        <a:gd name="connsiteY162" fmla="*/ 391099 h 426203"/>
                        <a:gd name="connsiteX163" fmla="*/ 522515 w 533766"/>
                        <a:gd name="connsiteY163" fmla="*/ 391999 h 426203"/>
                        <a:gd name="connsiteX164" fmla="*/ 522965 w 533766"/>
                        <a:gd name="connsiteY164" fmla="*/ 392899 h 426203"/>
                        <a:gd name="connsiteX165" fmla="*/ 524766 w 533766"/>
                        <a:gd name="connsiteY165" fmla="*/ 394699 h 426203"/>
                        <a:gd name="connsiteX166" fmla="*/ 526116 w 533766"/>
                        <a:gd name="connsiteY166" fmla="*/ 396500 h 426203"/>
                        <a:gd name="connsiteX167" fmla="*/ 527016 w 533766"/>
                        <a:gd name="connsiteY167" fmla="*/ 397400 h 426203"/>
                        <a:gd name="connsiteX168" fmla="*/ 527016 w 533766"/>
                        <a:gd name="connsiteY168" fmla="*/ 397850 h 426203"/>
                        <a:gd name="connsiteX169" fmla="*/ 527466 w 533766"/>
                        <a:gd name="connsiteY169" fmla="*/ 398750 h 426203"/>
                        <a:gd name="connsiteX170" fmla="*/ 531066 w 533766"/>
                        <a:gd name="connsiteY170" fmla="*/ 400100 h 426203"/>
                        <a:gd name="connsiteX171" fmla="*/ 531516 w 533766"/>
                        <a:gd name="connsiteY171" fmla="*/ 401000 h 426203"/>
                        <a:gd name="connsiteX172" fmla="*/ 531966 w 533766"/>
                        <a:gd name="connsiteY172" fmla="*/ 402800 h 426203"/>
                        <a:gd name="connsiteX173" fmla="*/ 533767 w 533766"/>
                        <a:gd name="connsiteY173" fmla="*/ 404601 h 426203"/>
                        <a:gd name="connsiteX174" fmla="*/ 533767 w 533766"/>
                        <a:gd name="connsiteY174" fmla="*/ 405501 h 426203"/>
                        <a:gd name="connsiteX175" fmla="*/ 533317 w 533766"/>
                        <a:gd name="connsiteY175" fmla="*/ 406401 h 426203"/>
                        <a:gd name="connsiteX176" fmla="*/ 531066 w 533766"/>
                        <a:gd name="connsiteY176" fmla="*/ 406401 h 426203"/>
                        <a:gd name="connsiteX177" fmla="*/ 522065 w 533766"/>
                        <a:gd name="connsiteY177" fmla="*/ 406401 h 426203"/>
                        <a:gd name="connsiteX178" fmla="*/ 513064 w 533766"/>
                        <a:gd name="connsiteY178" fmla="*/ 406401 h 426203"/>
                        <a:gd name="connsiteX179" fmla="*/ 504063 w 533766"/>
                        <a:gd name="connsiteY179" fmla="*/ 406401 h 426203"/>
                        <a:gd name="connsiteX180" fmla="*/ 495062 w 533766"/>
                        <a:gd name="connsiteY180" fmla="*/ 406401 h 426203"/>
                        <a:gd name="connsiteX181" fmla="*/ 491011 w 533766"/>
                        <a:gd name="connsiteY181" fmla="*/ 406401 h 426203"/>
                        <a:gd name="connsiteX182" fmla="*/ 486061 w 533766"/>
                        <a:gd name="connsiteY182" fmla="*/ 406401 h 426203"/>
                        <a:gd name="connsiteX183" fmla="*/ 477060 w 533766"/>
                        <a:gd name="connsiteY183" fmla="*/ 406401 h 426203"/>
                        <a:gd name="connsiteX184" fmla="*/ 470309 w 533766"/>
                        <a:gd name="connsiteY184" fmla="*/ 406401 h 426203"/>
                        <a:gd name="connsiteX185" fmla="*/ 468059 w 533766"/>
                        <a:gd name="connsiteY185" fmla="*/ 406401 h 426203"/>
                        <a:gd name="connsiteX186" fmla="*/ 459057 w 533766"/>
                        <a:gd name="connsiteY186" fmla="*/ 406401 h 426203"/>
                        <a:gd name="connsiteX187" fmla="*/ 450056 w 533766"/>
                        <a:gd name="connsiteY187" fmla="*/ 406401 h 426203"/>
                        <a:gd name="connsiteX188" fmla="*/ 441055 w 533766"/>
                        <a:gd name="connsiteY188" fmla="*/ 406401 h 426203"/>
                        <a:gd name="connsiteX189" fmla="*/ 432054 w 533766"/>
                        <a:gd name="connsiteY189" fmla="*/ 406401 h 426203"/>
                        <a:gd name="connsiteX190" fmla="*/ 423053 w 533766"/>
                        <a:gd name="connsiteY190" fmla="*/ 406401 h 426203"/>
                        <a:gd name="connsiteX191" fmla="*/ 414052 w 533766"/>
                        <a:gd name="connsiteY191" fmla="*/ 406401 h 426203"/>
                        <a:gd name="connsiteX192" fmla="*/ 405051 w 533766"/>
                        <a:gd name="connsiteY192" fmla="*/ 406401 h 426203"/>
                        <a:gd name="connsiteX193" fmla="*/ 396050 w 533766"/>
                        <a:gd name="connsiteY193" fmla="*/ 406401 h 426203"/>
                        <a:gd name="connsiteX194" fmla="*/ 387048 w 533766"/>
                        <a:gd name="connsiteY194" fmla="*/ 406401 h 426203"/>
                        <a:gd name="connsiteX195" fmla="*/ 378047 w 533766"/>
                        <a:gd name="connsiteY195" fmla="*/ 406401 h 426203"/>
                        <a:gd name="connsiteX196" fmla="*/ 369046 w 533766"/>
                        <a:gd name="connsiteY196" fmla="*/ 406401 h 426203"/>
                        <a:gd name="connsiteX197" fmla="*/ 360045 w 533766"/>
                        <a:gd name="connsiteY197" fmla="*/ 406401 h 426203"/>
                        <a:gd name="connsiteX198" fmla="*/ 351044 w 533766"/>
                        <a:gd name="connsiteY198" fmla="*/ 406401 h 426203"/>
                        <a:gd name="connsiteX199" fmla="*/ 346093 w 533766"/>
                        <a:gd name="connsiteY199" fmla="*/ 406401 h 426203"/>
                        <a:gd name="connsiteX200" fmla="*/ 345193 w 533766"/>
                        <a:gd name="connsiteY200" fmla="*/ 405051 h 426203"/>
                        <a:gd name="connsiteX201" fmla="*/ 342943 w 533766"/>
                        <a:gd name="connsiteY201" fmla="*/ 403701 h 426203"/>
                        <a:gd name="connsiteX202" fmla="*/ 342043 w 533766"/>
                        <a:gd name="connsiteY202" fmla="*/ 403701 h 426203"/>
                        <a:gd name="connsiteX203" fmla="*/ 341143 w 533766"/>
                        <a:gd name="connsiteY203" fmla="*/ 404151 h 426203"/>
                        <a:gd name="connsiteX204" fmla="*/ 340693 w 533766"/>
                        <a:gd name="connsiteY204" fmla="*/ 405051 h 426203"/>
                        <a:gd name="connsiteX205" fmla="*/ 340242 w 533766"/>
                        <a:gd name="connsiteY205" fmla="*/ 406401 h 426203"/>
                        <a:gd name="connsiteX206" fmla="*/ 339342 w 533766"/>
                        <a:gd name="connsiteY206" fmla="*/ 406401 h 426203"/>
                        <a:gd name="connsiteX207" fmla="*/ 338892 w 533766"/>
                        <a:gd name="connsiteY207" fmla="*/ 404151 h 426203"/>
                        <a:gd name="connsiteX208" fmla="*/ 338892 w 533766"/>
                        <a:gd name="connsiteY208" fmla="*/ 403251 h 426203"/>
                        <a:gd name="connsiteX209" fmla="*/ 339792 w 533766"/>
                        <a:gd name="connsiteY209" fmla="*/ 402350 h 426203"/>
                        <a:gd name="connsiteX210" fmla="*/ 339792 w 533766"/>
                        <a:gd name="connsiteY210" fmla="*/ 401900 h 426203"/>
                        <a:gd name="connsiteX211" fmla="*/ 338442 w 533766"/>
                        <a:gd name="connsiteY211" fmla="*/ 402350 h 426203"/>
                        <a:gd name="connsiteX212" fmla="*/ 337992 w 533766"/>
                        <a:gd name="connsiteY212" fmla="*/ 401900 h 426203"/>
                        <a:gd name="connsiteX213" fmla="*/ 337542 w 533766"/>
                        <a:gd name="connsiteY213" fmla="*/ 401450 h 426203"/>
                        <a:gd name="connsiteX214" fmla="*/ 337542 w 533766"/>
                        <a:gd name="connsiteY214" fmla="*/ 399200 h 426203"/>
                        <a:gd name="connsiteX215" fmla="*/ 336642 w 533766"/>
                        <a:gd name="connsiteY215" fmla="*/ 397850 h 426203"/>
                        <a:gd name="connsiteX216" fmla="*/ 337542 w 533766"/>
                        <a:gd name="connsiteY216" fmla="*/ 397400 h 426203"/>
                        <a:gd name="connsiteX217" fmla="*/ 340242 w 533766"/>
                        <a:gd name="connsiteY217" fmla="*/ 396950 h 426203"/>
                        <a:gd name="connsiteX218" fmla="*/ 342943 w 533766"/>
                        <a:gd name="connsiteY218" fmla="*/ 396950 h 426203"/>
                        <a:gd name="connsiteX219" fmla="*/ 343843 w 533766"/>
                        <a:gd name="connsiteY219" fmla="*/ 396050 h 426203"/>
                        <a:gd name="connsiteX220" fmla="*/ 344743 w 533766"/>
                        <a:gd name="connsiteY220" fmla="*/ 393799 h 426203"/>
                        <a:gd name="connsiteX221" fmla="*/ 342943 w 533766"/>
                        <a:gd name="connsiteY221" fmla="*/ 396050 h 426203"/>
                        <a:gd name="connsiteX222" fmla="*/ 342043 w 533766"/>
                        <a:gd name="connsiteY222" fmla="*/ 396500 h 426203"/>
                        <a:gd name="connsiteX223" fmla="*/ 338892 w 533766"/>
                        <a:gd name="connsiteY223" fmla="*/ 395600 h 426203"/>
                        <a:gd name="connsiteX224" fmla="*/ 336642 w 533766"/>
                        <a:gd name="connsiteY224" fmla="*/ 395600 h 426203"/>
                        <a:gd name="connsiteX225" fmla="*/ 336192 w 533766"/>
                        <a:gd name="connsiteY225" fmla="*/ 395149 h 426203"/>
                        <a:gd name="connsiteX226" fmla="*/ 336192 w 533766"/>
                        <a:gd name="connsiteY226" fmla="*/ 394699 h 426203"/>
                        <a:gd name="connsiteX227" fmla="*/ 336642 w 533766"/>
                        <a:gd name="connsiteY227" fmla="*/ 394250 h 426203"/>
                        <a:gd name="connsiteX228" fmla="*/ 337092 w 533766"/>
                        <a:gd name="connsiteY228" fmla="*/ 392449 h 426203"/>
                        <a:gd name="connsiteX229" fmla="*/ 337542 w 533766"/>
                        <a:gd name="connsiteY229" fmla="*/ 387499 h 426203"/>
                        <a:gd name="connsiteX230" fmla="*/ 338442 w 533766"/>
                        <a:gd name="connsiteY230" fmla="*/ 385698 h 426203"/>
                        <a:gd name="connsiteX231" fmla="*/ 338892 w 533766"/>
                        <a:gd name="connsiteY231" fmla="*/ 384798 h 426203"/>
                        <a:gd name="connsiteX232" fmla="*/ 338892 w 533766"/>
                        <a:gd name="connsiteY232" fmla="*/ 384798 h 426203"/>
                        <a:gd name="connsiteX233" fmla="*/ 336192 w 533766"/>
                        <a:gd name="connsiteY233" fmla="*/ 387949 h 426203"/>
                        <a:gd name="connsiteX234" fmla="*/ 335742 w 533766"/>
                        <a:gd name="connsiteY234" fmla="*/ 388849 h 426203"/>
                        <a:gd name="connsiteX235" fmla="*/ 336192 w 533766"/>
                        <a:gd name="connsiteY235" fmla="*/ 389749 h 426203"/>
                        <a:gd name="connsiteX236" fmla="*/ 335742 w 533766"/>
                        <a:gd name="connsiteY236" fmla="*/ 391549 h 426203"/>
                        <a:gd name="connsiteX237" fmla="*/ 334392 w 533766"/>
                        <a:gd name="connsiteY237" fmla="*/ 391999 h 426203"/>
                        <a:gd name="connsiteX238" fmla="*/ 333492 w 533766"/>
                        <a:gd name="connsiteY238" fmla="*/ 391549 h 426203"/>
                        <a:gd name="connsiteX239" fmla="*/ 332141 w 533766"/>
                        <a:gd name="connsiteY239" fmla="*/ 393349 h 426203"/>
                        <a:gd name="connsiteX240" fmla="*/ 331691 w 533766"/>
                        <a:gd name="connsiteY240" fmla="*/ 393349 h 426203"/>
                        <a:gd name="connsiteX241" fmla="*/ 324941 w 533766"/>
                        <a:gd name="connsiteY241" fmla="*/ 390649 h 426203"/>
                        <a:gd name="connsiteX242" fmla="*/ 324041 w 533766"/>
                        <a:gd name="connsiteY242" fmla="*/ 390199 h 426203"/>
                        <a:gd name="connsiteX243" fmla="*/ 322690 w 533766"/>
                        <a:gd name="connsiteY243" fmla="*/ 388849 h 426203"/>
                        <a:gd name="connsiteX244" fmla="*/ 320890 w 533766"/>
                        <a:gd name="connsiteY244" fmla="*/ 386599 h 426203"/>
                        <a:gd name="connsiteX245" fmla="*/ 320440 w 533766"/>
                        <a:gd name="connsiteY245" fmla="*/ 384798 h 426203"/>
                        <a:gd name="connsiteX246" fmla="*/ 320890 w 533766"/>
                        <a:gd name="connsiteY246" fmla="*/ 382998 h 426203"/>
                        <a:gd name="connsiteX247" fmla="*/ 321340 w 533766"/>
                        <a:gd name="connsiteY247" fmla="*/ 382098 h 426203"/>
                        <a:gd name="connsiteX248" fmla="*/ 322240 w 533766"/>
                        <a:gd name="connsiteY248" fmla="*/ 382098 h 426203"/>
                        <a:gd name="connsiteX249" fmla="*/ 323140 w 533766"/>
                        <a:gd name="connsiteY249" fmla="*/ 382548 h 426203"/>
                        <a:gd name="connsiteX250" fmla="*/ 324941 w 533766"/>
                        <a:gd name="connsiteY250" fmla="*/ 385248 h 426203"/>
                        <a:gd name="connsiteX251" fmla="*/ 325391 w 533766"/>
                        <a:gd name="connsiteY251" fmla="*/ 387048 h 426203"/>
                        <a:gd name="connsiteX252" fmla="*/ 327191 w 533766"/>
                        <a:gd name="connsiteY252" fmla="*/ 386599 h 426203"/>
                        <a:gd name="connsiteX253" fmla="*/ 329891 w 533766"/>
                        <a:gd name="connsiteY253" fmla="*/ 384348 h 426203"/>
                        <a:gd name="connsiteX254" fmla="*/ 330341 w 533766"/>
                        <a:gd name="connsiteY254" fmla="*/ 383448 h 426203"/>
                        <a:gd name="connsiteX255" fmla="*/ 327641 w 533766"/>
                        <a:gd name="connsiteY255" fmla="*/ 384348 h 426203"/>
                        <a:gd name="connsiteX256" fmla="*/ 326291 w 533766"/>
                        <a:gd name="connsiteY256" fmla="*/ 384348 h 426203"/>
                        <a:gd name="connsiteX257" fmla="*/ 324941 w 533766"/>
                        <a:gd name="connsiteY257" fmla="*/ 383448 h 426203"/>
                        <a:gd name="connsiteX258" fmla="*/ 323590 w 533766"/>
                        <a:gd name="connsiteY258" fmla="*/ 381648 h 426203"/>
                        <a:gd name="connsiteX259" fmla="*/ 323140 w 533766"/>
                        <a:gd name="connsiteY259" fmla="*/ 379848 h 426203"/>
                        <a:gd name="connsiteX260" fmla="*/ 323140 w 533766"/>
                        <a:gd name="connsiteY260" fmla="*/ 373547 h 426203"/>
                        <a:gd name="connsiteX261" fmla="*/ 323590 w 533766"/>
                        <a:gd name="connsiteY261" fmla="*/ 372197 h 426203"/>
                        <a:gd name="connsiteX262" fmla="*/ 324941 w 533766"/>
                        <a:gd name="connsiteY262" fmla="*/ 371296 h 426203"/>
                        <a:gd name="connsiteX263" fmla="*/ 325841 w 533766"/>
                        <a:gd name="connsiteY263" fmla="*/ 369946 h 426203"/>
                        <a:gd name="connsiteX264" fmla="*/ 325841 w 533766"/>
                        <a:gd name="connsiteY264" fmla="*/ 369496 h 426203"/>
                        <a:gd name="connsiteX265" fmla="*/ 324941 w 533766"/>
                        <a:gd name="connsiteY265" fmla="*/ 368146 h 426203"/>
                        <a:gd name="connsiteX266" fmla="*/ 323590 w 533766"/>
                        <a:gd name="connsiteY266" fmla="*/ 367246 h 426203"/>
                        <a:gd name="connsiteX267" fmla="*/ 322240 w 533766"/>
                        <a:gd name="connsiteY267" fmla="*/ 366796 h 426203"/>
                        <a:gd name="connsiteX268" fmla="*/ 321790 w 533766"/>
                        <a:gd name="connsiteY268" fmla="*/ 366796 h 426203"/>
                        <a:gd name="connsiteX269" fmla="*/ 323590 w 533766"/>
                        <a:gd name="connsiteY269" fmla="*/ 369496 h 426203"/>
                        <a:gd name="connsiteX270" fmla="*/ 323590 w 533766"/>
                        <a:gd name="connsiteY270" fmla="*/ 370396 h 426203"/>
                        <a:gd name="connsiteX271" fmla="*/ 321790 w 533766"/>
                        <a:gd name="connsiteY271" fmla="*/ 373097 h 426203"/>
                        <a:gd name="connsiteX272" fmla="*/ 321340 w 533766"/>
                        <a:gd name="connsiteY272" fmla="*/ 373997 h 426203"/>
                        <a:gd name="connsiteX273" fmla="*/ 321340 w 533766"/>
                        <a:gd name="connsiteY273" fmla="*/ 376697 h 426203"/>
                        <a:gd name="connsiteX274" fmla="*/ 320890 w 533766"/>
                        <a:gd name="connsiteY274" fmla="*/ 377147 h 426203"/>
                        <a:gd name="connsiteX275" fmla="*/ 319540 w 533766"/>
                        <a:gd name="connsiteY275" fmla="*/ 378047 h 426203"/>
                        <a:gd name="connsiteX276" fmla="*/ 317740 w 533766"/>
                        <a:gd name="connsiteY276" fmla="*/ 379848 h 426203"/>
                        <a:gd name="connsiteX277" fmla="*/ 314589 w 533766"/>
                        <a:gd name="connsiteY277" fmla="*/ 380748 h 426203"/>
                        <a:gd name="connsiteX278" fmla="*/ 311889 w 533766"/>
                        <a:gd name="connsiteY278" fmla="*/ 380748 h 426203"/>
                        <a:gd name="connsiteX279" fmla="*/ 310539 w 533766"/>
                        <a:gd name="connsiteY279" fmla="*/ 379848 h 426203"/>
                        <a:gd name="connsiteX280" fmla="*/ 306038 w 533766"/>
                        <a:gd name="connsiteY280" fmla="*/ 374897 h 426203"/>
                        <a:gd name="connsiteX281" fmla="*/ 304238 w 533766"/>
                        <a:gd name="connsiteY281" fmla="*/ 372647 h 426203"/>
                        <a:gd name="connsiteX282" fmla="*/ 304238 w 533766"/>
                        <a:gd name="connsiteY282" fmla="*/ 370847 h 426203"/>
                        <a:gd name="connsiteX283" fmla="*/ 301088 w 533766"/>
                        <a:gd name="connsiteY283" fmla="*/ 364546 h 426203"/>
                        <a:gd name="connsiteX284" fmla="*/ 301088 w 533766"/>
                        <a:gd name="connsiteY284" fmla="*/ 363196 h 426203"/>
                        <a:gd name="connsiteX285" fmla="*/ 300188 w 533766"/>
                        <a:gd name="connsiteY285" fmla="*/ 361395 h 426203"/>
                        <a:gd name="connsiteX286" fmla="*/ 298837 w 533766"/>
                        <a:gd name="connsiteY286" fmla="*/ 360945 h 426203"/>
                        <a:gd name="connsiteX287" fmla="*/ 298387 w 533766"/>
                        <a:gd name="connsiteY287" fmla="*/ 359145 h 426203"/>
                        <a:gd name="connsiteX288" fmla="*/ 301088 w 533766"/>
                        <a:gd name="connsiteY288" fmla="*/ 355095 h 426203"/>
                        <a:gd name="connsiteX289" fmla="*/ 302888 w 533766"/>
                        <a:gd name="connsiteY289" fmla="*/ 351944 h 426203"/>
                        <a:gd name="connsiteX290" fmla="*/ 302888 w 533766"/>
                        <a:gd name="connsiteY290" fmla="*/ 351044 h 426203"/>
                        <a:gd name="connsiteX291" fmla="*/ 302888 w 533766"/>
                        <a:gd name="connsiteY291" fmla="*/ 349244 h 426203"/>
                        <a:gd name="connsiteX292" fmla="*/ 302438 w 533766"/>
                        <a:gd name="connsiteY292" fmla="*/ 345643 h 426203"/>
                        <a:gd name="connsiteX293" fmla="*/ 302888 w 533766"/>
                        <a:gd name="connsiteY293" fmla="*/ 344293 h 426203"/>
                        <a:gd name="connsiteX294" fmla="*/ 301538 w 533766"/>
                        <a:gd name="connsiteY294" fmla="*/ 346543 h 426203"/>
                        <a:gd name="connsiteX295" fmla="*/ 301088 w 533766"/>
                        <a:gd name="connsiteY295" fmla="*/ 347894 h 426203"/>
                        <a:gd name="connsiteX296" fmla="*/ 301538 w 533766"/>
                        <a:gd name="connsiteY296" fmla="*/ 349244 h 426203"/>
                        <a:gd name="connsiteX297" fmla="*/ 301088 w 533766"/>
                        <a:gd name="connsiteY297" fmla="*/ 351044 h 426203"/>
                        <a:gd name="connsiteX298" fmla="*/ 300188 w 533766"/>
                        <a:gd name="connsiteY298" fmla="*/ 353294 h 426203"/>
                        <a:gd name="connsiteX299" fmla="*/ 298837 w 533766"/>
                        <a:gd name="connsiteY299" fmla="*/ 355995 h 426203"/>
                        <a:gd name="connsiteX300" fmla="*/ 295687 w 533766"/>
                        <a:gd name="connsiteY300" fmla="*/ 357345 h 426203"/>
                        <a:gd name="connsiteX301" fmla="*/ 289836 w 533766"/>
                        <a:gd name="connsiteY301" fmla="*/ 356445 h 426203"/>
                        <a:gd name="connsiteX302" fmla="*/ 289386 w 533766"/>
                        <a:gd name="connsiteY302" fmla="*/ 355995 h 426203"/>
                        <a:gd name="connsiteX303" fmla="*/ 288936 w 533766"/>
                        <a:gd name="connsiteY303" fmla="*/ 355095 h 426203"/>
                        <a:gd name="connsiteX304" fmla="*/ 288486 w 533766"/>
                        <a:gd name="connsiteY304" fmla="*/ 351044 h 426203"/>
                        <a:gd name="connsiteX305" fmla="*/ 288036 w 533766"/>
                        <a:gd name="connsiteY305" fmla="*/ 351494 h 426203"/>
                        <a:gd name="connsiteX306" fmla="*/ 287586 w 533766"/>
                        <a:gd name="connsiteY306" fmla="*/ 353744 h 426203"/>
                        <a:gd name="connsiteX307" fmla="*/ 287136 w 533766"/>
                        <a:gd name="connsiteY307" fmla="*/ 356445 h 426203"/>
                        <a:gd name="connsiteX308" fmla="*/ 286686 w 533766"/>
                        <a:gd name="connsiteY308" fmla="*/ 356895 h 426203"/>
                        <a:gd name="connsiteX309" fmla="*/ 285336 w 533766"/>
                        <a:gd name="connsiteY309" fmla="*/ 356895 h 426203"/>
                        <a:gd name="connsiteX310" fmla="*/ 284436 w 533766"/>
                        <a:gd name="connsiteY310" fmla="*/ 356445 h 426203"/>
                        <a:gd name="connsiteX311" fmla="*/ 283985 w 533766"/>
                        <a:gd name="connsiteY311" fmla="*/ 355545 h 426203"/>
                        <a:gd name="connsiteX312" fmla="*/ 282635 w 533766"/>
                        <a:gd name="connsiteY312" fmla="*/ 355545 h 426203"/>
                        <a:gd name="connsiteX313" fmla="*/ 279935 w 533766"/>
                        <a:gd name="connsiteY313" fmla="*/ 356445 h 426203"/>
                        <a:gd name="connsiteX314" fmla="*/ 278585 w 533766"/>
                        <a:gd name="connsiteY314" fmla="*/ 355995 h 426203"/>
                        <a:gd name="connsiteX315" fmla="*/ 277235 w 533766"/>
                        <a:gd name="connsiteY315" fmla="*/ 355995 h 426203"/>
                        <a:gd name="connsiteX316" fmla="*/ 274084 w 533766"/>
                        <a:gd name="connsiteY316" fmla="*/ 355095 h 426203"/>
                        <a:gd name="connsiteX317" fmla="*/ 270484 w 533766"/>
                        <a:gd name="connsiteY317" fmla="*/ 355095 h 426203"/>
                        <a:gd name="connsiteX318" fmla="*/ 269584 w 533766"/>
                        <a:gd name="connsiteY318" fmla="*/ 354644 h 426203"/>
                        <a:gd name="connsiteX319" fmla="*/ 269584 w 533766"/>
                        <a:gd name="connsiteY319" fmla="*/ 353294 h 426203"/>
                        <a:gd name="connsiteX320" fmla="*/ 270034 w 533766"/>
                        <a:gd name="connsiteY320" fmla="*/ 352844 h 426203"/>
                        <a:gd name="connsiteX321" fmla="*/ 273634 w 533766"/>
                        <a:gd name="connsiteY321" fmla="*/ 352394 h 426203"/>
                        <a:gd name="connsiteX322" fmla="*/ 277235 w 533766"/>
                        <a:gd name="connsiteY322" fmla="*/ 351044 h 426203"/>
                        <a:gd name="connsiteX323" fmla="*/ 280835 w 533766"/>
                        <a:gd name="connsiteY323" fmla="*/ 350594 h 426203"/>
                        <a:gd name="connsiteX324" fmla="*/ 280835 w 533766"/>
                        <a:gd name="connsiteY324" fmla="*/ 349694 h 426203"/>
                        <a:gd name="connsiteX325" fmla="*/ 279035 w 533766"/>
                        <a:gd name="connsiteY325" fmla="*/ 349694 h 426203"/>
                        <a:gd name="connsiteX326" fmla="*/ 270934 w 533766"/>
                        <a:gd name="connsiteY326" fmla="*/ 351044 h 426203"/>
                        <a:gd name="connsiteX327" fmla="*/ 268233 w 533766"/>
                        <a:gd name="connsiteY327" fmla="*/ 351044 h 426203"/>
                        <a:gd name="connsiteX328" fmla="*/ 267783 w 533766"/>
                        <a:gd name="connsiteY328" fmla="*/ 350594 h 426203"/>
                        <a:gd name="connsiteX329" fmla="*/ 267783 w 533766"/>
                        <a:gd name="connsiteY329" fmla="*/ 349244 h 426203"/>
                        <a:gd name="connsiteX330" fmla="*/ 268684 w 533766"/>
                        <a:gd name="connsiteY330" fmla="*/ 347894 h 426203"/>
                        <a:gd name="connsiteX331" fmla="*/ 270484 w 533766"/>
                        <a:gd name="connsiteY331" fmla="*/ 346543 h 426203"/>
                        <a:gd name="connsiteX332" fmla="*/ 270934 w 533766"/>
                        <a:gd name="connsiteY332" fmla="*/ 345643 h 426203"/>
                        <a:gd name="connsiteX333" fmla="*/ 270034 w 533766"/>
                        <a:gd name="connsiteY333" fmla="*/ 345193 h 426203"/>
                        <a:gd name="connsiteX334" fmla="*/ 268684 w 533766"/>
                        <a:gd name="connsiteY334" fmla="*/ 345643 h 426203"/>
                        <a:gd name="connsiteX335" fmla="*/ 267783 w 533766"/>
                        <a:gd name="connsiteY335" fmla="*/ 344743 h 426203"/>
                        <a:gd name="connsiteX336" fmla="*/ 268684 w 533766"/>
                        <a:gd name="connsiteY336" fmla="*/ 341593 h 426203"/>
                        <a:gd name="connsiteX337" fmla="*/ 267783 w 533766"/>
                        <a:gd name="connsiteY337" fmla="*/ 338442 h 426203"/>
                        <a:gd name="connsiteX338" fmla="*/ 266883 w 533766"/>
                        <a:gd name="connsiteY338" fmla="*/ 341593 h 426203"/>
                        <a:gd name="connsiteX339" fmla="*/ 265533 w 533766"/>
                        <a:gd name="connsiteY339" fmla="*/ 343393 h 426203"/>
                        <a:gd name="connsiteX340" fmla="*/ 258332 w 533766"/>
                        <a:gd name="connsiteY340" fmla="*/ 344293 h 426203"/>
                        <a:gd name="connsiteX341" fmla="*/ 256982 w 533766"/>
                        <a:gd name="connsiteY341" fmla="*/ 345193 h 426203"/>
                        <a:gd name="connsiteX342" fmla="*/ 256082 w 533766"/>
                        <a:gd name="connsiteY342" fmla="*/ 345193 h 426203"/>
                        <a:gd name="connsiteX343" fmla="*/ 251581 w 533766"/>
                        <a:gd name="connsiteY343" fmla="*/ 343393 h 426203"/>
                        <a:gd name="connsiteX344" fmla="*/ 249781 w 533766"/>
                        <a:gd name="connsiteY344" fmla="*/ 342493 h 426203"/>
                        <a:gd name="connsiteX345" fmla="*/ 247981 w 533766"/>
                        <a:gd name="connsiteY345" fmla="*/ 341143 h 426203"/>
                        <a:gd name="connsiteX346" fmla="*/ 244831 w 533766"/>
                        <a:gd name="connsiteY346" fmla="*/ 337992 h 426203"/>
                        <a:gd name="connsiteX347" fmla="*/ 242130 w 533766"/>
                        <a:gd name="connsiteY347" fmla="*/ 335742 h 426203"/>
                        <a:gd name="connsiteX348" fmla="*/ 242130 w 533766"/>
                        <a:gd name="connsiteY348" fmla="*/ 331692 h 426203"/>
                        <a:gd name="connsiteX349" fmla="*/ 242580 w 533766"/>
                        <a:gd name="connsiteY349" fmla="*/ 328991 h 426203"/>
                        <a:gd name="connsiteX350" fmla="*/ 243930 w 533766"/>
                        <a:gd name="connsiteY350" fmla="*/ 326291 h 426203"/>
                        <a:gd name="connsiteX351" fmla="*/ 248431 w 533766"/>
                        <a:gd name="connsiteY351" fmla="*/ 319990 h 426203"/>
                        <a:gd name="connsiteX352" fmla="*/ 249781 w 533766"/>
                        <a:gd name="connsiteY352" fmla="*/ 318640 h 426203"/>
                        <a:gd name="connsiteX353" fmla="*/ 251131 w 533766"/>
                        <a:gd name="connsiteY353" fmla="*/ 318190 h 426203"/>
                        <a:gd name="connsiteX354" fmla="*/ 257882 w 533766"/>
                        <a:gd name="connsiteY354" fmla="*/ 317740 h 426203"/>
                        <a:gd name="connsiteX355" fmla="*/ 262833 w 533766"/>
                        <a:gd name="connsiteY355" fmla="*/ 316840 h 426203"/>
                        <a:gd name="connsiteX356" fmla="*/ 263733 w 533766"/>
                        <a:gd name="connsiteY356" fmla="*/ 316390 h 426203"/>
                        <a:gd name="connsiteX357" fmla="*/ 256532 w 533766"/>
                        <a:gd name="connsiteY357" fmla="*/ 315940 h 426203"/>
                        <a:gd name="connsiteX358" fmla="*/ 250231 w 533766"/>
                        <a:gd name="connsiteY358" fmla="*/ 316390 h 426203"/>
                        <a:gd name="connsiteX359" fmla="*/ 247981 w 533766"/>
                        <a:gd name="connsiteY359" fmla="*/ 317290 h 426203"/>
                        <a:gd name="connsiteX360" fmla="*/ 245281 w 533766"/>
                        <a:gd name="connsiteY360" fmla="*/ 321340 h 426203"/>
                        <a:gd name="connsiteX361" fmla="*/ 244380 w 533766"/>
                        <a:gd name="connsiteY361" fmla="*/ 323141 h 426203"/>
                        <a:gd name="connsiteX362" fmla="*/ 243480 w 533766"/>
                        <a:gd name="connsiteY362" fmla="*/ 324491 h 426203"/>
                        <a:gd name="connsiteX363" fmla="*/ 243030 w 533766"/>
                        <a:gd name="connsiteY363" fmla="*/ 324491 h 426203"/>
                        <a:gd name="connsiteX364" fmla="*/ 242130 w 533766"/>
                        <a:gd name="connsiteY364" fmla="*/ 324041 h 426203"/>
                        <a:gd name="connsiteX365" fmla="*/ 241680 w 533766"/>
                        <a:gd name="connsiteY365" fmla="*/ 323591 h 426203"/>
                        <a:gd name="connsiteX366" fmla="*/ 241230 w 533766"/>
                        <a:gd name="connsiteY366" fmla="*/ 322240 h 426203"/>
                        <a:gd name="connsiteX367" fmla="*/ 239880 w 533766"/>
                        <a:gd name="connsiteY367" fmla="*/ 319990 h 426203"/>
                        <a:gd name="connsiteX368" fmla="*/ 239430 w 533766"/>
                        <a:gd name="connsiteY368" fmla="*/ 317740 h 426203"/>
                        <a:gd name="connsiteX369" fmla="*/ 238980 w 533766"/>
                        <a:gd name="connsiteY369" fmla="*/ 314139 h 426203"/>
                        <a:gd name="connsiteX370" fmla="*/ 238980 w 533766"/>
                        <a:gd name="connsiteY370" fmla="*/ 312789 h 426203"/>
                        <a:gd name="connsiteX371" fmla="*/ 239880 w 533766"/>
                        <a:gd name="connsiteY371" fmla="*/ 310989 h 426203"/>
                        <a:gd name="connsiteX372" fmla="*/ 242130 w 533766"/>
                        <a:gd name="connsiteY372" fmla="*/ 306938 h 426203"/>
                        <a:gd name="connsiteX373" fmla="*/ 239430 w 533766"/>
                        <a:gd name="connsiteY373" fmla="*/ 306938 h 426203"/>
                        <a:gd name="connsiteX374" fmla="*/ 239880 w 533766"/>
                        <a:gd name="connsiteY374" fmla="*/ 303788 h 426203"/>
                        <a:gd name="connsiteX375" fmla="*/ 240780 w 533766"/>
                        <a:gd name="connsiteY375" fmla="*/ 300188 h 426203"/>
                        <a:gd name="connsiteX376" fmla="*/ 243480 w 533766"/>
                        <a:gd name="connsiteY376" fmla="*/ 297937 h 426203"/>
                        <a:gd name="connsiteX377" fmla="*/ 246181 w 533766"/>
                        <a:gd name="connsiteY377" fmla="*/ 296587 h 426203"/>
                        <a:gd name="connsiteX378" fmla="*/ 248431 w 533766"/>
                        <a:gd name="connsiteY378" fmla="*/ 294337 h 426203"/>
                        <a:gd name="connsiteX379" fmla="*/ 252482 w 533766"/>
                        <a:gd name="connsiteY379" fmla="*/ 292987 h 426203"/>
                        <a:gd name="connsiteX380" fmla="*/ 253832 w 533766"/>
                        <a:gd name="connsiteY380" fmla="*/ 295687 h 426203"/>
                        <a:gd name="connsiteX381" fmla="*/ 257432 w 533766"/>
                        <a:gd name="connsiteY381" fmla="*/ 296587 h 426203"/>
                        <a:gd name="connsiteX382" fmla="*/ 258332 w 533766"/>
                        <a:gd name="connsiteY382" fmla="*/ 297937 h 426203"/>
                        <a:gd name="connsiteX383" fmla="*/ 259682 w 533766"/>
                        <a:gd name="connsiteY383" fmla="*/ 300188 h 426203"/>
                        <a:gd name="connsiteX384" fmla="*/ 261033 w 533766"/>
                        <a:gd name="connsiteY384" fmla="*/ 302438 h 426203"/>
                        <a:gd name="connsiteX385" fmla="*/ 262833 w 533766"/>
                        <a:gd name="connsiteY385" fmla="*/ 304688 h 426203"/>
                        <a:gd name="connsiteX386" fmla="*/ 263283 w 533766"/>
                        <a:gd name="connsiteY386" fmla="*/ 304688 h 426203"/>
                        <a:gd name="connsiteX387" fmla="*/ 262383 w 533766"/>
                        <a:gd name="connsiteY387" fmla="*/ 302888 h 426203"/>
                        <a:gd name="connsiteX388" fmla="*/ 259232 w 533766"/>
                        <a:gd name="connsiteY388" fmla="*/ 298838 h 426203"/>
                        <a:gd name="connsiteX389" fmla="*/ 259232 w 533766"/>
                        <a:gd name="connsiteY389" fmla="*/ 297487 h 426203"/>
                        <a:gd name="connsiteX390" fmla="*/ 258332 w 533766"/>
                        <a:gd name="connsiteY390" fmla="*/ 296137 h 426203"/>
                        <a:gd name="connsiteX391" fmla="*/ 254282 w 533766"/>
                        <a:gd name="connsiteY391" fmla="*/ 293887 h 426203"/>
                        <a:gd name="connsiteX392" fmla="*/ 253382 w 533766"/>
                        <a:gd name="connsiteY392" fmla="*/ 292987 h 426203"/>
                        <a:gd name="connsiteX393" fmla="*/ 252482 w 533766"/>
                        <a:gd name="connsiteY393" fmla="*/ 290736 h 426203"/>
                        <a:gd name="connsiteX394" fmla="*/ 252032 w 533766"/>
                        <a:gd name="connsiteY394" fmla="*/ 289386 h 426203"/>
                        <a:gd name="connsiteX395" fmla="*/ 252482 w 533766"/>
                        <a:gd name="connsiteY395" fmla="*/ 288036 h 426203"/>
                        <a:gd name="connsiteX396" fmla="*/ 256532 w 533766"/>
                        <a:gd name="connsiteY396" fmla="*/ 283986 h 426203"/>
                        <a:gd name="connsiteX397" fmla="*/ 257432 w 533766"/>
                        <a:gd name="connsiteY397" fmla="*/ 281735 h 426203"/>
                        <a:gd name="connsiteX398" fmla="*/ 257432 w 533766"/>
                        <a:gd name="connsiteY398" fmla="*/ 280835 h 426203"/>
                        <a:gd name="connsiteX399" fmla="*/ 256982 w 533766"/>
                        <a:gd name="connsiteY399" fmla="*/ 279485 h 426203"/>
                        <a:gd name="connsiteX400" fmla="*/ 256082 w 533766"/>
                        <a:gd name="connsiteY400" fmla="*/ 277235 h 426203"/>
                        <a:gd name="connsiteX401" fmla="*/ 255632 w 533766"/>
                        <a:gd name="connsiteY401" fmla="*/ 277235 h 426203"/>
                        <a:gd name="connsiteX402" fmla="*/ 256082 w 533766"/>
                        <a:gd name="connsiteY402" fmla="*/ 280385 h 426203"/>
                        <a:gd name="connsiteX403" fmla="*/ 256082 w 533766"/>
                        <a:gd name="connsiteY403" fmla="*/ 281735 h 426203"/>
                        <a:gd name="connsiteX404" fmla="*/ 255632 w 533766"/>
                        <a:gd name="connsiteY404" fmla="*/ 283086 h 426203"/>
                        <a:gd name="connsiteX405" fmla="*/ 255182 w 533766"/>
                        <a:gd name="connsiteY405" fmla="*/ 283986 h 426203"/>
                        <a:gd name="connsiteX406" fmla="*/ 254282 w 533766"/>
                        <a:gd name="connsiteY406" fmla="*/ 284886 h 426203"/>
                        <a:gd name="connsiteX407" fmla="*/ 245731 w 533766"/>
                        <a:gd name="connsiteY407" fmla="*/ 294337 h 426203"/>
                        <a:gd name="connsiteX408" fmla="*/ 244831 w 533766"/>
                        <a:gd name="connsiteY408" fmla="*/ 294787 h 426203"/>
                        <a:gd name="connsiteX409" fmla="*/ 241680 w 533766"/>
                        <a:gd name="connsiteY409" fmla="*/ 295687 h 426203"/>
                        <a:gd name="connsiteX410" fmla="*/ 239880 w 533766"/>
                        <a:gd name="connsiteY410" fmla="*/ 296587 h 426203"/>
                        <a:gd name="connsiteX411" fmla="*/ 238980 w 533766"/>
                        <a:gd name="connsiteY411" fmla="*/ 297937 h 426203"/>
                        <a:gd name="connsiteX412" fmla="*/ 237630 w 533766"/>
                        <a:gd name="connsiteY412" fmla="*/ 301538 h 426203"/>
                        <a:gd name="connsiteX413" fmla="*/ 235829 w 533766"/>
                        <a:gd name="connsiteY413" fmla="*/ 308289 h 426203"/>
                        <a:gd name="connsiteX414" fmla="*/ 233579 w 533766"/>
                        <a:gd name="connsiteY414" fmla="*/ 313689 h 426203"/>
                        <a:gd name="connsiteX415" fmla="*/ 231779 w 533766"/>
                        <a:gd name="connsiteY415" fmla="*/ 306488 h 426203"/>
                        <a:gd name="connsiteX416" fmla="*/ 228179 w 533766"/>
                        <a:gd name="connsiteY416" fmla="*/ 301088 h 426203"/>
                        <a:gd name="connsiteX417" fmla="*/ 234929 w 533766"/>
                        <a:gd name="connsiteY417" fmla="*/ 295687 h 426203"/>
                        <a:gd name="connsiteX418" fmla="*/ 234929 w 533766"/>
                        <a:gd name="connsiteY418" fmla="*/ 294787 h 426203"/>
                        <a:gd name="connsiteX419" fmla="*/ 234479 w 533766"/>
                        <a:gd name="connsiteY419" fmla="*/ 291637 h 426203"/>
                        <a:gd name="connsiteX420" fmla="*/ 234479 w 533766"/>
                        <a:gd name="connsiteY420" fmla="*/ 290736 h 426203"/>
                        <a:gd name="connsiteX421" fmla="*/ 234929 w 533766"/>
                        <a:gd name="connsiteY421" fmla="*/ 289386 h 426203"/>
                        <a:gd name="connsiteX422" fmla="*/ 236730 w 533766"/>
                        <a:gd name="connsiteY422" fmla="*/ 287586 h 426203"/>
                        <a:gd name="connsiteX423" fmla="*/ 236730 w 533766"/>
                        <a:gd name="connsiteY423" fmla="*/ 287586 h 426203"/>
                        <a:gd name="connsiteX424" fmla="*/ 234929 w 533766"/>
                        <a:gd name="connsiteY424" fmla="*/ 288486 h 426203"/>
                        <a:gd name="connsiteX425" fmla="*/ 231779 w 533766"/>
                        <a:gd name="connsiteY425" fmla="*/ 292987 h 426203"/>
                        <a:gd name="connsiteX426" fmla="*/ 230429 w 533766"/>
                        <a:gd name="connsiteY426" fmla="*/ 294337 h 426203"/>
                        <a:gd name="connsiteX427" fmla="*/ 229979 w 533766"/>
                        <a:gd name="connsiteY427" fmla="*/ 294337 h 426203"/>
                        <a:gd name="connsiteX428" fmla="*/ 229979 w 533766"/>
                        <a:gd name="connsiteY428" fmla="*/ 291637 h 426203"/>
                        <a:gd name="connsiteX429" fmla="*/ 231779 w 533766"/>
                        <a:gd name="connsiteY429" fmla="*/ 284886 h 426203"/>
                        <a:gd name="connsiteX430" fmla="*/ 233129 w 533766"/>
                        <a:gd name="connsiteY430" fmla="*/ 278585 h 426203"/>
                        <a:gd name="connsiteX431" fmla="*/ 233579 w 533766"/>
                        <a:gd name="connsiteY431" fmla="*/ 276785 h 426203"/>
                        <a:gd name="connsiteX432" fmla="*/ 234929 w 533766"/>
                        <a:gd name="connsiteY432" fmla="*/ 274984 h 426203"/>
                        <a:gd name="connsiteX433" fmla="*/ 234029 w 533766"/>
                        <a:gd name="connsiteY433" fmla="*/ 274984 h 426203"/>
                        <a:gd name="connsiteX434" fmla="*/ 228629 w 533766"/>
                        <a:gd name="connsiteY434" fmla="*/ 277685 h 426203"/>
                        <a:gd name="connsiteX435" fmla="*/ 226828 w 533766"/>
                        <a:gd name="connsiteY435" fmla="*/ 275885 h 426203"/>
                        <a:gd name="connsiteX436" fmla="*/ 225478 w 533766"/>
                        <a:gd name="connsiteY436" fmla="*/ 266433 h 426203"/>
                        <a:gd name="connsiteX437" fmla="*/ 222778 w 533766"/>
                        <a:gd name="connsiteY437" fmla="*/ 262833 h 426203"/>
                        <a:gd name="connsiteX438" fmla="*/ 218277 w 533766"/>
                        <a:gd name="connsiteY438" fmla="*/ 259683 h 426203"/>
                        <a:gd name="connsiteX439" fmla="*/ 213777 w 533766"/>
                        <a:gd name="connsiteY439" fmla="*/ 258332 h 426203"/>
                        <a:gd name="connsiteX440" fmla="*/ 212877 w 533766"/>
                        <a:gd name="connsiteY440" fmla="*/ 255632 h 426203"/>
                        <a:gd name="connsiteX441" fmla="*/ 211076 w 533766"/>
                        <a:gd name="connsiteY441" fmla="*/ 250681 h 426203"/>
                        <a:gd name="connsiteX442" fmla="*/ 212427 w 533766"/>
                        <a:gd name="connsiteY442" fmla="*/ 246631 h 426203"/>
                        <a:gd name="connsiteX443" fmla="*/ 214227 w 533766"/>
                        <a:gd name="connsiteY443" fmla="*/ 244831 h 426203"/>
                        <a:gd name="connsiteX444" fmla="*/ 216027 w 533766"/>
                        <a:gd name="connsiteY444" fmla="*/ 243931 h 426203"/>
                        <a:gd name="connsiteX445" fmla="*/ 217827 w 533766"/>
                        <a:gd name="connsiteY445" fmla="*/ 244381 h 426203"/>
                        <a:gd name="connsiteX446" fmla="*/ 217827 w 533766"/>
                        <a:gd name="connsiteY446" fmla="*/ 245731 h 426203"/>
                        <a:gd name="connsiteX447" fmla="*/ 216477 w 533766"/>
                        <a:gd name="connsiteY447" fmla="*/ 249331 h 426203"/>
                        <a:gd name="connsiteX448" fmla="*/ 217827 w 533766"/>
                        <a:gd name="connsiteY448" fmla="*/ 249781 h 426203"/>
                        <a:gd name="connsiteX449" fmla="*/ 224128 w 533766"/>
                        <a:gd name="connsiteY449" fmla="*/ 254282 h 426203"/>
                        <a:gd name="connsiteX450" fmla="*/ 225478 w 533766"/>
                        <a:gd name="connsiteY450" fmla="*/ 254732 h 426203"/>
                        <a:gd name="connsiteX451" fmla="*/ 228179 w 533766"/>
                        <a:gd name="connsiteY451" fmla="*/ 252932 h 426203"/>
                        <a:gd name="connsiteX452" fmla="*/ 229529 w 533766"/>
                        <a:gd name="connsiteY452" fmla="*/ 252932 h 426203"/>
                        <a:gd name="connsiteX453" fmla="*/ 232679 w 533766"/>
                        <a:gd name="connsiteY453" fmla="*/ 254282 h 426203"/>
                        <a:gd name="connsiteX454" fmla="*/ 234029 w 533766"/>
                        <a:gd name="connsiteY454" fmla="*/ 256082 h 426203"/>
                        <a:gd name="connsiteX455" fmla="*/ 237180 w 533766"/>
                        <a:gd name="connsiteY455" fmla="*/ 259232 h 426203"/>
                        <a:gd name="connsiteX456" fmla="*/ 236730 w 533766"/>
                        <a:gd name="connsiteY456" fmla="*/ 257432 h 426203"/>
                        <a:gd name="connsiteX457" fmla="*/ 233129 w 533766"/>
                        <a:gd name="connsiteY457" fmla="*/ 253382 h 426203"/>
                        <a:gd name="connsiteX458" fmla="*/ 231329 w 533766"/>
                        <a:gd name="connsiteY458" fmla="*/ 252032 h 426203"/>
                        <a:gd name="connsiteX459" fmla="*/ 227728 w 533766"/>
                        <a:gd name="connsiteY459" fmla="*/ 251582 h 426203"/>
                        <a:gd name="connsiteX460" fmla="*/ 225478 w 533766"/>
                        <a:gd name="connsiteY460" fmla="*/ 252482 h 426203"/>
                        <a:gd name="connsiteX461" fmla="*/ 224578 w 533766"/>
                        <a:gd name="connsiteY461" fmla="*/ 252482 h 426203"/>
                        <a:gd name="connsiteX462" fmla="*/ 222778 w 533766"/>
                        <a:gd name="connsiteY462" fmla="*/ 251582 h 426203"/>
                        <a:gd name="connsiteX463" fmla="*/ 220978 w 533766"/>
                        <a:gd name="connsiteY463" fmla="*/ 249781 h 426203"/>
                        <a:gd name="connsiteX464" fmla="*/ 220077 w 533766"/>
                        <a:gd name="connsiteY464" fmla="*/ 246181 h 426203"/>
                        <a:gd name="connsiteX465" fmla="*/ 219627 w 533766"/>
                        <a:gd name="connsiteY465" fmla="*/ 244381 h 426203"/>
                        <a:gd name="connsiteX466" fmla="*/ 219627 w 533766"/>
                        <a:gd name="connsiteY466" fmla="*/ 243030 h 426203"/>
                        <a:gd name="connsiteX467" fmla="*/ 220077 w 533766"/>
                        <a:gd name="connsiteY467" fmla="*/ 241680 h 426203"/>
                        <a:gd name="connsiteX468" fmla="*/ 220528 w 533766"/>
                        <a:gd name="connsiteY468" fmla="*/ 240780 h 426203"/>
                        <a:gd name="connsiteX469" fmla="*/ 221878 w 533766"/>
                        <a:gd name="connsiteY469" fmla="*/ 239880 h 426203"/>
                        <a:gd name="connsiteX470" fmla="*/ 223678 w 533766"/>
                        <a:gd name="connsiteY470" fmla="*/ 239430 h 426203"/>
                        <a:gd name="connsiteX471" fmla="*/ 224128 w 533766"/>
                        <a:gd name="connsiteY471" fmla="*/ 238980 h 426203"/>
                        <a:gd name="connsiteX472" fmla="*/ 221428 w 533766"/>
                        <a:gd name="connsiteY472" fmla="*/ 236730 h 426203"/>
                        <a:gd name="connsiteX473" fmla="*/ 220077 w 533766"/>
                        <a:gd name="connsiteY473" fmla="*/ 236730 h 426203"/>
                        <a:gd name="connsiteX474" fmla="*/ 216027 w 533766"/>
                        <a:gd name="connsiteY474" fmla="*/ 239880 h 426203"/>
                        <a:gd name="connsiteX475" fmla="*/ 215127 w 533766"/>
                        <a:gd name="connsiteY475" fmla="*/ 240330 h 426203"/>
                        <a:gd name="connsiteX476" fmla="*/ 214677 w 533766"/>
                        <a:gd name="connsiteY476" fmla="*/ 239880 h 426203"/>
                        <a:gd name="connsiteX477" fmla="*/ 214227 w 533766"/>
                        <a:gd name="connsiteY477" fmla="*/ 239880 h 426203"/>
                        <a:gd name="connsiteX478" fmla="*/ 212877 w 533766"/>
                        <a:gd name="connsiteY478" fmla="*/ 241680 h 426203"/>
                        <a:gd name="connsiteX479" fmla="*/ 211976 w 533766"/>
                        <a:gd name="connsiteY479" fmla="*/ 242580 h 426203"/>
                        <a:gd name="connsiteX480" fmla="*/ 208826 w 533766"/>
                        <a:gd name="connsiteY480" fmla="*/ 247531 h 426203"/>
                        <a:gd name="connsiteX481" fmla="*/ 208376 w 533766"/>
                        <a:gd name="connsiteY481" fmla="*/ 249781 h 426203"/>
                        <a:gd name="connsiteX482" fmla="*/ 208376 w 533766"/>
                        <a:gd name="connsiteY482" fmla="*/ 253382 h 426203"/>
                        <a:gd name="connsiteX483" fmla="*/ 207926 w 533766"/>
                        <a:gd name="connsiteY483" fmla="*/ 255632 h 426203"/>
                        <a:gd name="connsiteX484" fmla="*/ 207476 w 533766"/>
                        <a:gd name="connsiteY484" fmla="*/ 256532 h 426203"/>
                        <a:gd name="connsiteX485" fmla="*/ 203875 w 533766"/>
                        <a:gd name="connsiteY485" fmla="*/ 258332 h 426203"/>
                        <a:gd name="connsiteX486" fmla="*/ 201625 w 533766"/>
                        <a:gd name="connsiteY486" fmla="*/ 261483 h 426203"/>
                        <a:gd name="connsiteX487" fmla="*/ 198925 w 533766"/>
                        <a:gd name="connsiteY487" fmla="*/ 258782 h 426203"/>
                        <a:gd name="connsiteX488" fmla="*/ 196224 w 533766"/>
                        <a:gd name="connsiteY488" fmla="*/ 256082 h 426203"/>
                        <a:gd name="connsiteX489" fmla="*/ 194424 w 533766"/>
                        <a:gd name="connsiteY489" fmla="*/ 251132 h 426203"/>
                        <a:gd name="connsiteX490" fmla="*/ 190824 w 533766"/>
                        <a:gd name="connsiteY490" fmla="*/ 250231 h 426203"/>
                        <a:gd name="connsiteX491" fmla="*/ 186773 w 533766"/>
                        <a:gd name="connsiteY491" fmla="*/ 247531 h 426203"/>
                        <a:gd name="connsiteX492" fmla="*/ 185423 w 533766"/>
                        <a:gd name="connsiteY492" fmla="*/ 244831 h 426203"/>
                        <a:gd name="connsiteX493" fmla="*/ 187673 w 533766"/>
                        <a:gd name="connsiteY493" fmla="*/ 239880 h 426203"/>
                        <a:gd name="connsiteX494" fmla="*/ 190824 w 533766"/>
                        <a:gd name="connsiteY494" fmla="*/ 235830 h 426203"/>
                        <a:gd name="connsiteX495" fmla="*/ 191274 w 533766"/>
                        <a:gd name="connsiteY495" fmla="*/ 231329 h 426203"/>
                        <a:gd name="connsiteX496" fmla="*/ 191724 w 533766"/>
                        <a:gd name="connsiteY496" fmla="*/ 230429 h 426203"/>
                        <a:gd name="connsiteX497" fmla="*/ 197125 w 533766"/>
                        <a:gd name="connsiteY497" fmla="*/ 229079 h 426203"/>
                        <a:gd name="connsiteX498" fmla="*/ 200725 w 533766"/>
                        <a:gd name="connsiteY498" fmla="*/ 226829 h 426203"/>
                        <a:gd name="connsiteX499" fmla="*/ 197125 w 533766"/>
                        <a:gd name="connsiteY499" fmla="*/ 226829 h 426203"/>
                        <a:gd name="connsiteX500" fmla="*/ 194874 w 533766"/>
                        <a:gd name="connsiteY500" fmla="*/ 227278 h 426203"/>
                        <a:gd name="connsiteX501" fmla="*/ 190824 w 533766"/>
                        <a:gd name="connsiteY501" fmla="*/ 229079 h 426203"/>
                        <a:gd name="connsiteX502" fmla="*/ 186323 w 533766"/>
                        <a:gd name="connsiteY502" fmla="*/ 225928 h 426203"/>
                        <a:gd name="connsiteX503" fmla="*/ 184073 w 533766"/>
                        <a:gd name="connsiteY503" fmla="*/ 222778 h 426203"/>
                        <a:gd name="connsiteX504" fmla="*/ 183173 w 533766"/>
                        <a:gd name="connsiteY504" fmla="*/ 220078 h 426203"/>
                        <a:gd name="connsiteX505" fmla="*/ 184073 w 533766"/>
                        <a:gd name="connsiteY505" fmla="*/ 217827 h 426203"/>
                        <a:gd name="connsiteX506" fmla="*/ 184073 w 533766"/>
                        <a:gd name="connsiteY506" fmla="*/ 215577 h 426203"/>
                        <a:gd name="connsiteX507" fmla="*/ 184523 w 533766"/>
                        <a:gd name="connsiteY507" fmla="*/ 212427 h 426203"/>
                        <a:gd name="connsiteX508" fmla="*/ 184973 w 533766"/>
                        <a:gd name="connsiteY508" fmla="*/ 211077 h 426203"/>
                        <a:gd name="connsiteX509" fmla="*/ 185873 w 533766"/>
                        <a:gd name="connsiteY509" fmla="*/ 209276 h 426203"/>
                        <a:gd name="connsiteX510" fmla="*/ 187673 w 533766"/>
                        <a:gd name="connsiteY510" fmla="*/ 208376 h 426203"/>
                        <a:gd name="connsiteX511" fmla="*/ 189474 w 533766"/>
                        <a:gd name="connsiteY511" fmla="*/ 204776 h 426203"/>
                        <a:gd name="connsiteX512" fmla="*/ 190374 w 533766"/>
                        <a:gd name="connsiteY512" fmla="*/ 202525 h 426203"/>
                        <a:gd name="connsiteX513" fmla="*/ 193974 w 533766"/>
                        <a:gd name="connsiteY513" fmla="*/ 195325 h 426203"/>
                        <a:gd name="connsiteX514" fmla="*/ 195324 w 533766"/>
                        <a:gd name="connsiteY514" fmla="*/ 192174 h 426203"/>
                        <a:gd name="connsiteX515" fmla="*/ 197575 w 533766"/>
                        <a:gd name="connsiteY515" fmla="*/ 187674 h 426203"/>
                        <a:gd name="connsiteX516" fmla="*/ 202075 w 533766"/>
                        <a:gd name="connsiteY516" fmla="*/ 180923 h 426203"/>
                        <a:gd name="connsiteX517" fmla="*/ 200725 w 533766"/>
                        <a:gd name="connsiteY517" fmla="*/ 181373 h 426203"/>
                        <a:gd name="connsiteX518" fmla="*/ 199825 w 533766"/>
                        <a:gd name="connsiteY518" fmla="*/ 181823 h 426203"/>
                        <a:gd name="connsiteX519" fmla="*/ 198925 w 533766"/>
                        <a:gd name="connsiteY519" fmla="*/ 181823 h 426203"/>
                        <a:gd name="connsiteX520" fmla="*/ 198025 w 533766"/>
                        <a:gd name="connsiteY520" fmla="*/ 180923 h 426203"/>
                        <a:gd name="connsiteX521" fmla="*/ 197575 w 533766"/>
                        <a:gd name="connsiteY521" fmla="*/ 179573 h 426203"/>
                        <a:gd name="connsiteX522" fmla="*/ 197125 w 533766"/>
                        <a:gd name="connsiteY522" fmla="*/ 177322 h 426203"/>
                        <a:gd name="connsiteX523" fmla="*/ 196675 w 533766"/>
                        <a:gd name="connsiteY523" fmla="*/ 178222 h 426203"/>
                        <a:gd name="connsiteX524" fmla="*/ 196675 w 533766"/>
                        <a:gd name="connsiteY524" fmla="*/ 182723 h 426203"/>
                        <a:gd name="connsiteX525" fmla="*/ 196224 w 533766"/>
                        <a:gd name="connsiteY525" fmla="*/ 186323 h 426203"/>
                        <a:gd name="connsiteX526" fmla="*/ 195324 w 533766"/>
                        <a:gd name="connsiteY526" fmla="*/ 189024 h 426203"/>
                        <a:gd name="connsiteX527" fmla="*/ 193074 w 533766"/>
                        <a:gd name="connsiteY527" fmla="*/ 193974 h 426203"/>
                        <a:gd name="connsiteX528" fmla="*/ 191724 w 533766"/>
                        <a:gd name="connsiteY528" fmla="*/ 195775 h 426203"/>
                        <a:gd name="connsiteX529" fmla="*/ 190824 w 533766"/>
                        <a:gd name="connsiteY529" fmla="*/ 193974 h 426203"/>
                        <a:gd name="connsiteX530" fmla="*/ 191724 w 533766"/>
                        <a:gd name="connsiteY530" fmla="*/ 190824 h 426203"/>
                        <a:gd name="connsiteX531" fmla="*/ 193074 w 533766"/>
                        <a:gd name="connsiteY531" fmla="*/ 188124 h 426203"/>
                        <a:gd name="connsiteX532" fmla="*/ 193524 w 533766"/>
                        <a:gd name="connsiteY532" fmla="*/ 184523 h 426203"/>
                        <a:gd name="connsiteX533" fmla="*/ 192174 w 533766"/>
                        <a:gd name="connsiteY533" fmla="*/ 180473 h 426203"/>
                        <a:gd name="connsiteX534" fmla="*/ 191274 w 533766"/>
                        <a:gd name="connsiteY534" fmla="*/ 176872 h 426203"/>
                        <a:gd name="connsiteX535" fmla="*/ 190824 w 533766"/>
                        <a:gd name="connsiteY535" fmla="*/ 174172 h 426203"/>
                        <a:gd name="connsiteX536" fmla="*/ 190824 w 533766"/>
                        <a:gd name="connsiteY536" fmla="*/ 171922 h 426203"/>
                        <a:gd name="connsiteX537" fmla="*/ 190824 w 533766"/>
                        <a:gd name="connsiteY537" fmla="*/ 169671 h 426203"/>
                        <a:gd name="connsiteX538" fmla="*/ 191274 w 533766"/>
                        <a:gd name="connsiteY538" fmla="*/ 167421 h 426203"/>
                        <a:gd name="connsiteX539" fmla="*/ 192174 w 533766"/>
                        <a:gd name="connsiteY539" fmla="*/ 164721 h 426203"/>
                        <a:gd name="connsiteX540" fmla="*/ 192174 w 533766"/>
                        <a:gd name="connsiteY540" fmla="*/ 164271 h 426203"/>
                        <a:gd name="connsiteX541" fmla="*/ 192624 w 533766"/>
                        <a:gd name="connsiteY541" fmla="*/ 162020 h 426203"/>
                        <a:gd name="connsiteX542" fmla="*/ 192624 w 533766"/>
                        <a:gd name="connsiteY542" fmla="*/ 159770 h 426203"/>
                        <a:gd name="connsiteX543" fmla="*/ 191724 w 533766"/>
                        <a:gd name="connsiteY543" fmla="*/ 157970 h 426203"/>
                        <a:gd name="connsiteX544" fmla="*/ 190824 w 533766"/>
                        <a:gd name="connsiteY544" fmla="*/ 156170 h 426203"/>
                        <a:gd name="connsiteX545" fmla="*/ 188123 w 533766"/>
                        <a:gd name="connsiteY545" fmla="*/ 157070 h 426203"/>
                        <a:gd name="connsiteX546" fmla="*/ 184073 w 533766"/>
                        <a:gd name="connsiteY546" fmla="*/ 155720 h 426203"/>
                        <a:gd name="connsiteX547" fmla="*/ 182723 w 533766"/>
                        <a:gd name="connsiteY547" fmla="*/ 151669 h 426203"/>
                        <a:gd name="connsiteX548" fmla="*/ 179122 w 533766"/>
                        <a:gd name="connsiteY548" fmla="*/ 150319 h 426203"/>
                        <a:gd name="connsiteX549" fmla="*/ 177322 w 533766"/>
                        <a:gd name="connsiteY549" fmla="*/ 147168 h 426203"/>
                        <a:gd name="connsiteX550" fmla="*/ 173272 w 533766"/>
                        <a:gd name="connsiteY550" fmla="*/ 145818 h 426203"/>
                        <a:gd name="connsiteX551" fmla="*/ 170121 w 533766"/>
                        <a:gd name="connsiteY551" fmla="*/ 144918 h 426203"/>
                        <a:gd name="connsiteX552" fmla="*/ 167871 w 533766"/>
                        <a:gd name="connsiteY552" fmla="*/ 143118 h 426203"/>
                        <a:gd name="connsiteX553" fmla="*/ 165171 w 533766"/>
                        <a:gd name="connsiteY553" fmla="*/ 141318 h 426203"/>
                        <a:gd name="connsiteX554" fmla="*/ 162470 w 533766"/>
                        <a:gd name="connsiteY554" fmla="*/ 139068 h 426203"/>
                        <a:gd name="connsiteX555" fmla="*/ 160220 w 533766"/>
                        <a:gd name="connsiteY555" fmla="*/ 137267 h 426203"/>
                        <a:gd name="connsiteX556" fmla="*/ 158420 w 533766"/>
                        <a:gd name="connsiteY556" fmla="*/ 137267 h 426203"/>
                        <a:gd name="connsiteX557" fmla="*/ 154819 w 533766"/>
                        <a:gd name="connsiteY557" fmla="*/ 137717 h 426203"/>
                        <a:gd name="connsiteX558" fmla="*/ 154819 w 533766"/>
                        <a:gd name="connsiteY558" fmla="*/ 134117 h 426203"/>
                        <a:gd name="connsiteX559" fmla="*/ 153919 w 533766"/>
                        <a:gd name="connsiteY559" fmla="*/ 131867 h 426203"/>
                        <a:gd name="connsiteX560" fmla="*/ 154369 w 533766"/>
                        <a:gd name="connsiteY560" fmla="*/ 130066 h 426203"/>
                        <a:gd name="connsiteX561" fmla="*/ 152119 w 533766"/>
                        <a:gd name="connsiteY561" fmla="*/ 129166 h 426203"/>
                        <a:gd name="connsiteX562" fmla="*/ 148969 w 533766"/>
                        <a:gd name="connsiteY562" fmla="*/ 127816 h 426203"/>
                        <a:gd name="connsiteX563" fmla="*/ 149869 w 533766"/>
                        <a:gd name="connsiteY563" fmla="*/ 124216 h 426203"/>
                        <a:gd name="connsiteX564" fmla="*/ 150319 w 533766"/>
                        <a:gd name="connsiteY564" fmla="*/ 121515 h 426203"/>
                        <a:gd name="connsiteX565" fmla="*/ 147618 w 533766"/>
                        <a:gd name="connsiteY565" fmla="*/ 120615 h 426203"/>
                        <a:gd name="connsiteX566" fmla="*/ 143568 w 533766"/>
                        <a:gd name="connsiteY566" fmla="*/ 119265 h 426203"/>
                        <a:gd name="connsiteX567" fmla="*/ 144918 w 533766"/>
                        <a:gd name="connsiteY567" fmla="*/ 116565 h 426203"/>
                        <a:gd name="connsiteX568" fmla="*/ 145818 w 533766"/>
                        <a:gd name="connsiteY568" fmla="*/ 114314 h 426203"/>
                        <a:gd name="connsiteX569" fmla="*/ 144468 w 533766"/>
                        <a:gd name="connsiteY569" fmla="*/ 111164 h 426203"/>
                        <a:gd name="connsiteX570" fmla="*/ 141318 w 533766"/>
                        <a:gd name="connsiteY570" fmla="*/ 106213 h 426203"/>
                        <a:gd name="connsiteX571" fmla="*/ 139067 w 533766"/>
                        <a:gd name="connsiteY571" fmla="*/ 102613 h 426203"/>
                        <a:gd name="connsiteX572" fmla="*/ 135917 w 533766"/>
                        <a:gd name="connsiteY572" fmla="*/ 96762 h 426203"/>
                        <a:gd name="connsiteX573" fmla="*/ 133217 w 533766"/>
                        <a:gd name="connsiteY573" fmla="*/ 91812 h 426203"/>
                        <a:gd name="connsiteX574" fmla="*/ 130966 w 533766"/>
                        <a:gd name="connsiteY574" fmla="*/ 87761 h 426203"/>
                        <a:gd name="connsiteX575" fmla="*/ 129166 w 533766"/>
                        <a:gd name="connsiteY575" fmla="*/ 85061 h 426203"/>
                        <a:gd name="connsiteX576" fmla="*/ 126466 w 533766"/>
                        <a:gd name="connsiteY576" fmla="*/ 80110 h 426203"/>
                        <a:gd name="connsiteX577" fmla="*/ 123315 w 533766"/>
                        <a:gd name="connsiteY577" fmla="*/ 74259 h 426203"/>
                        <a:gd name="connsiteX578" fmla="*/ 120165 w 533766"/>
                        <a:gd name="connsiteY578" fmla="*/ 69759 h 426203"/>
                        <a:gd name="connsiteX579" fmla="*/ 120615 w 533766"/>
                        <a:gd name="connsiteY579" fmla="*/ 66608 h 426203"/>
                        <a:gd name="connsiteX580" fmla="*/ 117465 w 533766"/>
                        <a:gd name="connsiteY580" fmla="*/ 63008 h 426203"/>
                        <a:gd name="connsiteX581" fmla="*/ 114764 w 533766"/>
                        <a:gd name="connsiteY581" fmla="*/ 59407 h 426203"/>
                        <a:gd name="connsiteX582" fmla="*/ 111614 w 533766"/>
                        <a:gd name="connsiteY582" fmla="*/ 54907 h 426203"/>
                        <a:gd name="connsiteX583" fmla="*/ 108464 w 533766"/>
                        <a:gd name="connsiteY583" fmla="*/ 52657 h 426203"/>
                        <a:gd name="connsiteX584" fmla="*/ 106213 w 533766"/>
                        <a:gd name="connsiteY584" fmla="*/ 51307 h 426203"/>
                        <a:gd name="connsiteX585" fmla="*/ 103063 w 533766"/>
                        <a:gd name="connsiteY585" fmla="*/ 49056 h 426203"/>
                        <a:gd name="connsiteX586" fmla="*/ 101263 w 533766"/>
                        <a:gd name="connsiteY586" fmla="*/ 47256 h 426203"/>
                        <a:gd name="connsiteX587" fmla="*/ 100362 w 533766"/>
                        <a:gd name="connsiteY587" fmla="*/ 45456 h 426203"/>
                        <a:gd name="connsiteX588" fmla="*/ 99462 w 533766"/>
                        <a:gd name="connsiteY588" fmla="*/ 44106 h 426203"/>
                        <a:gd name="connsiteX589" fmla="*/ 99012 w 533766"/>
                        <a:gd name="connsiteY589" fmla="*/ 42305 h 426203"/>
                        <a:gd name="connsiteX590" fmla="*/ 98562 w 533766"/>
                        <a:gd name="connsiteY590" fmla="*/ 40505 h 426203"/>
                        <a:gd name="connsiteX591" fmla="*/ 98112 w 533766"/>
                        <a:gd name="connsiteY591" fmla="*/ 39155 h 426203"/>
                        <a:gd name="connsiteX592" fmla="*/ 94062 w 533766"/>
                        <a:gd name="connsiteY592" fmla="*/ 36455 h 426203"/>
                        <a:gd name="connsiteX593" fmla="*/ 92712 w 533766"/>
                        <a:gd name="connsiteY593" fmla="*/ 34654 h 426203"/>
                        <a:gd name="connsiteX594" fmla="*/ 90011 w 533766"/>
                        <a:gd name="connsiteY594" fmla="*/ 32404 h 426203"/>
                        <a:gd name="connsiteX595" fmla="*/ 87761 w 533766"/>
                        <a:gd name="connsiteY595" fmla="*/ 31504 h 426203"/>
                        <a:gd name="connsiteX596" fmla="*/ 86861 w 533766"/>
                        <a:gd name="connsiteY596" fmla="*/ 30604 h 426203"/>
                        <a:gd name="connsiteX597" fmla="*/ 84161 w 533766"/>
                        <a:gd name="connsiteY597" fmla="*/ 24303 h 426203"/>
                        <a:gd name="connsiteX598" fmla="*/ 84611 w 533766"/>
                        <a:gd name="connsiteY598" fmla="*/ 22053 h 426203"/>
                        <a:gd name="connsiteX599" fmla="*/ 85061 w 533766"/>
                        <a:gd name="connsiteY599" fmla="*/ 19803 h 426203"/>
                        <a:gd name="connsiteX600" fmla="*/ 84611 w 533766"/>
                        <a:gd name="connsiteY600" fmla="*/ 18452 h 426203"/>
                        <a:gd name="connsiteX601" fmla="*/ 80110 w 533766"/>
                        <a:gd name="connsiteY601" fmla="*/ 13502 h 426203"/>
                        <a:gd name="connsiteX602" fmla="*/ 77860 w 533766"/>
                        <a:gd name="connsiteY602" fmla="*/ 11251 h 426203"/>
                        <a:gd name="connsiteX603" fmla="*/ 75609 w 533766"/>
                        <a:gd name="connsiteY603" fmla="*/ 9001 h 426203"/>
                        <a:gd name="connsiteX604" fmla="*/ 70659 w 533766"/>
                        <a:gd name="connsiteY604" fmla="*/ 11701 h 426203"/>
                        <a:gd name="connsiteX605" fmla="*/ 65708 w 533766"/>
                        <a:gd name="connsiteY605" fmla="*/ 14402 h 426203"/>
                        <a:gd name="connsiteX606" fmla="*/ 62108 w 533766"/>
                        <a:gd name="connsiteY606" fmla="*/ 15302 h 426203"/>
                        <a:gd name="connsiteX607" fmla="*/ 57157 w 533766"/>
                        <a:gd name="connsiteY607" fmla="*/ 16652 h 426203"/>
                        <a:gd name="connsiteX608" fmla="*/ 58957 w 533766"/>
                        <a:gd name="connsiteY608" fmla="*/ 19803 h 426203"/>
                        <a:gd name="connsiteX609" fmla="*/ 58507 w 533766"/>
                        <a:gd name="connsiteY609" fmla="*/ 22053 h 426203"/>
                        <a:gd name="connsiteX610" fmla="*/ 57157 w 533766"/>
                        <a:gd name="connsiteY610" fmla="*/ 22953 h 426203"/>
                        <a:gd name="connsiteX611" fmla="*/ 54457 w 533766"/>
                        <a:gd name="connsiteY611" fmla="*/ 22953 h 426203"/>
                        <a:gd name="connsiteX612" fmla="*/ 54457 w 533766"/>
                        <a:gd name="connsiteY612" fmla="*/ 30604 h 426203"/>
                        <a:gd name="connsiteX613" fmla="*/ 52206 w 533766"/>
                        <a:gd name="connsiteY613" fmla="*/ 36005 h 426203"/>
                        <a:gd name="connsiteX614" fmla="*/ 47256 w 533766"/>
                        <a:gd name="connsiteY614" fmla="*/ 36005 h 426203"/>
                        <a:gd name="connsiteX615" fmla="*/ 44556 w 533766"/>
                        <a:gd name="connsiteY615" fmla="*/ 37805 h 426203"/>
                        <a:gd name="connsiteX616" fmla="*/ 40505 w 533766"/>
                        <a:gd name="connsiteY616" fmla="*/ 40505 h 426203"/>
                        <a:gd name="connsiteX617" fmla="*/ 37355 w 533766"/>
                        <a:gd name="connsiteY617" fmla="*/ 42755 h 426203"/>
                        <a:gd name="connsiteX618" fmla="*/ 33754 w 533766"/>
                        <a:gd name="connsiteY618" fmla="*/ 46356 h 426203"/>
                        <a:gd name="connsiteX619" fmla="*/ 31954 w 533766"/>
                        <a:gd name="connsiteY619" fmla="*/ 45906 h 426203"/>
                        <a:gd name="connsiteX620" fmla="*/ 32854 w 533766"/>
                        <a:gd name="connsiteY620" fmla="*/ 42755 h 426203"/>
                        <a:gd name="connsiteX621" fmla="*/ 31504 w 533766"/>
                        <a:gd name="connsiteY621" fmla="*/ 37355 h 426203"/>
                        <a:gd name="connsiteX622" fmla="*/ 30604 w 533766"/>
                        <a:gd name="connsiteY622" fmla="*/ 32854 h 426203"/>
                        <a:gd name="connsiteX623" fmla="*/ 28353 w 533766"/>
                        <a:gd name="connsiteY623" fmla="*/ 30604 h 426203"/>
                        <a:gd name="connsiteX624" fmla="*/ 24753 w 533766"/>
                        <a:gd name="connsiteY624" fmla="*/ 26553 h 426203"/>
                        <a:gd name="connsiteX625" fmla="*/ 22053 w 533766"/>
                        <a:gd name="connsiteY625" fmla="*/ 23853 h 426203"/>
                        <a:gd name="connsiteX626" fmla="*/ 18002 w 533766"/>
                        <a:gd name="connsiteY626" fmla="*/ 19803 h 426203"/>
                        <a:gd name="connsiteX627" fmla="*/ 15302 w 533766"/>
                        <a:gd name="connsiteY627" fmla="*/ 17102 h 426203"/>
                        <a:gd name="connsiteX628" fmla="*/ 12602 w 533766"/>
                        <a:gd name="connsiteY628" fmla="*/ 13952 h 426203"/>
                        <a:gd name="connsiteX629" fmla="*/ 9001 w 533766"/>
                        <a:gd name="connsiteY629" fmla="*/ 9901 h 426203"/>
                        <a:gd name="connsiteX630" fmla="*/ 7651 w 533766"/>
                        <a:gd name="connsiteY630" fmla="*/ 4501 h 426203"/>
                        <a:gd name="connsiteX631" fmla="*/ 4050 w 533766"/>
                        <a:gd name="connsiteY631" fmla="*/ 2700 h 426203"/>
                        <a:gd name="connsiteX632" fmla="*/ 450 w 533766"/>
                        <a:gd name="connsiteY632" fmla="*/ 900 h 426203"/>
                        <a:gd name="connsiteX633" fmla="*/ 0 w 533766"/>
                        <a:gd name="connsiteY633" fmla="*/ 450 h 426203"/>
                        <a:gd name="connsiteX634" fmla="*/ 20253 w 533766"/>
                        <a:gd name="connsiteY634" fmla="*/ 450 h 426203"/>
                        <a:gd name="connsiteX635" fmla="*/ 40505 w 533766"/>
                        <a:gd name="connsiteY635" fmla="*/ 450 h 426203"/>
                        <a:gd name="connsiteX636" fmla="*/ 60758 w 533766"/>
                        <a:gd name="connsiteY636" fmla="*/ 450 h 426203"/>
                        <a:gd name="connsiteX637" fmla="*/ 81010 w 533766"/>
                        <a:gd name="connsiteY637" fmla="*/ 450 h 426203"/>
                        <a:gd name="connsiteX638" fmla="*/ 101263 w 533766"/>
                        <a:gd name="connsiteY638" fmla="*/ 450 h 426203"/>
                        <a:gd name="connsiteX639" fmla="*/ 121515 w 533766"/>
                        <a:gd name="connsiteY639" fmla="*/ 450 h 426203"/>
                        <a:gd name="connsiteX640" fmla="*/ 141768 w 533766"/>
                        <a:gd name="connsiteY640" fmla="*/ 450 h 426203"/>
                        <a:gd name="connsiteX641" fmla="*/ 162020 w 533766"/>
                        <a:gd name="connsiteY641" fmla="*/ 450 h 426203"/>
                        <a:gd name="connsiteX642" fmla="*/ 182273 w 533766"/>
                        <a:gd name="connsiteY642" fmla="*/ 450 h 426203"/>
                        <a:gd name="connsiteX643" fmla="*/ 202525 w 533766"/>
                        <a:gd name="connsiteY643" fmla="*/ 450 h 426203"/>
                        <a:gd name="connsiteX644" fmla="*/ 222778 w 533766"/>
                        <a:gd name="connsiteY644" fmla="*/ 450 h 426203"/>
                        <a:gd name="connsiteX645" fmla="*/ 243030 w 533766"/>
                        <a:gd name="connsiteY645" fmla="*/ 450 h 426203"/>
                        <a:gd name="connsiteX646" fmla="*/ 263283 w 533766"/>
                        <a:gd name="connsiteY646" fmla="*/ 450 h 426203"/>
                        <a:gd name="connsiteX647" fmla="*/ 283535 w 533766"/>
                        <a:gd name="connsiteY647" fmla="*/ 450 h 426203"/>
                        <a:gd name="connsiteX648" fmla="*/ 303788 w 533766"/>
                        <a:gd name="connsiteY648" fmla="*/ 450 h 426203"/>
                        <a:gd name="connsiteX649" fmla="*/ 324491 w 533766"/>
                        <a:gd name="connsiteY649" fmla="*/ 0 h 426203"/>
                        <a:gd name="connsiteX650" fmla="*/ 324491 w 533766"/>
                        <a:gd name="connsiteY650" fmla="*/ 0 h 426203"/>
                        <a:gd name="connsiteX651" fmla="*/ 189024 w 533766"/>
                        <a:gd name="connsiteY651" fmla="*/ 196675 h 426203"/>
                        <a:gd name="connsiteX652" fmla="*/ 189024 w 533766"/>
                        <a:gd name="connsiteY652" fmla="*/ 195325 h 426203"/>
                        <a:gd name="connsiteX653" fmla="*/ 189924 w 533766"/>
                        <a:gd name="connsiteY653" fmla="*/ 192624 h 426203"/>
                        <a:gd name="connsiteX654" fmla="*/ 192624 w 533766"/>
                        <a:gd name="connsiteY654" fmla="*/ 186773 h 426203"/>
                        <a:gd name="connsiteX655" fmla="*/ 192624 w 533766"/>
                        <a:gd name="connsiteY655" fmla="*/ 184973 h 426203"/>
                        <a:gd name="connsiteX656" fmla="*/ 192174 w 533766"/>
                        <a:gd name="connsiteY656" fmla="*/ 182273 h 426203"/>
                        <a:gd name="connsiteX657" fmla="*/ 190824 w 533766"/>
                        <a:gd name="connsiteY657" fmla="*/ 178222 h 426203"/>
                        <a:gd name="connsiteX658" fmla="*/ 190374 w 533766"/>
                        <a:gd name="connsiteY658" fmla="*/ 175972 h 426203"/>
                        <a:gd name="connsiteX659" fmla="*/ 190374 w 533766"/>
                        <a:gd name="connsiteY659" fmla="*/ 173272 h 426203"/>
                        <a:gd name="connsiteX660" fmla="*/ 190374 w 533766"/>
                        <a:gd name="connsiteY660" fmla="*/ 171021 h 426203"/>
                        <a:gd name="connsiteX661" fmla="*/ 190824 w 533766"/>
                        <a:gd name="connsiteY661" fmla="*/ 168771 h 426203"/>
                        <a:gd name="connsiteX662" fmla="*/ 191724 w 533766"/>
                        <a:gd name="connsiteY662" fmla="*/ 166521 h 426203"/>
                        <a:gd name="connsiteX663" fmla="*/ 192624 w 533766"/>
                        <a:gd name="connsiteY663" fmla="*/ 164721 h 426203"/>
                        <a:gd name="connsiteX664" fmla="*/ 191274 w 533766"/>
                        <a:gd name="connsiteY664" fmla="*/ 168771 h 426203"/>
                        <a:gd name="connsiteX665" fmla="*/ 190824 w 533766"/>
                        <a:gd name="connsiteY665" fmla="*/ 172372 h 426203"/>
                        <a:gd name="connsiteX666" fmla="*/ 191274 w 533766"/>
                        <a:gd name="connsiteY666" fmla="*/ 176422 h 426203"/>
                        <a:gd name="connsiteX667" fmla="*/ 192174 w 533766"/>
                        <a:gd name="connsiteY667" fmla="*/ 180023 h 426203"/>
                        <a:gd name="connsiteX668" fmla="*/ 192624 w 533766"/>
                        <a:gd name="connsiteY668" fmla="*/ 182723 h 426203"/>
                        <a:gd name="connsiteX669" fmla="*/ 193074 w 533766"/>
                        <a:gd name="connsiteY669" fmla="*/ 184523 h 426203"/>
                        <a:gd name="connsiteX670" fmla="*/ 193074 w 533766"/>
                        <a:gd name="connsiteY670" fmla="*/ 185873 h 426203"/>
                        <a:gd name="connsiteX671" fmla="*/ 193074 w 533766"/>
                        <a:gd name="connsiteY671" fmla="*/ 187674 h 426203"/>
                        <a:gd name="connsiteX672" fmla="*/ 192174 w 533766"/>
                        <a:gd name="connsiteY672" fmla="*/ 189924 h 426203"/>
                        <a:gd name="connsiteX673" fmla="*/ 189024 w 533766"/>
                        <a:gd name="connsiteY673" fmla="*/ 196675 h 426203"/>
                        <a:gd name="connsiteX674" fmla="*/ 180923 w 533766"/>
                        <a:gd name="connsiteY674" fmla="*/ 206126 h 426203"/>
                        <a:gd name="connsiteX675" fmla="*/ 182723 w 533766"/>
                        <a:gd name="connsiteY675" fmla="*/ 203876 h 426203"/>
                        <a:gd name="connsiteX676" fmla="*/ 186773 w 533766"/>
                        <a:gd name="connsiteY676" fmla="*/ 199825 h 426203"/>
                        <a:gd name="connsiteX677" fmla="*/ 189024 w 533766"/>
                        <a:gd name="connsiteY677" fmla="*/ 196675 h 426203"/>
                        <a:gd name="connsiteX678" fmla="*/ 189024 w 533766"/>
                        <a:gd name="connsiteY678" fmla="*/ 199375 h 426203"/>
                        <a:gd name="connsiteX679" fmla="*/ 185873 w 533766"/>
                        <a:gd name="connsiteY679" fmla="*/ 204326 h 426203"/>
                        <a:gd name="connsiteX680" fmla="*/ 181823 w 533766"/>
                        <a:gd name="connsiteY680" fmla="*/ 206576 h 426203"/>
                        <a:gd name="connsiteX681" fmla="*/ 180923 w 533766"/>
                        <a:gd name="connsiteY681" fmla="*/ 206126 h 426203"/>
                        <a:gd name="connsiteX682" fmla="*/ 173722 w 533766"/>
                        <a:gd name="connsiteY682" fmla="*/ 216477 h 426203"/>
                        <a:gd name="connsiteX683" fmla="*/ 173272 w 533766"/>
                        <a:gd name="connsiteY683" fmla="*/ 216477 h 426203"/>
                        <a:gd name="connsiteX684" fmla="*/ 173272 w 533766"/>
                        <a:gd name="connsiteY684" fmla="*/ 215577 h 426203"/>
                        <a:gd name="connsiteX685" fmla="*/ 173272 w 533766"/>
                        <a:gd name="connsiteY685" fmla="*/ 213777 h 426203"/>
                        <a:gd name="connsiteX686" fmla="*/ 173722 w 533766"/>
                        <a:gd name="connsiteY686" fmla="*/ 211077 h 426203"/>
                        <a:gd name="connsiteX687" fmla="*/ 174172 w 533766"/>
                        <a:gd name="connsiteY687" fmla="*/ 210626 h 426203"/>
                        <a:gd name="connsiteX688" fmla="*/ 176872 w 533766"/>
                        <a:gd name="connsiteY688" fmla="*/ 211077 h 426203"/>
                        <a:gd name="connsiteX689" fmla="*/ 177322 w 533766"/>
                        <a:gd name="connsiteY689" fmla="*/ 211077 h 426203"/>
                        <a:gd name="connsiteX690" fmla="*/ 177322 w 533766"/>
                        <a:gd name="connsiteY690" fmla="*/ 211526 h 426203"/>
                        <a:gd name="connsiteX691" fmla="*/ 177322 w 533766"/>
                        <a:gd name="connsiteY691" fmla="*/ 212427 h 426203"/>
                        <a:gd name="connsiteX692" fmla="*/ 176422 w 533766"/>
                        <a:gd name="connsiteY692" fmla="*/ 213777 h 426203"/>
                        <a:gd name="connsiteX693" fmla="*/ 173722 w 533766"/>
                        <a:gd name="connsiteY693" fmla="*/ 216477 h 426203"/>
                        <a:gd name="connsiteX694" fmla="*/ 136817 w 533766"/>
                        <a:gd name="connsiteY694" fmla="*/ 229529 h 426203"/>
                        <a:gd name="connsiteX695" fmla="*/ 138617 w 533766"/>
                        <a:gd name="connsiteY695" fmla="*/ 231779 h 426203"/>
                        <a:gd name="connsiteX696" fmla="*/ 143118 w 533766"/>
                        <a:gd name="connsiteY696" fmla="*/ 230429 h 426203"/>
                        <a:gd name="connsiteX697" fmla="*/ 144018 w 533766"/>
                        <a:gd name="connsiteY697" fmla="*/ 230879 h 426203"/>
                        <a:gd name="connsiteX698" fmla="*/ 144918 w 533766"/>
                        <a:gd name="connsiteY698" fmla="*/ 231779 h 426203"/>
                        <a:gd name="connsiteX699" fmla="*/ 145818 w 533766"/>
                        <a:gd name="connsiteY699" fmla="*/ 233579 h 426203"/>
                        <a:gd name="connsiteX700" fmla="*/ 146718 w 533766"/>
                        <a:gd name="connsiteY700" fmla="*/ 236280 h 426203"/>
                        <a:gd name="connsiteX701" fmla="*/ 147168 w 533766"/>
                        <a:gd name="connsiteY701" fmla="*/ 238980 h 426203"/>
                        <a:gd name="connsiteX702" fmla="*/ 146718 w 533766"/>
                        <a:gd name="connsiteY702" fmla="*/ 239880 h 426203"/>
                        <a:gd name="connsiteX703" fmla="*/ 145818 w 533766"/>
                        <a:gd name="connsiteY703" fmla="*/ 241230 h 426203"/>
                        <a:gd name="connsiteX704" fmla="*/ 138167 w 533766"/>
                        <a:gd name="connsiteY704" fmla="*/ 245731 h 426203"/>
                        <a:gd name="connsiteX705" fmla="*/ 138167 w 533766"/>
                        <a:gd name="connsiteY705" fmla="*/ 246181 h 426203"/>
                        <a:gd name="connsiteX706" fmla="*/ 138167 w 533766"/>
                        <a:gd name="connsiteY706" fmla="*/ 246631 h 426203"/>
                        <a:gd name="connsiteX707" fmla="*/ 139067 w 533766"/>
                        <a:gd name="connsiteY707" fmla="*/ 247081 h 426203"/>
                        <a:gd name="connsiteX708" fmla="*/ 140418 w 533766"/>
                        <a:gd name="connsiteY708" fmla="*/ 247081 h 426203"/>
                        <a:gd name="connsiteX709" fmla="*/ 146268 w 533766"/>
                        <a:gd name="connsiteY709" fmla="*/ 245731 h 426203"/>
                        <a:gd name="connsiteX710" fmla="*/ 146718 w 533766"/>
                        <a:gd name="connsiteY710" fmla="*/ 244831 h 426203"/>
                        <a:gd name="connsiteX711" fmla="*/ 147168 w 533766"/>
                        <a:gd name="connsiteY711" fmla="*/ 241230 h 426203"/>
                        <a:gd name="connsiteX712" fmla="*/ 148068 w 533766"/>
                        <a:gd name="connsiteY712" fmla="*/ 239430 h 426203"/>
                        <a:gd name="connsiteX713" fmla="*/ 148068 w 533766"/>
                        <a:gd name="connsiteY713" fmla="*/ 238080 h 426203"/>
                        <a:gd name="connsiteX714" fmla="*/ 147618 w 533766"/>
                        <a:gd name="connsiteY714" fmla="*/ 234479 h 426203"/>
                        <a:gd name="connsiteX715" fmla="*/ 147618 w 533766"/>
                        <a:gd name="connsiteY715" fmla="*/ 233129 h 426203"/>
                        <a:gd name="connsiteX716" fmla="*/ 151669 w 533766"/>
                        <a:gd name="connsiteY716" fmla="*/ 232679 h 426203"/>
                        <a:gd name="connsiteX717" fmla="*/ 154369 w 533766"/>
                        <a:gd name="connsiteY717" fmla="*/ 231329 h 426203"/>
                        <a:gd name="connsiteX718" fmla="*/ 157070 w 533766"/>
                        <a:gd name="connsiteY718" fmla="*/ 229079 h 426203"/>
                        <a:gd name="connsiteX719" fmla="*/ 157520 w 533766"/>
                        <a:gd name="connsiteY719" fmla="*/ 229079 h 426203"/>
                        <a:gd name="connsiteX720" fmla="*/ 157070 w 533766"/>
                        <a:gd name="connsiteY720" fmla="*/ 233579 h 426203"/>
                        <a:gd name="connsiteX721" fmla="*/ 156620 w 533766"/>
                        <a:gd name="connsiteY721" fmla="*/ 234929 h 426203"/>
                        <a:gd name="connsiteX722" fmla="*/ 153919 w 533766"/>
                        <a:gd name="connsiteY722" fmla="*/ 240330 h 426203"/>
                        <a:gd name="connsiteX723" fmla="*/ 152569 w 533766"/>
                        <a:gd name="connsiteY723" fmla="*/ 244831 h 426203"/>
                        <a:gd name="connsiteX724" fmla="*/ 151669 w 533766"/>
                        <a:gd name="connsiteY724" fmla="*/ 249331 h 426203"/>
                        <a:gd name="connsiteX725" fmla="*/ 151669 w 533766"/>
                        <a:gd name="connsiteY725" fmla="*/ 256982 h 426203"/>
                        <a:gd name="connsiteX726" fmla="*/ 151219 w 533766"/>
                        <a:gd name="connsiteY726" fmla="*/ 259683 h 426203"/>
                        <a:gd name="connsiteX727" fmla="*/ 149869 w 533766"/>
                        <a:gd name="connsiteY727" fmla="*/ 261033 h 426203"/>
                        <a:gd name="connsiteX728" fmla="*/ 142668 w 533766"/>
                        <a:gd name="connsiteY728" fmla="*/ 263733 h 426203"/>
                        <a:gd name="connsiteX729" fmla="*/ 139067 w 533766"/>
                        <a:gd name="connsiteY729" fmla="*/ 263733 h 426203"/>
                        <a:gd name="connsiteX730" fmla="*/ 135917 w 533766"/>
                        <a:gd name="connsiteY730" fmla="*/ 261483 h 426203"/>
                        <a:gd name="connsiteX731" fmla="*/ 134567 w 533766"/>
                        <a:gd name="connsiteY731" fmla="*/ 259683 h 426203"/>
                        <a:gd name="connsiteX732" fmla="*/ 135917 w 533766"/>
                        <a:gd name="connsiteY732" fmla="*/ 257432 h 426203"/>
                        <a:gd name="connsiteX733" fmla="*/ 136817 w 533766"/>
                        <a:gd name="connsiteY733" fmla="*/ 257432 h 426203"/>
                        <a:gd name="connsiteX734" fmla="*/ 139067 w 533766"/>
                        <a:gd name="connsiteY734" fmla="*/ 257882 h 426203"/>
                        <a:gd name="connsiteX735" fmla="*/ 140868 w 533766"/>
                        <a:gd name="connsiteY735" fmla="*/ 258782 h 426203"/>
                        <a:gd name="connsiteX736" fmla="*/ 141768 w 533766"/>
                        <a:gd name="connsiteY736" fmla="*/ 258782 h 426203"/>
                        <a:gd name="connsiteX737" fmla="*/ 141768 w 533766"/>
                        <a:gd name="connsiteY737" fmla="*/ 258332 h 426203"/>
                        <a:gd name="connsiteX738" fmla="*/ 136817 w 533766"/>
                        <a:gd name="connsiteY738" fmla="*/ 254282 h 426203"/>
                        <a:gd name="connsiteX739" fmla="*/ 133217 w 533766"/>
                        <a:gd name="connsiteY739" fmla="*/ 252482 h 426203"/>
                        <a:gd name="connsiteX740" fmla="*/ 132317 w 533766"/>
                        <a:gd name="connsiteY740" fmla="*/ 250681 h 426203"/>
                        <a:gd name="connsiteX741" fmla="*/ 132317 w 533766"/>
                        <a:gd name="connsiteY741" fmla="*/ 249331 h 426203"/>
                        <a:gd name="connsiteX742" fmla="*/ 131866 w 533766"/>
                        <a:gd name="connsiteY742" fmla="*/ 248431 h 426203"/>
                        <a:gd name="connsiteX743" fmla="*/ 128716 w 533766"/>
                        <a:gd name="connsiteY743" fmla="*/ 243030 h 426203"/>
                        <a:gd name="connsiteX744" fmla="*/ 128266 w 533766"/>
                        <a:gd name="connsiteY744" fmla="*/ 240780 h 426203"/>
                        <a:gd name="connsiteX745" fmla="*/ 127816 w 533766"/>
                        <a:gd name="connsiteY745" fmla="*/ 237630 h 426203"/>
                        <a:gd name="connsiteX746" fmla="*/ 127816 w 533766"/>
                        <a:gd name="connsiteY746" fmla="*/ 234479 h 426203"/>
                        <a:gd name="connsiteX747" fmla="*/ 128716 w 533766"/>
                        <a:gd name="connsiteY747" fmla="*/ 229529 h 426203"/>
                        <a:gd name="connsiteX748" fmla="*/ 129166 w 533766"/>
                        <a:gd name="connsiteY748" fmla="*/ 229079 h 426203"/>
                        <a:gd name="connsiteX749" fmla="*/ 130516 w 533766"/>
                        <a:gd name="connsiteY749" fmla="*/ 229079 h 426203"/>
                        <a:gd name="connsiteX750" fmla="*/ 132767 w 533766"/>
                        <a:gd name="connsiteY750" fmla="*/ 229529 h 426203"/>
                        <a:gd name="connsiteX751" fmla="*/ 136817 w 533766"/>
                        <a:gd name="connsiteY751" fmla="*/ 229529 h 426203"/>
                        <a:gd name="connsiteX752" fmla="*/ 188123 w 533766"/>
                        <a:gd name="connsiteY752" fmla="*/ 235380 h 426203"/>
                        <a:gd name="connsiteX753" fmla="*/ 187673 w 533766"/>
                        <a:gd name="connsiteY753" fmla="*/ 236730 h 426203"/>
                        <a:gd name="connsiteX754" fmla="*/ 186323 w 533766"/>
                        <a:gd name="connsiteY754" fmla="*/ 238530 h 426203"/>
                        <a:gd name="connsiteX755" fmla="*/ 185423 w 533766"/>
                        <a:gd name="connsiteY755" fmla="*/ 239430 h 426203"/>
                        <a:gd name="connsiteX756" fmla="*/ 184973 w 533766"/>
                        <a:gd name="connsiteY756" fmla="*/ 238980 h 426203"/>
                        <a:gd name="connsiteX757" fmla="*/ 183623 w 533766"/>
                        <a:gd name="connsiteY757" fmla="*/ 238980 h 426203"/>
                        <a:gd name="connsiteX758" fmla="*/ 182273 w 533766"/>
                        <a:gd name="connsiteY758" fmla="*/ 237180 h 426203"/>
                        <a:gd name="connsiteX759" fmla="*/ 181373 w 533766"/>
                        <a:gd name="connsiteY759" fmla="*/ 236280 h 426203"/>
                        <a:gd name="connsiteX760" fmla="*/ 180473 w 533766"/>
                        <a:gd name="connsiteY760" fmla="*/ 236280 h 426203"/>
                        <a:gd name="connsiteX761" fmla="*/ 180023 w 533766"/>
                        <a:gd name="connsiteY761" fmla="*/ 237180 h 426203"/>
                        <a:gd name="connsiteX762" fmla="*/ 180023 w 533766"/>
                        <a:gd name="connsiteY762" fmla="*/ 238080 h 426203"/>
                        <a:gd name="connsiteX763" fmla="*/ 180023 w 533766"/>
                        <a:gd name="connsiteY763" fmla="*/ 239430 h 426203"/>
                        <a:gd name="connsiteX764" fmla="*/ 180023 w 533766"/>
                        <a:gd name="connsiteY764" fmla="*/ 239880 h 426203"/>
                        <a:gd name="connsiteX765" fmla="*/ 179572 w 533766"/>
                        <a:gd name="connsiteY765" fmla="*/ 239880 h 426203"/>
                        <a:gd name="connsiteX766" fmla="*/ 179122 w 533766"/>
                        <a:gd name="connsiteY766" fmla="*/ 239430 h 426203"/>
                        <a:gd name="connsiteX767" fmla="*/ 178672 w 533766"/>
                        <a:gd name="connsiteY767" fmla="*/ 238530 h 426203"/>
                        <a:gd name="connsiteX768" fmla="*/ 178672 w 533766"/>
                        <a:gd name="connsiteY768" fmla="*/ 237630 h 426203"/>
                        <a:gd name="connsiteX769" fmla="*/ 179122 w 533766"/>
                        <a:gd name="connsiteY769" fmla="*/ 236730 h 426203"/>
                        <a:gd name="connsiteX770" fmla="*/ 180023 w 533766"/>
                        <a:gd name="connsiteY770" fmla="*/ 235380 h 426203"/>
                        <a:gd name="connsiteX771" fmla="*/ 183173 w 533766"/>
                        <a:gd name="connsiteY771" fmla="*/ 232229 h 426203"/>
                        <a:gd name="connsiteX772" fmla="*/ 184073 w 533766"/>
                        <a:gd name="connsiteY772" fmla="*/ 231779 h 426203"/>
                        <a:gd name="connsiteX773" fmla="*/ 184973 w 533766"/>
                        <a:gd name="connsiteY773" fmla="*/ 231779 h 426203"/>
                        <a:gd name="connsiteX774" fmla="*/ 186773 w 533766"/>
                        <a:gd name="connsiteY774" fmla="*/ 233129 h 426203"/>
                        <a:gd name="connsiteX775" fmla="*/ 187223 w 533766"/>
                        <a:gd name="connsiteY775" fmla="*/ 233579 h 426203"/>
                        <a:gd name="connsiteX776" fmla="*/ 188123 w 533766"/>
                        <a:gd name="connsiteY776" fmla="*/ 235380 h 426203"/>
                        <a:gd name="connsiteX777" fmla="*/ 196675 w 533766"/>
                        <a:gd name="connsiteY777" fmla="*/ 263733 h 426203"/>
                        <a:gd name="connsiteX778" fmla="*/ 196675 w 533766"/>
                        <a:gd name="connsiteY778" fmla="*/ 263733 h 426203"/>
                        <a:gd name="connsiteX779" fmla="*/ 194874 w 533766"/>
                        <a:gd name="connsiteY779" fmla="*/ 263283 h 426203"/>
                        <a:gd name="connsiteX780" fmla="*/ 190374 w 533766"/>
                        <a:gd name="connsiteY780" fmla="*/ 257432 h 426203"/>
                        <a:gd name="connsiteX781" fmla="*/ 187223 w 533766"/>
                        <a:gd name="connsiteY781" fmla="*/ 255182 h 426203"/>
                        <a:gd name="connsiteX782" fmla="*/ 184973 w 533766"/>
                        <a:gd name="connsiteY782" fmla="*/ 252032 h 426203"/>
                        <a:gd name="connsiteX783" fmla="*/ 182723 w 533766"/>
                        <a:gd name="connsiteY783" fmla="*/ 250231 h 426203"/>
                        <a:gd name="connsiteX784" fmla="*/ 184073 w 533766"/>
                        <a:gd name="connsiteY784" fmla="*/ 247081 h 426203"/>
                        <a:gd name="connsiteX785" fmla="*/ 185423 w 533766"/>
                        <a:gd name="connsiteY785" fmla="*/ 247531 h 426203"/>
                        <a:gd name="connsiteX786" fmla="*/ 189474 w 533766"/>
                        <a:gd name="connsiteY786" fmla="*/ 250231 h 426203"/>
                        <a:gd name="connsiteX787" fmla="*/ 193074 w 533766"/>
                        <a:gd name="connsiteY787" fmla="*/ 252482 h 426203"/>
                        <a:gd name="connsiteX788" fmla="*/ 194874 w 533766"/>
                        <a:gd name="connsiteY788" fmla="*/ 254282 h 426203"/>
                        <a:gd name="connsiteX789" fmla="*/ 198925 w 533766"/>
                        <a:gd name="connsiteY789" fmla="*/ 261033 h 426203"/>
                        <a:gd name="connsiteX790" fmla="*/ 198475 w 533766"/>
                        <a:gd name="connsiteY790" fmla="*/ 261933 h 426203"/>
                        <a:gd name="connsiteX791" fmla="*/ 196675 w 533766"/>
                        <a:gd name="connsiteY791" fmla="*/ 263733 h 426203"/>
                        <a:gd name="connsiteX792" fmla="*/ 211076 w 533766"/>
                        <a:gd name="connsiteY792" fmla="*/ 265533 h 426203"/>
                        <a:gd name="connsiteX793" fmla="*/ 211076 w 533766"/>
                        <a:gd name="connsiteY793" fmla="*/ 265533 h 426203"/>
                        <a:gd name="connsiteX794" fmla="*/ 208826 w 533766"/>
                        <a:gd name="connsiteY794" fmla="*/ 265983 h 426203"/>
                        <a:gd name="connsiteX795" fmla="*/ 208376 w 533766"/>
                        <a:gd name="connsiteY795" fmla="*/ 265533 h 426203"/>
                        <a:gd name="connsiteX796" fmla="*/ 207926 w 533766"/>
                        <a:gd name="connsiteY796" fmla="*/ 264633 h 426203"/>
                        <a:gd name="connsiteX797" fmla="*/ 207926 w 533766"/>
                        <a:gd name="connsiteY797" fmla="*/ 263733 h 426203"/>
                        <a:gd name="connsiteX798" fmla="*/ 208376 w 533766"/>
                        <a:gd name="connsiteY798" fmla="*/ 262383 h 426203"/>
                        <a:gd name="connsiteX799" fmla="*/ 209726 w 533766"/>
                        <a:gd name="connsiteY799" fmla="*/ 259683 h 426203"/>
                        <a:gd name="connsiteX800" fmla="*/ 209726 w 533766"/>
                        <a:gd name="connsiteY800" fmla="*/ 258782 h 426203"/>
                        <a:gd name="connsiteX801" fmla="*/ 210176 w 533766"/>
                        <a:gd name="connsiteY801" fmla="*/ 258332 h 426203"/>
                        <a:gd name="connsiteX802" fmla="*/ 211076 w 533766"/>
                        <a:gd name="connsiteY802" fmla="*/ 259683 h 426203"/>
                        <a:gd name="connsiteX803" fmla="*/ 211526 w 533766"/>
                        <a:gd name="connsiteY803" fmla="*/ 261033 h 426203"/>
                        <a:gd name="connsiteX804" fmla="*/ 211076 w 533766"/>
                        <a:gd name="connsiteY804" fmla="*/ 265533 h 426203"/>
                        <a:gd name="connsiteX805" fmla="*/ 224128 w 533766"/>
                        <a:gd name="connsiteY805" fmla="*/ 271834 h 426203"/>
                        <a:gd name="connsiteX806" fmla="*/ 225028 w 533766"/>
                        <a:gd name="connsiteY806" fmla="*/ 283086 h 426203"/>
                        <a:gd name="connsiteX807" fmla="*/ 225028 w 533766"/>
                        <a:gd name="connsiteY807" fmla="*/ 286686 h 426203"/>
                        <a:gd name="connsiteX808" fmla="*/ 223678 w 533766"/>
                        <a:gd name="connsiteY808" fmla="*/ 288936 h 426203"/>
                        <a:gd name="connsiteX809" fmla="*/ 222778 w 533766"/>
                        <a:gd name="connsiteY809" fmla="*/ 292987 h 426203"/>
                        <a:gd name="connsiteX810" fmla="*/ 221428 w 533766"/>
                        <a:gd name="connsiteY810" fmla="*/ 294787 h 426203"/>
                        <a:gd name="connsiteX811" fmla="*/ 220528 w 533766"/>
                        <a:gd name="connsiteY811" fmla="*/ 292537 h 426203"/>
                        <a:gd name="connsiteX812" fmla="*/ 220528 w 533766"/>
                        <a:gd name="connsiteY812" fmla="*/ 288486 h 426203"/>
                        <a:gd name="connsiteX813" fmla="*/ 220077 w 533766"/>
                        <a:gd name="connsiteY813" fmla="*/ 285336 h 426203"/>
                        <a:gd name="connsiteX814" fmla="*/ 219627 w 533766"/>
                        <a:gd name="connsiteY814" fmla="*/ 283986 h 426203"/>
                        <a:gd name="connsiteX815" fmla="*/ 220077 w 533766"/>
                        <a:gd name="connsiteY815" fmla="*/ 278135 h 426203"/>
                        <a:gd name="connsiteX816" fmla="*/ 219627 w 533766"/>
                        <a:gd name="connsiteY816" fmla="*/ 278585 h 426203"/>
                        <a:gd name="connsiteX817" fmla="*/ 218277 w 533766"/>
                        <a:gd name="connsiteY817" fmla="*/ 281285 h 426203"/>
                        <a:gd name="connsiteX818" fmla="*/ 216927 w 533766"/>
                        <a:gd name="connsiteY818" fmla="*/ 281285 h 426203"/>
                        <a:gd name="connsiteX819" fmla="*/ 214227 w 533766"/>
                        <a:gd name="connsiteY819" fmla="*/ 278585 h 426203"/>
                        <a:gd name="connsiteX820" fmla="*/ 212877 w 533766"/>
                        <a:gd name="connsiteY820" fmla="*/ 276335 h 426203"/>
                        <a:gd name="connsiteX821" fmla="*/ 212877 w 533766"/>
                        <a:gd name="connsiteY821" fmla="*/ 274084 h 426203"/>
                        <a:gd name="connsiteX822" fmla="*/ 211076 w 533766"/>
                        <a:gd name="connsiteY822" fmla="*/ 271384 h 426203"/>
                        <a:gd name="connsiteX823" fmla="*/ 211076 w 533766"/>
                        <a:gd name="connsiteY823" fmla="*/ 270484 h 426203"/>
                        <a:gd name="connsiteX824" fmla="*/ 211076 w 533766"/>
                        <a:gd name="connsiteY824" fmla="*/ 269584 h 426203"/>
                        <a:gd name="connsiteX825" fmla="*/ 212427 w 533766"/>
                        <a:gd name="connsiteY825" fmla="*/ 266883 h 426203"/>
                        <a:gd name="connsiteX826" fmla="*/ 212877 w 533766"/>
                        <a:gd name="connsiteY826" fmla="*/ 265083 h 426203"/>
                        <a:gd name="connsiteX827" fmla="*/ 213327 w 533766"/>
                        <a:gd name="connsiteY827" fmla="*/ 261483 h 426203"/>
                        <a:gd name="connsiteX828" fmla="*/ 213777 w 533766"/>
                        <a:gd name="connsiteY828" fmla="*/ 260133 h 426203"/>
                        <a:gd name="connsiteX829" fmla="*/ 215127 w 533766"/>
                        <a:gd name="connsiteY829" fmla="*/ 260133 h 426203"/>
                        <a:gd name="connsiteX830" fmla="*/ 217377 w 533766"/>
                        <a:gd name="connsiteY830" fmla="*/ 261933 h 426203"/>
                        <a:gd name="connsiteX831" fmla="*/ 220077 w 533766"/>
                        <a:gd name="connsiteY831" fmla="*/ 263733 h 426203"/>
                        <a:gd name="connsiteX832" fmla="*/ 222328 w 533766"/>
                        <a:gd name="connsiteY832" fmla="*/ 265983 h 426203"/>
                        <a:gd name="connsiteX833" fmla="*/ 224128 w 533766"/>
                        <a:gd name="connsiteY833" fmla="*/ 271834 h 426203"/>
                        <a:gd name="connsiteX834" fmla="*/ 156170 w 533766"/>
                        <a:gd name="connsiteY834" fmla="*/ 262833 h 426203"/>
                        <a:gd name="connsiteX835" fmla="*/ 158420 w 533766"/>
                        <a:gd name="connsiteY835" fmla="*/ 265983 h 426203"/>
                        <a:gd name="connsiteX836" fmla="*/ 158870 w 533766"/>
                        <a:gd name="connsiteY836" fmla="*/ 268684 h 426203"/>
                        <a:gd name="connsiteX837" fmla="*/ 158420 w 533766"/>
                        <a:gd name="connsiteY837" fmla="*/ 272284 h 426203"/>
                        <a:gd name="connsiteX838" fmla="*/ 154819 w 533766"/>
                        <a:gd name="connsiteY838" fmla="*/ 273634 h 426203"/>
                        <a:gd name="connsiteX839" fmla="*/ 153019 w 533766"/>
                        <a:gd name="connsiteY839" fmla="*/ 272734 h 426203"/>
                        <a:gd name="connsiteX840" fmla="*/ 152119 w 533766"/>
                        <a:gd name="connsiteY840" fmla="*/ 272734 h 426203"/>
                        <a:gd name="connsiteX841" fmla="*/ 150769 w 533766"/>
                        <a:gd name="connsiteY841" fmla="*/ 273634 h 426203"/>
                        <a:gd name="connsiteX842" fmla="*/ 152119 w 533766"/>
                        <a:gd name="connsiteY842" fmla="*/ 274084 h 426203"/>
                        <a:gd name="connsiteX843" fmla="*/ 153919 w 533766"/>
                        <a:gd name="connsiteY843" fmla="*/ 275885 h 426203"/>
                        <a:gd name="connsiteX844" fmla="*/ 155719 w 533766"/>
                        <a:gd name="connsiteY844" fmla="*/ 278135 h 426203"/>
                        <a:gd name="connsiteX845" fmla="*/ 158420 w 533766"/>
                        <a:gd name="connsiteY845" fmla="*/ 278585 h 426203"/>
                        <a:gd name="connsiteX846" fmla="*/ 161570 w 533766"/>
                        <a:gd name="connsiteY846" fmla="*/ 279935 h 426203"/>
                        <a:gd name="connsiteX847" fmla="*/ 158870 w 533766"/>
                        <a:gd name="connsiteY847" fmla="*/ 282635 h 426203"/>
                        <a:gd name="connsiteX848" fmla="*/ 158420 w 533766"/>
                        <a:gd name="connsiteY848" fmla="*/ 283986 h 426203"/>
                        <a:gd name="connsiteX849" fmla="*/ 161570 w 533766"/>
                        <a:gd name="connsiteY849" fmla="*/ 288486 h 426203"/>
                        <a:gd name="connsiteX850" fmla="*/ 162020 w 533766"/>
                        <a:gd name="connsiteY850" fmla="*/ 289386 h 426203"/>
                        <a:gd name="connsiteX851" fmla="*/ 162920 w 533766"/>
                        <a:gd name="connsiteY851" fmla="*/ 289386 h 426203"/>
                        <a:gd name="connsiteX852" fmla="*/ 165171 w 533766"/>
                        <a:gd name="connsiteY852" fmla="*/ 288936 h 426203"/>
                        <a:gd name="connsiteX853" fmla="*/ 165621 w 533766"/>
                        <a:gd name="connsiteY853" fmla="*/ 289386 h 426203"/>
                        <a:gd name="connsiteX854" fmla="*/ 165621 w 533766"/>
                        <a:gd name="connsiteY854" fmla="*/ 290286 h 426203"/>
                        <a:gd name="connsiteX855" fmla="*/ 164271 w 533766"/>
                        <a:gd name="connsiteY855" fmla="*/ 292987 h 426203"/>
                        <a:gd name="connsiteX856" fmla="*/ 164271 w 533766"/>
                        <a:gd name="connsiteY856" fmla="*/ 293437 h 426203"/>
                        <a:gd name="connsiteX857" fmla="*/ 165621 w 533766"/>
                        <a:gd name="connsiteY857" fmla="*/ 293887 h 426203"/>
                        <a:gd name="connsiteX858" fmla="*/ 167871 w 533766"/>
                        <a:gd name="connsiteY858" fmla="*/ 293887 h 426203"/>
                        <a:gd name="connsiteX859" fmla="*/ 168321 w 533766"/>
                        <a:gd name="connsiteY859" fmla="*/ 296587 h 426203"/>
                        <a:gd name="connsiteX860" fmla="*/ 166071 w 533766"/>
                        <a:gd name="connsiteY860" fmla="*/ 298838 h 426203"/>
                        <a:gd name="connsiteX861" fmla="*/ 162020 w 533766"/>
                        <a:gd name="connsiteY861" fmla="*/ 296137 h 426203"/>
                        <a:gd name="connsiteX862" fmla="*/ 160220 w 533766"/>
                        <a:gd name="connsiteY862" fmla="*/ 293437 h 426203"/>
                        <a:gd name="connsiteX863" fmla="*/ 159320 w 533766"/>
                        <a:gd name="connsiteY863" fmla="*/ 290736 h 426203"/>
                        <a:gd name="connsiteX864" fmla="*/ 157970 w 533766"/>
                        <a:gd name="connsiteY864" fmla="*/ 289386 h 426203"/>
                        <a:gd name="connsiteX865" fmla="*/ 153919 w 533766"/>
                        <a:gd name="connsiteY865" fmla="*/ 285786 h 426203"/>
                        <a:gd name="connsiteX866" fmla="*/ 148068 w 533766"/>
                        <a:gd name="connsiteY866" fmla="*/ 278585 h 426203"/>
                        <a:gd name="connsiteX867" fmla="*/ 146718 w 533766"/>
                        <a:gd name="connsiteY867" fmla="*/ 277685 h 426203"/>
                        <a:gd name="connsiteX868" fmla="*/ 145368 w 533766"/>
                        <a:gd name="connsiteY868" fmla="*/ 274534 h 426203"/>
                        <a:gd name="connsiteX869" fmla="*/ 144918 w 533766"/>
                        <a:gd name="connsiteY869" fmla="*/ 273184 h 426203"/>
                        <a:gd name="connsiteX870" fmla="*/ 144918 w 533766"/>
                        <a:gd name="connsiteY870" fmla="*/ 272284 h 426203"/>
                        <a:gd name="connsiteX871" fmla="*/ 145368 w 533766"/>
                        <a:gd name="connsiteY871" fmla="*/ 271834 h 426203"/>
                        <a:gd name="connsiteX872" fmla="*/ 147168 w 533766"/>
                        <a:gd name="connsiteY872" fmla="*/ 271384 h 426203"/>
                        <a:gd name="connsiteX873" fmla="*/ 147168 w 533766"/>
                        <a:gd name="connsiteY873" fmla="*/ 270034 h 426203"/>
                        <a:gd name="connsiteX874" fmla="*/ 140418 w 533766"/>
                        <a:gd name="connsiteY874" fmla="*/ 267334 h 426203"/>
                        <a:gd name="connsiteX875" fmla="*/ 139517 w 533766"/>
                        <a:gd name="connsiteY875" fmla="*/ 266883 h 426203"/>
                        <a:gd name="connsiteX876" fmla="*/ 138617 w 533766"/>
                        <a:gd name="connsiteY876" fmla="*/ 265083 h 426203"/>
                        <a:gd name="connsiteX877" fmla="*/ 139067 w 533766"/>
                        <a:gd name="connsiteY877" fmla="*/ 264633 h 426203"/>
                        <a:gd name="connsiteX878" fmla="*/ 142668 w 533766"/>
                        <a:gd name="connsiteY878" fmla="*/ 265083 h 426203"/>
                        <a:gd name="connsiteX879" fmla="*/ 146718 w 533766"/>
                        <a:gd name="connsiteY879" fmla="*/ 264183 h 426203"/>
                        <a:gd name="connsiteX880" fmla="*/ 149419 w 533766"/>
                        <a:gd name="connsiteY880" fmla="*/ 263733 h 426203"/>
                        <a:gd name="connsiteX881" fmla="*/ 150319 w 533766"/>
                        <a:gd name="connsiteY881" fmla="*/ 262833 h 426203"/>
                        <a:gd name="connsiteX882" fmla="*/ 152569 w 533766"/>
                        <a:gd name="connsiteY882" fmla="*/ 261933 h 426203"/>
                        <a:gd name="connsiteX883" fmla="*/ 153469 w 533766"/>
                        <a:gd name="connsiteY883" fmla="*/ 261933 h 426203"/>
                        <a:gd name="connsiteX884" fmla="*/ 156170 w 533766"/>
                        <a:gd name="connsiteY884" fmla="*/ 262833 h 426203"/>
                        <a:gd name="connsiteX885" fmla="*/ 207926 w 533766"/>
                        <a:gd name="connsiteY885" fmla="*/ 270034 h 426203"/>
                        <a:gd name="connsiteX886" fmla="*/ 207926 w 533766"/>
                        <a:gd name="connsiteY886" fmla="*/ 270034 h 426203"/>
                        <a:gd name="connsiteX887" fmla="*/ 206576 w 533766"/>
                        <a:gd name="connsiteY887" fmla="*/ 270034 h 426203"/>
                        <a:gd name="connsiteX888" fmla="*/ 205676 w 533766"/>
                        <a:gd name="connsiteY888" fmla="*/ 269134 h 426203"/>
                        <a:gd name="connsiteX889" fmla="*/ 204326 w 533766"/>
                        <a:gd name="connsiteY889" fmla="*/ 266433 h 426203"/>
                        <a:gd name="connsiteX890" fmla="*/ 203875 w 533766"/>
                        <a:gd name="connsiteY890" fmla="*/ 265533 h 426203"/>
                        <a:gd name="connsiteX891" fmla="*/ 203425 w 533766"/>
                        <a:gd name="connsiteY891" fmla="*/ 263733 h 426203"/>
                        <a:gd name="connsiteX892" fmla="*/ 203875 w 533766"/>
                        <a:gd name="connsiteY892" fmla="*/ 263283 h 426203"/>
                        <a:gd name="connsiteX893" fmla="*/ 204326 w 533766"/>
                        <a:gd name="connsiteY893" fmla="*/ 263283 h 426203"/>
                        <a:gd name="connsiteX894" fmla="*/ 204776 w 533766"/>
                        <a:gd name="connsiteY894" fmla="*/ 263733 h 426203"/>
                        <a:gd name="connsiteX895" fmla="*/ 207026 w 533766"/>
                        <a:gd name="connsiteY895" fmla="*/ 268234 h 426203"/>
                        <a:gd name="connsiteX896" fmla="*/ 207926 w 533766"/>
                        <a:gd name="connsiteY896" fmla="*/ 270034 h 426203"/>
                        <a:gd name="connsiteX897" fmla="*/ 216027 w 533766"/>
                        <a:gd name="connsiteY897" fmla="*/ 286686 h 426203"/>
                        <a:gd name="connsiteX898" fmla="*/ 215127 w 533766"/>
                        <a:gd name="connsiteY898" fmla="*/ 288486 h 426203"/>
                        <a:gd name="connsiteX899" fmla="*/ 212427 w 533766"/>
                        <a:gd name="connsiteY899" fmla="*/ 284436 h 426203"/>
                        <a:gd name="connsiteX900" fmla="*/ 211526 w 533766"/>
                        <a:gd name="connsiteY900" fmla="*/ 283535 h 426203"/>
                        <a:gd name="connsiteX901" fmla="*/ 209276 w 533766"/>
                        <a:gd name="connsiteY901" fmla="*/ 279485 h 426203"/>
                        <a:gd name="connsiteX902" fmla="*/ 208826 w 533766"/>
                        <a:gd name="connsiteY902" fmla="*/ 277685 h 426203"/>
                        <a:gd name="connsiteX903" fmla="*/ 208826 w 533766"/>
                        <a:gd name="connsiteY903" fmla="*/ 276785 h 426203"/>
                        <a:gd name="connsiteX904" fmla="*/ 209276 w 533766"/>
                        <a:gd name="connsiteY904" fmla="*/ 276335 h 426203"/>
                        <a:gd name="connsiteX905" fmla="*/ 209726 w 533766"/>
                        <a:gd name="connsiteY905" fmla="*/ 276785 h 426203"/>
                        <a:gd name="connsiteX906" fmla="*/ 210176 w 533766"/>
                        <a:gd name="connsiteY906" fmla="*/ 277235 h 426203"/>
                        <a:gd name="connsiteX907" fmla="*/ 214227 w 533766"/>
                        <a:gd name="connsiteY907" fmla="*/ 281735 h 426203"/>
                        <a:gd name="connsiteX908" fmla="*/ 215577 w 533766"/>
                        <a:gd name="connsiteY908" fmla="*/ 283986 h 426203"/>
                        <a:gd name="connsiteX909" fmla="*/ 216027 w 533766"/>
                        <a:gd name="connsiteY909" fmla="*/ 286686 h 426203"/>
                        <a:gd name="connsiteX910" fmla="*/ 227728 w 533766"/>
                        <a:gd name="connsiteY910" fmla="*/ 290286 h 426203"/>
                        <a:gd name="connsiteX911" fmla="*/ 225928 w 533766"/>
                        <a:gd name="connsiteY911" fmla="*/ 290736 h 426203"/>
                        <a:gd name="connsiteX912" fmla="*/ 226378 w 533766"/>
                        <a:gd name="connsiteY912" fmla="*/ 288936 h 426203"/>
                        <a:gd name="connsiteX913" fmla="*/ 226378 w 533766"/>
                        <a:gd name="connsiteY913" fmla="*/ 288036 h 426203"/>
                        <a:gd name="connsiteX914" fmla="*/ 225928 w 533766"/>
                        <a:gd name="connsiteY914" fmla="*/ 287136 h 426203"/>
                        <a:gd name="connsiteX915" fmla="*/ 225928 w 533766"/>
                        <a:gd name="connsiteY915" fmla="*/ 285336 h 426203"/>
                        <a:gd name="connsiteX916" fmla="*/ 225928 w 533766"/>
                        <a:gd name="connsiteY916" fmla="*/ 280385 h 426203"/>
                        <a:gd name="connsiteX917" fmla="*/ 227728 w 533766"/>
                        <a:gd name="connsiteY917" fmla="*/ 277235 h 426203"/>
                        <a:gd name="connsiteX918" fmla="*/ 230429 w 533766"/>
                        <a:gd name="connsiteY918" fmla="*/ 277235 h 426203"/>
                        <a:gd name="connsiteX919" fmla="*/ 230429 w 533766"/>
                        <a:gd name="connsiteY919" fmla="*/ 278585 h 426203"/>
                        <a:gd name="connsiteX920" fmla="*/ 229529 w 533766"/>
                        <a:gd name="connsiteY920" fmla="*/ 285336 h 426203"/>
                        <a:gd name="connsiteX921" fmla="*/ 229079 w 533766"/>
                        <a:gd name="connsiteY921" fmla="*/ 288486 h 426203"/>
                        <a:gd name="connsiteX922" fmla="*/ 228629 w 533766"/>
                        <a:gd name="connsiteY922" fmla="*/ 289836 h 426203"/>
                        <a:gd name="connsiteX923" fmla="*/ 227728 w 533766"/>
                        <a:gd name="connsiteY923" fmla="*/ 290286 h 426203"/>
                        <a:gd name="connsiteX924" fmla="*/ 171471 w 533766"/>
                        <a:gd name="connsiteY924" fmla="*/ 305588 h 426203"/>
                        <a:gd name="connsiteX925" fmla="*/ 171471 w 533766"/>
                        <a:gd name="connsiteY925" fmla="*/ 305588 h 426203"/>
                        <a:gd name="connsiteX926" fmla="*/ 170571 w 533766"/>
                        <a:gd name="connsiteY926" fmla="*/ 305138 h 426203"/>
                        <a:gd name="connsiteX927" fmla="*/ 170121 w 533766"/>
                        <a:gd name="connsiteY927" fmla="*/ 303788 h 426203"/>
                        <a:gd name="connsiteX928" fmla="*/ 169671 w 533766"/>
                        <a:gd name="connsiteY928" fmla="*/ 300638 h 426203"/>
                        <a:gd name="connsiteX929" fmla="*/ 169671 w 533766"/>
                        <a:gd name="connsiteY929" fmla="*/ 299287 h 426203"/>
                        <a:gd name="connsiteX930" fmla="*/ 169671 w 533766"/>
                        <a:gd name="connsiteY930" fmla="*/ 298838 h 426203"/>
                        <a:gd name="connsiteX931" fmla="*/ 171471 w 533766"/>
                        <a:gd name="connsiteY931" fmla="*/ 300638 h 426203"/>
                        <a:gd name="connsiteX932" fmla="*/ 171471 w 533766"/>
                        <a:gd name="connsiteY932" fmla="*/ 305588 h 426203"/>
                        <a:gd name="connsiteX933" fmla="*/ 237180 w 533766"/>
                        <a:gd name="connsiteY933" fmla="*/ 322240 h 426203"/>
                        <a:gd name="connsiteX934" fmla="*/ 236730 w 533766"/>
                        <a:gd name="connsiteY934" fmla="*/ 322690 h 426203"/>
                        <a:gd name="connsiteX935" fmla="*/ 235829 w 533766"/>
                        <a:gd name="connsiteY935" fmla="*/ 322690 h 426203"/>
                        <a:gd name="connsiteX936" fmla="*/ 234479 w 533766"/>
                        <a:gd name="connsiteY936" fmla="*/ 322240 h 426203"/>
                        <a:gd name="connsiteX937" fmla="*/ 233579 w 533766"/>
                        <a:gd name="connsiteY937" fmla="*/ 320890 h 426203"/>
                        <a:gd name="connsiteX938" fmla="*/ 232229 w 533766"/>
                        <a:gd name="connsiteY938" fmla="*/ 316840 h 426203"/>
                        <a:gd name="connsiteX939" fmla="*/ 232229 w 533766"/>
                        <a:gd name="connsiteY939" fmla="*/ 315940 h 426203"/>
                        <a:gd name="connsiteX940" fmla="*/ 232679 w 533766"/>
                        <a:gd name="connsiteY940" fmla="*/ 315039 h 426203"/>
                        <a:gd name="connsiteX941" fmla="*/ 234479 w 533766"/>
                        <a:gd name="connsiteY941" fmla="*/ 313689 h 426203"/>
                        <a:gd name="connsiteX942" fmla="*/ 235379 w 533766"/>
                        <a:gd name="connsiteY942" fmla="*/ 313689 h 426203"/>
                        <a:gd name="connsiteX943" fmla="*/ 235829 w 533766"/>
                        <a:gd name="connsiteY943" fmla="*/ 314589 h 426203"/>
                        <a:gd name="connsiteX944" fmla="*/ 237180 w 533766"/>
                        <a:gd name="connsiteY944" fmla="*/ 316840 h 426203"/>
                        <a:gd name="connsiteX945" fmla="*/ 237630 w 533766"/>
                        <a:gd name="connsiteY945" fmla="*/ 317740 h 426203"/>
                        <a:gd name="connsiteX946" fmla="*/ 237630 w 533766"/>
                        <a:gd name="connsiteY946" fmla="*/ 320440 h 426203"/>
                        <a:gd name="connsiteX947" fmla="*/ 237180 w 533766"/>
                        <a:gd name="connsiteY947" fmla="*/ 322240 h 426203"/>
                        <a:gd name="connsiteX948" fmla="*/ 252932 w 533766"/>
                        <a:gd name="connsiteY948" fmla="*/ 350144 h 426203"/>
                        <a:gd name="connsiteX949" fmla="*/ 263283 w 533766"/>
                        <a:gd name="connsiteY949" fmla="*/ 354194 h 426203"/>
                        <a:gd name="connsiteX950" fmla="*/ 273634 w 533766"/>
                        <a:gd name="connsiteY950" fmla="*/ 356445 h 426203"/>
                        <a:gd name="connsiteX951" fmla="*/ 281285 w 533766"/>
                        <a:gd name="connsiteY951" fmla="*/ 358695 h 426203"/>
                        <a:gd name="connsiteX952" fmla="*/ 286236 w 533766"/>
                        <a:gd name="connsiteY952" fmla="*/ 359595 h 426203"/>
                        <a:gd name="connsiteX953" fmla="*/ 288036 w 533766"/>
                        <a:gd name="connsiteY953" fmla="*/ 360045 h 426203"/>
                        <a:gd name="connsiteX954" fmla="*/ 288936 w 533766"/>
                        <a:gd name="connsiteY954" fmla="*/ 360945 h 426203"/>
                        <a:gd name="connsiteX955" fmla="*/ 290286 w 533766"/>
                        <a:gd name="connsiteY955" fmla="*/ 363196 h 426203"/>
                        <a:gd name="connsiteX956" fmla="*/ 292537 w 533766"/>
                        <a:gd name="connsiteY956" fmla="*/ 368146 h 426203"/>
                        <a:gd name="connsiteX957" fmla="*/ 294337 w 533766"/>
                        <a:gd name="connsiteY957" fmla="*/ 371296 h 426203"/>
                        <a:gd name="connsiteX958" fmla="*/ 297937 w 533766"/>
                        <a:gd name="connsiteY958" fmla="*/ 376697 h 426203"/>
                        <a:gd name="connsiteX959" fmla="*/ 300638 w 533766"/>
                        <a:gd name="connsiteY959" fmla="*/ 380298 h 426203"/>
                        <a:gd name="connsiteX960" fmla="*/ 301088 w 533766"/>
                        <a:gd name="connsiteY960" fmla="*/ 381648 h 426203"/>
                        <a:gd name="connsiteX961" fmla="*/ 300638 w 533766"/>
                        <a:gd name="connsiteY961" fmla="*/ 382098 h 426203"/>
                        <a:gd name="connsiteX962" fmla="*/ 300638 w 533766"/>
                        <a:gd name="connsiteY962" fmla="*/ 382998 h 426203"/>
                        <a:gd name="connsiteX963" fmla="*/ 302888 w 533766"/>
                        <a:gd name="connsiteY963" fmla="*/ 386599 h 426203"/>
                        <a:gd name="connsiteX964" fmla="*/ 306938 w 533766"/>
                        <a:gd name="connsiteY964" fmla="*/ 389749 h 426203"/>
                        <a:gd name="connsiteX965" fmla="*/ 310089 w 533766"/>
                        <a:gd name="connsiteY965" fmla="*/ 391099 h 426203"/>
                        <a:gd name="connsiteX966" fmla="*/ 316840 w 533766"/>
                        <a:gd name="connsiteY966" fmla="*/ 393799 h 426203"/>
                        <a:gd name="connsiteX967" fmla="*/ 320890 w 533766"/>
                        <a:gd name="connsiteY967" fmla="*/ 396500 h 426203"/>
                        <a:gd name="connsiteX968" fmla="*/ 322240 w 533766"/>
                        <a:gd name="connsiteY968" fmla="*/ 398300 h 426203"/>
                        <a:gd name="connsiteX969" fmla="*/ 324041 w 533766"/>
                        <a:gd name="connsiteY969" fmla="*/ 400100 h 426203"/>
                        <a:gd name="connsiteX970" fmla="*/ 324941 w 533766"/>
                        <a:gd name="connsiteY970" fmla="*/ 401450 h 426203"/>
                        <a:gd name="connsiteX971" fmla="*/ 326291 w 533766"/>
                        <a:gd name="connsiteY971" fmla="*/ 405501 h 426203"/>
                        <a:gd name="connsiteX972" fmla="*/ 328991 w 533766"/>
                        <a:gd name="connsiteY972" fmla="*/ 409551 h 426203"/>
                        <a:gd name="connsiteX973" fmla="*/ 331691 w 533766"/>
                        <a:gd name="connsiteY973" fmla="*/ 417202 h 426203"/>
                        <a:gd name="connsiteX974" fmla="*/ 332141 w 533766"/>
                        <a:gd name="connsiteY974" fmla="*/ 416752 h 426203"/>
                        <a:gd name="connsiteX975" fmla="*/ 332592 w 533766"/>
                        <a:gd name="connsiteY975" fmla="*/ 414502 h 426203"/>
                        <a:gd name="connsiteX976" fmla="*/ 333042 w 533766"/>
                        <a:gd name="connsiteY976" fmla="*/ 414052 h 426203"/>
                        <a:gd name="connsiteX977" fmla="*/ 333492 w 533766"/>
                        <a:gd name="connsiteY977" fmla="*/ 413602 h 426203"/>
                        <a:gd name="connsiteX978" fmla="*/ 333942 w 533766"/>
                        <a:gd name="connsiteY978" fmla="*/ 414502 h 426203"/>
                        <a:gd name="connsiteX979" fmla="*/ 334392 w 533766"/>
                        <a:gd name="connsiteY979" fmla="*/ 416752 h 426203"/>
                        <a:gd name="connsiteX980" fmla="*/ 336192 w 533766"/>
                        <a:gd name="connsiteY980" fmla="*/ 421703 h 426203"/>
                        <a:gd name="connsiteX981" fmla="*/ 335742 w 533766"/>
                        <a:gd name="connsiteY981" fmla="*/ 423053 h 426203"/>
                        <a:gd name="connsiteX982" fmla="*/ 335292 w 533766"/>
                        <a:gd name="connsiteY982" fmla="*/ 423053 h 426203"/>
                        <a:gd name="connsiteX983" fmla="*/ 333042 w 533766"/>
                        <a:gd name="connsiteY983" fmla="*/ 422603 h 426203"/>
                        <a:gd name="connsiteX984" fmla="*/ 332141 w 533766"/>
                        <a:gd name="connsiteY984" fmla="*/ 423503 h 426203"/>
                        <a:gd name="connsiteX985" fmla="*/ 331241 w 533766"/>
                        <a:gd name="connsiteY985" fmla="*/ 425303 h 426203"/>
                        <a:gd name="connsiteX986" fmla="*/ 330341 w 533766"/>
                        <a:gd name="connsiteY986" fmla="*/ 426203 h 426203"/>
                        <a:gd name="connsiteX987" fmla="*/ 329891 w 533766"/>
                        <a:gd name="connsiteY987" fmla="*/ 425753 h 426203"/>
                        <a:gd name="connsiteX988" fmla="*/ 323140 w 533766"/>
                        <a:gd name="connsiteY988" fmla="*/ 423953 h 426203"/>
                        <a:gd name="connsiteX989" fmla="*/ 319090 w 533766"/>
                        <a:gd name="connsiteY989" fmla="*/ 422153 h 426203"/>
                        <a:gd name="connsiteX990" fmla="*/ 313689 w 533766"/>
                        <a:gd name="connsiteY990" fmla="*/ 419453 h 426203"/>
                        <a:gd name="connsiteX991" fmla="*/ 306938 w 533766"/>
                        <a:gd name="connsiteY991" fmla="*/ 416752 h 426203"/>
                        <a:gd name="connsiteX992" fmla="*/ 303338 w 533766"/>
                        <a:gd name="connsiteY992" fmla="*/ 414952 h 426203"/>
                        <a:gd name="connsiteX993" fmla="*/ 300188 w 533766"/>
                        <a:gd name="connsiteY993" fmla="*/ 413152 h 426203"/>
                        <a:gd name="connsiteX994" fmla="*/ 297937 w 533766"/>
                        <a:gd name="connsiteY994" fmla="*/ 411352 h 426203"/>
                        <a:gd name="connsiteX995" fmla="*/ 297487 w 533766"/>
                        <a:gd name="connsiteY995" fmla="*/ 410001 h 426203"/>
                        <a:gd name="connsiteX996" fmla="*/ 297487 w 533766"/>
                        <a:gd name="connsiteY996" fmla="*/ 409551 h 426203"/>
                        <a:gd name="connsiteX997" fmla="*/ 301538 w 533766"/>
                        <a:gd name="connsiteY997" fmla="*/ 405051 h 426203"/>
                        <a:gd name="connsiteX998" fmla="*/ 303338 w 533766"/>
                        <a:gd name="connsiteY998" fmla="*/ 402800 h 426203"/>
                        <a:gd name="connsiteX999" fmla="*/ 304238 w 533766"/>
                        <a:gd name="connsiteY999" fmla="*/ 401000 h 426203"/>
                        <a:gd name="connsiteX1000" fmla="*/ 304688 w 533766"/>
                        <a:gd name="connsiteY1000" fmla="*/ 399200 h 426203"/>
                        <a:gd name="connsiteX1001" fmla="*/ 304238 w 533766"/>
                        <a:gd name="connsiteY1001" fmla="*/ 396950 h 426203"/>
                        <a:gd name="connsiteX1002" fmla="*/ 304238 w 533766"/>
                        <a:gd name="connsiteY1002" fmla="*/ 396950 h 426203"/>
                        <a:gd name="connsiteX1003" fmla="*/ 303788 w 533766"/>
                        <a:gd name="connsiteY1003" fmla="*/ 399200 h 426203"/>
                        <a:gd name="connsiteX1004" fmla="*/ 303338 w 533766"/>
                        <a:gd name="connsiteY1004" fmla="*/ 401000 h 426203"/>
                        <a:gd name="connsiteX1005" fmla="*/ 302438 w 533766"/>
                        <a:gd name="connsiteY1005" fmla="*/ 402350 h 426203"/>
                        <a:gd name="connsiteX1006" fmla="*/ 301088 w 533766"/>
                        <a:gd name="connsiteY1006" fmla="*/ 403701 h 426203"/>
                        <a:gd name="connsiteX1007" fmla="*/ 296137 w 533766"/>
                        <a:gd name="connsiteY1007" fmla="*/ 404601 h 426203"/>
                        <a:gd name="connsiteX1008" fmla="*/ 292086 w 533766"/>
                        <a:gd name="connsiteY1008" fmla="*/ 404151 h 426203"/>
                        <a:gd name="connsiteX1009" fmla="*/ 289836 w 533766"/>
                        <a:gd name="connsiteY1009" fmla="*/ 405951 h 426203"/>
                        <a:gd name="connsiteX1010" fmla="*/ 289386 w 533766"/>
                        <a:gd name="connsiteY1010" fmla="*/ 406401 h 426203"/>
                        <a:gd name="connsiteX1011" fmla="*/ 288036 w 533766"/>
                        <a:gd name="connsiteY1011" fmla="*/ 405951 h 426203"/>
                        <a:gd name="connsiteX1012" fmla="*/ 285336 w 533766"/>
                        <a:gd name="connsiteY1012" fmla="*/ 403701 h 426203"/>
                        <a:gd name="connsiteX1013" fmla="*/ 281735 w 533766"/>
                        <a:gd name="connsiteY1013" fmla="*/ 401900 h 426203"/>
                        <a:gd name="connsiteX1014" fmla="*/ 282185 w 533766"/>
                        <a:gd name="connsiteY1014" fmla="*/ 401450 h 426203"/>
                        <a:gd name="connsiteX1015" fmla="*/ 284436 w 533766"/>
                        <a:gd name="connsiteY1015" fmla="*/ 400550 h 426203"/>
                        <a:gd name="connsiteX1016" fmla="*/ 285786 w 533766"/>
                        <a:gd name="connsiteY1016" fmla="*/ 399200 h 426203"/>
                        <a:gd name="connsiteX1017" fmla="*/ 285786 w 533766"/>
                        <a:gd name="connsiteY1017" fmla="*/ 398750 h 426203"/>
                        <a:gd name="connsiteX1018" fmla="*/ 284886 w 533766"/>
                        <a:gd name="connsiteY1018" fmla="*/ 398750 h 426203"/>
                        <a:gd name="connsiteX1019" fmla="*/ 283985 w 533766"/>
                        <a:gd name="connsiteY1019" fmla="*/ 398300 h 426203"/>
                        <a:gd name="connsiteX1020" fmla="*/ 282635 w 533766"/>
                        <a:gd name="connsiteY1020" fmla="*/ 396500 h 426203"/>
                        <a:gd name="connsiteX1021" fmla="*/ 281735 w 533766"/>
                        <a:gd name="connsiteY1021" fmla="*/ 396050 h 426203"/>
                        <a:gd name="connsiteX1022" fmla="*/ 279935 w 533766"/>
                        <a:gd name="connsiteY1022" fmla="*/ 396950 h 426203"/>
                        <a:gd name="connsiteX1023" fmla="*/ 279035 w 533766"/>
                        <a:gd name="connsiteY1023" fmla="*/ 396950 h 426203"/>
                        <a:gd name="connsiteX1024" fmla="*/ 278585 w 533766"/>
                        <a:gd name="connsiteY1024" fmla="*/ 394699 h 426203"/>
                        <a:gd name="connsiteX1025" fmla="*/ 279485 w 533766"/>
                        <a:gd name="connsiteY1025" fmla="*/ 391549 h 426203"/>
                        <a:gd name="connsiteX1026" fmla="*/ 279485 w 533766"/>
                        <a:gd name="connsiteY1026" fmla="*/ 390649 h 426203"/>
                        <a:gd name="connsiteX1027" fmla="*/ 277685 w 533766"/>
                        <a:gd name="connsiteY1027" fmla="*/ 391549 h 426203"/>
                        <a:gd name="connsiteX1028" fmla="*/ 277235 w 533766"/>
                        <a:gd name="connsiteY1028" fmla="*/ 391099 h 426203"/>
                        <a:gd name="connsiteX1029" fmla="*/ 276785 w 533766"/>
                        <a:gd name="connsiteY1029" fmla="*/ 390199 h 426203"/>
                        <a:gd name="connsiteX1030" fmla="*/ 276335 w 533766"/>
                        <a:gd name="connsiteY1030" fmla="*/ 389749 h 426203"/>
                        <a:gd name="connsiteX1031" fmla="*/ 274984 w 533766"/>
                        <a:gd name="connsiteY1031" fmla="*/ 389749 h 426203"/>
                        <a:gd name="connsiteX1032" fmla="*/ 273184 w 533766"/>
                        <a:gd name="connsiteY1032" fmla="*/ 388849 h 426203"/>
                        <a:gd name="connsiteX1033" fmla="*/ 272734 w 533766"/>
                        <a:gd name="connsiteY1033" fmla="*/ 389299 h 426203"/>
                        <a:gd name="connsiteX1034" fmla="*/ 272734 w 533766"/>
                        <a:gd name="connsiteY1034" fmla="*/ 390649 h 426203"/>
                        <a:gd name="connsiteX1035" fmla="*/ 272284 w 533766"/>
                        <a:gd name="connsiteY1035" fmla="*/ 391099 h 426203"/>
                        <a:gd name="connsiteX1036" fmla="*/ 270034 w 533766"/>
                        <a:gd name="connsiteY1036" fmla="*/ 388849 h 426203"/>
                        <a:gd name="connsiteX1037" fmla="*/ 269584 w 533766"/>
                        <a:gd name="connsiteY1037" fmla="*/ 388849 h 426203"/>
                        <a:gd name="connsiteX1038" fmla="*/ 268233 w 533766"/>
                        <a:gd name="connsiteY1038" fmla="*/ 390649 h 426203"/>
                        <a:gd name="connsiteX1039" fmla="*/ 267783 w 533766"/>
                        <a:gd name="connsiteY1039" fmla="*/ 390649 h 426203"/>
                        <a:gd name="connsiteX1040" fmla="*/ 267333 w 533766"/>
                        <a:gd name="connsiteY1040" fmla="*/ 389749 h 426203"/>
                        <a:gd name="connsiteX1041" fmla="*/ 266883 w 533766"/>
                        <a:gd name="connsiteY1041" fmla="*/ 385698 h 426203"/>
                        <a:gd name="connsiteX1042" fmla="*/ 266883 w 533766"/>
                        <a:gd name="connsiteY1042" fmla="*/ 384348 h 426203"/>
                        <a:gd name="connsiteX1043" fmla="*/ 267333 w 533766"/>
                        <a:gd name="connsiteY1043" fmla="*/ 383898 h 426203"/>
                        <a:gd name="connsiteX1044" fmla="*/ 269584 w 533766"/>
                        <a:gd name="connsiteY1044" fmla="*/ 382998 h 426203"/>
                        <a:gd name="connsiteX1045" fmla="*/ 275434 w 533766"/>
                        <a:gd name="connsiteY1045" fmla="*/ 382098 h 426203"/>
                        <a:gd name="connsiteX1046" fmla="*/ 275884 w 533766"/>
                        <a:gd name="connsiteY1046" fmla="*/ 381198 h 426203"/>
                        <a:gd name="connsiteX1047" fmla="*/ 271384 w 533766"/>
                        <a:gd name="connsiteY1047" fmla="*/ 381648 h 426203"/>
                        <a:gd name="connsiteX1048" fmla="*/ 270034 w 533766"/>
                        <a:gd name="connsiteY1048" fmla="*/ 381198 h 426203"/>
                        <a:gd name="connsiteX1049" fmla="*/ 268684 w 533766"/>
                        <a:gd name="connsiteY1049" fmla="*/ 379848 h 426203"/>
                        <a:gd name="connsiteX1050" fmla="*/ 267333 w 533766"/>
                        <a:gd name="connsiteY1050" fmla="*/ 379848 h 426203"/>
                        <a:gd name="connsiteX1051" fmla="*/ 266433 w 533766"/>
                        <a:gd name="connsiteY1051" fmla="*/ 379397 h 426203"/>
                        <a:gd name="connsiteX1052" fmla="*/ 265533 w 533766"/>
                        <a:gd name="connsiteY1052" fmla="*/ 378498 h 426203"/>
                        <a:gd name="connsiteX1053" fmla="*/ 263733 w 533766"/>
                        <a:gd name="connsiteY1053" fmla="*/ 374897 h 426203"/>
                        <a:gd name="connsiteX1054" fmla="*/ 262383 w 533766"/>
                        <a:gd name="connsiteY1054" fmla="*/ 373997 h 426203"/>
                        <a:gd name="connsiteX1055" fmla="*/ 260132 w 533766"/>
                        <a:gd name="connsiteY1055" fmla="*/ 373547 h 426203"/>
                        <a:gd name="connsiteX1056" fmla="*/ 258782 w 533766"/>
                        <a:gd name="connsiteY1056" fmla="*/ 372647 h 426203"/>
                        <a:gd name="connsiteX1057" fmla="*/ 258332 w 533766"/>
                        <a:gd name="connsiteY1057" fmla="*/ 373097 h 426203"/>
                        <a:gd name="connsiteX1058" fmla="*/ 257882 w 533766"/>
                        <a:gd name="connsiteY1058" fmla="*/ 373997 h 426203"/>
                        <a:gd name="connsiteX1059" fmla="*/ 257432 w 533766"/>
                        <a:gd name="connsiteY1059" fmla="*/ 374447 h 426203"/>
                        <a:gd name="connsiteX1060" fmla="*/ 256082 w 533766"/>
                        <a:gd name="connsiteY1060" fmla="*/ 374897 h 426203"/>
                        <a:gd name="connsiteX1061" fmla="*/ 254732 w 533766"/>
                        <a:gd name="connsiteY1061" fmla="*/ 374447 h 426203"/>
                        <a:gd name="connsiteX1062" fmla="*/ 253832 w 533766"/>
                        <a:gd name="connsiteY1062" fmla="*/ 373547 h 426203"/>
                        <a:gd name="connsiteX1063" fmla="*/ 253382 w 533766"/>
                        <a:gd name="connsiteY1063" fmla="*/ 372197 h 426203"/>
                        <a:gd name="connsiteX1064" fmla="*/ 252932 w 533766"/>
                        <a:gd name="connsiteY1064" fmla="*/ 370847 h 426203"/>
                        <a:gd name="connsiteX1065" fmla="*/ 253382 w 533766"/>
                        <a:gd name="connsiteY1065" fmla="*/ 369046 h 426203"/>
                        <a:gd name="connsiteX1066" fmla="*/ 253382 w 533766"/>
                        <a:gd name="connsiteY1066" fmla="*/ 368146 h 426203"/>
                        <a:gd name="connsiteX1067" fmla="*/ 252932 w 533766"/>
                        <a:gd name="connsiteY1067" fmla="*/ 367246 h 426203"/>
                        <a:gd name="connsiteX1068" fmla="*/ 252482 w 533766"/>
                        <a:gd name="connsiteY1068" fmla="*/ 366346 h 426203"/>
                        <a:gd name="connsiteX1069" fmla="*/ 251581 w 533766"/>
                        <a:gd name="connsiteY1069" fmla="*/ 365896 h 426203"/>
                        <a:gd name="connsiteX1070" fmla="*/ 251131 w 533766"/>
                        <a:gd name="connsiteY1070" fmla="*/ 366346 h 426203"/>
                        <a:gd name="connsiteX1071" fmla="*/ 251131 w 533766"/>
                        <a:gd name="connsiteY1071" fmla="*/ 367246 h 426203"/>
                        <a:gd name="connsiteX1072" fmla="*/ 250681 w 533766"/>
                        <a:gd name="connsiteY1072" fmla="*/ 368146 h 426203"/>
                        <a:gd name="connsiteX1073" fmla="*/ 249331 w 533766"/>
                        <a:gd name="connsiteY1073" fmla="*/ 368596 h 426203"/>
                        <a:gd name="connsiteX1074" fmla="*/ 248431 w 533766"/>
                        <a:gd name="connsiteY1074" fmla="*/ 367696 h 426203"/>
                        <a:gd name="connsiteX1075" fmla="*/ 247531 w 533766"/>
                        <a:gd name="connsiteY1075" fmla="*/ 366346 h 426203"/>
                        <a:gd name="connsiteX1076" fmla="*/ 246631 w 533766"/>
                        <a:gd name="connsiteY1076" fmla="*/ 365446 h 426203"/>
                        <a:gd name="connsiteX1077" fmla="*/ 242130 w 533766"/>
                        <a:gd name="connsiteY1077" fmla="*/ 365446 h 426203"/>
                        <a:gd name="connsiteX1078" fmla="*/ 239880 w 533766"/>
                        <a:gd name="connsiteY1078" fmla="*/ 366796 h 426203"/>
                        <a:gd name="connsiteX1079" fmla="*/ 238980 w 533766"/>
                        <a:gd name="connsiteY1079" fmla="*/ 366796 h 426203"/>
                        <a:gd name="connsiteX1080" fmla="*/ 238080 w 533766"/>
                        <a:gd name="connsiteY1080" fmla="*/ 366346 h 426203"/>
                        <a:gd name="connsiteX1081" fmla="*/ 238080 w 533766"/>
                        <a:gd name="connsiteY1081" fmla="*/ 365446 h 426203"/>
                        <a:gd name="connsiteX1082" fmla="*/ 238980 w 533766"/>
                        <a:gd name="connsiteY1082" fmla="*/ 363196 h 426203"/>
                        <a:gd name="connsiteX1083" fmla="*/ 238530 w 533766"/>
                        <a:gd name="connsiteY1083" fmla="*/ 360495 h 426203"/>
                        <a:gd name="connsiteX1084" fmla="*/ 238080 w 533766"/>
                        <a:gd name="connsiteY1084" fmla="*/ 359595 h 426203"/>
                        <a:gd name="connsiteX1085" fmla="*/ 235829 w 533766"/>
                        <a:gd name="connsiteY1085" fmla="*/ 359145 h 426203"/>
                        <a:gd name="connsiteX1086" fmla="*/ 235379 w 533766"/>
                        <a:gd name="connsiteY1086" fmla="*/ 358695 h 426203"/>
                        <a:gd name="connsiteX1087" fmla="*/ 236730 w 533766"/>
                        <a:gd name="connsiteY1087" fmla="*/ 355545 h 426203"/>
                        <a:gd name="connsiteX1088" fmla="*/ 237630 w 533766"/>
                        <a:gd name="connsiteY1088" fmla="*/ 355095 h 426203"/>
                        <a:gd name="connsiteX1089" fmla="*/ 238530 w 533766"/>
                        <a:gd name="connsiteY1089" fmla="*/ 354644 h 426203"/>
                        <a:gd name="connsiteX1090" fmla="*/ 242580 w 533766"/>
                        <a:gd name="connsiteY1090" fmla="*/ 354194 h 426203"/>
                        <a:gd name="connsiteX1091" fmla="*/ 243930 w 533766"/>
                        <a:gd name="connsiteY1091" fmla="*/ 354644 h 426203"/>
                        <a:gd name="connsiteX1092" fmla="*/ 245731 w 533766"/>
                        <a:gd name="connsiteY1092" fmla="*/ 356445 h 426203"/>
                        <a:gd name="connsiteX1093" fmla="*/ 245731 w 533766"/>
                        <a:gd name="connsiteY1093" fmla="*/ 355545 h 426203"/>
                        <a:gd name="connsiteX1094" fmla="*/ 244831 w 533766"/>
                        <a:gd name="connsiteY1094" fmla="*/ 353294 h 426203"/>
                        <a:gd name="connsiteX1095" fmla="*/ 244831 w 533766"/>
                        <a:gd name="connsiteY1095" fmla="*/ 351944 h 426203"/>
                        <a:gd name="connsiteX1096" fmla="*/ 246181 w 533766"/>
                        <a:gd name="connsiteY1096" fmla="*/ 350594 h 426203"/>
                        <a:gd name="connsiteX1097" fmla="*/ 244831 w 533766"/>
                        <a:gd name="connsiteY1097" fmla="*/ 350144 h 426203"/>
                        <a:gd name="connsiteX1098" fmla="*/ 239880 w 533766"/>
                        <a:gd name="connsiteY1098" fmla="*/ 349694 h 426203"/>
                        <a:gd name="connsiteX1099" fmla="*/ 239880 w 533766"/>
                        <a:gd name="connsiteY1099" fmla="*/ 350594 h 426203"/>
                        <a:gd name="connsiteX1100" fmla="*/ 240330 w 533766"/>
                        <a:gd name="connsiteY1100" fmla="*/ 351944 h 426203"/>
                        <a:gd name="connsiteX1101" fmla="*/ 237630 w 533766"/>
                        <a:gd name="connsiteY1101" fmla="*/ 353294 h 426203"/>
                        <a:gd name="connsiteX1102" fmla="*/ 235379 w 533766"/>
                        <a:gd name="connsiteY1102" fmla="*/ 353294 h 426203"/>
                        <a:gd name="connsiteX1103" fmla="*/ 233579 w 533766"/>
                        <a:gd name="connsiteY1103" fmla="*/ 353294 h 426203"/>
                        <a:gd name="connsiteX1104" fmla="*/ 231779 w 533766"/>
                        <a:gd name="connsiteY1104" fmla="*/ 352394 h 426203"/>
                        <a:gd name="connsiteX1105" fmla="*/ 229079 w 533766"/>
                        <a:gd name="connsiteY1105" fmla="*/ 349244 h 426203"/>
                        <a:gd name="connsiteX1106" fmla="*/ 227278 w 533766"/>
                        <a:gd name="connsiteY1106" fmla="*/ 346543 h 426203"/>
                        <a:gd name="connsiteX1107" fmla="*/ 227278 w 533766"/>
                        <a:gd name="connsiteY1107" fmla="*/ 344743 h 426203"/>
                        <a:gd name="connsiteX1108" fmla="*/ 228179 w 533766"/>
                        <a:gd name="connsiteY1108" fmla="*/ 342943 h 426203"/>
                        <a:gd name="connsiteX1109" fmla="*/ 229529 w 533766"/>
                        <a:gd name="connsiteY1109" fmla="*/ 341593 h 426203"/>
                        <a:gd name="connsiteX1110" fmla="*/ 232679 w 533766"/>
                        <a:gd name="connsiteY1110" fmla="*/ 340693 h 426203"/>
                        <a:gd name="connsiteX1111" fmla="*/ 236730 w 533766"/>
                        <a:gd name="connsiteY1111" fmla="*/ 340693 h 426203"/>
                        <a:gd name="connsiteX1112" fmla="*/ 241230 w 533766"/>
                        <a:gd name="connsiteY1112" fmla="*/ 342043 h 426203"/>
                        <a:gd name="connsiteX1113" fmla="*/ 252932 w 533766"/>
                        <a:gd name="connsiteY1113" fmla="*/ 350144 h 426203"/>
                        <a:gd name="connsiteX1114" fmla="*/ 295237 w 533766"/>
                        <a:gd name="connsiteY1114" fmla="*/ 368146 h 426203"/>
                        <a:gd name="connsiteX1115" fmla="*/ 294787 w 533766"/>
                        <a:gd name="connsiteY1115" fmla="*/ 369946 h 426203"/>
                        <a:gd name="connsiteX1116" fmla="*/ 293437 w 533766"/>
                        <a:gd name="connsiteY1116" fmla="*/ 367246 h 426203"/>
                        <a:gd name="connsiteX1117" fmla="*/ 291186 w 533766"/>
                        <a:gd name="connsiteY1117" fmla="*/ 361395 h 426203"/>
                        <a:gd name="connsiteX1118" fmla="*/ 291636 w 533766"/>
                        <a:gd name="connsiteY1118" fmla="*/ 360045 h 426203"/>
                        <a:gd name="connsiteX1119" fmla="*/ 292537 w 533766"/>
                        <a:gd name="connsiteY1119" fmla="*/ 358245 h 426203"/>
                        <a:gd name="connsiteX1120" fmla="*/ 293437 w 533766"/>
                        <a:gd name="connsiteY1120" fmla="*/ 358245 h 426203"/>
                        <a:gd name="connsiteX1121" fmla="*/ 294787 w 533766"/>
                        <a:gd name="connsiteY1121" fmla="*/ 359145 h 426203"/>
                        <a:gd name="connsiteX1122" fmla="*/ 296137 w 533766"/>
                        <a:gd name="connsiteY1122" fmla="*/ 360945 h 426203"/>
                        <a:gd name="connsiteX1123" fmla="*/ 296587 w 533766"/>
                        <a:gd name="connsiteY1123" fmla="*/ 361395 h 426203"/>
                        <a:gd name="connsiteX1124" fmla="*/ 297487 w 533766"/>
                        <a:gd name="connsiteY1124" fmla="*/ 363196 h 426203"/>
                        <a:gd name="connsiteX1125" fmla="*/ 297937 w 533766"/>
                        <a:gd name="connsiteY1125" fmla="*/ 364546 h 426203"/>
                        <a:gd name="connsiteX1126" fmla="*/ 297037 w 533766"/>
                        <a:gd name="connsiteY1126" fmla="*/ 366346 h 426203"/>
                        <a:gd name="connsiteX1127" fmla="*/ 295237 w 533766"/>
                        <a:gd name="connsiteY1127" fmla="*/ 368146 h 426203"/>
                        <a:gd name="connsiteX1128" fmla="*/ 299737 w 533766"/>
                        <a:gd name="connsiteY1128" fmla="*/ 370396 h 426203"/>
                        <a:gd name="connsiteX1129" fmla="*/ 299287 w 533766"/>
                        <a:gd name="connsiteY1129" fmla="*/ 370847 h 426203"/>
                        <a:gd name="connsiteX1130" fmla="*/ 298837 w 533766"/>
                        <a:gd name="connsiteY1130" fmla="*/ 367246 h 426203"/>
                        <a:gd name="connsiteX1131" fmla="*/ 299287 w 533766"/>
                        <a:gd name="connsiteY1131" fmla="*/ 365896 h 426203"/>
                        <a:gd name="connsiteX1132" fmla="*/ 299287 w 533766"/>
                        <a:gd name="connsiteY1132" fmla="*/ 364996 h 426203"/>
                        <a:gd name="connsiteX1133" fmla="*/ 299287 w 533766"/>
                        <a:gd name="connsiteY1133" fmla="*/ 364096 h 426203"/>
                        <a:gd name="connsiteX1134" fmla="*/ 300188 w 533766"/>
                        <a:gd name="connsiteY1134" fmla="*/ 365896 h 426203"/>
                        <a:gd name="connsiteX1135" fmla="*/ 300638 w 533766"/>
                        <a:gd name="connsiteY1135" fmla="*/ 367246 h 426203"/>
                        <a:gd name="connsiteX1136" fmla="*/ 300638 w 533766"/>
                        <a:gd name="connsiteY1136" fmla="*/ 368596 h 426203"/>
                        <a:gd name="connsiteX1137" fmla="*/ 300638 w 533766"/>
                        <a:gd name="connsiteY1137" fmla="*/ 369046 h 426203"/>
                        <a:gd name="connsiteX1138" fmla="*/ 299737 w 533766"/>
                        <a:gd name="connsiteY1138" fmla="*/ 370396 h 426203"/>
                        <a:gd name="connsiteX1139" fmla="*/ 264633 w 533766"/>
                        <a:gd name="connsiteY1139" fmla="*/ 384348 h 426203"/>
                        <a:gd name="connsiteX1140" fmla="*/ 263733 w 533766"/>
                        <a:gd name="connsiteY1140" fmla="*/ 384348 h 426203"/>
                        <a:gd name="connsiteX1141" fmla="*/ 262383 w 533766"/>
                        <a:gd name="connsiteY1141" fmla="*/ 383898 h 426203"/>
                        <a:gd name="connsiteX1142" fmla="*/ 261033 w 533766"/>
                        <a:gd name="connsiteY1142" fmla="*/ 382998 h 426203"/>
                        <a:gd name="connsiteX1143" fmla="*/ 258332 w 533766"/>
                        <a:gd name="connsiteY1143" fmla="*/ 380298 h 426203"/>
                        <a:gd name="connsiteX1144" fmla="*/ 257882 w 533766"/>
                        <a:gd name="connsiteY1144" fmla="*/ 379848 h 426203"/>
                        <a:gd name="connsiteX1145" fmla="*/ 258332 w 533766"/>
                        <a:gd name="connsiteY1145" fmla="*/ 379397 h 426203"/>
                        <a:gd name="connsiteX1146" fmla="*/ 259232 w 533766"/>
                        <a:gd name="connsiteY1146" fmla="*/ 378947 h 426203"/>
                        <a:gd name="connsiteX1147" fmla="*/ 259232 w 533766"/>
                        <a:gd name="connsiteY1147" fmla="*/ 378498 h 426203"/>
                        <a:gd name="connsiteX1148" fmla="*/ 258782 w 533766"/>
                        <a:gd name="connsiteY1148" fmla="*/ 376697 h 426203"/>
                        <a:gd name="connsiteX1149" fmla="*/ 261033 w 533766"/>
                        <a:gd name="connsiteY1149" fmla="*/ 375347 h 426203"/>
                        <a:gd name="connsiteX1150" fmla="*/ 262833 w 533766"/>
                        <a:gd name="connsiteY1150" fmla="*/ 376247 h 426203"/>
                        <a:gd name="connsiteX1151" fmla="*/ 263733 w 533766"/>
                        <a:gd name="connsiteY1151" fmla="*/ 377597 h 426203"/>
                        <a:gd name="connsiteX1152" fmla="*/ 264633 w 533766"/>
                        <a:gd name="connsiteY1152" fmla="*/ 379848 h 426203"/>
                        <a:gd name="connsiteX1153" fmla="*/ 265083 w 533766"/>
                        <a:gd name="connsiteY1153" fmla="*/ 382098 h 426203"/>
                        <a:gd name="connsiteX1154" fmla="*/ 265083 w 533766"/>
                        <a:gd name="connsiteY1154" fmla="*/ 383898 h 426203"/>
                        <a:gd name="connsiteX1155" fmla="*/ 264633 w 533766"/>
                        <a:gd name="connsiteY1155" fmla="*/ 384348 h 426203"/>
                        <a:gd name="connsiteX1156" fmla="*/ 317290 w 533766"/>
                        <a:gd name="connsiteY1156" fmla="*/ 387048 h 426203"/>
                        <a:gd name="connsiteX1157" fmla="*/ 317740 w 533766"/>
                        <a:gd name="connsiteY1157" fmla="*/ 387949 h 426203"/>
                        <a:gd name="connsiteX1158" fmla="*/ 313239 w 533766"/>
                        <a:gd name="connsiteY1158" fmla="*/ 385248 h 426203"/>
                        <a:gd name="connsiteX1159" fmla="*/ 311439 w 533766"/>
                        <a:gd name="connsiteY1159" fmla="*/ 383898 h 426203"/>
                        <a:gd name="connsiteX1160" fmla="*/ 310539 w 533766"/>
                        <a:gd name="connsiteY1160" fmla="*/ 382998 h 426203"/>
                        <a:gd name="connsiteX1161" fmla="*/ 310089 w 533766"/>
                        <a:gd name="connsiteY1161" fmla="*/ 382548 h 426203"/>
                        <a:gd name="connsiteX1162" fmla="*/ 307838 w 533766"/>
                        <a:gd name="connsiteY1162" fmla="*/ 380748 h 426203"/>
                        <a:gd name="connsiteX1163" fmla="*/ 307388 w 533766"/>
                        <a:gd name="connsiteY1163" fmla="*/ 379848 h 426203"/>
                        <a:gd name="connsiteX1164" fmla="*/ 307838 w 533766"/>
                        <a:gd name="connsiteY1164" fmla="*/ 379397 h 426203"/>
                        <a:gd name="connsiteX1165" fmla="*/ 309639 w 533766"/>
                        <a:gd name="connsiteY1165" fmla="*/ 379848 h 426203"/>
                        <a:gd name="connsiteX1166" fmla="*/ 312339 w 533766"/>
                        <a:gd name="connsiteY1166" fmla="*/ 381198 h 426203"/>
                        <a:gd name="connsiteX1167" fmla="*/ 314589 w 533766"/>
                        <a:gd name="connsiteY1167" fmla="*/ 382998 h 426203"/>
                        <a:gd name="connsiteX1168" fmla="*/ 317290 w 533766"/>
                        <a:gd name="connsiteY1168" fmla="*/ 387048 h 426203"/>
                        <a:gd name="connsiteX1169" fmla="*/ 276335 w 533766"/>
                        <a:gd name="connsiteY1169" fmla="*/ 392449 h 426203"/>
                        <a:gd name="connsiteX1170" fmla="*/ 276785 w 533766"/>
                        <a:gd name="connsiteY1170" fmla="*/ 395600 h 426203"/>
                        <a:gd name="connsiteX1171" fmla="*/ 274084 w 533766"/>
                        <a:gd name="connsiteY1171" fmla="*/ 395149 h 426203"/>
                        <a:gd name="connsiteX1172" fmla="*/ 273184 w 533766"/>
                        <a:gd name="connsiteY1172" fmla="*/ 394699 h 426203"/>
                        <a:gd name="connsiteX1173" fmla="*/ 273184 w 533766"/>
                        <a:gd name="connsiteY1173" fmla="*/ 393349 h 426203"/>
                        <a:gd name="connsiteX1174" fmla="*/ 273634 w 533766"/>
                        <a:gd name="connsiteY1174" fmla="*/ 391999 h 426203"/>
                        <a:gd name="connsiteX1175" fmla="*/ 275434 w 533766"/>
                        <a:gd name="connsiteY1175" fmla="*/ 392449 h 426203"/>
                        <a:gd name="connsiteX1176" fmla="*/ 276335 w 533766"/>
                        <a:gd name="connsiteY1176" fmla="*/ 392449 h 426203"/>
                        <a:gd name="connsiteX1177" fmla="*/ 333942 w 533766"/>
                        <a:gd name="connsiteY1177" fmla="*/ 407751 h 426203"/>
                        <a:gd name="connsiteX1178" fmla="*/ 333942 w 533766"/>
                        <a:gd name="connsiteY1178" fmla="*/ 407751 h 426203"/>
                        <a:gd name="connsiteX1179" fmla="*/ 330341 w 533766"/>
                        <a:gd name="connsiteY1179" fmla="*/ 405951 h 426203"/>
                        <a:gd name="connsiteX1180" fmla="*/ 328091 w 533766"/>
                        <a:gd name="connsiteY1180" fmla="*/ 402800 h 426203"/>
                        <a:gd name="connsiteX1181" fmla="*/ 327191 w 533766"/>
                        <a:gd name="connsiteY1181" fmla="*/ 401000 h 426203"/>
                        <a:gd name="connsiteX1182" fmla="*/ 331691 w 533766"/>
                        <a:gd name="connsiteY1182" fmla="*/ 405501 h 426203"/>
                        <a:gd name="connsiteX1183" fmla="*/ 333942 w 533766"/>
                        <a:gd name="connsiteY1183" fmla="*/ 406851 h 426203"/>
                        <a:gd name="connsiteX1184" fmla="*/ 333942 w 533766"/>
                        <a:gd name="connsiteY1184" fmla="*/ 407751 h 426203"/>
                        <a:gd name="connsiteX1185" fmla="*/ 332592 w 533766"/>
                        <a:gd name="connsiteY1185" fmla="*/ 411802 h 426203"/>
                        <a:gd name="connsiteX1186" fmla="*/ 331691 w 533766"/>
                        <a:gd name="connsiteY1186" fmla="*/ 412702 h 426203"/>
                        <a:gd name="connsiteX1187" fmla="*/ 331241 w 533766"/>
                        <a:gd name="connsiteY1187" fmla="*/ 412702 h 426203"/>
                        <a:gd name="connsiteX1188" fmla="*/ 330791 w 533766"/>
                        <a:gd name="connsiteY1188" fmla="*/ 412252 h 426203"/>
                        <a:gd name="connsiteX1189" fmla="*/ 329441 w 533766"/>
                        <a:gd name="connsiteY1189" fmla="*/ 406401 h 426203"/>
                        <a:gd name="connsiteX1190" fmla="*/ 329891 w 533766"/>
                        <a:gd name="connsiteY1190" fmla="*/ 406401 h 426203"/>
                        <a:gd name="connsiteX1191" fmla="*/ 331691 w 533766"/>
                        <a:gd name="connsiteY1191" fmla="*/ 408201 h 426203"/>
                        <a:gd name="connsiteX1192" fmla="*/ 331241 w 533766"/>
                        <a:gd name="connsiteY1192" fmla="*/ 409101 h 426203"/>
                        <a:gd name="connsiteX1193" fmla="*/ 332592 w 533766"/>
                        <a:gd name="connsiteY1193" fmla="*/ 410901 h 426203"/>
                        <a:gd name="connsiteX1194" fmla="*/ 333042 w 533766"/>
                        <a:gd name="connsiteY1194" fmla="*/ 412252 h 426203"/>
                        <a:gd name="connsiteX1195" fmla="*/ 332592 w 533766"/>
                        <a:gd name="connsiteY1195" fmla="*/ 411802 h 4262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Lst>
                      <a:rect l="l" t="t" r="r" b="b"/>
                      <a:pathLst>
                        <a:path w="533766" h="426203">
                          <a:moveTo>
                            <a:pt x="324491" y="0"/>
                          </a:moveTo>
                          <a:lnTo>
                            <a:pt x="334392" y="0"/>
                          </a:lnTo>
                          <a:lnTo>
                            <a:pt x="344293" y="0"/>
                          </a:lnTo>
                          <a:lnTo>
                            <a:pt x="354194" y="0"/>
                          </a:lnTo>
                          <a:lnTo>
                            <a:pt x="364095" y="0"/>
                          </a:lnTo>
                          <a:lnTo>
                            <a:pt x="373997" y="0"/>
                          </a:lnTo>
                          <a:lnTo>
                            <a:pt x="383898" y="0"/>
                          </a:lnTo>
                          <a:lnTo>
                            <a:pt x="393799" y="0"/>
                          </a:lnTo>
                          <a:lnTo>
                            <a:pt x="403700" y="0"/>
                          </a:lnTo>
                          <a:lnTo>
                            <a:pt x="403700" y="16202"/>
                          </a:lnTo>
                          <a:lnTo>
                            <a:pt x="403700" y="32404"/>
                          </a:lnTo>
                          <a:lnTo>
                            <a:pt x="403700" y="48156"/>
                          </a:lnTo>
                          <a:lnTo>
                            <a:pt x="403700" y="63908"/>
                          </a:lnTo>
                          <a:lnTo>
                            <a:pt x="403700" y="79210"/>
                          </a:lnTo>
                          <a:lnTo>
                            <a:pt x="403700" y="94512"/>
                          </a:lnTo>
                          <a:lnTo>
                            <a:pt x="403700" y="109814"/>
                          </a:lnTo>
                          <a:lnTo>
                            <a:pt x="403700" y="124666"/>
                          </a:lnTo>
                          <a:lnTo>
                            <a:pt x="403700" y="139517"/>
                          </a:lnTo>
                          <a:lnTo>
                            <a:pt x="403700" y="154369"/>
                          </a:lnTo>
                          <a:lnTo>
                            <a:pt x="403700" y="168771"/>
                          </a:lnTo>
                          <a:lnTo>
                            <a:pt x="403700" y="183173"/>
                          </a:lnTo>
                          <a:lnTo>
                            <a:pt x="403700" y="197575"/>
                          </a:lnTo>
                          <a:lnTo>
                            <a:pt x="403700" y="211526"/>
                          </a:lnTo>
                          <a:lnTo>
                            <a:pt x="403700" y="225478"/>
                          </a:lnTo>
                          <a:lnTo>
                            <a:pt x="403700" y="239430"/>
                          </a:lnTo>
                          <a:lnTo>
                            <a:pt x="404150" y="241230"/>
                          </a:lnTo>
                          <a:lnTo>
                            <a:pt x="405501" y="242130"/>
                          </a:lnTo>
                          <a:lnTo>
                            <a:pt x="405951" y="243931"/>
                          </a:lnTo>
                          <a:lnTo>
                            <a:pt x="406401" y="244381"/>
                          </a:lnTo>
                          <a:lnTo>
                            <a:pt x="407751" y="244831"/>
                          </a:lnTo>
                          <a:lnTo>
                            <a:pt x="409551" y="247081"/>
                          </a:lnTo>
                          <a:lnTo>
                            <a:pt x="409551" y="247531"/>
                          </a:lnTo>
                          <a:lnTo>
                            <a:pt x="406401" y="247531"/>
                          </a:lnTo>
                          <a:lnTo>
                            <a:pt x="405951" y="247531"/>
                          </a:lnTo>
                          <a:lnTo>
                            <a:pt x="405951" y="247981"/>
                          </a:lnTo>
                          <a:lnTo>
                            <a:pt x="406401" y="249331"/>
                          </a:lnTo>
                          <a:lnTo>
                            <a:pt x="406401" y="251132"/>
                          </a:lnTo>
                          <a:lnTo>
                            <a:pt x="407301" y="251582"/>
                          </a:lnTo>
                          <a:lnTo>
                            <a:pt x="408201" y="252032"/>
                          </a:lnTo>
                          <a:lnTo>
                            <a:pt x="410451" y="255182"/>
                          </a:lnTo>
                          <a:lnTo>
                            <a:pt x="411351" y="256082"/>
                          </a:lnTo>
                          <a:lnTo>
                            <a:pt x="412252" y="256532"/>
                          </a:lnTo>
                          <a:lnTo>
                            <a:pt x="413602" y="256082"/>
                          </a:lnTo>
                          <a:lnTo>
                            <a:pt x="416752" y="256532"/>
                          </a:lnTo>
                          <a:lnTo>
                            <a:pt x="417652" y="256982"/>
                          </a:lnTo>
                          <a:lnTo>
                            <a:pt x="419452" y="261033"/>
                          </a:lnTo>
                          <a:lnTo>
                            <a:pt x="420353" y="262383"/>
                          </a:lnTo>
                          <a:lnTo>
                            <a:pt x="424853" y="264633"/>
                          </a:lnTo>
                          <a:lnTo>
                            <a:pt x="425303" y="264633"/>
                          </a:lnTo>
                          <a:lnTo>
                            <a:pt x="425303" y="262383"/>
                          </a:lnTo>
                          <a:lnTo>
                            <a:pt x="425753" y="261483"/>
                          </a:lnTo>
                          <a:lnTo>
                            <a:pt x="427553" y="262383"/>
                          </a:lnTo>
                          <a:lnTo>
                            <a:pt x="429804" y="264633"/>
                          </a:lnTo>
                          <a:lnTo>
                            <a:pt x="430254" y="265533"/>
                          </a:lnTo>
                          <a:lnTo>
                            <a:pt x="430254" y="267334"/>
                          </a:lnTo>
                          <a:lnTo>
                            <a:pt x="431154" y="267784"/>
                          </a:lnTo>
                          <a:lnTo>
                            <a:pt x="432504" y="269134"/>
                          </a:lnTo>
                          <a:lnTo>
                            <a:pt x="432504" y="270934"/>
                          </a:lnTo>
                          <a:lnTo>
                            <a:pt x="433404" y="273184"/>
                          </a:lnTo>
                          <a:lnTo>
                            <a:pt x="433854" y="273634"/>
                          </a:lnTo>
                          <a:lnTo>
                            <a:pt x="436104" y="274084"/>
                          </a:lnTo>
                          <a:lnTo>
                            <a:pt x="436555" y="274534"/>
                          </a:lnTo>
                          <a:lnTo>
                            <a:pt x="437455" y="275885"/>
                          </a:lnTo>
                          <a:lnTo>
                            <a:pt x="437905" y="277685"/>
                          </a:lnTo>
                          <a:lnTo>
                            <a:pt x="439255" y="279035"/>
                          </a:lnTo>
                          <a:lnTo>
                            <a:pt x="439705" y="280385"/>
                          </a:lnTo>
                          <a:lnTo>
                            <a:pt x="440155" y="281735"/>
                          </a:lnTo>
                          <a:lnTo>
                            <a:pt x="439705" y="283535"/>
                          </a:lnTo>
                          <a:lnTo>
                            <a:pt x="441055" y="285786"/>
                          </a:lnTo>
                          <a:lnTo>
                            <a:pt x="441505" y="287136"/>
                          </a:lnTo>
                          <a:lnTo>
                            <a:pt x="442405" y="288486"/>
                          </a:lnTo>
                          <a:lnTo>
                            <a:pt x="441955" y="289836"/>
                          </a:lnTo>
                          <a:lnTo>
                            <a:pt x="441955" y="290736"/>
                          </a:lnTo>
                          <a:lnTo>
                            <a:pt x="442405" y="291637"/>
                          </a:lnTo>
                          <a:lnTo>
                            <a:pt x="442855" y="291637"/>
                          </a:lnTo>
                          <a:lnTo>
                            <a:pt x="445556" y="290736"/>
                          </a:lnTo>
                          <a:lnTo>
                            <a:pt x="446006" y="290286"/>
                          </a:lnTo>
                          <a:lnTo>
                            <a:pt x="446456" y="288936"/>
                          </a:lnTo>
                          <a:lnTo>
                            <a:pt x="446906" y="288036"/>
                          </a:lnTo>
                          <a:lnTo>
                            <a:pt x="449606" y="289836"/>
                          </a:lnTo>
                          <a:lnTo>
                            <a:pt x="452307" y="291187"/>
                          </a:lnTo>
                          <a:lnTo>
                            <a:pt x="452757" y="291637"/>
                          </a:lnTo>
                          <a:lnTo>
                            <a:pt x="452757" y="292537"/>
                          </a:lnTo>
                          <a:lnTo>
                            <a:pt x="450956" y="295237"/>
                          </a:lnTo>
                          <a:lnTo>
                            <a:pt x="451856" y="296587"/>
                          </a:lnTo>
                          <a:lnTo>
                            <a:pt x="452757" y="297487"/>
                          </a:lnTo>
                          <a:lnTo>
                            <a:pt x="456357" y="299738"/>
                          </a:lnTo>
                          <a:lnTo>
                            <a:pt x="460858" y="299738"/>
                          </a:lnTo>
                          <a:lnTo>
                            <a:pt x="461758" y="299287"/>
                          </a:lnTo>
                          <a:lnTo>
                            <a:pt x="462208" y="299287"/>
                          </a:lnTo>
                          <a:lnTo>
                            <a:pt x="464008" y="302888"/>
                          </a:lnTo>
                          <a:lnTo>
                            <a:pt x="467608" y="306938"/>
                          </a:lnTo>
                          <a:lnTo>
                            <a:pt x="468509" y="308289"/>
                          </a:lnTo>
                          <a:lnTo>
                            <a:pt x="470759" y="313239"/>
                          </a:lnTo>
                          <a:lnTo>
                            <a:pt x="471209" y="314139"/>
                          </a:lnTo>
                          <a:lnTo>
                            <a:pt x="473009" y="314139"/>
                          </a:lnTo>
                          <a:lnTo>
                            <a:pt x="473459" y="313689"/>
                          </a:lnTo>
                          <a:lnTo>
                            <a:pt x="473459" y="312789"/>
                          </a:lnTo>
                          <a:lnTo>
                            <a:pt x="473909" y="312339"/>
                          </a:lnTo>
                          <a:lnTo>
                            <a:pt x="474809" y="311889"/>
                          </a:lnTo>
                          <a:lnTo>
                            <a:pt x="475709" y="311439"/>
                          </a:lnTo>
                          <a:lnTo>
                            <a:pt x="476610" y="311889"/>
                          </a:lnTo>
                          <a:lnTo>
                            <a:pt x="477510" y="312789"/>
                          </a:lnTo>
                          <a:lnTo>
                            <a:pt x="478860" y="316390"/>
                          </a:lnTo>
                          <a:lnTo>
                            <a:pt x="480210" y="317740"/>
                          </a:lnTo>
                          <a:lnTo>
                            <a:pt x="481110" y="319090"/>
                          </a:lnTo>
                          <a:lnTo>
                            <a:pt x="482010" y="319990"/>
                          </a:lnTo>
                          <a:lnTo>
                            <a:pt x="482910" y="321790"/>
                          </a:lnTo>
                          <a:lnTo>
                            <a:pt x="484261" y="323591"/>
                          </a:lnTo>
                          <a:lnTo>
                            <a:pt x="484711" y="327191"/>
                          </a:lnTo>
                          <a:lnTo>
                            <a:pt x="485161" y="328091"/>
                          </a:lnTo>
                          <a:lnTo>
                            <a:pt x="486511" y="328991"/>
                          </a:lnTo>
                          <a:lnTo>
                            <a:pt x="487411" y="329891"/>
                          </a:lnTo>
                          <a:lnTo>
                            <a:pt x="489211" y="330791"/>
                          </a:lnTo>
                          <a:lnTo>
                            <a:pt x="489661" y="331241"/>
                          </a:lnTo>
                          <a:lnTo>
                            <a:pt x="489661" y="331692"/>
                          </a:lnTo>
                          <a:lnTo>
                            <a:pt x="490111" y="333942"/>
                          </a:lnTo>
                          <a:lnTo>
                            <a:pt x="490561" y="334842"/>
                          </a:lnTo>
                          <a:lnTo>
                            <a:pt x="491911" y="335742"/>
                          </a:lnTo>
                          <a:lnTo>
                            <a:pt x="495062" y="336642"/>
                          </a:lnTo>
                          <a:lnTo>
                            <a:pt x="498662" y="340243"/>
                          </a:lnTo>
                          <a:lnTo>
                            <a:pt x="499112" y="341143"/>
                          </a:lnTo>
                          <a:lnTo>
                            <a:pt x="499112" y="342043"/>
                          </a:lnTo>
                          <a:lnTo>
                            <a:pt x="498212" y="343393"/>
                          </a:lnTo>
                          <a:lnTo>
                            <a:pt x="498212" y="343843"/>
                          </a:lnTo>
                          <a:lnTo>
                            <a:pt x="502263" y="346993"/>
                          </a:lnTo>
                          <a:lnTo>
                            <a:pt x="503163" y="347894"/>
                          </a:lnTo>
                          <a:lnTo>
                            <a:pt x="503613" y="347894"/>
                          </a:lnTo>
                          <a:lnTo>
                            <a:pt x="504063" y="347894"/>
                          </a:lnTo>
                          <a:lnTo>
                            <a:pt x="504513" y="347894"/>
                          </a:lnTo>
                          <a:lnTo>
                            <a:pt x="504963" y="347894"/>
                          </a:lnTo>
                          <a:lnTo>
                            <a:pt x="505413" y="348344"/>
                          </a:lnTo>
                          <a:lnTo>
                            <a:pt x="505863" y="349244"/>
                          </a:lnTo>
                          <a:lnTo>
                            <a:pt x="506313" y="350144"/>
                          </a:lnTo>
                          <a:lnTo>
                            <a:pt x="506313" y="350594"/>
                          </a:lnTo>
                          <a:lnTo>
                            <a:pt x="506313" y="351044"/>
                          </a:lnTo>
                          <a:lnTo>
                            <a:pt x="506313" y="351494"/>
                          </a:lnTo>
                          <a:lnTo>
                            <a:pt x="507213" y="352844"/>
                          </a:lnTo>
                          <a:lnTo>
                            <a:pt x="508113" y="353744"/>
                          </a:lnTo>
                          <a:lnTo>
                            <a:pt x="508564" y="354194"/>
                          </a:lnTo>
                          <a:lnTo>
                            <a:pt x="509014" y="354194"/>
                          </a:lnTo>
                          <a:lnTo>
                            <a:pt x="510364" y="353294"/>
                          </a:lnTo>
                          <a:lnTo>
                            <a:pt x="511264" y="353294"/>
                          </a:lnTo>
                          <a:lnTo>
                            <a:pt x="512164" y="353744"/>
                          </a:lnTo>
                          <a:lnTo>
                            <a:pt x="513514" y="354644"/>
                          </a:lnTo>
                          <a:lnTo>
                            <a:pt x="518015" y="360945"/>
                          </a:lnTo>
                          <a:lnTo>
                            <a:pt x="519365" y="368596"/>
                          </a:lnTo>
                          <a:lnTo>
                            <a:pt x="520265" y="370847"/>
                          </a:lnTo>
                          <a:lnTo>
                            <a:pt x="520715" y="372197"/>
                          </a:lnTo>
                          <a:lnTo>
                            <a:pt x="520715" y="373547"/>
                          </a:lnTo>
                          <a:lnTo>
                            <a:pt x="520265" y="374447"/>
                          </a:lnTo>
                          <a:lnTo>
                            <a:pt x="520265" y="375347"/>
                          </a:lnTo>
                          <a:lnTo>
                            <a:pt x="521165" y="379848"/>
                          </a:lnTo>
                          <a:lnTo>
                            <a:pt x="521165" y="382098"/>
                          </a:lnTo>
                          <a:lnTo>
                            <a:pt x="520265" y="384798"/>
                          </a:lnTo>
                          <a:lnTo>
                            <a:pt x="519365" y="386148"/>
                          </a:lnTo>
                          <a:lnTo>
                            <a:pt x="519365" y="386599"/>
                          </a:lnTo>
                          <a:lnTo>
                            <a:pt x="519815" y="387048"/>
                          </a:lnTo>
                          <a:lnTo>
                            <a:pt x="520715" y="387499"/>
                          </a:lnTo>
                          <a:lnTo>
                            <a:pt x="522515" y="387499"/>
                          </a:lnTo>
                          <a:lnTo>
                            <a:pt x="522965" y="387949"/>
                          </a:lnTo>
                          <a:lnTo>
                            <a:pt x="522965" y="388849"/>
                          </a:lnTo>
                          <a:lnTo>
                            <a:pt x="522515" y="391099"/>
                          </a:lnTo>
                          <a:lnTo>
                            <a:pt x="522515" y="391999"/>
                          </a:lnTo>
                          <a:lnTo>
                            <a:pt x="522965" y="392899"/>
                          </a:lnTo>
                          <a:lnTo>
                            <a:pt x="524766" y="394699"/>
                          </a:lnTo>
                          <a:lnTo>
                            <a:pt x="526116" y="396500"/>
                          </a:lnTo>
                          <a:lnTo>
                            <a:pt x="527016" y="397400"/>
                          </a:lnTo>
                          <a:lnTo>
                            <a:pt x="527016" y="397850"/>
                          </a:lnTo>
                          <a:lnTo>
                            <a:pt x="527466" y="398750"/>
                          </a:lnTo>
                          <a:lnTo>
                            <a:pt x="531066" y="400100"/>
                          </a:lnTo>
                          <a:lnTo>
                            <a:pt x="531516" y="401000"/>
                          </a:lnTo>
                          <a:lnTo>
                            <a:pt x="531966" y="402800"/>
                          </a:lnTo>
                          <a:lnTo>
                            <a:pt x="533767" y="404601"/>
                          </a:lnTo>
                          <a:lnTo>
                            <a:pt x="533767" y="405501"/>
                          </a:lnTo>
                          <a:lnTo>
                            <a:pt x="533317" y="406401"/>
                          </a:lnTo>
                          <a:lnTo>
                            <a:pt x="531066" y="406401"/>
                          </a:lnTo>
                          <a:lnTo>
                            <a:pt x="522065" y="406401"/>
                          </a:lnTo>
                          <a:lnTo>
                            <a:pt x="513064" y="406401"/>
                          </a:lnTo>
                          <a:lnTo>
                            <a:pt x="504063" y="406401"/>
                          </a:lnTo>
                          <a:lnTo>
                            <a:pt x="495062" y="406401"/>
                          </a:lnTo>
                          <a:lnTo>
                            <a:pt x="491011" y="406401"/>
                          </a:lnTo>
                          <a:lnTo>
                            <a:pt x="486061" y="406401"/>
                          </a:lnTo>
                          <a:lnTo>
                            <a:pt x="477060" y="406401"/>
                          </a:lnTo>
                          <a:lnTo>
                            <a:pt x="470309" y="406401"/>
                          </a:lnTo>
                          <a:lnTo>
                            <a:pt x="468059" y="406401"/>
                          </a:lnTo>
                          <a:lnTo>
                            <a:pt x="459057" y="406401"/>
                          </a:lnTo>
                          <a:lnTo>
                            <a:pt x="450056" y="406401"/>
                          </a:lnTo>
                          <a:lnTo>
                            <a:pt x="441055" y="406401"/>
                          </a:lnTo>
                          <a:lnTo>
                            <a:pt x="432054" y="406401"/>
                          </a:lnTo>
                          <a:lnTo>
                            <a:pt x="423053" y="406401"/>
                          </a:lnTo>
                          <a:lnTo>
                            <a:pt x="414052" y="406401"/>
                          </a:lnTo>
                          <a:lnTo>
                            <a:pt x="405051" y="406401"/>
                          </a:lnTo>
                          <a:lnTo>
                            <a:pt x="396050" y="406401"/>
                          </a:lnTo>
                          <a:lnTo>
                            <a:pt x="387048" y="406401"/>
                          </a:lnTo>
                          <a:lnTo>
                            <a:pt x="378047" y="406401"/>
                          </a:lnTo>
                          <a:lnTo>
                            <a:pt x="369046" y="406401"/>
                          </a:lnTo>
                          <a:lnTo>
                            <a:pt x="360045" y="406401"/>
                          </a:lnTo>
                          <a:lnTo>
                            <a:pt x="351044" y="406401"/>
                          </a:lnTo>
                          <a:lnTo>
                            <a:pt x="346093" y="406401"/>
                          </a:lnTo>
                          <a:lnTo>
                            <a:pt x="345193" y="405051"/>
                          </a:lnTo>
                          <a:lnTo>
                            <a:pt x="342943" y="403701"/>
                          </a:lnTo>
                          <a:lnTo>
                            <a:pt x="342043" y="403701"/>
                          </a:lnTo>
                          <a:lnTo>
                            <a:pt x="341143" y="404151"/>
                          </a:lnTo>
                          <a:lnTo>
                            <a:pt x="340693" y="405051"/>
                          </a:lnTo>
                          <a:lnTo>
                            <a:pt x="340242" y="406401"/>
                          </a:lnTo>
                          <a:lnTo>
                            <a:pt x="339342" y="406401"/>
                          </a:lnTo>
                          <a:lnTo>
                            <a:pt x="338892" y="404151"/>
                          </a:lnTo>
                          <a:lnTo>
                            <a:pt x="338892" y="403251"/>
                          </a:lnTo>
                          <a:lnTo>
                            <a:pt x="339792" y="402350"/>
                          </a:lnTo>
                          <a:lnTo>
                            <a:pt x="339792" y="401900"/>
                          </a:lnTo>
                          <a:lnTo>
                            <a:pt x="338442" y="402350"/>
                          </a:lnTo>
                          <a:lnTo>
                            <a:pt x="337992" y="401900"/>
                          </a:lnTo>
                          <a:lnTo>
                            <a:pt x="337542" y="401450"/>
                          </a:lnTo>
                          <a:lnTo>
                            <a:pt x="337542" y="399200"/>
                          </a:lnTo>
                          <a:lnTo>
                            <a:pt x="336642" y="397850"/>
                          </a:lnTo>
                          <a:lnTo>
                            <a:pt x="337542" y="397400"/>
                          </a:lnTo>
                          <a:lnTo>
                            <a:pt x="340242" y="396950"/>
                          </a:lnTo>
                          <a:lnTo>
                            <a:pt x="342943" y="396950"/>
                          </a:lnTo>
                          <a:lnTo>
                            <a:pt x="343843" y="396050"/>
                          </a:lnTo>
                          <a:lnTo>
                            <a:pt x="344743" y="393799"/>
                          </a:lnTo>
                          <a:lnTo>
                            <a:pt x="342943" y="396050"/>
                          </a:lnTo>
                          <a:lnTo>
                            <a:pt x="342043" y="396500"/>
                          </a:lnTo>
                          <a:lnTo>
                            <a:pt x="338892" y="395600"/>
                          </a:lnTo>
                          <a:lnTo>
                            <a:pt x="336642" y="395600"/>
                          </a:lnTo>
                          <a:lnTo>
                            <a:pt x="336192" y="395149"/>
                          </a:lnTo>
                          <a:lnTo>
                            <a:pt x="336192" y="394699"/>
                          </a:lnTo>
                          <a:lnTo>
                            <a:pt x="336642" y="394250"/>
                          </a:lnTo>
                          <a:lnTo>
                            <a:pt x="337092" y="392449"/>
                          </a:lnTo>
                          <a:lnTo>
                            <a:pt x="337542" y="387499"/>
                          </a:lnTo>
                          <a:lnTo>
                            <a:pt x="338442" y="385698"/>
                          </a:lnTo>
                          <a:lnTo>
                            <a:pt x="338892" y="384798"/>
                          </a:lnTo>
                          <a:lnTo>
                            <a:pt x="338892" y="384798"/>
                          </a:lnTo>
                          <a:lnTo>
                            <a:pt x="336192" y="387949"/>
                          </a:lnTo>
                          <a:lnTo>
                            <a:pt x="335742" y="388849"/>
                          </a:lnTo>
                          <a:lnTo>
                            <a:pt x="336192" y="389749"/>
                          </a:lnTo>
                          <a:lnTo>
                            <a:pt x="335742" y="391549"/>
                          </a:lnTo>
                          <a:lnTo>
                            <a:pt x="334392" y="391999"/>
                          </a:lnTo>
                          <a:lnTo>
                            <a:pt x="333492" y="391549"/>
                          </a:lnTo>
                          <a:lnTo>
                            <a:pt x="332141" y="393349"/>
                          </a:lnTo>
                          <a:lnTo>
                            <a:pt x="331691" y="393349"/>
                          </a:lnTo>
                          <a:lnTo>
                            <a:pt x="324941" y="390649"/>
                          </a:lnTo>
                          <a:lnTo>
                            <a:pt x="324041" y="390199"/>
                          </a:lnTo>
                          <a:lnTo>
                            <a:pt x="322690" y="388849"/>
                          </a:lnTo>
                          <a:lnTo>
                            <a:pt x="320890" y="386599"/>
                          </a:lnTo>
                          <a:lnTo>
                            <a:pt x="320440" y="384798"/>
                          </a:lnTo>
                          <a:lnTo>
                            <a:pt x="320890" y="382998"/>
                          </a:lnTo>
                          <a:lnTo>
                            <a:pt x="321340" y="382098"/>
                          </a:lnTo>
                          <a:lnTo>
                            <a:pt x="322240" y="382098"/>
                          </a:lnTo>
                          <a:lnTo>
                            <a:pt x="323140" y="382548"/>
                          </a:lnTo>
                          <a:lnTo>
                            <a:pt x="324941" y="385248"/>
                          </a:lnTo>
                          <a:lnTo>
                            <a:pt x="325391" y="387048"/>
                          </a:lnTo>
                          <a:lnTo>
                            <a:pt x="327191" y="386599"/>
                          </a:lnTo>
                          <a:lnTo>
                            <a:pt x="329891" y="384348"/>
                          </a:lnTo>
                          <a:lnTo>
                            <a:pt x="330341" y="383448"/>
                          </a:lnTo>
                          <a:lnTo>
                            <a:pt x="327641" y="384348"/>
                          </a:lnTo>
                          <a:lnTo>
                            <a:pt x="326291" y="384348"/>
                          </a:lnTo>
                          <a:lnTo>
                            <a:pt x="324941" y="383448"/>
                          </a:lnTo>
                          <a:lnTo>
                            <a:pt x="323590" y="381648"/>
                          </a:lnTo>
                          <a:lnTo>
                            <a:pt x="323140" y="379848"/>
                          </a:lnTo>
                          <a:lnTo>
                            <a:pt x="323140" y="373547"/>
                          </a:lnTo>
                          <a:lnTo>
                            <a:pt x="323590" y="372197"/>
                          </a:lnTo>
                          <a:lnTo>
                            <a:pt x="324941" y="371296"/>
                          </a:lnTo>
                          <a:lnTo>
                            <a:pt x="325841" y="369946"/>
                          </a:lnTo>
                          <a:lnTo>
                            <a:pt x="325841" y="369496"/>
                          </a:lnTo>
                          <a:lnTo>
                            <a:pt x="324941" y="368146"/>
                          </a:lnTo>
                          <a:lnTo>
                            <a:pt x="323590" y="367246"/>
                          </a:lnTo>
                          <a:lnTo>
                            <a:pt x="322240" y="366796"/>
                          </a:lnTo>
                          <a:lnTo>
                            <a:pt x="321790" y="366796"/>
                          </a:lnTo>
                          <a:lnTo>
                            <a:pt x="323590" y="369496"/>
                          </a:lnTo>
                          <a:lnTo>
                            <a:pt x="323590" y="370396"/>
                          </a:lnTo>
                          <a:lnTo>
                            <a:pt x="321790" y="373097"/>
                          </a:lnTo>
                          <a:lnTo>
                            <a:pt x="321340" y="373997"/>
                          </a:lnTo>
                          <a:lnTo>
                            <a:pt x="321340" y="376697"/>
                          </a:lnTo>
                          <a:lnTo>
                            <a:pt x="320890" y="377147"/>
                          </a:lnTo>
                          <a:lnTo>
                            <a:pt x="319540" y="378047"/>
                          </a:lnTo>
                          <a:lnTo>
                            <a:pt x="317740" y="379848"/>
                          </a:lnTo>
                          <a:lnTo>
                            <a:pt x="314589" y="380748"/>
                          </a:lnTo>
                          <a:lnTo>
                            <a:pt x="311889" y="380748"/>
                          </a:lnTo>
                          <a:lnTo>
                            <a:pt x="310539" y="379848"/>
                          </a:lnTo>
                          <a:lnTo>
                            <a:pt x="306038" y="374897"/>
                          </a:lnTo>
                          <a:lnTo>
                            <a:pt x="304238" y="372647"/>
                          </a:lnTo>
                          <a:lnTo>
                            <a:pt x="304238" y="370847"/>
                          </a:lnTo>
                          <a:lnTo>
                            <a:pt x="301088" y="364546"/>
                          </a:lnTo>
                          <a:lnTo>
                            <a:pt x="301088" y="363196"/>
                          </a:lnTo>
                          <a:lnTo>
                            <a:pt x="300188" y="361395"/>
                          </a:lnTo>
                          <a:lnTo>
                            <a:pt x="298837" y="360945"/>
                          </a:lnTo>
                          <a:lnTo>
                            <a:pt x="298387" y="359145"/>
                          </a:lnTo>
                          <a:lnTo>
                            <a:pt x="301088" y="355095"/>
                          </a:lnTo>
                          <a:lnTo>
                            <a:pt x="302888" y="351944"/>
                          </a:lnTo>
                          <a:lnTo>
                            <a:pt x="302888" y="351044"/>
                          </a:lnTo>
                          <a:lnTo>
                            <a:pt x="302888" y="349244"/>
                          </a:lnTo>
                          <a:lnTo>
                            <a:pt x="302438" y="345643"/>
                          </a:lnTo>
                          <a:lnTo>
                            <a:pt x="302888" y="344293"/>
                          </a:lnTo>
                          <a:lnTo>
                            <a:pt x="301538" y="346543"/>
                          </a:lnTo>
                          <a:lnTo>
                            <a:pt x="301088" y="347894"/>
                          </a:lnTo>
                          <a:lnTo>
                            <a:pt x="301538" y="349244"/>
                          </a:lnTo>
                          <a:lnTo>
                            <a:pt x="301088" y="351044"/>
                          </a:lnTo>
                          <a:lnTo>
                            <a:pt x="300188" y="353294"/>
                          </a:lnTo>
                          <a:lnTo>
                            <a:pt x="298837" y="355995"/>
                          </a:lnTo>
                          <a:lnTo>
                            <a:pt x="295687" y="357345"/>
                          </a:lnTo>
                          <a:lnTo>
                            <a:pt x="289836" y="356445"/>
                          </a:lnTo>
                          <a:lnTo>
                            <a:pt x="289386" y="355995"/>
                          </a:lnTo>
                          <a:lnTo>
                            <a:pt x="288936" y="355095"/>
                          </a:lnTo>
                          <a:lnTo>
                            <a:pt x="288486" y="351044"/>
                          </a:lnTo>
                          <a:lnTo>
                            <a:pt x="288036" y="351494"/>
                          </a:lnTo>
                          <a:lnTo>
                            <a:pt x="287586" y="353744"/>
                          </a:lnTo>
                          <a:lnTo>
                            <a:pt x="287136" y="356445"/>
                          </a:lnTo>
                          <a:lnTo>
                            <a:pt x="286686" y="356895"/>
                          </a:lnTo>
                          <a:lnTo>
                            <a:pt x="285336" y="356895"/>
                          </a:lnTo>
                          <a:lnTo>
                            <a:pt x="284436" y="356445"/>
                          </a:lnTo>
                          <a:lnTo>
                            <a:pt x="283985" y="355545"/>
                          </a:lnTo>
                          <a:lnTo>
                            <a:pt x="282635" y="355545"/>
                          </a:lnTo>
                          <a:lnTo>
                            <a:pt x="279935" y="356445"/>
                          </a:lnTo>
                          <a:lnTo>
                            <a:pt x="278585" y="355995"/>
                          </a:lnTo>
                          <a:lnTo>
                            <a:pt x="277235" y="355995"/>
                          </a:lnTo>
                          <a:lnTo>
                            <a:pt x="274084" y="355095"/>
                          </a:lnTo>
                          <a:lnTo>
                            <a:pt x="270484" y="355095"/>
                          </a:lnTo>
                          <a:lnTo>
                            <a:pt x="269584" y="354644"/>
                          </a:lnTo>
                          <a:lnTo>
                            <a:pt x="269584" y="353294"/>
                          </a:lnTo>
                          <a:lnTo>
                            <a:pt x="270034" y="352844"/>
                          </a:lnTo>
                          <a:lnTo>
                            <a:pt x="273634" y="352394"/>
                          </a:lnTo>
                          <a:lnTo>
                            <a:pt x="277235" y="351044"/>
                          </a:lnTo>
                          <a:lnTo>
                            <a:pt x="280835" y="350594"/>
                          </a:lnTo>
                          <a:lnTo>
                            <a:pt x="280835" y="349694"/>
                          </a:lnTo>
                          <a:lnTo>
                            <a:pt x="279035" y="349694"/>
                          </a:lnTo>
                          <a:lnTo>
                            <a:pt x="270934" y="351044"/>
                          </a:lnTo>
                          <a:lnTo>
                            <a:pt x="268233" y="351044"/>
                          </a:lnTo>
                          <a:lnTo>
                            <a:pt x="267783" y="350594"/>
                          </a:lnTo>
                          <a:lnTo>
                            <a:pt x="267783" y="349244"/>
                          </a:lnTo>
                          <a:lnTo>
                            <a:pt x="268684" y="347894"/>
                          </a:lnTo>
                          <a:lnTo>
                            <a:pt x="270484" y="346543"/>
                          </a:lnTo>
                          <a:lnTo>
                            <a:pt x="270934" y="345643"/>
                          </a:lnTo>
                          <a:lnTo>
                            <a:pt x="270034" y="345193"/>
                          </a:lnTo>
                          <a:lnTo>
                            <a:pt x="268684" y="345643"/>
                          </a:lnTo>
                          <a:lnTo>
                            <a:pt x="267783" y="344743"/>
                          </a:lnTo>
                          <a:lnTo>
                            <a:pt x="268684" y="341593"/>
                          </a:lnTo>
                          <a:lnTo>
                            <a:pt x="267783" y="338442"/>
                          </a:lnTo>
                          <a:lnTo>
                            <a:pt x="266883" y="341593"/>
                          </a:lnTo>
                          <a:lnTo>
                            <a:pt x="265533" y="343393"/>
                          </a:lnTo>
                          <a:lnTo>
                            <a:pt x="258332" y="344293"/>
                          </a:lnTo>
                          <a:lnTo>
                            <a:pt x="256982" y="345193"/>
                          </a:lnTo>
                          <a:lnTo>
                            <a:pt x="256082" y="345193"/>
                          </a:lnTo>
                          <a:lnTo>
                            <a:pt x="251581" y="343393"/>
                          </a:lnTo>
                          <a:lnTo>
                            <a:pt x="249781" y="342493"/>
                          </a:lnTo>
                          <a:lnTo>
                            <a:pt x="247981" y="341143"/>
                          </a:lnTo>
                          <a:lnTo>
                            <a:pt x="244831" y="337992"/>
                          </a:lnTo>
                          <a:lnTo>
                            <a:pt x="242130" y="335742"/>
                          </a:lnTo>
                          <a:lnTo>
                            <a:pt x="242130" y="331692"/>
                          </a:lnTo>
                          <a:lnTo>
                            <a:pt x="242580" y="328991"/>
                          </a:lnTo>
                          <a:lnTo>
                            <a:pt x="243930" y="326291"/>
                          </a:lnTo>
                          <a:lnTo>
                            <a:pt x="248431" y="319990"/>
                          </a:lnTo>
                          <a:lnTo>
                            <a:pt x="249781" y="318640"/>
                          </a:lnTo>
                          <a:lnTo>
                            <a:pt x="251131" y="318190"/>
                          </a:lnTo>
                          <a:lnTo>
                            <a:pt x="257882" y="317740"/>
                          </a:lnTo>
                          <a:lnTo>
                            <a:pt x="262833" y="316840"/>
                          </a:lnTo>
                          <a:lnTo>
                            <a:pt x="263733" y="316390"/>
                          </a:lnTo>
                          <a:lnTo>
                            <a:pt x="256532" y="315940"/>
                          </a:lnTo>
                          <a:lnTo>
                            <a:pt x="250231" y="316390"/>
                          </a:lnTo>
                          <a:lnTo>
                            <a:pt x="247981" y="317290"/>
                          </a:lnTo>
                          <a:lnTo>
                            <a:pt x="245281" y="321340"/>
                          </a:lnTo>
                          <a:lnTo>
                            <a:pt x="244380" y="323141"/>
                          </a:lnTo>
                          <a:lnTo>
                            <a:pt x="243480" y="324491"/>
                          </a:lnTo>
                          <a:lnTo>
                            <a:pt x="243030" y="324491"/>
                          </a:lnTo>
                          <a:lnTo>
                            <a:pt x="242130" y="324041"/>
                          </a:lnTo>
                          <a:lnTo>
                            <a:pt x="241680" y="323591"/>
                          </a:lnTo>
                          <a:lnTo>
                            <a:pt x="241230" y="322240"/>
                          </a:lnTo>
                          <a:lnTo>
                            <a:pt x="239880" y="319990"/>
                          </a:lnTo>
                          <a:lnTo>
                            <a:pt x="239430" y="317740"/>
                          </a:lnTo>
                          <a:lnTo>
                            <a:pt x="238980" y="314139"/>
                          </a:lnTo>
                          <a:lnTo>
                            <a:pt x="238980" y="312789"/>
                          </a:lnTo>
                          <a:lnTo>
                            <a:pt x="239880" y="310989"/>
                          </a:lnTo>
                          <a:lnTo>
                            <a:pt x="242130" y="306938"/>
                          </a:lnTo>
                          <a:lnTo>
                            <a:pt x="239430" y="306938"/>
                          </a:lnTo>
                          <a:lnTo>
                            <a:pt x="239880" y="303788"/>
                          </a:lnTo>
                          <a:lnTo>
                            <a:pt x="240780" y="300188"/>
                          </a:lnTo>
                          <a:lnTo>
                            <a:pt x="243480" y="297937"/>
                          </a:lnTo>
                          <a:lnTo>
                            <a:pt x="246181" y="296587"/>
                          </a:lnTo>
                          <a:lnTo>
                            <a:pt x="248431" y="294337"/>
                          </a:lnTo>
                          <a:lnTo>
                            <a:pt x="252482" y="292987"/>
                          </a:lnTo>
                          <a:lnTo>
                            <a:pt x="253832" y="295687"/>
                          </a:lnTo>
                          <a:lnTo>
                            <a:pt x="257432" y="296587"/>
                          </a:lnTo>
                          <a:lnTo>
                            <a:pt x="258332" y="297937"/>
                          </a:lnTo>
                          <a:lnTo>
                            <a:pt x="259682" y="300188"/>
                          </a:lnTo>
                          <a:lnTo>
                            <a:pt x="261033" y="302438"/>
                          </a:lnTo>
                          <a:lnTo>
                            <a:pt x="262833" y="304688"/>
                          </a:lnTo>
                          <a:lnTo>
                            <a:pt x="263283" y="304688"/>
                          </a:lnTo>
                          <a:lnTo>
                            <a:pt x="262383" y="302888"/>
                          </a:lnTo>
                          <a:lnTo>
                            <a:pt x="259232" y="298838"/>
                          </a:lnTo>
                          <a:lnTo>
                            <a:pt x="259232" y="297487"/>
                          </a:lnTo>
                          <a:lnTo>
                            <a:pt x="258332" y="296137"/>
                          </a:lnTo>
                          <a:lnTo>
                            <a:pt x="254282" y="293887"/>
                          </a:lnTo>
                          <a:lnTo>
                            <a:pt x="253382" y="292987"/>
                          </a:lnTo>
                          <a:lnTo>
                            <a:pt x="252482" y="290736"/>
                          </a:lnTo>
                          <a:lnTo>
                            <a:pt x="252032" y="289386"/>
                          </a:lnTo>
                          <a:lnTo>
                            <a:pt x="252482" y="288036"/>
                          </a:lnTo>
                          <a:lnTo>
                            <a:pt x="256532" y="283986"/>
                          </a:lnTo>
                          <a:lnTo>
                            <a:pt x="257432" y="281735"/>
                          </a:lnTo>
                          <a:lnTo>
                            <a:pt x="257432" y="280835"/>
                          </a:lnTo>
                          <a:lnTo>
                            <a:pt x="256982" y="279485"/>
                          </a:lnTo>
                          <a:lnTo>
                            <a:pt x="256082" y="277235"/>
                          </a:lnTo>
                          <a:lnTo>
                            <a:pt x="255632" y="277235"/>
                          </a:lnTo>
                          <a:lnTo>
                            <a:pt x="256082" y="280385"/>
                          </a:lnTo>
                          <a:lnTo>
                            <a:pt x="256082" y="281735"/>
                          </a:lnTo>
                          <a:lnTo>
                            <a:pt x="255632" y="283086"/>
                          </a:lnTo>
                          <a:lnTo>
                            <a:pt x="255182" y="283986"/>
                          </a:lnTo>
                          <a:lnTo>
                            <a:pt x="254282" y="284886"/>
                          </a:lnTo>
                          <a:lnTo>
                            <a:pt x="245731" y="294337"/>
                          </a:lnTo>
                          <a:lnTo>
                            <a:pt x="244831" y="294787"/>
                          </a:lnTo>
                          <a:lnTo>
                            <a:pt x="241680" y="295687"/>
                          </a:lnTo>
                          <a:lnTo>
                            <a:pt x="239880" y="296587"/>
                          </a:lnTo>
                          <a:lnTo>
                            <a:pt x="238980" y="297937"/>
                          </a:lnTo>
                          <a:lnTo>
                            <a:pt x="237630" y="301538"/>
                          </a:lnTo>
                          <a:lnTo>
                            <a:pt x="235829" y="308289"/>
                          </a:lnTo>
                          <a:lnTo>
                            <a:pt x="233579" y="313689"/>
                          </a:lnTo>
                          <a:lnTo>
                            <a:pt x="231779" y="306488"/>
                          </a:lnTo>
                          <a:lnTo>
                            <a:pt x="228179" y="301088"/>
                          </a:lnTo>
                          <a:lnTo>
                            <a:pt x="234929" y="295687"/>
                          </a:lnTo>
                          <a:lnTo>
                            <a:pt x="234929" y="294787"/>
                          </a:lnTo>
                          <a:lnTo>
                            <a:pt x="234479" y="291637"/>
                          </a:lnTo>
                          <a:lnTo>
                            <a:pt x="234479" y="290736"/>
                          </a:lnTo>
                          <a:lnTo>
                            <a:pt x="234929" y="289386"/>
                          </a:lnTo>
                          <a:lnTo>
                            <a:pt x="236730" y="287586"/>
                          </a:lnTo>
                          <a:lnTo>
                            <a:pt x="236730" y="287586"/>
                          </a:lnTo>
                          <a:lnTo>
                            <a:pt x="234929" y="288486"/>
                          </a:lnTo>
                          <a:lnTo>
                            <a:pt x="231779" y="292987"/>
                          </a:lnTo>
                          <a:lnTo>
                            <a:pt x="230429" y="294337"/>
                          </a:lnTo>
                          <a:lnTo>
                            <a:pt x="229979" y="294337"/>
                          </a:lnTo>
                          <a:lnTo>
                            <a:pt x="229979" y="291637"/>
                          </a:lnTo>
                          <a:lnTo>
                            <a:pt x="231779" y="284886"/>
                          </a:lnTo>
                          <a:lnTo>
                            <a:pt x="233129" y="278585"/>
                          </a:lnTo>
                          <a:lnTo>
                            <a:pt x="233579" y="276785"/>
                          </a:lnTo>
                          <a:lnTo>
                            <a:pt x="234929" y="274984"/>
                          </a:lnTo>
                          <a:lnTo>
                            <a:pt x="234029" y="274984"/>
                          </a:lnTo>
                          <a:lnTo>
                            <a:pt x="228629" y="277685"/>
                          </a:lnTo>
                          <a:lnTo>
                            <a:pt x="226828" y="275885"/>
                          </a:lnTo>
                          <a:lnTo>
                            <a:pt x="225478" y="266433"/>
                          </a:lnTo>
                          <a:lnTo>
                            <a:pt x="222778" y="262833"/>
                          </a:lnTo>
                          <a:lnTo>
                            <a:pt x="218277" y="259683"/>
                          </a:lnTo>
                          <a:lnTo>
                            <a:pt x="213777" y="258332"/>
                          </a:lnTo>
                          <a:lnTo>
                            <a:pt x="212877" y="255632"/>
                          </a:lnTo>
                          <a:lnTo>
                            <a:pt x="211076" y="250681"/>
                          </a:lnTo>
                          <a:lnTo>
                            <a:pt x="212427" y="246631"/>
                          </a:lnTo>
                          <a:lnTo>
                            <a:pt x="214227" y="244831"/>
                          </a:lnTo>
                          <a:lnTo>
                            <a:pt x="216027" y="243931"/>
                          </a:lnTo>
                          <a:lnTo>
                            <a:pt x="217827" y="244381"/>
                          </a:lnTo>
                          <a:lnTo>
                            <a:pt x="217827" y="245731"/>
                          </a:lnTo>
                          <a:lnTo>
                            <a:pt x="216477" y="249331"/>
                          </a:lnTo>
                          <a:lnTo>
                            <a:pt x="217827" y="249781"/>
                          </a:lnTo>
                          <a:lnTo>
                            <a:pt x="224128" y="254282"/>
                          </a:lnTo>
                          <a:lnTo>
                            <a:pt x="225478" y="254732"/>
                          </a:lnTo>
                          <a:lnTo>
                            <a:pt x="228179" y="252932"/>
                          </a:lnTo>
                          <a:lnTo>
                            <a:pt x="229529" y="252932"/>
                          </a:lnTo>
                          <a:lnTo>
                            <a:pt x="232679" y="254282"/>
                          </a:lnTo>
                          <a:lnTo>
                            <a:pt x="234029" y="256082"/>
                          </a:lnTo>
                          <a:lnTo>
                            <a:pt x="237180" y="259232"/>
                          </a:lnTo>
                          <a:lnTo>
                            <a:pt x="236730" y="257432"/>
                          </a:lnTo>
                          <a:lnTo>
                            <a:pt x="233129" y="253382"/>
                          </a:lnTo>
                          <a:lnTo>
                            <a:pt x="231329" y="252032"/>
                          </a:lnTo>
                          <a:lnTo>
                            <a:pt x="227728" y="251582"/>
                          </a:lnTo>
                          <a:lnTo>
                            <a:pt x="225478" y="252482"/>
                          </a:lnTo>
                          <a:lnTo>
                            <a:pt x="224578" y="252482"/>
                          </a:lnTo>
                          <a:lnTo>
                            <a:pt x="222778" y="251582"/>
                          </a:lnTo>
                          <a:lnTo>
                            <a:pt x="220978" y="249781"/>
                          </a:lnTo>
                          <a:lnTo>
                            <a:pt x="220077" y="246181"/>
                          </a:lnTo>
                          <a:lnTo>
                            <a:pt x="219627" y="244381"/>
                          </a:lnTo>
                          <a:lnTo>
                            <a:pt x="219627" y="243030"/>
                          </a:lnTo>
                          <a:lnTo>
                            <a:pt x="220077" y="241680"/>
                          </a:lnTo>
                          <a:lnTo>
                            <a:pt x="220528" y="240780"/>
                          </a:lnTo>
                          <a:lnTo>
                            <a:pt x="221878" y="239880"/>
                          </a:lnTo>
                          <a:lnTo>
                            <a:pt x="223678" y="239430"/>
                          </a:lnTo>
                          <a:lnTo>
                            <a:pt x="224128" y="238980"/>
                          </a:lnTo>
                          <a:lnTo>
                            <a:pt x="221428" y="236730"/>
                          </a:lnTo>
                          <a:lnTo>
                            <a:pt x="220077" y="236730"/>
                          </a:lnTo>
                          <a:lnTo>
                            <a:pt x="216027" y="239880"/>
                          </a:lnTo>
                          <a:lnTo>
                            <a:pt x="215127" y="240330"/>
                          </a:lnTo>
                          <a:lnTo>
                            <a:pt x="214677" y="239880"/>
                          </a:lnTo>
                          <a:lnTo>
                            <a:pt x="214227" y="239880"/>
                          </a:lnTo>
                          <a:lnTo>
                            <a:pt x="212877" y="241680"/>
                          </a:lnTo>
                          <a:lnTo>
                            <a:pt x="211976" y="242580"/>
                          </a:lnTo>
                          <a:lnTo>
                            <a:pt x="208826" y="247531"/>
                          </a:lnTo>
                          <a:lnTo>
                            <a:pt x="208376" y="249781"/>
                          </a:lnTo>
                          <a:lnTo>
                            <a:pt x="208376" y="253382"/>
                          </a:lnTo>
                          <a:lnTo>
                            <a:pt x="207926" y="255632"/>
                          </a:lnTo>
                          <a:lnTo>
                            <a:pt x="207476" y="256532"/>
                          </a:lnTo>
                          <a:lnTo>
                            <a:pt x="203875" y="258332"/>
                          </a:lnTo>
                          <a:lnTo>
                            <a:pt x="201625" y="261483"/>
                          </a:lnTo>
                          <a:lnTo>
                            <a:pt x="198925" y="258782"/>
                          </a:lnTo>
                          <a:lnTo>
                            <a:pt x="196224" y="256082"/>
                          </a:lnTo>
                          <a:lnTo>
                            <a:pt x="194424" y="251132"/>
                          </a:lnTo>
                          <a:lnTo>
                            <a:pt x="190824" y="250231"/>
                          </a:lnTo>
                          <a:lnTo>
                            <a:pt x="186773" y="247531"/>
                          </a:lnTo>
                          <a:lnTo>
                            <a:pt x="185423" y="244831"/>
                          </a:lnTo>
                          <a:lnTo>
                            <a:pt x="187673" y="239880"/>
                          </a:lnTo>
                          <a:lnTo>
                            <a:pt x="190824" y="235830"/>
                          </a:lnTo>
                          <a:lnTo>
                            <a:pt x="191274" y="231329"/>
                          </a:lnTo>
                          <a:lnTo>
                            <a:pt x="191724" y="230429"/>
                          </a:lnTo>
                          <a:lnTo>
                            <a:pt x="197125" y="229079"/>
                          </a:lnTo>
                          <a:lnTo>
                            <a:pt x="200725" y="226829"/>
                          </a:lnTo>
                          <a:lnTo>
                            <a:pt x="197125" y="226829"/>
                          </a:lnTo>
                          <a:lnTo>
                            <a:pt x="194874" y="227278"/>
                          </a:lnTo>
                          <a:lnTo>
                            <a:pt x="190824" y="229079"/>
                          </a:lnTo>
                          <a:lnTo>
                            <a:pt x="186323" y="225928"/>
                          </a:lnTo>
                          <a:lnTo>
                            <a:pt x="184073" y="222778"/>
                          </a:lnTo>
                          <a:lnTo>
                            <a:pt x="183173" y="220078"/>
                          </a:lnTo>
                          <a:lnTo>
                            <a:pt x="184073" y="217827"/>
                          </a:lnTo>
                          <a:lnTo>
                            <a:pt x="184073" y="215577"/>
                          </a:lnTo>
                          <a:lnTo>
                            <a:pt x="184523" y="212427"/>
                          </a:lnTo>
                          <a:lnTo>
                            <a:pt x="184973" y="211077"/>
                          </a:lnTo>
                          <a:lnTo>
                            <a:pt x="185873" y="209276"/>
                          </a:lnTo>
                          <a:lnTo>
                            <a:pt x="187673" y="208376"/>
                          </a:lnTo>
                          <a:lnTo>
                            <a:pt x="189474" y="204776"/>
                          </a:lnTo>
                          <a:lnTo>
                            <a:pt x="190374" y="202525"/>
                          </a:lnTo>
                          <a:lnTo>
                            <a:pt x="193974" y="195325"/>
                          </a:lnTo>
                          <a:lnTo>
                            <a:pt x="195324" y="192174"/>
                          </a:lnTo>
                          <a:lnTo>
                            <a:pt x="197575" y="187674"/>
                          </a:lnTo>
                          <a:lnTo>
                            <a:pt x="202075" y="180923"/>
                          </a:lnTo>
                          <a:lnTo>
                            <a:pt x="200725" y="181373"/>
                          </a:lnTo>
                          <a:lnTo>
                            <a:pt x="199825" y="181823"/>
                          </a:lnTo>
                          <a:lnTo>
                            <a:pt x="198925" y="181823"/>
                          </a:lnTo>
                          <a:lnTo>
                            <a:pt x="198025" y="180923"/>
                          </a:lnTo>
                          <a:lnTo>
                            <a:pt x="197575" y="179573"/>
                          </a:lnTo>
                          <a:lnTo>
                            <a:pt x="197125" y="177322"/>
                          </a:lnTo>
                          <a:lnTo>
                            <a:pt x="196675" y="178222"/>
                          </a:lnTo>
                          <a:lnTo>
                            <a:pt x="196675" y="182723"/>
                          </a:lnTo>
                          <a:lnTo>
                            <a:pt x="196224" y="186323"/>
                          </a:lnTo>
                          <a:lnTo>
                            <a:pt x="195324" y="189024"/>
                          </a:lnTo>
                          <a:lnTo>
                            <a:pt x="193074" y="193974"/>
                          </a:lnTo>
                          <a:lnTo>
                            <a:pt x="191724" y="195775"/>
                          </a:lnTo>
                          <a:lnTo>
                            <a:pt x="190824" y="193974"/>
                          </a:lnTo>
                          <a:lnTo>
                            <a:pt x="191724" y="190824"/>
                          </a:lnTo>
                          <a:lnTo>
                            <a:pt x="193074" y="188124"/>
                          </a:lnTo>
                          <a:lnTo>
                            <a:pt x="193524" y="184523"/>
                          </a:lnTo>
                          <a:lnTo>
                            <a:pt x="192174" y="180473"/>
                          </a:lnTo>
                          <a:lnTo>
                            <a:pt x="191274" y="176872"/>
                          </a:lnTo>
                          <a:lnTo>
                            <a:pt x="190824" y="174172"/>
                          </a:lnTo>
                          <a:lnTo>
                            <a:pt x="190824" y="171922"/>
                          </a:lnTo>
                          <a:lnTo>
                            <a:pt x="190824" y="169671"/>
                          </a:lnTo>
                          <a:lnTo>
                            <a:pt x="191274" y="167421"/>
                          </a:lnTo>
                          <a:lnTo>
                            <a:pt x="192174" y="164721"/>
                          </a:lnTo>
                          <a:lnTo>
                            <a:pt x="192174" y="164271"/>
                          </a:lnTo>
                          <a:lnTo>
                            <a:pt x="192624" y="162020"/>
                          </a:lnTo>
                          <a:lnTo>
                            <a:pt x="192624" y="159770"/>
                          </a:lnTo>
                          <a:lnTo>
                            <a:pt x="191724" y="157970"/>
                          </a:lnTo>
                          <a:lnTo>
                            <a:pt x="190824" y="156170"/>
                          </a:lnTo>
                          <a:lnTo>
                            <a:pt x="188123" y="157070"/>
                          </a:lnTo>
                          <a:lnTo>
                            <a:pt x="184073" y="155720"/>
                          </a:lnTo>
                          <a:lnTo>
                            <a:pt x="182723" y="151669"/>
                          </a:lnTo>
                          <a:lnTo>
                            <a:pt x="179122" y="150319"/>
                          </a:lnTo>
                          <a:lnTo>
                            <a:pt x="177322" y="147168"/>
                          </a:lnTo>
                          <a:lnTo>
                            <a:pt x="173272" y="145818"/>
                          </a:lnTo>
                          <a:lnTo>
                            <a:pt x="170121" y="144918"/>
                          </a:lnTo>
                          <a:lnTo>
                            <a:pt x="167871" y="143118"/>
                          </a:lnTo>
                          <a:lnTo>
                            <a:pt x="165171" y="141318"/>
                          </a:lnTo>
                          <a:lnTo>
                            <a:pt x="162470" y="139068"/>
                          </a:lnTo>
                          <a:lnTo>
                            <a:pt x="160220" y="137267"/>
                          </a:lnTo>
                          <a:lnTo>
                            <a:pt x="158420" y="137267"/>
                          </a:lnTo>
                          <a:lnTo>
                            <a:pt x="154819" y="137717"/>
                          </a:lnTo>
                          <a:lnTo>
                            <a:pt x="154819" y="134117"/>
                          </a:lnTo>
                          <a:lnTo>
                            <a:pt x="153919" y="131867"/>
                          </a:lnTo>
                          <a:lnTo>
                            <a:pt x="154369" y="130066"/>
                          </a:lnTo>
                          <a:lnTo>
                            <a:pt x="152119" y="129166"/>
                          </a:lnTo>
                          <a:lnTo>
                            <a:pt x="148969" y="127816"/>
                          </a:lnTo>
                          <a:lnTo>
                            <a:pt x="149869" y="124216"/>
                          </a:lnTo>
                          <a:lnTo>
                            <a:pt x="150319" y="121515"/>
                          </a:lnTo>
                          <a:lnTo>
                            <a:pt x="147618" y="120615"/>
                          </a:lnTo>
                          <a:lnTo>
                            <a:pt x="143568" y="119265"/>
                          </a:lnTo>
                          <a:lnTo>
                            <a:pt x="144918" y="116565"/>
                          </a:lnTo>
                          <a:lnTo>
                            <a:pt x="145818" y="114314"/>
                          </a:lnTo>
                          <a:lnTo>
                            <a:pt x="144468" y="111164"/>
                          </a:lnTo>
                          <a:lnTo>
                            <a:pt x="141318" y="106213"/>
                          </a:lnTo>
                          <a:lnTo>
                            <a:pt x="139067" y="102613"/>
                          </a:lnTo>
                          <a:lnTo>
                            <a:pt x="135917" y="96762"/>
                          </a:lnTo>
                          <a:lnTo>
                            <a:pt x="133217" y="91812"/>
                          </a:lnTo>
                          <a:lnTo>
                            <a:pt x="130966" y="87761"/>
                          </a:lnTo>
                          <a:lnTo>
                            <a:pt x="129166" y="85061"/>
                          </a:lnTo>
                          <a:lnTo>
                            <a:pt x="126466" y="80110"/>
                          </a:lnTo>
                          <a:lnTo>
                            <a:pt x="123315" y="74259"/>
                          </a:lnTo>
                          <a:lnTo>
                            <a:pt x="120165" y="69759"/>
                          </a:lnTo>
                          <a:lnTo>
                            <a:pt x="120615" y="66608"/>
                          </a:lnTo>
                          <a:lnTo>
                            <a:pt x="117465" y="63008"/>
                          </a:lnTo>
                          <a:lnTo>
                            <a:pt x="114764" y="59407"/>
                          </a:lnTo>
                          <a:lnTo>
                            <a:pt x="111614" y="54907"/>
                          </a:lnTo>
                          <a:lnTo>
                            <a:pt x="108464" y="52657"/>
                          </a:lnTo>
                          <a:lnTo>
                            <a:pt x="106213" y="51307"/>
                          </a:lnTo>
                          <a:lnTo>
                            <a:pt x="103063" y="49056"/>
                          </a:lnTo>
                          <a:lnTo>
                            <a:pt x="101263" y="47256"/>
                          </a:lnTo>
                          <a:lnTo>
                            <a:pt x="100362" y="45456"/>
                          </a:lnTo>
                          <a:lnTo>
                            <a:pt x="99462" y="44106"/>
                          </a:lnTo>
                          <a:lnTo>
                            <a:pt x="99012" y="42305"/>
                          </a:lnTo>
                          <a:lnTo>
                            <a:pt x="98562" y="40505"/>
                          </a:lnTo>
                          <a:lnTo>
                            <a:pt x="98112" y="39155"/>
                          </a:lnTo>
                          <a:lnTo>
                            <a:pt x="94062" y="36455"/>
                          </a:lnTo>
                          <a:lnTo>
                            <a:pt x="92712" y="34654"/>
                          </a:lnTo>
                          <a:lnTo>
                            <a:pt x="90011" y="32404"/>
                          </a:lnTo>
                          <a:lnTo>
                            <a:pt x="87761" y="31504"/>
                          </a:lnTo>
                          <a:lnTo>
                            <a:pt x="86861" y="30604"/>
                          </a:lnTo>
                          <a:lnTo>
                            <a:pt x="84161" y="24303"/>
                          </a:lnTo>
                          <a:lnTo>
                            <a:pt x="84611" y="22053"/>
                          </a:lnTo>
                          <a:lnTo>
                            <a:pt x="85061" y="19803"/>
                          </a:lnTo>
                          <a:lnTo>
                            <a:pt x="84611" y="18452"/>
                          </a:lnTo>
                          <a:lnTo>
                            <a:pt x="80110" y="13502"/>
                          </a:lnTo>
                          <a:lnTo>
                            <a:pt x="77860" y="11251"/>
                          </a:lnTo>
                          <a:lnTo>
                            <a:pt x="75609" y="9001"/>
                          </a:lnTo>
                          <a:lnTo>
                            <a:pt x="70659" y="11701"/>
                          </a:lnTo>
                          <a:lnTo>
                            <a:pt x="65708" y="14402"/>
                          </a:lnTo>
                          <a:lnTo>
                            <a:pt x="62108" y="15302"/>
                          </a:lnTo>
                          <a:lnTo>
                            <a:pt x="57157" y="16652"/>
                          </a:lnTo>
                          <a:lnTo>
                            <a:pt x="58957" y="19803"/>
                          </a:lnTo>
                          <a:lnTo>
                            <a:pt x="58507" y="22053"/>
                          </a:lnTo>
                          <a:lnTo>
                            <a:pt x="57157" y="22953"/>
                          </a:lnTo>
                          <a:lnTo>
                            <a:pt x="54457" y="22953"/>
                          </a:lnTo>
                          <a:lnTo>
                            <a:pt x="54457" y="30604"/>
                          </a:lnTo>
                          <a:lnTo>
                            <a:pt x="52206" y="36005"/>
                          </a:lnTo>
                          <a:lnTo>
                            <a:pt x="47256" y="36005"/>
                          </a:lnTo>
                          <a:lnTo>
                            <a:pt x="44556" y="37805"/>
                          </a:lnTo>
                          <a:lnTo>
                            <a:pt x="40505" y="40505"/>
                          </a:lnTo>
                          <a:lnTo>
                            <a:pt x="37355" y="42755"/>
                          </a:lnTo>
                          <a:lnTo>
                            <a:pt x="33754" y="46356"/>
                          </a:lnTo>
                          <a:lnTo>
                            <a:pt x="31954" y="45906"/>
                          </a:lnTo>
                          <a:lnTo>
                            <a:pt x="32854" y="42755"/>
                          </a:lnTo>
                          <a:lnTo>
                            <a:pt x="31504" y="37355"/>
                          </a:lnTo>
                          <a:lnTo>
                            <a:pt x="30604" y="32854"/>
                          </a:lnTo>
                          <a:lnTo>
                            <a:pt x="28353" y="30604"/>
                          </a:lnTo>
                          <a:lnTo>
                            <a:pt x="24753" y="26553"/>
                          </a:lnTo>
                          <a:lnTo>
                            <a:pt x="22053" y="23853"/>
                          </a:lnTo>
                          <a:lnTo>
                            <a:pt x="18002" y="19803"/>
                          </a:lnTo>
                          <a:lnTo>
                            <a:pt x="15302" y="17102"/>
                          </a:lnTo>
                          <a:lnTo>
                            <a:pt x="12602" y="13952"/>
                          </a:lnTo>
                          <a:lnTo>
                            <a:pt x="9001" y="9901"/>
                          </a:lnTo>
                          <a:lnTo>
                            <a:pt x="7651" y="4501"/>
                          </a:lnTo>
                          <a:lnTo>
                            <a:pt x="4050" y="2700"/>
                          </a:lnTo>
                          <a:lnTo>
                            <a:pt x="450" y="900"/>
                          </a:lnTo>
                          <a:lnTo>
                            <a:pt x="0" y="450"/>
                          </a:lnTo>
                          <a:lnTo>
                            <a:pt x="20253" y="450"/>
                          </a:lnTo>
                          <a:lnTo>
                            <a:pt x="40505" y="450"/>
                          </a:lnTo>
                          <a:lnTo>
                            <a:pt x="60758" y="450"/>
                          </a:lnTo>
                          <a:lnTo>
                            <a:pt x="81010" y="450"/>
                          </a:lnTo>
                          <a:lnTo>
                            <a:pt x="101263" y="450"/>
                          </a:lnTo>
                          <a:lnTo>
                            <a:pt x="121515" y="450"/>
                          </a:lnTo>
                          <a:lnTo>
                            <a:pt x="141768" y="450"/>
                          </a:lnTo>
                          <a:lnTo>
                            <a:pt x="162020" y="450"/>
                          </a:lnTo>
                          <a:lnTo>
                            <a:pt x="182273" y="450"/>
                          </a:lnTo>
                          <a:lnTo>
                            <a:pt x="202525" y="450"/>
                          </a:lnTo>
                          <a:lnTo>
                            <a:pt x="222778" y="450"/>
                          </a:lnTo>
                          <a:lnTo>
                            <a:pt x="243030" y="450"/>
                          </a:lnTo>
                          <a:lnTo>
                            <a:pt x="263283" y="450"/>
                          </a:lnTo>
                          <a:lnTo>
                            <a:pt x="283535" y="450"/>
                          </a:lnTo>
                          <a:lnTo>
                            <a:pt x="303788" y="450"/>
                          </a:lnTo>
                          <a:lnTo>
                            <a:pt x="324491" y="0"/>
                          </a:lnTo>
                          <a:lnTo>
                            <a:pt x="324491" y="0"/>
                          </a:lnTo>
                          <a:close/>
                          <a:moveTo>
                            <a:pt x="189024" y="196675"/>
                          </a:moveTo>
                          <a:lnTo>
                            <a:pt x="189024" y="195325"/>
                          </a:lnTo>
                          <a:lnTo>
                            <a:pt x="189924" y="192624"/>
                          </a:lnTo>
                          <a:lnTo>
                            <a:pt x="192624" y="186773"/>
                          </a:lnTo>
                          <a:lnTo>
                            <a:pt x="192624" y="184973"/>
                          </a:lnTo>
                          <a:lnTo>
                            <a:pt x="192174" y="182273"/>
                          </a:lnTo>
                          <a:lnTo>
                            <a:pt x="190824" y="178222"/>
                          </a:lnTo>
                          <a:lnTo>
                            <a:pt x="190374" y="175972"/>
                          </a:lnTo>
                          <a:lnTo>
                            <a:pt x="190374" y="173272"/>
                          </a:lnTo>
                          <a:lnTo>
                            <a:pt x="190374" y="171021"/>
                          </a:lnTo>
                          <a:lnTo>
                            <a:pt x="190824" y="168771"/>
                          </a:lnTo>
                          <a:lnTo>
                            <a:pt x="191724" y="166521"/>
                          </a:lnTo>
                          <a:lnTo>
                            <a:pt x="192624" y="164721"/>
                          </a:lnTo>
                          <a:lnTo>
                            <a:pt x="191274" y="168771"/>
                          </a:lnTo>
                          <a:lnTo>
                            <a:pt x="190824" y="172372"/>
                          </a:lnTo>
                          <a:lnTo>
                            <a:pt x="191274" y="176422"/>
                          </a:lnTo>
                          <a:lnTo>
                            <a:pt x="192174" y="180023"/>
                          </a:lnTo>
                          <a:lnTo>
                            <a:pt x="192624" y="182723"/>
                          </a:lnTo>
                          <a:lnTo>
                            <a:pt x="193074" y="184523"/>
                          </a:lnTo>
                          <a:lnTo>
                            <a:pt x="193074" y="185873"/>
                          </a:lnTo>
                          <a:lnTo>
                            <a:pt x="193074" y="187674"/>
                          </a:lnTo>
                          <a:lnTo>
                            <a:pt x="192174" y="189924"/>
                          </a:lnTo>
                          <a:lnTo>
                            <a:pt x="189024" y="196675"/>
                          </a:lnTo>
                          <a:close/>
                          <a:moveTo>
                            <a:pt x="180923" y="206126"/>
                          </a:moveTo>
                          <a:lnTo>
                            <a:pt x="182723" y="203876"/>
                          </a:lnTo>
                          <a:lnTo>
                            <a:pt x="186773" y="199825"/>
                          </a:lnTo>
                          <a:lnTo>
                            <a:pt x="189024" y="196675"/>
                          </a:lnTo>
                          <a:lnTo>
                            <a:pt x="189024" y="199375"/>
                          </a:lnTo>
                          <a:lnTo>
                            <a:pt x="185873" y="204326"/>
                          </a:lnTo>
                          <a:lnTo>
                            <a:pt x="181823" y="206576"/>
                          </a:lnTo>
                          <a:lnTo>
                            <a:pt x="180923" y="206126"/>
                          </a:lnTo>
                          <a:close/>
                          <a:moveTo>
                            <a:pt x="173722" y="216477"/>
                          </a:moveTo>
                          <a:lnTo>
                            <a:pt x="173272" y="216477"/>
                          </a:lnTo>
                          <a:lnTo>
                            <a:pt x="173272" y="215577"/>
                          </a:lnTo>
                          <a:lnTo>
                            <a:pt x="173272" y="213777"/>
                          </a:lnTo>
                          <a:lnTo>
                            <a:pt x="173722" y="211077"/>
                          </a:lnTo>
                          <a:lnTo>
                            <a:pt x="174172" y="210626"/>
                          </a:lnTo>
                          <a:lnTo>
                            <a:pt x="176872" y="211077"/>
                          </a:lnTo>
                          <a:lnTo>
                            <a:pt x="177322" y="211077"/>
                          </a:lnTo>
                          <a:lnTo>
                            <a:pt x="177322" y="211526"/>
                          </a:lnTo>
                          <a:lnTo>
                            <a:pt x="177322" y="212427"/>
                          </a:lnTo>
                          <a:lnTo>
                            <a:pt x="176422" y="213777"/>
                          </a:lnTo>
                          <a:lnTo>
                            <a:pt x="173722" y="216477"/>
                          </a:lnTo>
                          <a:close/>
                          <a:moveTo>
                            <a:pt x="136817" y="229529"/>
                          </a:moveTo>
                          <a:lnTo>
                            <a:pt x="138617" y="231779"/>
                          </a:lnTo>
                          <a:lnTo>
                            <a:pt x="143118" y="230429"/>
                          </a:lnTo>
                          <a:lnTo>
                            <a:pt x="144018" y="230879"/>
                          </a:lnTo>
                          <a:lnTo>
                            <a:pt x="144918" y="231779"/>
                          </a:lnTo>
                          <a:lnTo>
                            <a:pt x="145818" y="233579"/>
                          </a:lnTo>
                          <a:lnTo>
                            <a:pt x="146718" y="236280"/>
                          </a:lnTo>
                          <a:lnTo>
                            <a:pt x="147168" y="238980"/>
                          </a:lnTo>
                          <a:lnTo>
                            <a:pt x="146718" y="239880"/>
                          </a:lnTo>
                          <a:lnTo>
                            <a:pt x="145818" y="241230"/>
                          </a:lnTo>
                          <a:lnTo>
                            <a:pt x="138167" y="245731"/>
                          </a:lnTo>
                          <a:lnTo>
                            <a:pt x="138167" y="246181"/>
                          </a:lnTo>
                          <a:lnTo>
                            <a:pt x="138167" y="246631"/>
                          </a:lnTo>
                          <a:lnTo>
                            <a:pt x="139067" y="247081"/>
                          </a:lnTo>
                          <a:lnTo>
                            <a:pt x="140418" y="247081"/>
                          </a:lnTo>
                          <a:lnTo>
                            <a:pt x="146268" y="245731"/>
                          </a:lnTo>
                          <a:lnTo>
                            <a:pt x="146718" y="244831"/>
                          </a:lnTo>
                          <a:lnTo>
                            <a:pt x="147168" y="241230"/>
                          </a:lnTo>
                          <a:lnTo>
                            <a:pt x="148068" y="239430"/>
                          </a:lnTo>
                          <a:lnTo>
                            <a:pt x="148068" y="238080"/>
                          </a:lnTo>
                          <a:lnTo>
                            <a:pt x="147618" y="234479"/>
                          </a:lnTo>
                          <a:lnTo>
                            <a:pt x="147618" y="233129"/>
                          </a:lnTo>
                          <a:lnTo>
                            <a:pt x="151669" y="232679"/>
                          </a:lnTo>
                          <a:lnTo>
                            <a:pt x="154369" y="231329"/>
                          </a:lnTo>
                          <a:lnTo>
                            <a:pt x="157070" y="229079"/>
                          </a:lnTo>
                          <a:lnTo>
                            <a:pt x="157520" y="229079"/>
                          </a:lnTo>
                          <a:lnTo>
                            <a:pt x="157070" y="233579"/>
                          </a:lnTo>
                          <a:lnTo>
                            <a:pt x="156620" y="234929"/>
                          </a:lnTo>
                          <a:lnTo>
                            <a:pt x="153919" y="240330"/>
                          </a:lnTo>
                          <a:lnTo>
                            <a:pt x="152569" y="244831"/>
                          </a:lnTo>
                          <a:lnTo>
                            <a:pt x="151669" y="249331"/>
                          </a:lnTo>
                          <a:lnTo>
                            <a:pt x="151669" y="256982"/>
                          </a:lnTo>
                          <a:lnTo>
                            <a:pt x="151219" y="259683"/>
                          </a:lnTo>
                          <a:lnTo>
                            <a:pt x="149869" y="261033"/>
                          </a:lnTo>
                          <a:lnTo>
                            <a:pt x="142668" y="263733"/>
                          </a:lnTo>
                          <a:lnTo>
                            <a:pt x="139067" y="263733"/>
                          </a:lnTo>
                          <a:lnTo>
                            <a:pt x="135917" y="261483"/>
                          </a:lnTo>
                          <a:lnTo>
                            <a:pt x="134567" y="259683"/>
                          </a:lnTo>
                          <a:lnTo>
                            <a:pt x="135917" y="257432"/>
                          </a:lnTo>
                          <a:lnTo>
                            <a:pt x="136817" y="257432"/>
                          </a:lnTo>
                          <a:lnTo>
                            <a:pt x="139067" y="257882"/>
                          </a:lnTo>
                          <a:lnTo>
                            <a:pt x="140868" y="258782"/>
                          </a:lnTo>
                          <a:lnTo>
                            <a:pt x="141768" y="258782"/>
                          </a:lnTo>
                          <a:lnTo>
                            <a:pt x="141768" y="258332"/>
                          </a:lnTo>
                          <a:lnTo>
                            <a:pt x="136817" y="254282"/>
                          </a:lnTo>
                          <a:lnTo>
                            <a:pt x="133217" y="252482"/>
                          </a:lnTo>
                          <a:lnTo>
                            <a:pt x="132317" y="250681"/>
                          </a:lnTo>
                          <a:lnTo>
                            <a:pt x="132317" y="249331"/>
                          </a:lnTo>
                          <a:lnTo>
                            <a:pt x="131866" y="248431"/>
                          </a:lnTo>
                          <a:lnTo>
                            <a:pt x="128716" y="243030"/>
                          </a:lnTo>
                          <a:lnTo>
                            <a:pt x="128266" y="240780"/>
                          </a:lnTo>
                          <a:lnTo>
                            <a:pt x="127816" y="237630"/>
                          </a:lnTo>
                          <a:lnTo>
                            <a:pt x="127816" y="234479"/>
                          </a:lnTo>
                          <a:lnTo>
                            <a:pt x="128716" y="229529"/>
                          </a:lnTo>
                          <a:lnTo>
                            <a:pt x="129166" y="229079"/>
                          </a:lnTo>
                          <a:lnTo>
                            <a:pt x="130516" y="229079"/>
                          </a:lnTo>
                          <a:lnTo>
                            <a:pt x="132767" y="229529"/>
                          </a:lnTo>
                          <a:lnTo>
                            <a:pt x="136817" y="229529"/>
                          </a:lnTo>
                          <a:close/>
                          <a:moveTo>
                            <a:pt x="188123" y="235380"/>
                          </a:moveTo>
                          <a:lnTo>
                            <a:pt x="187673" y="236730"/>
                          </a:lnTo>
                          <a:lnTo>
                            <a:pt x="186323" y="238530"/>
                          </a:lnTo>
                          <a:lnTo>
                            <a:pt x="185423" y="239430"/>
                          </a:lnTo>
                          <a:lnTo>
                            <a:pt x="184973" y="238980"/>
                          </a:lnTo>
                          <a:lnTo>
                            <a:pt x="183623" y="238980"/>
                          </a:lnTo>
                          <a:lnTo>
                            <a:pt x="182273" y="237180"/>
                          </a:lnTo>
                          <a:lnTo>
                            <a:pt x="181373" y="236280"/>
                          </a:lnTo>
                          <a:lnTo>
                            <a:pt x="180473" y="236280"/>
                          </a:lnTo>
                          <a:lnTo>
                            <a:pt x="180023" y="237180"/>
                          </a:lnTo>
                          <a:lnTo>
                            <a:pt x="180023" y="238080"/>
                          </a:lnTo>
                          <a:lnTo>
                            <a:pt x="180023" y="239430"/>
                          </a:lnTo>
                          <a:lnTo>
                            <a:pt x="180023" y="239880"/>
                          </a:lnTo>
                          <a:lnTo>
                            <a:pt x="179572" y="239880"/>
                          </a:lnTo>
                          <a:lnTo>
                            <a:pt x="179122" y="239430"/>
                          </a:lnTo>
                          <a:lnTo>
                            <a:pt x="178672" y="238530"/>
                          </a:lnTo>
                          <a:lnTo>
                            <a:pt x="178672" y="237630"/>
                          </a:lnTo>
                          <a:lnTo>
                            <a:pt x="179122" y="236730"/>
                          </a:lnTo>
                          <a:lnTo>
                            <a:pt x="180023" y="235380"/>
                          </a:lnTo>
                          <a:lnTo>
                            <a:pt x="183173" y="232229"/>
                          </a:lnTo>
                          <a:lnTo>
                            <a:pt x="184073" y="231779"/>
                          </a:lnTo>
                          <a:lnTo>
                            <a:pt x="184973" y="231779"/>
                          </a:lnTo>
                          <a:lnTo>
                            <a:pt x="186773" y="233129"/>
                          </a:lnTo>
                          <a:lnTo>
                            <a:pt x="187223" y="233579"/>
                          </a:lnTo>
                          <a:lnTo>
                            <a:pt x="188123" y="235380"/>
                          </a:lnTo>
                          <a:close/>
                          <a:moveTo>
                            <a:pt x="196675" y="263733"/>
                          </a:moveTo>
                          <a:lnTo>
                            <a:pt x="196675" y="263733"/>
                          </a:lnTo>
                          <a:lnTo>
                            <a:pt x="194874" y="263283"/>
                          </a:lnTo>
                          <a:lnTo>
                            <a:pt x="190374" y="257432"/>
                          </a:lnTo>
                          <a:lnTo>
                            <a:pt x="187223" y="255182"/>
                          </a:lnTo>
                          <a:lnTo>
                            <a:pt x="184973" y="252032"/>
                          </a:lnTo>
                          <a:lnTo>
                            <a:pt x="182723" y="250231"/>
                          </a:lnTo>
                          <a:lnTo>
                            <a:pt x="184073" y="247081"/>
                          </a:lnTo>
                          <a:lnTo>
                            <a:pt x="185423" y="247531"/>
                          </a:lnTo>
                          <a:lnTo>
                            <a:pt x="189474" y="250231"/>
                          </a:lnTo>
                          <a:lnTo>
                            <a:pt x="193074" y="252482"/>
                          </a:lnTo>
                          <a:lnTo>
                            <a:pt x="194874" y="254282"/>
                          </a:lnTo>
                          <a:lnTo>
                            <a:pt x="198925" y="261033"/>
                          </a:lnTo>
                          <a:lnTo>
                            <a:pt x="198475" y="261933"/>
                          </a:lnTo>
                          <a:lnTo>
                            <a:pt x="196675" y="263733"/>
                          </a:lnTo>
                          <a:close/>
                          <a:moveTo>
                            <a:pt x="211076" y="265533"/>
                          </a:moveTo>
                          <a:lnTo>
                            <a:pt x="211076" y="265533"/>
                          </a:lnTo>
                          <a:lnTo>
                            <a:pt x="208826" y="265983"/>
                          </a:lnTo>
                          <a:lnTo>
                            <a:pt x="208376" y="265533"/>
                          </a:lnTo>
                          <a:lnTo>
                            <a:pt x="207926" y="264633"/>
                          </a:lnTo>
                          <a:lnTo>
                            <a:pt x="207926" y="263733"/>
                          </a:lnTo>
                          <a:lnTo>
                            <a:pt x="208376" y="262383"/>
                          </a:lnTo>
                          <a:lnTo>
                            <a:pt x="209726" y="259683"/>
                          </a:lnTo>
                          <a:lnTo>
                            <a:pt x="209726" y="258782"/>
                          </a:lnTo>
                          <a:lnTo>
                            <a:pt x="210176" y="258332"/>
                          </a:lnTo>
                          <a:lnTo>
                            <a:pt x="211076" y="259683"/>
                          </a:lnTo>
                          <a:lnTo>
                            <a:pt x="211526" y="261033"/>
                          </a:lnTo>
                          <a:lnTo>
                            <a:pt x="211076" y="265533"/>
                          </a:lnTo>
                          <a:close/>
                          <a:moveTo>
                            <a:pt x="224128" y="271834"/>
                          </a:moveTo>
                          <a:lnTo>
                            <a:pt x="225028" y="283086"/>
                          </a:lnTo>
                          <a:lnTo>
                            <a:pt x="225028" y="286686"/>
                          </a:lnTo>
                          <a:lnTo>
                            <a:pt x="223678" y="288936"/>
                          </a:lnTo>
                          <a:lnTo>
                            <a:pt x="222778" y="292987"/>
                          </a:lnTo>
                          <a:lnTo>
                            <a:pt x="221428" y="294787"/>
                          </a:lnTo>
                          <a:lnTo>
                            <a:pt x="220528" y="292537"/>
                          </a:lnTo>
                          <a:lnTo>
                            <a:pt x="220528" y="288486"/>
                          </a:lnTo>
                          <a:lnTo>
                            <a:pt x="220077" y="285336"/>
                          </a:lnTo>
                          <a:lnTo>
                            <a:pt x="219627" y="283986"/>
                          </a:lnTo>
                          <a:lnTo>
                            <a:pt x="220077" y="278135"/>
                          </a:lnTo>
                          <a:lnTo>
                            <a:pt x="219627" y="278585"/>
                          </a:lnTo>
                          <a:lnTo>
                            <a:pt x="218277" y="281285"/>
                          </a:lnTo>
                          <a:lnTo>
                            <a:pt x="216927" y="281285"/>
                          </a:lnTo>
                          <a:lnTo>
                            <a:pt x="214227" y="278585"/>
                          </a:lnTo>
                          <a:lnTo>
                            <a:pt x="212877" y="276335"/>
                          </a:lnTo>
                          <a:lnTo>
                            <a:pt x="212877" y="274084"/>
                          </a:lnTo>
                          <a:lnTo>
                            <a:pt x="211076" y="271384"/>
                          </a:lnTo>
                          <a:lnTo>
                            <a:pt x="211076" y="270484"/>
                          </a:lnTo>
                          <a:lnTo>
                            <a:pt x="211076" y="269584"/>
                          </a:lnTo>
                          <a:lnTo>
                            <a:pt x="212427" y="266883"/>
                          </a:lnTo>
                          <a:lnTo>
                            <a:pt x="212877" y="265083"/>
                          </a:lnTo>
                          <a:lnTo>
                            <a:pt x="213327" y="261483"/>
                          </a:lnTo>
                          <a:lnTo>
                            <a:pt x="213777" y="260133"/>
                          </a:lnTo>
                          <a:lnTo>
                            <a:pt x="215127" y="260133"/>
                          </a:lnTo>
                          <a:lnTo>
                            <a:pt x="217377" y="261933"/>
                          </a:lnTo>
                          <a:lnTo>
                            <a:pt x="220077" y="263733"/>
                          </a:lnTo>
                          <a:lnTo>
                            <a:pt x="222328" y="265983"/>
                          </a:lnTo>
                          <a:lnTo>
                            <a:pt x="224128" y="271834"/>
                          </a:lnTo>
                          <a:close/>
                          <a:moveTo>
                            <a:pt x="156170" y="262833"/>
                          </a:moveTo>
                          <a:lnTo>
                            <a:pt x="158420" y="265983"/>
                          </a:lnTo>
                          <a:lnTo>
                            <a:pt x="158870" y="268684"/>
                          </a:lnTo>
                          <a:lnTo>
                            <a:pt x="158420" y="272284"/>
                          </a:lnTo>
                          <a:lnTo>
                            <a:pt x="154819" y="273634"/>
                          </a:lnTo>
                          <a:lnTo>
                            <a:pt x="153019" y="272734"/>
                          </a:lnTo>
                          <a:lnTo>
                            <a:pt x="152119" y="272734"/>
                          </a:lnTo>
                          <a:lnTo>
                            <a:pt x="150769" y="273634"/>
                          </a:lnTo>
                          <a:lnTo>
                            <a:pt x="152119" y="274084"/>
                          </a:lnTo>
                          <a:lnTo>
                            <a:pt x="153919" y="275885"/>
                          </a:lnTo>
                          <a:lnTo>
                            <a:pt x="155719" y="278135"/>
                          </a:lnTo>
                          <a:lnTo>
                            <a:pt x="158420" y="278585"/>
                          </a:lnTo>
                          <a:lnTo>
                            <a:pt x="161570" y="279935"/>
                          </a:lnTo>
                          <a:lnTo>
                            <a:pt x="158870" y="282635"/>
                          </a:lnTo>
                          <a:lnTo>
                            <a:pt x="158420" y="283986"/>
                          </a:lnTo>
                          <a:lnTo>
                            <a:pt x="161570" y="288486"/>
                          </a:lnTo>
                          <a:lnTo>
                            <a:pt x="162020" y="289386"/>
                          </a:lnTo>
                          <a:lnTo>
                            <a:pt x="162920" y="289386"/>
                          </a:lnTo>
                          <a:lnTo>
                            <a:pt x="165171" y="288936"/>
                          </a:lnTo>
                          <a:lnTo>
                            <a:pt x="165621" y="289386"/>
                          </a:lnTo>
                          <a:lnTo>
                            <a:pt x="165621" y="290286"/>
                          </a:lnTo>
                          <a:lnTo>
                            <a:pt x="164271" y="292987"/>
                          </a:lnTo>
                          <a:lnTo>
                            <a:pt x="164271" y="293437"/>
                          </a:lnTo>
                          <a:lnTo>
                            <a:pt x="165621" y="293887"/>
                          </a:lnTo>
                          <a:lnTo>
                            <a:pt x="167871" y="293887"/>
                          </a:lnTo>
                          <a:lnTo>
                            <a:pt x="168321" y="296587"/>
                          </a:lnTo>
                          <a:lnTo>
                            <a:pt x="166071" y="298838"/>
                          </a:lnTo>
                          <a:lnTo>
                            <a:pt x="162020" y="296137"/>
                          </a:lnTo>
                          <a:lnTo>
                            <a:pt x="160220" y="293437"/>
                          </a:lnTo>
                          <a:lnTo>
                            <a:pt x="159320" y="290736"/>
                          </a:lnTo>
                          <a:lnTo>
                            <a:pt x="157970" y="289386"/>
                          </a:lnTo>
                          <a:lnTo>
                            <a:pt x="153919" y="285786"/>
                          </a:lnTo>
                          <a:lnTo>
                            <a:pt x="148068" y="278585"/>
                          </a:lnTo>
                          <a:lnTo>
                            <a:pt x="146718" y="277685"/>
                          </a:lnTo>
                          <a:lnTo>
                            <a:pt x="145368" y="274534"/>
                          </a:lnTo>
                          <a:lnTo>
                            <a:pt x="144918" y="273184"/>
                          </a:lnTo>
                          <a:lnTo>
                            <a:pt x="144918" y="272284"/>
                          </a:lnTo>
                          <a:lnTo>
                            <a:pt x="145368" y="271834"/>
                          </a:lnTo>
                          <a:lnTo>
                            <a:pt x="147168" y="271384"/>
                          </a:lnTo>
                          <a:lnTo>
                            <a:pt x="147168" y="270034"/>
                          </a:lnTo>
                          <a:lnTo>
                            <a:pt x="140418" y="267334"/>
                          </a:lnTo>
                          <a:lnTo>
                            <a:pt x="139517" y="266883"/>
                          </a:lnTo>
                          <a:lnTo>
                            <a:pt x="138617" y="265083"/>
                          </a:lnTo>
                          <a:lnTo>
                            <a:pt x="139067" y="264633"/>
                          </a:lnTo>
                          <a:lnTo>
                            <a:pt x="142668" y="265083"/>
                          </a:lnTo>
                          <a:lnTo>
                            <a:pt x="146718" y="264183"/>
                          </a:lnTo>
                          <a:lnTo>
                            <a:pt x="149419" y="263733"/>
                          </a:lnTo>
                          <a:lnTo>
                            <a:pt x="150319" y="262833"/>
                          </a:lnTo>
                          <a:lnTo>
                            <a:pt x="152569" y="261933"/>
                          </a:lnTo>
                          <a:lnTo>
                            <a:pt x="153469" y="261933"/>
                          </a:lnTo>
                          <a:lnTo>
                            <a:pt x="156170" y="262833"/>
                          </a:lnTo>
                          <a:close/>
                          <a:moveTo>
                            <a:pt x="207926" y="270034"/>
                          </a:moveTo>
                          <a:lnTo>
                            <a:pt x="207926" y="270034"/>
                          </a:lnTo>
                          <a:lnTo>
                            <a:pt x="206576" y="270034"/>
                          </a:lnTo>
                          <a:lnTo>
                            <a:pt x="205676" y="269134"/>
                          </a:lnTo>
                          <a:lnTo>
                            <a:pt x="204326" y="266433"/>
                          </a:lnTo>
                          <a:lnTo>
                            <a:pt x="203875" y="265533"/>
                          </a:lnTo>
                          <a:lnTo>
                            <a:pt x="203425" y="263733"/>
                          </a:lnTo>
                          <a:lnTo>
                            <a:pt x="203875" y="263283"/>
                          </a:lnTo>
                          <a:lnTo>
                            <a:pt x="204326" y="263283"/>
                          </a:lnTo>
                          <a:lnTo>
                            <a:pt x="204776" y="263733"/>
                          </a:lnTo>
                          <a:lnTo>
                            <a:pt x="207026" y="268234"/>
                          </a:lnTo>
                          <a:lnTo>
                            <a:pt x="207926" y="270034"/>
                          </a:lnTo>
                          <a:close/>
                          <a:moveTo>
                            <a:pt x="216027" y="286686"/>
                          </a:moveTo>
                          <a:lnTo>
                            <a:pt x="215127" y="288486"/>
                          </a:lnTo>
                          <a:lnTo>
                            <a:pt x="212427" y="284436"/>
                          </a:lnTo>
                          <a:lnTo>
                            <a:pt x="211526" y="283535"/>
                          </a:lnTo>
                          <a:lnTo>
                            <a:pt x="209276" y="279485"/>
                          </a:lnTo>
                          <a:lnTo>
                            <a:pt x="208826" y="277685"/>
                          </a:lnTo>
                          <a:lnTo>
                            <a:pt x="208826" y="276785"/>
                          </a:lnTo>
                          <a:lnTo>
                            <a:pt x="209276" y="276335"/>
                          </a:lnTo>
                          <a:lnTo>
                            <a:pt x="209726" y="276785"/>
                          </a:lnTo>
                          <a:lnTo>
                            <a:pt x="210176" y="277235"/>
                          </a:lnTo>
                          <a:lnTo>
                            <a:pt x="214227" y="281735"/>
                          </a:lnTo>
                          <a:lnTo>
                            <a:pt x="215577" y="283986"/>
                          </a:lnTo>
                          <a:lnTo>
                            <a:pt x="216027" y="286686"/>
                          </a:lnTo>
                          <a:close/>
                          <a:moveTo>
                            <a:pt x="227728" y="290286"/>
                          </a:moveTo>
                          <a:lnTo>
                            <a:pt x="225928" y="290736"/>
                          </a:lnTo>
                          <a:lnTo>
                            <a:pt x="226378" y="288936"/>
                          </a:lnTo>
                          <a:lnTo>
                            <a:pt x="226378" y="288036"/>
                          </a:lnTo>
                          <a:lnTo>
                            <a:pt x="225928" y="287136"/>
                          </a:lnTo>
                          <a:lnTo>
                            <a:pt x="225928" y="285336"/>
                          </a:lnTo>
                          <a:lnTo>
                            <a:pt x="225928" y="280385"/>
                          </a:lnTo>
                          <a:lnTo>
                            <a:pt x="227728" y="277235"/>
                          </a:lnTo>
                          <a:lnTo>
                            <a:pt x="230429" y="277235"/>
                          </a:lnTo>
                          <a:lnTo>
                            <a:pt x="230429" y="278585"/>
                          </a:lnTo>
                          <a:lnTo>
                            <a:pt x="229529" y="285336"/>
                          </a:lnTo>
                          <a:lnTo>
                            <a:pt x="229079" y="288486"/>
                          </a:lnTo>
                          <a:lnTo>
                            <a:pt x="228629" y="289836"/>
                          </a:lnTo>
                          <a:lnTo>
                            <a:pt x="227728" y="290286"/>
                          </a:lnTo>
                          <a:close/>
                          <a:moveTo>
                            <a:pt x="171471" y="305588"/>
                          </a:moveTo>
                          <a:lnTo>
                            <a:pt x="171471" y="305588"/>
                          </a:lnTo>
                          <a:lnTo>
                            <a:pt x="170571" y="305138"/>
                          </a:lnTo>
                          <a:lnTo>
                            <a:pt x="170121" y="303788"/>
                          </a:lnTo>
                          <a:lnTo>
                            <a:pt x="169671" y="300638"/>
                          </a:lnTo>
                          <a:lnTo>
                            <a:pt x="169671" y="299287"/>
                          </a:lnTo>
                          <a:lnTo>
                            <a:pt x="169671" y="298838"/>
                          </a:lnTo>
                          <a:lnTo>
                            <a:pt x="171471" y="300638"/>
                          </a:lnTo>
                          <a:lnTo>
                            <a:pt x="171471" y="305588"/>
                          </a:lnTo>
                          <a:close/>
                          <a:moveTo>
                            <a:pt x="237180" y="322240"/>
                          </a:moveTo>
                          <a:lnTo>
                            <a:pt x="236730" y="322690"/>
                          </a:lnTo>
                          <a:lnTo>
                            <a:pt x="235829" y="322690"/>
                          </a:lnTo>
                          <a:lnTo>
                            <a:pt x="234479" y="322240"/>
                          </a:lnTo>
                          <a:lnTo>
                            <a:pt x="233579" y="320890"/>
                          </a:lnTo>
                          <a:lnTo>
                            <a:pt x="232229" y="316840"/>
                          </a:lnTo>
                          <a:lnTo>
                            <a:pt x="232229" y="315940"/>
                          </a:lnTo>
                          <a:lnTo>
                            <a:pt x="232679" y="315039"/>
                          </a:lnTo>
                          <a:lnTo>
                            <a:pt x="234479" y="313689"/>
                          </a:lnTo>
                          <a:lnTo>
                            <a:pt x="235379" y="313689"/>
                          </a:lnTo>
                          <a:lnTo>
                            <a:pt x="235829" y="314589"/>
                          </a:lnTo>
                          <a:lnTo>
                            <a:pt x="237180" y="316840"/>
                          </a:lnTo>
                          <a:lnTo>
                            <a:pt x="237630" y="317740"/>
                          </a:lnTo>
                          <a:lnTo>
                            <a:pt x="237630" y="320440"/>
                          </a:lnTo>
                          <a:lnTo>
                            <a:pt x="237180" y="322240"/>
                          </a:lnTo>
                          <a:close/>
                          <a:moveTo>
                            <a:pt x="252932" y="350144"/>
                          </a:moveTo>
                          <a:lnTo>
                            <a:pt x="263283" y="354194"/>
                          </a:lnTo>
                          <a:lnTo>
                            <a:pt x="273634" y="356445"/>
                          </a:lnTo>
                          <a:lnTo>
                            <a:pt x="281285" y="358695"/>
                          </a:lnTo>
                          <a:lnTo>
                            <a:pt x="286236" y="359595"/>
                          </a:lnTo>
                          <a:lnTo>
                            <a:pt x="288036" y="360045"/>
                          </a:lnTo>
                          <a:lnTo>
                            <a:pt x="288936" y="360945"/>
                          </a:lnTo>
                          <a:lnTo>
                            <a:pt x="290286" y="363196"/>
                          </a:lnTo>
                          <a:lnTo>
                            <a:pt x="292537" y="368146"/>
                          </a:lnTo>
                          <a:lnTo>
                            <a:pt x="294337" y="371296"/>
                          </a:lnTo>
                          <a:lnTo>
                            <a:pt x="297937" y="376697"/>
                          </a:lnTo>
                          <a:lnTo>
                            <a:pt x="300638" y="380298"/>
                          </a:lnTo>
                          <a:lnTo>
                            <a:pt x="301088" y="381648"/>
                          </a:lnTo>
                          <a:lnTo>
                            <a:pt x="300638" y="382098"/>
                          </a:lnTo>
                          <a:lnTo>
                            <a:pt x="300638" y="382998"/>
                          </a:lnTo>
                          <a:lnTo>
                            <a:pt x="302888" y="386599"/>
                          </a:lnTo>
                          <a:lnTo>
                            <a:pt x="306938" y="389749"/>
                          </a:lnTo>
                          <a:lnTo>
                            <a:pt x="310089" y="391099"/>
                          </a:lnTo>
                          <a:lnTo>
                            <a:pt x="316840" y="393799"/>
                          </a:lnTo>
                          <a:lnTo>
                            <a:pt x="320890" y="396500"/>
                          </a:lnTo>
                          <a:lnTo>
                            <a:pt x="322240" y="398300"/>
                          </a:lnTo>
                          <a:lnTo>
                            <a:pt x="324041" y="400100"/>
                          </a:lnTo>
                          <a:lnTo>
                            <a:pt x="324941" y="401450"/>
                          </a:lnTo>
                          <a:lnTo>
                            <a:pt x="326291" y="405501"/>
                          </a:lnTo>
                          <a:lnTo>
                            <a:pt x="328991" y="409551"/>
                          </a:lnTo>
                          <a:lnTo>
                            <a:pt x="331691" y="417202"/>
                          </a:lnTo>
                          <a:lnTo>
                            <a:pt x="332141" y="416752"/>
                          </a:lnTo>
                          <a:lnTo>
                            <a:pt x="332592" y="414502"/>
                          </a:lnTo>
                          <a:lnTo>
                            <a:pt x="333042" y="414052"/>
                          </a:lnTo>
                          <a:lnTo>
                            <a:pt x="333492" y="413602"/>
                          </a:lnTo>
                          <a:lnTo>
                            <a:pt x="333942" y="414502"/>
                          </a:lnTo>
                          <a:lnTo>
                            <a:pt x="334392" y="416752"/>
                          </a:lnTo>
                          <a:lnTo>
                            <a:pt x="336192" y="421703"/>
                          </a:lnTo>
                          <a:lnTo>
                            <a:pt x="335742" y="423053"/>
                          </a:lnTo>
                          <a:lnTo>
                            <a:pt x="335292" y="423053"/>
                          </a:lnTo>
                          <a:lnTo>
                            <a:pt x="333042" y="422603"/>
                          </a:lnTo>
                          <a:lnTo>
                            <a:pt x="332141" y="423503"/>
                          </a:lnTo>
                          <a:lnTo>
                            <a:pt x="331241" y="425303"/>
                          </a:lnTo>
                          <a:lnTo>
                            <a:pt x="330341" y="426203"/>
                          </a:lnTo>
                          <a:lnTo>
                            <a:pt x="329891" y="425753"/>
                          </a:lnTo>
                          <a:lnTo>
                            <a:pt x="323140" y="423953"/>
                          </a:lnTo>
                          <a:lnTo>
                            <a:pt x="319090" y="422153"/>
                          </a:lnTo>
                          <a:lnTo>
                            <a:pt x="313689" y="419453"/>
                          </a:lnTo>
                          <a:lnTo>
                            <a:pt x="306938" y="416752"/>
                          </a:lnTo>
                          <a:lnTo>
                            <a:pt x="303338" y="414952"/>
                          </a:lnTo>
                          <a:lnTo>
                            <a:pt x="300188" y="413152"/>
                          </a:lnTo>
                          <a:lnTo>
                            <a:pt x="297937" y="411352"/>
                          </a:lnTo>
                          <a:lnTo>
                            <a:pt x="297487" y="410001"/>
                          </a:lnTo>
                          <a:lnTo>
                            <a:pt x="297487" y="409551"/>
                          </a:lnTo>
                          <a:lnTo>
                            <a:pt x="301538" y="405051"/>
                          </a:lnTo>
                          <a:lnTo>
                            <a:pt x="303338" y="402800"/>
                          </a:lnTo>
                          <a:lnTo>
                            <a:pt x="304238" y="401000"/>
                          </a:lnTo>
                          <a:lnTo>
                            <a:pt x="304688" y="399200"/>
                          </a:lnTo>
                          <a:lnTo>
                            <a:pt x="304238" y="396950"/>
                          </a:lnTo>
                          <a:lnTo>
                            <a:pt x="304238" y="396950"/>
                          </a:lnTo>
                          <a:lnTo>
                            <a:pt x="303788" y="399200"/>
                          </a:lnTo>
                          <a:lnTo>
                            <a:pt x="303338" y="401000"/>
                          </a:lnTo>
                          <a:lnTo>
                            <a:pt x="302438" y="402350"/>
                          </a:lnTo>
                          <a:lnTo>
                            <a:pt x="301088" y="403701"/>
                          </a:lnTo>
                          <a:lnTo>
                            <a:pt x="296137" y="404601"/>
                          </a:lnTo>
                          <a:lnTo>
                            <a:pt x="292086" y="404151"/>
                          </a:lnTo>
                          <a:lnTo>
                            <a:pt x="289836" y="405951"/>
                          </a:lnTo>
                          <a:lnTo>
                            <a:pt x="289386" y="406401"/>
                          </a:lnTo>
                          <a:lnTo>
                            <a:pt x="288036" y="405951"/>
                          </a:lnTo>
                          <a:lnTo>
                            <a:pt x="285336" y="403701"/>
                          </a:lnTo>
                          <a:lnTo>
                            <a:pt x="281735" y="401900"/>
                          </a:lnTo>
                          <a:lnTo>
                            <a:pt x="282185" y="401450"/>
                          </a:lnTo>
                          <a:lnTo>
                            <a:pt x="284436" y="400550"/>
                          </a:lnTo>
                          <a:lnTo>
                            <a:pt x="285786" y="399200"/>
                          </a:lnTo>
                          <a:lnTo>
                            <a:pt x="285786" y="398750"/>
                          </a:lnTo>
                          <a:lnTo>
                            <a:pt x="284886" y="398750"/>
                          </a:lnTo>
                          <a:lnTo>
                            <a:pt x="283985" y="398300"/>
                          </a:lnTo>
                          <a:lnTo>
                            <a:pt x="282635" y="396500"/>
                          </a:lnTo>
                          <a:lnTo>
                            <a:pt x="281735" y="396050"/>
                          </a:lnTo>
                          <a:lnTo>
                            <a:pt x="279935" y="396950"/>
                          </a:lnTo>
                          <a:lnTo>
                            <a:pt x="279035" y="396950"/>
                          </a:lnTo>
                          <a:lnTo>
                            <a:pt x="278585" y="394699"/>
                          </a:lnTo>
                          <a:lnTo>
                            <a:pt x="279485" y="391549"/>
                          </a:lnTo>
                          <a:lnTo>
                            <a:pt x="279485" y="390649"/>
                          </a:lnTo>
                          <a:lnTo>
                            <a:pt x="277685" y="391549"/>
                          </a:lnTo>
                          <a:lnTo>
                            <a:pt x="277235" y="391099"/>
                          </a:lnTo>
                          <a:lnTo>
                            <a:pt x="276785" y="390199"/>
                          </a:lnTo>
                          <a:lnTo>
                            <a:pt x="276335" y="389749"/>
                          </a:lnTo>
                          <a:lnTo>
                            <a:pt x="274984" y="389749"/>
                          </a:lnTo>
                          <a:lnTo>
                            <a:pt x="273184" y="388849"/>
                          </a:lnTo>
                          <a:lnTo>
                            <a:pt x="272734" y="389299"/>
                          </a:lnTo>
                          <a:lnTo>
                            <a:pt x="272734" y="390649"/>
                          </a:lnTo>
                          <a:lnTo>
                            <a:pt x="272284" y="391099"/>
                          </a:lnTo>
                          <a:lnTo>
                            <a:pt x="270034" y="388849"/>
                          </a:lnTo>
                          <a:lnTo>
                            <a:pt x="269584" y="388849"/>
                          </a:lnTo>
                          <a:lnTo>
                            <a:pt x="268233" y="390649"/>
                          </a:lnTo>
                          <a:lnTo>
                            <a:pt x="267783" y="390649"/>
                          </a:lnTo>
                          <a:lnTo>
                            <a:pt x="267333" y="389749"/>
                          </a:lnTo>
                          <a:lnTo>
                            <a:pt x="266883" y="385698"/>
                          </a:lnTo>
                          <a:lnTo>
                            <a:pt x="266883" y="384348"/>
                          </a:lnTo>
                          <a:lnTo>
                            <a:pt x="267333" y="383898"/>
                          </a:lnTo>
                          <a:lnTo>
                            <a:pt x="269584" y="382998"/>
                          </a:lnTo>
                          <a:lnTo>
                            <a:pt x="275434" y="382098"/>
                          </a:lnTo>
                          <a:lnTo>
                            <a:pt x="275884" y="381198"/>
                          </a:lnTo>
                          <a:lnTo>
                            <a:pt x="271384" y="381648"/>
                          </a:lnTo>
                          <a:lnTo>
                            <a:pt x="270034" y="381198"/>
                          </a:lnTo>
                          <a:lnTo>
                            <a:pt x="268684" y="379848"/>
                          </a:lnTo>
                          <a:lnTo>
                            <a:pt x="267333" y="379848"/>
                          </a:lnTo>
                          <a:lnTo>
                            <a:pt x="266433" y="379397"/>
                          </a:lnTo>
                          <a:lnTo>
                            <a:pt x="265533" y="378498"/>
                          </a:lnTo>
                          <a:lnTo>
                            <a:pt x="263733" y="374897"/>
                          </a:lnTo>
                          <a:lnTo>
                            <a:pt x="262383" y="373997"/>
                          </a:lnTo>
                          <a:lnTo>
                            <a:pt x="260132" y="373547"/>
                          </a:lnTo>
                          <a:lnTo>
                            <a:pt x="258782" y="372647"/>
                          </a:lnTo>
                          <a:lnTo>
                            <a:pt x="258332" y="373097"/>
                          </a:lnTo>
                          <a:lnTo>
                            <a:pt x="257882" y="373997"/>
                          </a:lnTo>
                          <a:lnTo>
                            <a:pt x="257432" y="374447"/>
                          </a:lnTo>
                          <a:lnTo>
                            <a:pt x="256082" y="374897"/>
                          </a:lnTo>
                          <a:lnTo>
                            <a:pt x="254732" y="374447"/>
                          </a:lnTo>
                          <a:lnTo>
                            <a:pt x="253832" y="373547"/>
                          </a:lnTo>
                          <a:lnTo>
                            <a:pt x="253382" y="372197"/>
                          </a:lnTo>
                          <a:lnTo>
                            <a:pt x="252932" y="370847"/>
                          </a:lnTo>
                          <a:lnTo>
                            <a:pt x="253382" y="369046"/>
                          </a:lnTo>
                          <a:lnTo>
                            <a:pt x="253382" y="368146"/>
                          </a:lnTo>
                          <a:lnTo>
                            <a:pt x="252932" y="367246"/>
                          </a:lnTo>
                          <a:lnTo>
                            <a:pt x="252482" y="366346"/>
                          </a:lnTo>
                          <a:lnTo>
                            <a:pt x="251581" y="365896"/>
                          </a:lnTo>
                          <a:lnTo>
                            <a:pt x="251131" y="366346"/>
                          </a:lnTo>
                          <a:lnTo>
                            <a:pt x="251131" y="367246"/>
                          </a:lnTo>
                          <a:lnTo>
                            <a:pt x="250681" y="368146"/>
                          </a:lnTo>
                          <a:lnTo>
                            <a:pt x="249331" y="368596"/>
                          </a:lnTo>
                          <a:lnTo>
                            <a:pt x="248431" y="367696"/>
                          </a:lnTo>
                          <a:lnTo>
                            <a:pt x="247531" y="366346"/>
                          </a:lnTo>
                          <a:lnTo>
                            <a:pt x="246631" y="365446"/>
                          </a:lnTo>
                          <a:lnTo>
                            <a:pt x="242130" y="365446"/>
                          </a:lnTo>
                          <a:lnTo>
                            <a:pt x="239880" y="366796"/>
                          </a:lnTo>
                          <a:lnTo>
                            <a:pt x="238980" y="366796"/>
                          </a:lnTo>
                          <a:lnTo>
                            <a:pt x="238080" y="366346"/>
                          </a:lnTo>
                          <a:lnTo>
                            <a:pt x="238080" y="365446"/>
                          </a:lnTo>
                          <a:lnTo>
                            <a:pt x="238980" y="363196"/>
                          </a:lnTo>
                          <a:lnTo>
                            <a:pt x="238530" y="360495"/>
                          </a:lnTo>
                          <a:lnTo>
                            <a:pt x="238080" y="359595"/>
                          </a:lnTo>
                          <a:lnTo>
                            <a:pt x="235829" y="359145"/>
                          </a:lnTo>
                          <a:lnTo>
                            <a:pt x="235379" y="358695"/>
                          </a:lnTo>
                          <a:lnTo>
                            <a:pt x="236730" y="355545"/>
                          </a:lnTo>
                          <a:lnTo>
                            <a:pt x="237630" y="355095"/>
                          </a:lnTo>
                          <a:lnTo>
                            <a:pt x="238530" y="354644"/>
                          </a:lnTo>
                          <a:lnTo>
                            <a:pt x="242580" y="354194"/>
                          </a:lnTo>
                          <a:lnTo>
                            <a:pt x="243930" y="354644"/>
                          </a:lnTo>
                          <a:lnTo>
                            <a:pt x="245731" y="356445"/>
                          </a:lnTo>
                          <a:lnTo>
                            <a:pt x="245731" y="355545"/>
                          </a:lnTo>
                          <a:lnTo>
                            <a:pt x="244831" y="353294"/>
                          </a:lnTo>
                          <a:lnTo>
                            <a:pt x="244831" y="351944"/>
                          </a:lnTo>
                          <a:lnTo>
                            <a:pt x="246181" y="350594"/>
                          </a:lnTo>
                          <a:lnTo>
                            <a:pt x="244831" y="350144"/>
                          </a:lnTo>
                          <a:lnTo>
                            <a:pt x="239880" y="349694"/>
                          </a:lnTo>
                          <a:lnTo>
                            <a:pt x="239880" y="350594"/>
                          </a:lnTo>
                          <a:lnTo>
                            <a:pt x="240330" y="351944"/>
                          </a:lnTo>
                          <a:lnTo>
                            <a:pt x="237630" y="353294"/>
                          </a:lnTo>
                          <a:lnTo>
                            <a:pt x="235379" y="353294"/>
                          </a:lnTo>
                          <a:lnTo>
                            <a:pt x="233579" y="353294"/>
                          </a:lnTo>
                          <a:lnTo>
                            <a:pt x="231779" y="352394"/>
                          </a:lnTo>
                          <a:lnTo>
                            <a:pt x="229079" y="349244"/>
                          </a:lnTo>
                          <a:lnTo>
                            <a:pt x="227278" y="346543"/>
                          </a:lnTo>
                          <a:lnTo>
                            <a:pt x="227278" y="344743"/>
                          </a:lnTo>
                          <a:lnTo>
                            <a:pt x="228179" y="342943"/>
                          </a:lnTo>
                          <a:lnTo>
                            <a:pt x="229529" y="341593"/>
                          </a:lnTo>
                          <a:lnTo>
                            <a:pt x="232679" y="340693"/>
                          </a:lnTo>
                          <a:lnTo>
                            <a:pt x="236730" y="340693"/>
                          </a:lnTo>
                          <a:lnTo>
                            <a:pt x="241230" y="342043"/>
                          </a:lnTo>
                          <a:lnTo>
                            <a:pt x="252932" y="350144"/>
                          </a:lnTo>
                          <a:close/>
                          <a:moveTo>
                            <a:pt x="295237" y="368146"/>
                          </a:moveTo>
                          <a:lnTo>
                            <a:pt x="294787" y="369946"/>
                          </a:lnTo>
                          <a:lnTo>
                            <a:pt x="293437" y="367246"/>
                          </a:lnTo>
                          <a:lnTo>
                            <a:pt x="291186" y="361395"/>
                          </a:lnTo>
                          <a:lnTo>
                            <a:pt x="291636" y="360045"/>
                          </a:lnTo>
                          <a:lnTo>
                            <a:pt x="292537" y="358245"/>
                          </a:lnTo>
                          <a:lnTo>
                            <a:pt x="293437" y="358245"/>
                          </a:lnTo>
                          <a:lnTo>
                            <a:pt x="294787" y="359145"/>
                          </a:lnTo>
                          <a:lnTo>
                            <a:pt x="296137" y="360945"/>
                          </a:lnTo>
                          <a:lnTo>
                            <a:pt x="296587" y="361395"/>
                          </a:lnTo>
                          <a:lnTo>
                            <a:pt x="297487" y="363196"/>
                          </a:lnTo>
                          <a:lnTo>
                            <a:pt x="297937" y="364546"/>
                          </a:lnTo>
                          <a:lnTo>
                            <a:pt x="297037" y="366346"/>
                          </a:lnTo>
                          <a:lnTo>
                            <a:pt x="295237" y="368146"/>
                          </a:lnTo>
                          <a:close/>
                          <a:moveTo>
                            <a:pt x="299737" y="370396"/>
                          </a:moveTo>
                          <a:lnTo>
                            <a:pt x="299287" y="370847"/>
                          </a:lnTo>
                          <a:lnTo>
                            <a:pt x="298837" y="367246"/>
                          </a:lnTo>
                          <a:lnTo>
                            <a:pt x="299287" y="365896"/>
                          </a:lnTo>
                          <a:lnTo>
                            <a:pt x="299287" y="364996"/>
                          </a:lnTo>
                          <a:lnTo>
                            <a:pt x="299287" y="364096"/>
                          </a:lnTo>
                          <a:lnTo>
                            <a:pt x="300188" y="365896"/>
                          </a:lnTo>
                          <a:lnTo>
                            <a:pt x="300638" y="367246"/>
                          </a:lnTo>
                          <a:lnTo>
                            <a:pt x="300638" y="368596"/>
                          </a:lnTo>
                          <a:lnTo>
                            <a:pt x="300638" y="369046"/>
                          </a:lnTo>
                          <a:lnTo>
                            <a:pt x="299737" y="370396"/>
                          </a:lnTo>
                          <a:close/>
                          <a:moveTo>
                            <a:pt x="264633" y="384348"/>
                          </a:moveTo>
                          <a:lnTo>
                            <a:pt x="263733" y="384348"/>
                          </a:lnTo>
                          <a:lnTo>
                            <a:pt x="262383" y="383898"/>
                          </a:lnTo>
                          <a:lnTo>
                            <a:pt x="261033" y="382998"/>
                          </a:lnTo>
                          <a:lnTo>
                            <a:pt x="258332" y="380298"/>
                          </a:lnTo>
                          <a:lnTo>
                            <a:pt x="257882" y="379848"/>
                          </a:lnTo>
                          <a:lnTo>
                            <a:pt x="258332" y="379397"/>
                          </a:lnTo>
                          <a:lnTo>
                            <a:pt x="259232" y="378947"/>
                          </a:lnTo>
                          <a:lnTo>
                            <a:pt x="259232" y="378498"/>
                          </a:lnTo>
                          <a:lnTo>
                            <a:pt x="258782" y="376697"/>
                          </a:lnTo>
                          <a:lnTo>
                            <a:pt x="261033" y="375347"/>
                          </a:lnTo>
                          <a:lnTo>
                            <a:pt x="262833" y="376247"/>
                          </a:lnTo>
                          <a:lnTo>
                            <a:pt x="263733" y="377597"/>
                          </a:lnTo>
                          <a:lnTo>
                            <a:pt x="264633" y="379848"/>
                          </a:lnTo>
                          <a:lnTo>
                            <a:pt x="265083" y="382098"/>
                          </a:lnTo>
                          <a:lnTo>
                            <a:pt x="265083" y="383898"/>
                          </a:lnTo>
                          <a:lnTo>
                            <a:pt x="264633" y="384348"/>
                          </a:lnTo>
                          <a:close/>
                          <a:moveTo>
                            <a:pt x="317290" y="387048"/>
                          </a:moveTo>
                          <a:lnTo>
                            <a:pt x="317740" y="387949"/>
                          </a:lnTo>
                          <a:lnTo>
                            <a:pt x="313239" y="385248"/>
                          </a:lnTo>
                          <a:lnTo>
                            <a:pt x="311439" y="383898"/>
                          </a:lnTo>
                          <a:lnTo>
                            <a:pt x="310539" y="382998"/>
                          </a:lnTo>
                          <a:lnTo>
                            <a:pt x="310089" y="382548"/>
                          </a:lnTo>
                          <a:lnTo>
                            <a:pt x="307838" y="380748"/>
                          </a:lnTo>
                          <a:lnTo>
                            <a:pt x="307388" y="379848"/>
                          </a:lnTo>
                          <a:lnTo>
                            <a:pt x="307838" y="379397"/>
                          </a:lnTo>
                          <a:lnTo>
                            <a:pt x="309639" y="379848"/>
                          </a:lnTo>
                          <a:lnTo>
                            <a:pt x="312339" y="381198"/>
                          </a:lnTo>
                          <a:lnTo>
                            <a:pt x="314589" y="382998"/>
                          </a:lnTo>
                          <a:lnTo>
                            <a:pt x="317290" y="387048"/>
                          </a:lnTo>
                          <a:close/>
                          <a:moveTo>
                            <a:pt x="276335" y="392449"/>
                          </a:moveTo>
                          <a:lnTo>
                            <a:pt x="276785" y="395600"/>
                          </a:lnTo>
                          <a:lnTo>
                            <a:pt x="274084" y="395149"/>
                          </a:lnTo>
                          <a:lnTo>
                            <a:pt x="273184" y="394699"/>
                          </a:lnTo>
                          <a:lnTo>
                            <a:pt x="273184" y="393349"/>
                          </a:lnTo>
                          <a:lnTo>
                            <a:pt x="273634" y="391999"/>
                          </a:lnTo>
                          <a:lnTo>
                            <a:pt x="275434" y="392449"/>
                          </a:lnTo>
                          <a:lnTo>
                            <a:pt x="276335" y="392449"/>
                          </a:lnTo>
                          <a:close/>
                          <a:moveTo>
                            <a:pt x="333942" y="407751"/>
                          </a:moveTo>
                          <a:lnTo>
                            <a:pt x="333942" y="407751"/>
                          </a:lnTo>
                          <a:lnTo>
                            <a:pt x="330341" y="405951"/>
                          </a:lnTo>
                          <a:lnTo>
                            <a:pt x="328091" y="402800"/>
                          </a:lnTo>
                          <a:lnTo>
                            <a:pt x="327191" y="401000"/>
                          </a:lnTo>
                          <a:lnTo>
                            <a:pt x="331691" y="405501"/>
                          </a:lnTo>
                          <a:lnTo>
                            <a:pt x="333942" y="406851"/>
                          </a:lnTo>
                          <a:lnTo>
                            <a:pt x="333942" y="407751"/>
                          </a:lnTo>
                          <a:close/>
                          <a:moveTo>
                            <a:pt x="332592" y="411802"/>
                          </a:moveTo>
                          <a:lnTo>
                            <a:pt x="331691" y="412702"/>
                          </a:lnTo>
                          <a:lnTo>
                            <a:pt x="331241" y="412702"/>
                          </a:lnTo>
                          <a:lnTo>
                            <a:pt x="330791" y="412252"/>
                          </a:lnTo>
                          <a:lnTo>
                            <a:pt x="329441" y="406401"/>
                          </a:lnTo>
                          <a:lnTo>
                            <a:pt x="329891" y="406401"/>
                          </a:lnTo>
                          <a:lnTo>
                            <a:pt x="331691" y="408201"/>
                          </a:lnTo>
                          <a:lnTo>
                            <a:pt x="331241" y="409101"/>
                          </a:lnTo>
                          <a:lnTo>
                            <a:pt x="332592" y="410901"/>
                          </a:lnTo>
                          <a:lnTo>
                            <a:pt x="333042" y="412252"/>
                          </a:lnTo>
                          <a:lnTo>
                            <a:pt x="332592" y="411802"/>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79" name="Freeform: Shape 1978">
                      <a:extLst>
                        <a:ext uri="{FF2B5EF4-FFF2-40B4-BE49-F238E27FC236}">
                          <a16:creationId xmlns:a16="http://schemas.microsoft.com/office/drawing/2014/main" id="{B3536A85-9347-AC41-F1BF-F297715FA829}"/>
                        </a:ext>
                      </a:extLst>
                    </p:cNvPr>
                    <p:cNvSpPr/>
                    <p:nvPr/>
                  </p:nvSpPr>
                  <p:spPr>
                    <a:xfrm>
                      <a:off x="1549093" y="2031553"/>
                      <a:ext cx="275884" cy="404150"/>
                    </a:xfrm>
                    <a:custGeom>
                      <a:avLst/>
                      <a:gdLst>
                        <a:gd name="connsiteX0" fmla="*/ 275884 w 275884"/>
                        <a:gd name="connsiteY0" fmla="*/ 127366 h 404150"/>
                        <a:gd name="connsiteX1" fmla="*/ 270484 w 275884"/>
                        <a:gd name="connsiteY1" fmla="*/ 133217 h 404150"/>
                        <a:gd name="connsiteX2" fmla="*/ 265083 w 275884"/>
                        <a:gd name="connsiteY2" fmla="*/ 139517 h 404150"/>
                        <a:gd name="connsiteX3" fmla="*/ 259682 w 275884"/>
                        <a:gd name="connsiteY3" fmla="*/ 145818 h 404150"/>
                        <a:gd name="connsiteX4" fmla="*/ 254282 w 275884"/>
                        <a:gd name="connsiteY4" fmla="*/ 152119 h 404150"/>
                        <a:gd name="connsiteX5" fmla="*/ 246631 w 275884"/>
                        <a:gd name="connsiteY5" fmla="*/ 160220 h 404150"/>
                        <a:gd name="connsiteX6" fmla="*/ 239430 w 275884"/>
                        <a:gd name="connsiteY6" fmla="*/ 168771 h 404150"/>
                        <a:gd name="connsiteX7" fmla="*/ 231779 w 275884"/>
                        <a:gd name="connsiteY7" fmla="*/ 177322 h 404150"/>
                        <a:gd name="connsiteX8" fmla="*/ 224578 w 275884"/>
                        <a:gd name="connsiteY8" fmla="*/ 185873 h 404150"/>
                        <a:gd name="connsiteX9" fmla="*/ 218277 w 275884"/>
                        <a:gd name="connsiteY9" fmla="*/ 193524 h 404150"/>
                        <a:gd name="connsiteX10" fmla="*/ 211976 w 275884"/>
                        <a:gd name="connsiteY10" fmla="*/ 201175 h 404150"/>
                        <a:gd name="connsiteX11" fmla="*/ 205676 w 275884"/>
                        <a:gd name="connsiteY11" fmla="*/ 208826 h 404150"/>
                        <a:gd name="connsiteX12" fmla="*/ 199375 w 275884"/>
                        <a:gd name="connsiteY12" fmla="*/ 216477 h 404150"/>
                        <a:gd name="connsiteX13" fmla="*/ 193974 w 275884"/>
                        <a:gd name="connsiteY13" fmla="*/ 223228 h 404150"/>
                        <a:gd name="connsiteX14" fmla="*/ 188574 w 275884"/>
                        <a:gd name="connsiteY14" fmla="*/ 229979 h 404150"/>
                        <a:gd name="connsiteX15" fmla="*/ 183173 w 275884"/>
                        <a:gd name="connsiteY15" fmla="*/ 236730 h 404150"/>
                        <a:gd name="connsiteX16" fmla="*/ 177772 w 275884"/>
                        <a:gd name="connsiteY16" fmla="*/ 243481 h 404150"/>
                        <a:gd name="connsiteX17" fmla="*/ 169671 w 275884"/>
                        <a:gd name="connsiteY17" fmla="*/ 251581 h 404150"/>
                        <a:gd name="connsiteX18" fmla="*/ 161570 w 275884"/>
                        <a:gd name="connsiteY18" fmla="*/ 259683 h 404150"/>
                        <a:gd name="connsiteX19" fmla="*/ 153469 w 275884"/>
                        <a:gd name="connsiteY19" fmla="*/ 267784 h 404150"/>
                        <a:gd name="connsiteX20" fmla="*/ 145368 w 275884"/>
                        <a:gd name="connsiteY20" fmla="*/ 275885 h 404150"/>
                        <a:gd name="connsiteX21" fmla="*/ 145368 w 275884"/>
                        <a:gd name="connsiteY21" fmla="*/ 290736 h 404150"/>
                        <a:gd name="connsiteX22" fmla="*/ 145368 w 275884"/>
                        <a:gd name="connsiteY22" fmla="*/ 305588 h 404150"/>
                        <a:gd name="connsiteX23" fmla="*/ 145368 w 275884"/>
                        <a:gd name="connsiteY23" fmla="*/ 320440 h 404150"/>
                        <a:gd name="connsiteX24" fmla="*/ 145368 w 275884"/>
                        <a:gd name="connsiteY24" fmla="*/ 334842 h 404150"/>
                        <a:gd name="connsiteX25" fmla="*/ 145368 w 275884"/>
                        <a:gd name="connsiteY25" fmla="*/ 349244 h 404150"/>
                        <a:gd name="connsiteX26" fmla="*/ 145368 w 275884"/>
                        <a:gd name="connsiteY26" fmla="*/ 363646 h 404150"/>
                        <a:gd name="connsiteX27" fmla="*/ 145368 w 275884"/>
                        <a:gd name="connsiteY27" fmla="*/ 378047 h 404150"/>
                        <a:gd name="connsiteX28" fmla="*/ 145368 w 275884"/>
                        <a:gd name="connsiteY28" fmla="*/ 391999 h 404150"/>
                        <a:gd name="connsiteX29" fmla="*/ 145368 w 275884"/>
                        <a:gd name="connsiteY29" fmla="*/ 397400 h 404150"/>
                        <a:gd name="connsiteX30" fmla="*/ 145368 w 275884"/>
                        <a:gd name="connsiteY30" fmla="*/ 404151 h 404150"/>
                        <a:gd name="connsiteX31" fmla="*/ 140417 w 275884"/>
                        <a:gd name="connsiteY31" fmla="*/ 404151 h 404150"/>
                        <a:gd name="connsiteX32" fmla="*/ 131416 w 275884"/>
                        <a:gd name="connsiteY32" fmla="*/ 404151 h 404150"/>
                        <a:gd name="connsiteX33" fmla="*/ 122415 w 275884"/>
                        <a:gd name="connsiteY33" fmla="*/ 404151 h 404150"/>
                        <a:gd name="connsiteX34" fmla="*/ 113414 w 275884"/>
                        <a:gd name="connsiteY34" fmla="*/ 404151 h 404150"/>
                        <a:gd name="connsiteX35" fmla="*/ 104413 w 275884"/>
                        <a:gd name="connsiteY35" fmla="*/ 404151 h 404150"/>
                        <a:gd name="connsiteX36" fmla="*/ 101713 w 275884"/>
                        <a:gd name="connsiteY36" fmla="*/ 404151 h 404150"/>
                        <a:gd name="connsiteX37" fmla="*/ 95412 w 275884"/>
                        <a:gd name="connsiteY37" fmla="*/ 404151 h 404150"/>
                        <a:gd name="connsiteX38" fmla="*/ 86411 w 275884"/>
                        <a:gd name="connsiteY38" fmla="*/ 404151 h 404150"/>
                        <a:gd name="connsiteX39" fmla="*/ 77410 w 275884"/>
                        <a:gd name="connsiteY39" fmla="*/ 404151 h 404150"/>
                        <a:gd name="connsiteX40" fmla="*/ 68408 w 275884"/>
                        <a:gd name="connsiteY40" fmla="*/ 404151 h 404150"/>
                        <a:gd name="connsiteX41" fmla="*/ 59407 w 275884"/>
                        <a:gd name="connsiteY41" fmla="*/ 404151 h 404150"/>
                        <a:gd name="connsiteX42" fmla="*/ 50406 w 275884"/>
                        <a:gd name="connsiteY42" fmla="*/ 404151 h 404150"/>
                        <a:gd name="connsiteX43" fmla="*/ 41405 w 275884"/>
                        <a:gd name="connsiteY43" fmla="*/ 404151 h 404150"/>
                        <a:gd name="connsiteX44" fmla="*/ 32404 w 275884"/>
                        <a:gd name="connsiteY44" fmla="*/ 404151 h 404150"/>
                        <a:gd name="connsiteX45" fmla="*/ 23403 w 275884"/>
                        <a:gd name="connsiteY45" fmla="*/ 404151 h 404150"/>
                        <a:gd name="connsiteX46" fmla="*/ 14402 w 275884"/>
                        <a:gd name="connsiteY46" fmla="*/ 404151 h 404150"/>
                        <a:gd name="connsiteX47" fmla="*/ 13502 w 275884"/>
                        <a:gd name="connsiteY47" fmla="*/ 390199 h 404150"/>
                        <a:gd name="connsiteX48" fmla="*/ 12602 w 275884"/>
                        <a:gd name="connsiteY48" fmla="*/ 376247 h 404150"/>
                        <a:gd name="connsiteX49" fmla="*/ 11701 w 275884"/>
                        <a:gd name="connsiteY49" fmla="*/ 362295 h 404150"/>
                        <a:gd name="connsiteX50" fmla="*/ 10801 w 275884"/>
                        <a:gd name="connsiteY50" fmla="*/ 348344 h 404150"/>
                        <a:gd name="connsiteX51" fmla="*/ 9901 w 275884"/>
                        <a:gd name="connsiteY51" fmla="*/ 333942 h 404150"/>
                        <a:gd name="connsiteX52" fmla="*/ 9001 w 275884"/>
                        <a:gd name="connsiteY52" fmla="*/ 319540 h 404150"/>
                        <a:gd name="connsiteX53" fmla="*/ 8101 w 275884"/>
                        <a:gd name="connsiteY53" fmla="*/ 305138 h 404150"/>
                        <a:gd name="connsiteX54" fmla="*/ 7201 w 275884"/>
                        <a:gd name="connsiteY54" fmla="*/ 290286 h 404150"/>
                        <a:gd name="connsiteX55" fmla="*/ 6301 w 275884"/>
                        <a:gd name="connsiteY55" fmla="*/ 275435 h 404150"/>
                        <a:gd name="connsiteX56" fmla="*/ 5401 w 275884"/>
                        <a:gd name="connsiteY56" fmla="*/ 260583 h 404150"/>
                        <a:gd name="connsiteX57" fmla="*/ 4501 w 275884"/>
                        <a:gd name="connsiteY57" fmla="*/ 245281 h 404150"/>
                        <a:gd name="connsiteX58" fmla="*/ 3600 w 275884"/>
                        <a:gd name="connsiteY58" fmla="*/ 229979 h 404150"/>
                        <a:gd name="connsiteX59" fmla="*/ 2700 w 275884"/>
                        <a:gd name="connsiteY59" fmla="*/ 214677 h 404150"/>
                        <a:gd name="connsiteX60" fmla="*/ 1800 w 275884"/>
                        <a:gd name="connsiteY60" fmla="*/ 198925 h 404150"/>
                        <a:gd name="connsiteX61" fmla="*/ 900 w 275884"/>
                        <a:gd name="connsiteY61" fmla="*/ 183173 h 404150"/>
                        <a:gd name="connsiteX62" fmla="*/ 0 w 275884"/>
                        <a:gd name="connsiteY62" fmla="*/ 166971 h 404150"/>
                        <a:gd name="connsiteX63" fmla="*/ 0 w 275884"/>
                        <a:gd name="connsiteY63" fmla="*/ 157070 h 404150"/>
                        <a:gd name="connsiteX64" fmla="*/ 0 w 275884"/>
                        <a:gd name="connsiteY64" fmla="*/ 146718 h 404150"/>
                        <a:gd name="connsiteX65" fmla="*/ 0 w 275884"/>
                        <a:gd name="connsiteY65" fmla="*/ 136817 h 404150"/>
                        <a:gd name="connsiteX66" fmla="*/ 0 w 275884"/>
                        <a:gd name="connsiteY66" fmla="*/ 126916 h 404150"/>
                        <a:gd name="connsiteX67" fmla="*/ 0 w 275884"/>
                        <a:gd name="connsiteY67" fmla="*/ 116565 h 404150"/>
                        <a:gd name="connsiteX68" fmla="*/ 0 w 275884"/>
                        <a:gd name="connsiteY68" fmla="*/ 106213 h 404150"/>
                        <a:gd name="connsiteX69" fmla="*/ 0 w 275884"/>
                        <a:gd name="connsiteY69" fmla="*/ 95862 h 404150"/>
                        <a:gd name="connsiteX70" fmla="*/ 0 w 275884"/>
                        <a:gd name="connsiteY70" fmla="*/ 85511 h 404150"/>
                        <a:gd name="connsiteX71" fmla="*/ 0 w 275884"/>
                        <a:gd name="connsiteY71" fmla="*/ 75159 h 404150"/>
                        <a:gd name="connsiteX72" fmla="*/ 0 w 275884"/>
                        <a:gd name="connsiteY72" fmla="*/ 64808 h 404150"/>
                        <a:gd name="connsiteX73" fmla="*/ 0 w 275884"/>
                        <a:gd name="connsiteY73" fmla="*/ 54007 h 404150"/>
                        <a:gd name="connsiteX74" fmla="*/ 0 w 275884"/>
                        <a:gd name="connsiteY74" fmla="*/ 43205 h 404150"/>
                        <a:gd name="connsiteX75" fmla="*/ 0 w 275884"/>
                        <a:gd name="connsiteY75" fmla="*/ 32404 h 404150"/>
                        <a:gd name="connsiteX76" fmla="*/ 0 w 275884"/>
                        <a:gd name="connsiteY76" fmla="*/ 21603 h 404150"/>
                        <a:gd name="connsiteX77" fmla="*/ 0 w 275884"/>
                        <a:gd name="connsiteY77" fmla="*/ 10801 h 404150"/>
                        <a:gd name="connsiteX78" fmla="*/ 0 w 275884"/>
                        <a:gd name="connsiteY78" fmla="*/ 0 h 404150"/>
                        <a:gd name="connsiteX79" fmla="*/ 9451 w 275884"/>
                        <a:gd name="connsiteY79" fmla="*/ 0 h 404150"/>
                        <a:gd name="connsiteX80" fmla="*/ 18902 w 275884"/>
                        <a:gd name="connsiteY80" fmla="*/ 0 h 404150"/>
                        <a:gd name="connsiteX81" fmla="*/ 28353 w 275884"/>
                        <a:gd name="connsiteY81" fmla="*/ 0 h 404150"/>
                        <a:gd name="connsiteX82" fmla="*/ 37805 w 275884"/>
                        <a:gd name="connsiteY82" fmla="*/ 0 h 404150"/>
                        <a:gd name="connsiteX83" fmla="*/ 47256 w 275884"/>
                        <a:gd name="connsiteY83" fmla="*/ 0 h 404150"/>
                        <a:gd name="connsiteX84" fmla="*/ 56707 w 275884"/>
                        <a:gd name="connsiteY84" fmla="*/ 0 h 404150"/>
                        <a:gd name="connsiteX85" fmla="*/ 66158 w 275884"/>
                        <a:gd name="connsiteY85" fmla="*/ 0 h 404150"/>
                        <a:gd name="connsiteX86" fmla="*/ 75609 w 275884"/>
                        <a:gd name="connsiteY86" fmla="*/ 0 h 404150"/>
                        <a:gd name="connsiteX87" fmla="*/ 85061 w 275884"/>
                        <a:gd name="connsiteY87" fmla="*/ 0 h 404150"/>
                        <a:gd name="connsiteX88" fmla="*/ 94512 w 275884"/>
                        <a:gd name="connsiteY88" fmla="*/ 0 h 404150"/>
                        <a:gd name="connsiteX89" fmla="*/ 103963 w 275884"/>
                        <a:gd name="connsiteY89" fmla="*/ 0 h 404150"/>
                        <a:gd name="connsiteX90" fmla="*/ 113414 w 275884"/>
                        <a:gd name="connsiteY90" fmla="*/ 0 h 404150"/>
                        <a:gd name="connsiteX91" fmla="*/ 122865 w 275884"/>
                        <a:gd name="connsiteY91" fmla="*/ 0 h 404150"/>
                        <a:gd name="connsiteX92" fmla="*/ 132317 w 275884"/>
                        <a:gd name="connsiteY92" fmla="*/ 0 h 404150"/>
                        <a:gd name="connsiteX93" fmla="*/ 141768 w 275884"/>
                        <a:gd name="connsiteY93" fmla="*/ 0 h 404150"/>
                        <a:gd name="connsiteX94" fmla="*/ 152119 w 275884"/>
                        <a:gd name="connsiteY94" fmla="*/ 0 h 404150"/>
                        <a:gd name="connsiteX95" fmla="*/ 151669 w 275884"/>
                        <a:gd name="connsiteY95" fmla="*/ 2250 h 404150"/>
                        <a:gd name="connsiteX96" fmla="*/ 151669 w 275884"/>
                        <a:gd name="connsiteY96" fmla="*/ 22053 h 404150"/>
                        <a:gd name="connsiteX97" fmla="*/ 151219 w 275884"/>
                        <a:gd name="connsiteY97" fmla="*/ 30604 h 404150"/>
                        <a:gd name="connsiteX98" fmla="*/ 150769 w 275884"/>
                        <a:gd name="connsiteY98" fmla="*/ 35554 h 404150"/>
                        <a:gd name="connsiteX99" fmla="*/ 149869 w 275884"/>
                        <a:gd name="connsiteY99" fmla="*/ 38255 h 404150"/>
                        <a:gd name="connsiteX100" fmla="*/ 148068 w 275884"/>
                        <a:gd name="connsiteY100" fmla="*/ 39155 h 404150"/>
                        <a:gd name="connsiteX101" fmla="*/ 150319 w 275884"/>
                        <a:gd name="connsiteY101" fmla="*/ 40055 h 404150"/>
                        <a:gd name="connsiteX102" fmla="*/ 151669 w 275884"/>
                        <a:gd name="connsiteY102" fmla="*/ 41405 h 404150"/>
                        <a:gd name="connsiteX103" fmla="*/ 152569 w 275884"/>
                        <a:gd name="connsiteY103" fmla="*/ 43205 h 404150"/>
                        <a:gd name="connsiteX104" fmla="*/ 153019 w 275884"/>
                        <a:gd name="connsiteY104" fmla="*/ 46356 h 404150"/>
                        <a:gd name="connsiteX105" fmla="*/ 153919 w 275884"/>
                        <a:gd name="connsiteY105" fmla="*/ 47706 h 404150"/>
                        <a:gd name="connsiteX106" fmla="*/ 154819 w 275884"/>
                        <a:gd name="connsiteY106" fmla="*/ 47706 h 404150"/>
                        <a:gd name="connsiteX107" fmla="*/ 155719 w 275884"/>
                        <a:gd name="connsiteY107" fmla="*/ 48156 h 404150"/>
                        <a:gd name="connsiteX108" fmla="*/ 156620 w 275884"/>
                        <a:gd name="connsiteY108" fmla="*/ 49056 h 404150"/>
                        <a:gd name="connsiteX109" fmla="*/ 159320 w 275884"/>
                        <a:gd name="connsiteY109" fmla="*/ 53107 h 404150"/>
                        <a:gd name="connsiteX110" fmla="*/ 162020 w 275884"/>
                        <a:gd name="connsiteY110" fmla="*/ 54457 h 404150"/>
                        <a:gd name="connsiteX111" fmla="*/ 162020 w 275884"/>
                        <a:gd name="connsiteY111" fmla="*/ 56707 h 404150"/>
                        <a:gd name="connsiteX112" fmla="*/ 161120 w 275884"/>
                        <a:gd name="connsiteY112" fmla="*/ 69759 h 404150"/>
                        <a:gd name="connsiteX113" fmla="*/ 161120 w 275884"/>
                        <a:gd name="connsiteY113" fmla="*/ 71559 h 404150"/>
                        <a:gd name="connsiteX114" fmla="*/ 162470 w 275884"/>
                        <a:gd name="connsiteY114" fmla="*/ 68409 h 404150"/>
                        <a:gd name="connsiteX115" fmla="*/ 163820 w 275884"/>
                        <a:gd name="connsiteY115" fmla="*/ 58507 h 404150"/>
                        <a:gd name="connsiteX116" fmla="*/ 165621 w 275884"/>
                        <a:gd name="connsiteY116" fmla="*/ 54007 h 404150"/>
                        <a:gd name="connsiteX117" fmla="*/ 166971 w 275884"/>
                        <a:gd name="connsiteY117" fmla="*/ 53107 h 404150"/>
                        <a:gd name="connsiteX118" fmla="*/ 172822 w 275884"/>
                        <a:gd name="connsiteY118" fmla="*/ 52657 h 404150"/>
                        <a:gd name="connsiteX119" fmla="*/ 179122 w 275884"/>
                        <a:gd name="connsiteY119" fmla="*/ 54007 h 404150"/>
                        <a:gd name="connsiteX120" fmla="*/ 181373 w 275884"/>
                        <a:gd name="connsiteY120" fmla="*/ 54007 h 404150"/>
                        <a:gd name="connsiteX121" fmla="*/ 183623 w 275884"/>
                        <a:gd name="connsiteY121" fmla="*/ 53557 h 404150"/>
                        <a:gd name="connsiteX122" fmla="*/ 185873 w 275884"/>
                        <a:gd name="connsiteY122" fmla="*/ 54907 h 404150"/>
                        <a:gd name="connsiteX123" fmla="*/ 186323 w 275884"/>
                        <a:gd name="connsiteY123" fmla="*/ 56257 h 404150"/>
                        <a:gd name="connsiteX124" fmla="*/ 186773 w 275884"/>
                        <a:gd name="connsiteY124" fmla="*/ 61658 h 404150"/>
                        <a:gd name="connsiteX125" fmla="*/ 187223 w 275884"/>
                        <a:gd name="connsiteY125" fmla="*/ 64808 h 404150"/>
                        <a:gd name="connsiteX126" fmla="*/ 190824 w 275884"/>
                        <a:gd name="connsiteY126" fmla="*/ 75610 h 404150"/>
                        <a:gd name="connsiteX127" fmla="*/ 192624 w 275884"/>
                        <a:gd name="connsiteY127" fmla="*/ 81460 h 404150"/>
                        <a:gd name="connsiteX128" fmla="*/ 194874 w 275884"/>
                        <a:gd name="connsiteY128" fmla="*/ 90911 h 404150"/>
                        <a:gd name="connsiteX129" fmla="*/ 195774 w 275884"/>
                        <a:gd name="connsiteY129" fmla="*/ 93612 h 404150"/>
                        <a:gd name="connsiteX130" fmla="*/ 200275 w 275884"/>
                        <a:gd name="connsiteY130" fmla="*/ 105763 h 404150"/>
                        <a:gd name="connsiteX131" fmla="*/ 201175 w 275884"/>
                        <a:gd name="connsiteY131" fmla="*/ 108914 h 404150"/>
                        <a:gd name="connsiteX132" fmla="*/ 201625 w 275884"/>
                        <a:gd name="connsiteY132" fmla="*/ 111614 h 404150"/>
                        <a:gd name="connsiteX133" fmla="*/ 201625 w 275884"/>
                        <a:gd name="connsiteY133" fmla="*/ 113414 h 404150"/>
                        <a:gd name="connsiteX134" fmla="*/ 200725 w 275884"/>
                        <a:gd name="connsiteY134" fmla="*/ 116115 h 404150"/>
                        <a:gd name="connsiteX135" fmla="*/ 199375 w 275884"/>
                        <a:gd name="connsiteY135" fmla="*/ 119715 h 404150"/>
                        <a:gd name="connsiteX136" fmla="*/ 198025 w 275884"/>
                        <a:gd name="connsiteY136" fmla="*/ 122415 h 404150"/>
                        <a:gd name="connsiteX137" fmla="*/ 196675 w 275884"/>
                        <a:gd name="connsiteY137" fmla="*/ 124216 h 404150"/>
                        <a:gd name="connsiteX138" fmla="*/ 195324 w 275884"/>
                        <a:gd name="connsiteY138" fmla="*/ 125566 h 404150"/>
                        <a:gd name="connsiteX139" fmla="*/ 193974 w 275884"/>
                        <a:gd name="connsiteY139" fmla="*/ 126466 h 404150"/>
                        <a:gd name="connsiteX140" fmla="*/ 193974 w 275884"/>
                        <a:gd name="connsiteY140" fmla="*/ 126916 h 404150"/>
                        <a:gd name="connsiteX141" fmla="*/ 195324 w 275884"/>
                        <a:gd name="connsiteY141" fmla="*/ 126466 h 404150"/>
                        <a:gd name="connsiteX142" fmla="*/ 196675 w 275884"/>
                        <a:gd name="connsiteY142" fmla="*/ 125566 h 404150"/>
                        <a:gd name="connsiteX143" fmla="*/ 199825 w 275884"/>
                        <a:gd name="connsiteY143" fmla="*/ 122865 h 404150"/>
                        <a:gd name="connsiteX144" fmla="*/ 201175 w 275884"/>
                        <a:gd name="connsiteY144" fmla="*/ 122415 h 404150"/>
                        <a:gd name="connsiteX145" fmla="*/ 204326 w 275884"/>
                        <a:gd name="connsiteY145" fmla="*/ 121965 h 404150"/>
                        <a:gd name="connsiteX146" fmla="*/ 204326 w 275884"/>
                        <a:gd name="connsiteY146" fmla="*/ 122865 h 404150"/>
                        <a:gd name="connsiteX147" fmla="*/ 202525 w 275884"/>
                        <a:gd name="connsiteY147" fmla="*/ 124666 h 404150"/>
                        <a:gd name="connsiteX148" fmla="*/ 202975 w 275884"/>
                        <a:gd name="connsiteY148" fmla="*/ 124666 h 404150"/>
                        <a:gd name="connsiteX149" fmla="*/ 205226 w 275884"/>
                        <a:gd name="connsiteY149" fmla="*/ 123315 h 404150"/>
                        <a:gd name="connsiteX150" fmla="*/ 210176 w 275884"/>
                        <a:gd name="connsiteY150" fmla="*/ 121065 h 404150"/>
                        <a:gd name="connsiteX151" fmla="*/ 229529 w 275884"/>
                        <a:gd name="connsiteY151" fmla="*/ 114314 h 404150"/>
                        <a:gd name="connsiteX152" fmla="*/ 234029 w 275884"/>
                        <a:gd name="connsiteY152" fmla="*/ 113864 h 404150"/>
                        <a:gd name="connsiteX153" fmla="*/ 240330 w 275884"/>
                        <a:gd name="connsiteY153" fmla="*/ 115214 h 404150"/>
                        <a:gd name="connsiteX154" fmla="*/ 245731 w 275884"/>
                        <a:gd name="connsiteY154" fmla="*/ 118365 h 404150"/>
                        <a:gd name="connsiteX155" fmla="*/ 251581 w 275884"/>
                        <a:gd name="connsiteY155" fmla="*/ 121965 h 404150"/>
                        <a:gd name="connsiteX156" fmla="*/ 257432 w 275884"/>
                        <a:gd name="connsiteY156" fmla="*/ 124666 h 404150"/>
                        <a:gd name="connsiteX157" fmla="*/ 266883 w 275884"/>
                        <a:gd name="connsiteY157" fmla="*/ 127366 h 404150"/>
                        <a:gd name="connsiteX158" fmla="*/ 269584 w 275884"/>
                        <a:gd name="connsiteY158" fmla="*/ 128716 h 404150"/>
                        <a:gd name="connsiteX159" fmla="*/ 275884 w 275884"/>
                        <a:gd name="connsiteY159" fmla="*/ 127366 h 40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Lst>
                      <a:rect l="l" t="t" r="r" b="b"/>
                      <a:pathLst>
                        <a:path w="275884" h="404150">
                          <a:moveTo>
                            <a:pt x="275884" y="127366"/>
                          </a:moveTo>
                          <a:lnTo>
                            <a:pt x="270484" y="133217"/>
                          </a:lnTo>
                          <a:lnTo>
                            <a:pt x="265083" y="139517"/>
                          </a:lnTo>
                          <a:lnTo>
                            <a:pt x="259682" y="145818"/>
                          </a:lnTo>
                          <a:lnTo>
                            <a:pt x="254282" y="152119"/>
                          </a:lnTo>
                          <a:lnTo>
                            <a:pt x="246631" y="160220"/>
                          </a:lnTo>
                          <a:lnTo>
                            <a:pt x="239430" y="168771"/>
                          </a:lnTo>
                          <a:lnTo>
                            <a:pt x="231779" y="177322"/>
                          </a:lnTo>
                          <a:lnTo>
                            <a:pt x="224578" y="185873"/>
                          </a:lnTo>
                          <a:lnTo>
                            <a:pt x="218277" y="193524"/>
                          </a:lnTo>
                          <a:lnTo>
                            <a:pt x="211976" y="201175"/>
                          </a:lnTo>
                          <a:lnTo>
                            <a:pt x="205676" y="208826"/>
                          </a:lnTo>
                          <a:lnTo>
                            <a:pt x="199375" y="216477"/>
                          </a:lnTo>
                          <a:lnTo>
                            <a:pt x="193974" y="223228"/>
                          </a:lnTo>
                          <a:lnTo>
                            <a:pt x="188574" y="229979"/>
                          </a:lnTo>
                          <a:lnTo>
                            <a:pt x="183173" y="236730"/>
                          </a:lnTo>
                          <a:lnTo>
                            <a:pt x="177772" y="243481"/>
                          </a:lnTo>
                          <a:lnTo>
                            <a:pt x="169671" y="251581"/>
                          </a:lnTo>
                          <a:lnTo>
                            <a:pt x="161570" y="259683"/>
                          </a:lnTo>
                          <a:lnTo>
                            <a:pt x="153469" y="267784"/>
                          </a:lnTo>
                          <a:lnTo>
                            <a:pt x="145368" y="275885"/>
                          </a:lnTo>
                          <a:lnTo>
                            <a:pt x="145368" y="290736"/>
                          </a:lnTo>
                          <a:lnTo>
                            <a:pt x="145368" y="305588"/>
                          </a:lnTo>
                          <a:lnTo>
                            <a:pt x="145368" y="320440"/>
                          </a:lnTo>
                          <a:lnTo>
                            <a:pt x="145368" y="334842"/>
                          </a:lnTo>
                          <a:lnTo>
                            <a:pt x="145368" y="349244"/>
                          </a:lnTo>
                          <a:lnTo>
                            <a:pt x="145368" y="363646"/>
                          </a:lnTo>
                          <a:lnTo>
                            <a:pt x="145368" y="378047"/>
                          </a:lnTo>
                          <a:lnTo>
                            <a:pt x="145368" y="391999"/>
                          </a:lnTo>
                          <a:lnTo>
                            <a:pt x="145368" y="397400"/>
                          </a:lnTo>
                          <a:lnTo>
                            <a:pt x="145368" y="404151"/>
                          </a:lnTo>
                          <a:lnTo>
                            <a:pt x="140417" y="404151"/>
                          </a:lnTo>
                          <a:lnTo>
                            <a:pt x="131416" y="404151"/>
                          </a:lnTo>
                          <a:lnTo>
                            <a:pt x="122415" y="404151"/>
                          </a:lnTo>
                          <a:lnTo>
                            <a:pt x="113414" y="404151"/>
                          </a:lnTo>
                          <a:lnTo>
                            <a:pt x="104413" y="404151"/>
                          </a:lnTo>
                          <a:lnTo>
                            <a:pt x="101713" y="404151"/>
                          </a:lnTo>
                          <a:lnTo>
                            <a:pt x="95412" y="404151"/>
                          </a:lnTo>
                          <a:lnTo>
                            <a:pt x="86411" y="404151"/>
                          </a:lnTo>
                          <a:lnTo>
                            <a:pt x="77410" y="404151"/>
                          </a:lnTo>
                          <a:lnTo>
                            <a:pt x="68408" y="404151"/>
                          </a:lnTo>
                          <a:lnTo>
                            <a:pt x="59407" y="404151"/>
                          </a:lnTo>
                          <a:lnTo>
                            <a:pt x="50406" y="404151"/>
                          </a:lnTo>
                          <a:lnTo>
                            <a:pt x="41405" y="404151"/>
                          </a:lnTo>
                          <a:lnTo>
                            <a:pt x="32404" y="404151"/>
                          </a:lnTo>
                          <a:lnTo>
                            <a:pt x="23403" y="404151"/>
                          </a:lnTo>
                          <a:lnTo>
                            <a:pt x="14402" y="404151"/>
                          </a:lnTo>
                          <a:lnTo>
                            <a:pt x="13502" y="390199"/>
                          </a:lnTo>
                          <a:lnTo>
                            <a:pt x="12602" y="376247"/>
                          </a:lnTo>
                          <a:lnTo>
                            <a:pt x="11701" y="362295"/>
                          </a:lnTo>
                          <a:lnTo>
                            <a:pt x="10801" y="348344"/>
                          </a:lnTo>
                          <a:lnTo>
                            <a:pt x="9901" y="333942"/>
                          </a:lnTo>
                          <a:lnTo>
                            <a:pt x="9001" y="319540"/>
                          </a:lnTo>
                          <a:lnTo>
                            <a:pt x="8101" y="305138"/>
                          </a:lnTo>
                          <a:lnTo>
                            <a:pt x="7201" y="290286"/>
                          </a:lnTo>
                          <a:lnTo>
                            <a:pt x="6301" y="275435"/>
                          </a:lnTo>
                          <a:lnTo>
                            <a:pt x="5401" y="260583"/>
                          </a:lnTo>
                          <a:lnTo>
                            <a:pt x="4501" y="245281"/>
                          </a:lnTo>
                          <a:lnTo>
                            <a:pt x="3600" y="229979"/>
                          </a:lnTo>
                          <a:lnTo>
                            <a:pt x="2700" y="214677"/>
                          </a:lnTo>
                          <a:lnTo>
                            <a:pt x="1800" y="198925"/>
                          </a:lnTo>
                          <a:lnTo>
                            <a:pt x="900" y="183173"/>
                          </a:lnTo>
                          <a:lnTo>
                            <a:pt x="0" y="166971"/>
                          </a:lnTo>
                          <a:lnTo>
                            <a:pt x="0" y="157070"/>
                          </a:lnTo>
                          <a:lnTo>
                            <a:pt x="0" y="146718"/>
                          </a:lnTo>
                          <a:lnTo>
                            <a:pt x="0" y="136817"/>
                          </a:lnTo>
                          <a:lnTo>
                            <a:pt x="0" y="126916"/>
                          </a:lnTo>
                          <a:lnTo>
                            <a:pt x="0" y="116565"/>
                          </a:lnTo>
                          <a:lnTo>
                            <a:pt x="0" y="106213"/>
                          </a:lnTo>
                          <a:lnTo>
                            <a:pt x="0" y="95862"/>
                          </a:lnTo>
                          <a:lnTo>
                            <a:pt x="0" y="85511"/>
                          </a:lnTo>
                          <a:lnTo>
                            <a:pt x="0" y="75159"/>
                          </a:lnTo>
                          <a:lnTo>
                            <a:pt x="0" y="64808"/>
                          </a:lnTo>
                          <a:lnTo>
                            <a:pt x="0" y="54007"/>
                          </a:lnTo>
                          <a:lnTo>
                            <a:pt x="0" y="43205"/>
                          </a:lnTo>
                          <a:lnTo>
                            <a:pt x="0" y="32404"/>
                          </a:lnTo>
                          <a:lnTo>
                            <a:pt x="0" y="21603"/>
                          </a:lnTo>
                          <a:lnTo>
                            <a:pt x="0" y="10801"/>
                          </a:lnTo>
                          <a:lnTo>
                            <a:pt x="0" y="0"/>
                          </a:lnTo>
                          <a:lnTo>
                            <a:pt x="9451" y="0"/>
                          </a:lnTo>
                          <a:lnTo>
                            <a:pt x="18902" y="0"/>
                          </a:lnTo>
                          <a:lnTo>
                            <a:pt x="28353" y="0"/>
                          </a:lnTo>
                          <a:lnTo>
                            <a:pt x="37805" y="0"/>
                          </a:lnTo>
                          <a:lnTo>
                            <a:pt x="47256" y="0"/>
                          </a:lnTo>
                          <a:lnTo>
                            <a:pt x="56707" y="0"/>
                          </a:lnTo>
                          <a:lnTo>
                            <a:pt x="66158" y="0"/>
                          </a:lnTo>
                          <a:lnTo>
                            <a:pt x="75609" y="0"/>
                          </a:lnTo>
                          <a:lnTo>
                            <a:pt x="85061" y="0"/>
                          </a:lnTo>
                          <a:lnTo>
                            <a:pt x="94512" y="0"/>
                          </a:lnTo>
                          <a:lnTo>
                            <a:pt x="103963" y="0"/>
                          </a:lnTo>
                          <a:lnTo>
                            <a:pt x="113414" y="0"/>
                          </a:lnTo>
                          <a:lnTo>
                            <a:pt x="122865" y="0"/>
                          </a:lnTo>
                          <a:lnTo>
                            <a:pt x="132317" y="0"/>
                          </a:lnTo>
                          <a:lnTo>
                            <a:pt x="141768" y="0"/>
                          </a:lnTo>
                          <a:lnTo>
                            <a:pt x="152119" y="0"/>
                          </a:lnTo>
                          <a:lnTo>
                            <a:pt x="151669" y="2250"/>
                          </a:lnTo>
                          <a:lnTo>
                            <a:pt x="151669" y="22053"/>
                          </a:lnTo>
                          <a:lnTo>
                            <a:pt x="151219" y="30604"/>
                          </a:lnTo>
                          <a:lnTo>
                            <a:pt x="150769" y="35554"/>
                          </a:lnTo>
                          <a:lnTo>
                            <a:pt x="149869" y="38255"/>
                          </a:lnTo>
                          <a:lnTo>
                            <a:pt x="148068" y="39155"/>
                          </a:lnTo>
                          <a:lnTo>
                            <a:pt x="150319" y="40055"/>
                          </a:lnTo>
                          <a:lnTo>
                            <a:pt x="151669" y="41405"/>
                          </a:lnTo>
                          <a:lnTo>
                            <a:pt x="152569" y="43205"/>
                          </a:lnTo>
                          <a:lnTo>
                            <a:pt x="153019" y="46356"/>
                          </a:lnTo>
                          <a:lnTo>
                            <a:pt x="153919" y="47706"/>
                          </a:lnTo>
                          <a:lnTo>
                            <a:pt x="154819" y="47706"/>
                          </a:lnTo>
                          <a:lnTo>
                            <a:pt x="155719" y="48156"/>
                          </a:lnTo>
                          <a:lnTo>
                            <a:pt x="156620" y="49056"/>
                          </a:lnTo>
                          <a:lnTo>
                            <a:pt x="159320" y="53107"/>
                          </a:lnTo>
                          <a:lnTo>
                            <a:pt x="162020" y="54457"/>
                          </a:lnTo>
                          <a:lnTo>
                            <a:pt x="162020" y="56707"/>
                          </a:lnTo>
                          <a:lnTo>
                            <a:pt x="161120" y="69759"/>
                          </a:lnTo>
                          <a:lnTo>
                            <a:pt x="161120" y="71559"/>
                          </a:lnTo>
                          <a:lnTo>
                            <a:pt x="162470" y="68409"/>
                          </a:lnTo>
                          <a:lnTo>
                            <a:pt x="163820" y="58507"/>
                          </a:lnTo>
                          <a:lnTo>
                            <a:pt x="165621" y="54007"/>
                          </a:lnTo>
                          <a:lnTo>
                            <a:pt x="166971" y="53107"/>
                          </a:lnTo>
                          <a:lnTo>
                            <a:pt x="172822" y="52657"/>
                          </a:lnTo>
                          <a:lnTo>
                            <a:pt x="179122" y="54007"/>
                          </a:lnTo>
                          <a:lnTo>
                            <a:pt x="181373" y="54007"/>
                          </a:lnTo>
                          <a:lnTo>
                            <a:pt x="183623" y="53557"/>
                          </a:lnTo>
                          <a:lnTo>
                            <a:pt x="185873" y="54907"/>
                          </a:lnTo>
                          <a:lnTo>
                            <a:pt x="186323" y="56257"/>
                          </a:lnTo>
                          <a:lnTo>
                            <a:pt x="186773" y="61658"/>
                          </a:lnTo>
                          <a:lnTo>
                            <a:pt x="187223" y="64808"/>
                          </a:lnTo>
                          <a:lnTo>
                            <a:pt x="190824" y="75610"/>
                          </a:lnTo>
                          <a:lnTo>
                            <a:pt x="192624" y="81460"/>
                          </a:lnTo>
                          <a:lnTo>
                            <a:pt x="194874" y="90911"/>
                          </a:lnTo>
                          <a:lnTo>
                            <a:pt x="195774" y="93612"/>
                          </a:lnTo>
                          <a:lnTo>
                            <a:pt x="200275" y="105763"/>
                          </a:lnTo>
                          <a:lnTo>
                            <a:pt x="201175" y="108914"/>
                          </a:lnTo>
                          <a:lnTo>
                            <a:pt x="201625" y="111614"/>
                          </a:lnTo>
                          <a:lnTo>
                            <a:pt x="201625" y="113414"/>
                          </a:lnTo>
                          <a:lnTo>
                            <a:pt x="200725" y="116115"/>
                          </a:lnTo>
                          <a:lnTo>
                            <a:pt x="199375" y="119715"/>
                          </a:lnTo>
                          <a:lnTo>
                            <a:pt x="198025" y="122415"/>
                          </a:lnTo>
                          <a:lnTo>
                            <a:pt x="196675" y="124216"/>
                          </a:lnTo>
                          <a:lnTo>
                            <a:pt x="195324" y="125566"/>
                          </a:lnTo>
                          <a:lnTo>
                            <a:pt x="193974" y="126466"/>
                          </a:lnTo>
                          <a:lnTo>
                            <a:pt x="193974" y="126916"/>
                          </a:lnTo>
                          <a:lnTo>
                            <a:pt x="195324" y="126466"/>
                          </a:lnTo>
                          <a:lnTo>
                            <a:pt x="196675" y="125566"/>
                          </a:lnTo>
                          <a:lnTo>
                            <a:pt x="199825" y="122865"/>
                          </a:lnTo>
                          <a:lnTo>
                            <a:pt x="201175" y="122415"/>
                          </a:lnTo>
                          <a:lnTo>
                            <a:pt x="204326" y="121965"/>
                          </a:lnTo>
                          <a:lnTo>
                            <a:pt x="204326" y="122865"/>
                          </a:lnTo>
                          <a:lnTo>
                            <a:pt x="202525" y="124666"/>
                          </a:lnTo>
                          <a:lnTo>
                            <a:pt x="202975" y="124666"/>
                          </a:lnTo>
                          <a:lnTo>
                            <a:pt x="205226" y="123315"/>
                          </a:lnTo>
                          <a:lnTo>
                            <a:pt x="210176" y="121065"/>
                          </a:lnTo>
                          <a:lnTo>
                            <a:pt x="229529" y="114314"/>
                          </a:lnTo>
                          <a:lnTo>
                            <a:pt x="234029" y="113864"/>
                          </a:lnTo>
                          <a:lnTo>
                            <a:pt x="240330" y="115214"/>
                          </a:lnTo>
                          <a:lnTo>
                            <a:pt x="245731" y="118365"/>
                          </a:lnTo>
                          <a:lnTo>
                            <a:pt x="251581" y="121965"/>
                          </a:lnTo>
                          <a:lnTo>
                            <a:pt x="257432" y="124666"/>
                          </a:lnTo>
                          <a:lnTo>
                            <a:pt x="266883" y="127366"/>
                          </a:lnTo>
                          <a:lnTo>
                            <a:pt x="269584" y="128716"/>
                          </a:lnTo>
                          <a:lnTo>
                            <a:pt x="275884" y="127366"/>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1" name="Freeform: Shape 1980">
                      <a:extLst>
                        <a:ext uri="{FF2B5EF4-FFF2-40B4-BE49-F238E27FC236}">
                          <a16:creationId xmlns:a16="http://schemas.microsoft.com/office/drawing/2014/main" id="{35555A52-B242-C41D-E026-8814225C3505}"/>
                        </a:ext>
                      </a:extLst>
                    </p:cNvPr>
                    <p:cNvSpPr/>
                    <p:nvPr/>
                  </p:nvSpPr>
                  <p:spPr>
                    <a:xfrm>
                      <a:off x="2273684" y="2018052"/>
                      <a:ext cx="321339" cy="491911"/>
                    </a:xfrm>
                    <a:custGeom>
                      <a:avLst/>
                      <a:gdLst>
                        <a:gd name="connsiteX0" fmla="*/ 226378 w 321339"/>
                        <a:gd name="connsiteY0" fmla="*/ 336192 h 491911"/>
                        <a:gd name="connsiteX1" fmla="*/ 226378 w 321339"/>
                        <a:gd name="connsiteY1" fmla="*/ 327191 h 491911"/>
                        <a:gd name="connsiteX2" fmla="*/ 226378 w 321339"/>
                        <a:gd name="connsiteY2" fmla="*/ 317290 h 491911"/>
                        <a:gd name="connsiteX3" fmla="*/ 217827 w 321339"/>
                        <a:gd name="connsiteY3" fmla="*/ 317290 h 491911"/>
                        <a:gd name="connsiteX4" fmla="*/ 209276 w 321339"/>
                        <a:gd name="connsiteY4" fmla="*/ 317290 h 491911"/>
                        <a:gd name="connsiteX5" fmla="*/ 200725 w 321339"/>
                        <a:gd name="connsiteY5" fmla="*/ 317290 h 491911"/>
                        <a:gd name="connsiteX6" fmla="*/ 192174 w 321339"/>
                        <a:gd name="connsiteY6" fmla="*/ 317290 h 491911"/>
                        <a:gd name="connsiteX7" fmla="*/ 183623 w 321339"/>
                        <a:gd name="connsiteY7" fmla="*/ 317290 h 491911"/>
                        <a:gd name="connsiteX8" fmla="*/ 174622 w 321339"/>
                        <a:gd name="connsiteY8" fmla="*/ 317290 h 491911"/>
                        <a:gd name="connsiteX9" fmla="*/ 166071 w 321339"/>
                        <a:gd name="connsiteY9" fmla="*/ 317290 h 491911"/>
                        <a:gd name="connsiteX10" fmla="*/ 157520 w 321339"/>
                        <a:gd name="connsiteY10" fmla="*/ 317290 h 491911"/>
                        <a:gd name="connsiteX11" fmla="*/ 148969 w 321339"/>
                        <a:gd name="connsiteY11" fmla="*/ 317290 h 491911"/>
                        <a:gd name="connsiteX12" fmla="*/ 140418 w 321339"/>
                        <a:gd name="connsiteY12" fmla="*/ 317290 h 491911"/>
                        <a:gd name="connsiteX13" fmla="*/ 131866 w 321339"/>
                        <a:gd name="connsiteY13" fmla="*/ 317290 h 491911"/>
                        <a:gd name="connsiteX14" fmla="*/ 123315 w 321339"/>
                        <a:gd name="connsiteY14" fmla="*/ 317290 h 491911"/>
                        <a:gd name="connsiteX15" fmla="*/ 114764 w 321339"/>
                        <a:gd name="connsiteY15" fmla="*/ 317290 h 491911"/>
                        <a:gd name="connsiteX16" fmla="*/ 106213 w 321339"/>
                        <a:gd name="connsiteY16" fmla="*/ 317290 h 491911"/>
                        <a:gd name="connsiteX17" fmla="*/ 97662 w 321339"/>
                        <a:gd name="connsiteY17" fmla="*/ 317290 h 491911"/>
                        <a:gd name="connsiteX18" fmla="*/ 89111 w 321339"/>
                        <a:gd name="connsiteY18" fmla="*/ 317290 h 491911"/>
                        <a:gd name="connsiteX19" fmla="*/ 85961 w 321339"/>
                        <a:gd name="connsiteY19" fmla="*/ 316840 h 491911"/>
                        <a:gd name="connsiteX20" fmla="*/ 85511 w 321339"/>
                        <a:gd name="connsiteY20" fmla="*/ 316390 h 491911"/>
                        <a:gd name="connsiteX21" fmla="*/ 85511 w 321339"/>
                        <a:gd name="connsiteY21" fmla="*/ 315490 h 491911"/>
                        <a:gd name="connsiteX22" fmla="*/ 85511 w 321339"/>
                        <a:gd name="connsiteY22" fmla="*/ 315039 h 491911"/>
                        <a:gd name="connsiteX23" fmla="*/ 87311 w 321339"/>
                        <a:gd name="connsiteY23" fmla="*/ 315039 h 491911"/>
                        <a:gd name="connsiteX24" fmla="*/ 88211 w 321339"/>
                        <a:gd name="connsiteY24" fmla="*/ 314589 h 491911"/>
                        <a:gd name="connsiteX25" fmla="*/ 88211 w 321339"/>
                        <a:gd name="connsiteY25" fmla="*/ 313239 h 491911"/>
                        <a:gd name="connsiteX26" fmla="*/ 87761 w 321339"/>
                        <a:gd name="connsiteY26" fmla="*/ 311889 h 491911"/>
                        <a:gd name="connsiteX27" fmla="*/ 85961 w 321339"/>
                        <a:gd name="connsiteY27" fmla="*/ 306488 h 491911"/>
                        <a:gd name="connsiteX28" fmla="*/ 83260 w 321339"/>
                        <a:gd name="connsiteY28" fmla="*/ 304688 h 491911"/>
                        <a:gd name="connsiteX29" fmla="*/ 82360 w 321339"/>
                        <a:gd name="connsiteY29" fmla="*/ 303338 h 491911"/>
                        <a:gd name="connsiteX30" fmla="*/ 82360 w 321339"/>
                        <a:gd name="connsiteY30" fmla="*/ 301988 h 491911"/>
                        <a:gd name="connsiteX31" fmla="*/ 82360 w 321339"/>
                        <a:gd name="connsiteY31" fmla="*/ 301538 h 491911"/>
                        <a:gd name="connsiteX32" fmla="*/ 80110 w 321339"/>
                        <a:gd name="connsiteY32" fmla="*/ 300638 h 491911"/>
                        <a:gd name="connsiteX33" fmla="*/ 80110 w 321339"/>
                        <a:gd name="connsiteY33" fmla="*/ 300188 h 491911"/>
                        <a:gd name="connsiteX34" fmla="*/ 80110 w 321339"/>
                        <a:gd name="connsiteY34" fmla="*/ 299738 h 491911"/>
                        <a:gd name="connsiteX35" fmla="*/ 81010 w 321339"/>
                        <a:gd name="connsiteY35" fmla="*/ 298387 h 491911"/>
                        <a:gd name="connsiteX36" fmla="*/ 82360 w 321339"/>
                        <a:gd name="connsiteY36" fmla="*/ 297037 h 491911"/>
                        <a:gd name="connsiteX37" fmla="*/ 83710 w 321339"/>
                        <a:gd name="connsiteY37" fmla="*/ 296137 h 491911"/>
                        <a:gd name="connsiteX38" fmla="*/ 85511 w 321339"/>
                        <a:gd name="connsiteY38" fmla="*/ 295237 h 491911"/>
                        <a:gd name="connsiteX39" fmla="*/ 91811 w 321339"/>
                        <a:gd name="connsiteY39" fmla="*/ 293887 h 491911"/>
                        <a:gd name="connsiteX40" fmla="*/ 94062 w 321339"/>
                        <a:gd name="connsiteY40" fmla="*/ 292987 h 491911"/>
                        <a:gd name="connsiteX41" fmla="*/ 94512 w 321339"/>
                        <a:gd name="connsiteY41" fmla="*/ 292537 h 491911"/>
                        <a:gd name="connsiteX42" fmla="*/ 91361 w 321339"/>
                        <a:gd name="connsiteY42" fmla="*/ 289386 h 491911"/>
                        <a:gd name="connsiteX43" fmla="*/ 90911 w 321339"/>
                        <a:gd name="connsiteY43" fmla="*/ 288486 h 491911"/>
                        <a:gd name="connsiteX44" fmla="*/ 90911 w 321339"/>
                        <a:gd name="connsiteY44" fmla="*/ 287586 h 491911"/>
                        <a:gd name="connsiteX45" fmla="*/ 91361 w 321339"/>
                        <a:gd name="connsiteY45" fmla="*/ 283535 h 491911"/>
                        <a:gd name="connsiteX46" fmla="*/ 91361 w 321339"/>
                        <a:gd name="connsiteY46" fmla="*/ 282635 h 491911"/>
                        <a:gd name="connsiteX47" fmla="*/ 90461 w 321339"/>
                        <a:gd name="connsiteY47" fmla="*/ 279935 h 491911"/>
                        <a:gd name="connsiteX48" fmla="*/ 89111 w 321339"/>
                        <a:gd name="connsiteY48" fmla="*/ 277685 h 491911"/>
                        <a:gd name="connsiteX49" fmla="*/ 88211 w 321339"/>
                        <a:gd name="connsiteY49" fmla="*/ 277235 h 491911"/>
                        <a:gd name="connsiteX50" fmla="*/ 86411 w 321339"/>
                        <a:gd name="connsiteY50" fmla="*/ 277235 h 491911"/>
                        <a:gd name="connsiteX51" fmla="*/ 84161 w 321339"/>
                        <a:gd name="connsiteY51" fmla="*/ 278135 h 491911"/>
                        <a:gd name="connsiteX52" fmla="*/ 83710 w 321339"/>
                        <a:gd name="connsiteY52" fmla="*/ 278585 h 491911"/>
                        <a:gd name="connsiteX53" fmla="*/ 82360 w 321339"/>
                        <a:gd name="connsiteY53" fmla="*/ 284436 h 491911"/>
                        <a:gd name="connsiteX54" fmla="*/ 81460 w 321339"/>
                        <a:gd name="connsiteY54" fmla="*/ 284886 h 491911"/>
                        <a:gd name="connsiteX55" fmla="*/ 78760 w 321339"/>
                        <a:gd name="connsiteY55" fmla="*/ 285786 h 491911"/>
                        <a:gd name="connsiteX56" fmla="*/ 77860 w 321339"/>
                        <a:gd name="connsiteY56" fmla="*/ 287136 h 491911"/>
                        <a:gd name="connsiteX57" fmla="*/ 77860 w 321339"/>
                        <a:gd name="connsiteY57" fmla="*/ 293887 h 491911"/>
                        <a:gd name="connsiteX58" fmla="*/ 77860 w 321339"/>
                        <a:gd name="connsiteY58" fmla="*/ 296587 h 491911"/>
                        <a:gd name="connsiteX59" fmla="*/ 79660 w 321339"/>
                        <a:gd name="connsiteY59" fmla="*/ 302888 h 491911"/>
                        <a:gd name="connsiteX60" fmla="*/ 79210 w 321339"/>
                        <a:gd name="connsiteY60" fmla="*/ 309639 h 491911"/>
                        <a:gd name="connsiteX61" fmla="*/ 78760 w 321339"/>
                        <a:gd name="connsiteY61" fmla="*/ 310989 h 491911"/>
                        <a:gd name="connsiteX62" fmla="*/ 76510 w 321339"/>
                        <a:gd name="connsiteY62" fmla="*/ 312789 h 491911"/>
                        <a:gd name="connsiteX63" fmla="*/ 76059 w 321339"/>
                        <a:gd name="connsiteY63" fmla="*/ 313239 h 491911"/>
                        <a:gd name="connsiteX64" fmla="*/ 75159 w 321339"/>
                        <a:gd name="connsiteY64" fmla="*/ 318640 h 491911"/>
                        <a:gd name="connsiteX65" fmla="*/ 74709 w 321339"/>
                        <a:gd name="connsiteY65" fmla="*/ 321790 h 491911"/>
                        <a:gd name="connsiteX66" fmla="*/ 74709 w 321339"/>
                        <a:gd name="connsiteY66" fmla="*/ 322690 h 491911"/>
                        <a:gd name="connsiteX67" fmla="*/ 75609 w 321339"/>
                        <a:gd name="connsiteY67" fmla="*/ 324041 h 491911"/>
                        <a:gd name="connsiteX68" fmla="*/ 75609 w 321339"/>
                        <a:gd name="connsiteY68" fmla="*/ 325391 h 491911"/>
                        <a:gd name="connsiteX69" fmla="*/ 71109 w 321339"/>
                        <a:gd name="connsiteY69" fmla="*/ 329441 h 491911"/>
                        <a:gd name="connsiteX70" fmla="*/ 69309 w 321339"/>
                        <a:gd name="connsiteY70" fmla="*/ 329891 h 491911"/>
                        <a:gd name="connsiteX71" fmla="*/ 67058 w 321339"/>
                        <a:gd name="connsiteY71" fmla="*/ 325841 h 491911"/>
                        <a:gd name="connsiteX72" fmla="*/ 67058 w 321339"/>
                        <a:gd name="connsiteY72" fmla="*/ 324941 h 491911"/>
                        <a:gd name="connsiteX73" fmla="*/ 67058 w 321339"/>
                        <a:gd name="connsiteY73" fmla="*/ 324491 h 491911"/>
                        <a:gd name="connsiteX74" fmla="*/ 68409 w 321339"/>
                        <a:gd name="connsiteY74" fmla="*/ 323590 h 491911"/>
                        <a:gd name="connsiteX75" fmla="*/ 68859 w 321339"/>
                        <a:gd name="connsiteY75" fmla="*/ 322240 h 491911"/>
                        <a:gd name="connsiteX76" fmla="*/ 68409 w 321339"/>
                        <a:gd name="connsiteY76" fmla="*/ 321340 h 491911"/>
                        <a:gd name="connsiteX77" fmla="*/ 66158 w 321339"/>
                        <a:gd name="connsiteY77" fmla="*/ 319540 h 491911"/>
                        <a:gd name="connsiteX78" fmla="*/ 62558 w 321339"/>
                        <a:gd name="connsiteY78" fmla="*/ 314589 h 491911"/>
                        <a:gd name="connsiteX79" fmla="*/ 60307 w 321339"/>
                        <a:gd name="connsiteY79" fmla="*/ 312789 h 491911"/>
                        <a:gd name="connsiteX80" fmla="*/ 58057 w 321339"/>
                        <a:gd name="connsiteY80" fmla="*/ 311439 h 491911"/>
                        <a:gd name="connsiteX81" fmla="*/ 55357 w 321339"/>
                        <a:gd name="connsiteY81" fmla="*/ 310539 h 491911"/>
                        <a:gd name="connsiteX82" fmla="*/ 52657 w 321339"/>
                        <a:gd name="connsiteY82" fmla="*/ 310089 h 491911"/>
                        <a:gd name="connsiteX83" fmla="*/ 51306 w 321339"/>
                        <a:gd name="connsiteY83" fmla="*/ 310089 h 491911"/>
                        <a:gd name="connsiteX84" fmla="*/ 50856 w 321339"/>
                        <a:gd name="connsiteY84" fmla="*/ 310539 h 491911"/>
                        <a:gd name="connsiteX85" fmla="*/ 49056 w 321339"/>
                        <a:gd name="connsiteY85" fmla="*/ 314139 h 491911"/>
                        <a:gd name="connsiteX86" fmla="*/ 48156 w 321339"/>
                        <a:gd name="connsiteY86" fmla="*/ 315039 h 491911"/>
                        <a:gd name="connsiteX87" fmla="*/ 47256 w 321339"/>
                        <a:gd name="connsiteY87" fmla="*/ 315039 h 491911"/>
                        <a:gd name="connsiteX88" fmla="*/ 45906 w 321339"/>
                        <a:gd name="connsiteY88" fmla="*/ 314139 h 491911"/>
                        <a:gd name="connsiteX89" fmla="*/ 44105 w 321339"/>
                        <a:gd name="connsiteY89" fmla="*/ 313689 h 491911"/>
                        <a:gd name="connsiteX90" fmla="*/ 43656 w 321339"/>
                        <a:gd name="connsiteY90" fmla="*/ 315039 h 491911"/>
                        <a:gd name="connsiteX91" fmla="*/ 43205 w 321339"/>
                        <a:gd name="connsiteY91" fmla="*/ 315490 h 491911"/>
                        <a:gd name="connsiteX92" fmla="*/ 41855 w 321339"/>
                        <a:gd name="connsiteY92" fmla="*/ 315490 h 491911"/>
                        <a:gd name="connsiteX93" fmla="*/ 39605 w 321339"/>
                        <a:gd name="connsiteY93" fmla="*/ 314589 h 491911"/>
                        <a:gd name="connsiteX94" fmla="*/ 38255 w 321339"/>
                        <a:gd name="connsiteY94" fmla="*/ 313689 h 491911"/>
                        <a:gd name="connsiteX95" fmla="*/ 36905 w 321339"/>
                        <a:gd name="connsiteY95" fmla="*/ 310089 h 491911"/>
                        <a:gd name="connsiteX96" fmla="*/ 36005 w 321339"/>
                        <a:gd name="connsiteY96" fmla="*/ 309189 h 491911"/>
                        <a:gd name="connsiteX97" fmla="*/ 33304 w 321339"/>
                        <a:gd name="connsiteY97" fmla="*/ 306938 h 491911"/>
                        <a:gd name="connsiteX98" fmla="*/ 32854 w 321339"/>
                        <a:gd name="connsiteY98" fmla="*/ 306938 h 491911"/>
                        <a:gd name="connsiteX99" fmla="*/ 32404 w 321339"/>
                        <a:gd name="connsiteY99" fmla="*/ 310539 h 491911"/>
                        <a:gd name="connsiteX100" fmla="*/ 31954 w 321339"/>
                        <a:gd name="connsiteY100" fmla="*/ 311889 h 491911"/>
                        <a:gd name="connsiteX101" fmla="*/ 31054 w 321339"/>
                        <a:gd name="connsiteY101" fmla="*/ 311439 h 491911"/>
                        <a:gd name="connsiteX102" fmla="*/ 30604 w 321339"/>
                        <a:gd name="connsiteY102" fmla="*/ 310989 h 491911"/>
                        <a:gd name="connsiteX103" fmla="*/ 29704 w 321339"/>
                        <a:gd name="connsiteY103" fmla="*/ 309639 h 491911"/>
                        <a:gd name="connsiteX104" fmla="*/ 29254 w 321339"/>
                        <a:gd name="connsiteY104" fmla="*/ 307389 h 491911"/>
                        <a:gd name="connsiteX105" fmla="*/ 29254 w 321339"/>
                        <a:gd name="connsiteY105" fmla="*/ 305588 h 491911"/>
                        <a:gd name="connsiteX106" fmla="*/ 30604 w 321339"/>
                        <a:gd name="connsiteY106" fmla="*/ 303788 h 491911"/>
                        <a:gd name="connsiteX107" fmla="*/ 30604 w 321339"/>
                        <a:gd name="connsiteY107" fmla="*/ 302888 h 491911"/>
                        <a:gd name="connsiteX108" fmla="*/ 29704 w 321339"/>
                        <a:gd name="connsiteY108" fmla="*/ 294337 h 491911"/>
                        <a:gd name="connsiteX109" fmla="*/ 29704 w 321339"/>
                        <a:gd name="connsiteY109" fmla="*/ 293437 h 491911"/>
                        <a:gd name="connsiteX110" fmla="*/ 30604 w 321339"/>
                        <a:gd name="connsiteY110" fmla="*/ 291637 h 491911"/>
                        <a:gd name="connsiteX111" fmla="*/ 30604 w 321339"/>
                        <a:gd name="connsiteY111" fmla="*/ 289386 h 491911"/>
                        <a:gd name="connsiteX112" fmla="*/ 31054 w 321339"/>
                        <a:gd name="connsiteY112" fmla="*/ 288036 h 491911"/>
                        <a:gd name="connsiteX113" fmla="*/ 31504 w 321339"/>
                        <a:gd name="connsiteY113" fmla="*/ 287136 h 491911"/>
                        <a:gd name="connsiteX114" fmla="*/ 31504 w 321339"/>
                        <a:gd name="connsiteY114" fmla="*/ 285786 h 491911"/>
                        <a:gd name="connsiteX115" fmla="*/ 31054 w 321339"/>
                        <a:gd name="connsiteY115" fmla="*/ 284436 h 491911"/>
                        <a:gd name="connsiteX116" fmla="*/ 29704 w 321339"/>
                        <a:gd name="connsiteY116" fmla="*/ 282185 h 491911"/>
                        <a:gd name="connsiteX117" fmla="*/ 28804 w 321339"/>
                        <a:gd name="connsiteY117" fmla="*/ 281735 h 491911"/>
                        <a:gd name="connsiteX118" fmla="*/ 27903 w 321339"/>
                        <a:gd name="connsiteY118" fmla="*/ 281285 h 491911"/>
                        <a:gd name="connsiteX119" fmla="*/ 27453 w 321339"/>
                        <a:gd name="connsiteY119" fmla="*/ 281735 h 491911"/>
                        <a:gd name="connsiteX120" fmla="*/ 27003 w 321339"/>
                        <a:gd name="connsiteY120" fmla="*/ 283535 h 491911"/>
                        <a:gd name="connsiteX121" fmla="*/ 25203 w 321339"/>
                        <a:gd name="connsiteY121" fmla="*/ 284436 h 491911"/>
                        <a:gd name="connsiteX122" fmla="*/ 24753 w 321339"/>
                        <a:gd name="connsiteY122" fmla="*/ 285336 h 491911"/>
                        <a:gd name="connsiteX123" fmla="*/ 23853 w 321339"/>
                        <a:gd name="connsiteY123" fmla="*/ 291187 h 491911"/>
                        <a:gd name="connsiteX124" fmla="*/ 23403 w 321339"/>
                        <a:gd name="connsiteY124" fmla="*/ 292087 h 491911"/>
                        <a:gd name="connsiteX125" fmla="*/ 20702 w 321339"/>
                        <a:gd name="connsiteY125" fmla="*/ 293437 h 491911"/>
                        <a:gd name="connsiteX126" fmla="*/ 19802 w 321339"/>
                        <a:gd name="connsiteY126" fmla="*/ 292987 h 491911"/>
                        <a:gd name="connsiteX127" fmla="*/ 18902 w 321339"/>
                        <a:gd name="connsiteY127" fmla="*/ 292987 h 491911"/>
                        <a:gd name="connsiteX128" fmla="*/ 17552 w 321339"/>
                        <a:gd name="connsiteY128" fmla="*/ 292987 h 491911"/>
                        <a:gd name="connsiteX129" fmla="*/ 15752 w 321339"/>
                        <a:gd name="connsiteY129" fmla="*/ 292087 h 491911"/>
                        <a:gd name="connsiteX130" fmla="*/ 14852 w 321339"/>
                        <a:gd name="connsiteY130" fmla="*/ 290736 h 491911"/>
                        <a:gd name="connsiteX131" fmla="*/ 14852 w 321339"/>
                        <a:gd name="connsiteY131" fmla="*/ 288036 h 491911"/>
                        <a:gd name="connsiteX132" fmla="*/ 15302 w 321339"/>
                        <a:gd name="connsiteY132" fmla="*/ 284886 h 491911"/>
                        <a:gd name="connsiteX133" fmla="*/ 15752 w 321339"/>
                        <a:gd name="connsiteY133" fmla="*/ 282635 h 491911"/>
                        <a:gd name="connsiteX134" fmla="*/ 17102 w 321339"/>
                        <a:gd name="connsiteY134" fmla="*/ 279485 h 491911"/>
                        <a:gd name="connsiteX135" fmla="*/ 17102 w 321339"/>
                        <a:gd name="connsiteY135" fmla="*/ 275435 h 491911"/>
                        <a:gd name="connsiteX136" fmla="*/ 17552 w 321339"/>
                        <a:gd name="connsiteY136" fmla="*/ 270484 h 491911"/>
                        <a:gd name="connsiteX137" fmla="*/ 17552 w 321339"/>
                        <a:gd name="connsiteY137" fmla="*/ 269584 h 491911"/>
                        <a:gd name="connsiteX138" fmla="*/ 16652 w 321339"/>
                        <a:gd name="connsiteY138" fmla="*/ 268684 h 491911"/>
                        <a:gd name="connsiteX139" fmla="*/ 15752 w 321339"/>
                        <a:gd name="connsiteY139" fmla="*/ 268234 h 491911"/>
                        <a:gd name="connsiteX140" fmla="*/ 14852 w 321339"/>
                        <a:gd name="connsiteY140" fmla="*/ 267333 h 491911"/>
                        <a:gd name="connsiteX141" fmla="*/ 13952 w 321339"/>
                        <a:gd name="connsiteY141" fmla="*/ 264183 h 491911"/>
                        <a:gd name="connsiteX142" fmla="*/ 13052 w 321339"/>
                        <a:gd name="connsiteY142" fmla="*/ 262833 h 491911"/>
                        <a:gd name="connsiteX143" fmla="*/ 6751 w 321339"/>
                        <a:gd name="connsiteY143" fmla="*/ 260583 h 491911"/>
                        <a:gd name="connsiteX144" fmla="*/ 6301 w 321339"/>
                        <a:gd name="connsiteY144" fmla="*/ 260133 h 491911"/>
                        <a:gd name="connsiteX145" fmla="*/ 6301 w 321339"/>
                        <a:gd name="connsiteY145" fmla="*/ 259232 h 491911"/>
                        <a:gd name="connsiteX146" fmla="*/ 6751 w 321339"/>
                        <a:gd name="connsiteY146" fmla="*/ 255632 h 491911"/>
                        <a:gd name="connsiteX147" fmla="*/ 6301 w 321339"/>
                        <a:gd name="connsiteY147" fmla="*/ 253382 h 491911"/>
                        <a:gd name="connsiteX148" fmla="*/ 4951 w 321339"/>
                        <a:gd name="connsiteY148" fmla="*/ 252032 h 491911"/>
                        <a:gd name="connsiteX149" fmla="*/ 0 w 321339"/>
                        <a:gd name="connsiteY149" fmla="*/ 244831 h 491911"/>
                        <a:gd name="connsiteX150" fmla="*/ 0 w 321339"/>
                        <a:gd name="connsiteY150" fmla="*/ 243931 h 491911"/>
                        <a:gd name="connsiteX151" fmla="*/ 450 w 321339"/>
                        <a:gd name="connsiteY151" fmla="*/ 242580 h 491911"/>
                        <a:gd name="connsiteX152" fmla="*/ 1350 w 321339"/>
                        <a:gd name="connsiteY152" fmla="*/ 241230 h 491911"/>
                        <a:gd name="connsiteX153" fmla="*/ 4951 w 321339"/>
                        <a:gd name="connsiteY153" fmla="*/ 237630 h 491911"/>
                        <a:gd name="connsiteX154" fmla="*/ 4951 w 321339"/>
                        <a:gd name="connsiteY154" fmla="*/ 237180 h 491911"/>
                        <a:gd name="connsiteX155" fmla="*/ 4951 w 321339"/>
                        <a:gd name="connsiteY155" fmla="*/ 236280 h 491911"/>
                        <a:gd name="connsiteX156" fmla="*/ 3600 w 321339"/>
                        <a:gd name="connsiteY156" fmla="*/ 232229 h 491911"/>
                        <a:gd name="connsiteX157" fmla="*/ 3150 w 321339"/>
                        <a:gd name="connsiteY157" fmla="*/ 229979 h 491911"/>
                        <a:gd name="connsiteX158" fmla="*/ 3150 w 321339"/>
                        <a:gd name="connsiteY158" fmla="*/ 228179 h 491911"/>
                        <a:gd name="connsiteX159" fmla="*/ 3600 w 321339"/>
                        <a:gd name="connsiteY159" fmla="*/ 226378 h 491911"/>
                        <a:gd name="connsiteX160" fmla="*/ 4050 w 321339"/>
                        <a:gd name="connsiteY160" fmla="*/ 225928 h 491911"/>
                        <a:gd name="connsiteX161" fmla="*/ 4951 w 321339"/>
                        <a:gd name="connsiteY161" fmla="*/ 225478 h 491911"/>
                        <a:gd name="connsiteX162" fmla="*/ 9451 w 321339"/>
                        <a:gd name="connsiteY162" fmla="*/ 227278 h 491911"/>
                        <a:gd name="connsiteX163" fmla="*/ 9901 w 321339"/>
                        <a:gd name="connsiteY163" fmla="*/ 227278 h 491911"/>
                        <a:gd name="connsiteX164" fmla="*/ 10801 w 321339"/>
                        <a:gd name="connsiteY164" fmla="*/ 225028 h 491911"/>
                        <a:gd name="connsiteX165" fmla="*/ 12602 w 321339"/>
                        <a:gd name="connsiteY165" fmla="*/ 223678 h 491911"/>
                        <a:gd name="connsiteX166" fmla="*/ 12602 w 321339"/>
                        <a:gd name="connsiteY166" fmla="*/ 222328 h 491911"/>
                        <a:gd name="connsiteX167" fmla="*/ 11701 w 321339"/>
                        <a:gd name="connsiteY167" fmla="*/ 221428 h 491911"/>
                        <a:gd name="connsiteX168" fmla="*/ 11701 w 321339"/>
                        <a:gd name="connsiteY168" fmla="*/ 220978 h 491911"/>
                        <a:gd name="connsiteX169" fmla="*/ 9901 w 321339"/>
                        <a:gd name="connsiteY169" fmla="*/ 216477 h 491911"/>
                        <a:gd name="connsiteX170" fmla="*/ 8101 w 321339"/>
                        <a:gd name="connsiteY170" fmla="*/ 213327 h 491911"/>
                        <a:gd name="connsiteX171" fmla="*/ 7201 w 321339"/>
                        <a:gd name="connsiteY171" fmla="*/ 211076 h 491911"/>
                        <a:gd name="connsiteX172" fmla="*/ 6751 w 321339"/>
                        <a:gd name="connsiteY172" fmla="*/ 209276 h 491911"/>
                        <a:gd name="connsiteX173" fmla="*/ 7201 w 321339"/>
                        <a:gd name="connsiteY173" fmla="*/ 208376 h 491911"/>
                        <a:gd name="connsiteX174" fmla="*/ 7651 w 321339"/>
                        <a:gd name="connsiteY174" fmla="*/ 207926 h 491911"/>
                        <a:gd name="connsiteX175" fmla="*/ 9001 w 321339"/>
                        <a:gd name="connsiteY175" fmla="*/ 207926 h 491911"/>
                        <a:gd name="connsiteX176" fmla="*/ 9901 w 321339"/>
                        <a:gd name="connsiteY176" fmla="*/ 208376 h 491911"/>
                        <a:gd name="connsiteX177" fmla="*/ 12602 w 321339"/>
                        <a:gd name="connsiteY177" fmla="*/ 212877 h 491911"/>
                        <a:gd name="connsiteX178" fmla="*/ 18902 w 321339"/>
                        <a:gd name="connsiteY178" fmla="*/ 218727 h 491911"/>
                        <a:gd name="connsiteX179" fmla="*/ 22053 w 321339"/>
                        <a:gd name="connsiteY179" fmla="*/ 220078 h 491911"/>
                        <a:gd name="connsiteX180" fmla="*/ 23403 w 321339"/>
                        <a:gd name="connsiteY180" fmla="*/ 218277 h 491911"/>
                        <a:gd name="connsiteX181" fmla="*/ 23403 w 321339"/>
                        <a:gd name="connsiteY181" fmla="*/ 216477 h 491911"/>
                        <a:gd name="connsiteX182" fmla="*/ 22053 w 321339"/>
                        <a:gd name="connsiteY182" fmla="*/ 212877 h 491911"/>
                        <a:gd name="connsiteX183" fmla="*/ 22503 w 321339"/>
                        <a:gd name="connsiteY183" fmla="*/ 211076 h 491911"/>
                        <a:gd name="connsiteX184" fmla="*/ 21153 w 321339"/>
                        <a:gd name="connsiteY184" fmla="*/ 206126 h 491911"/>
                        <a:gd name="connsiteX185" fmla="*/ 21603 w 321339"/>
                        <a:gd name="connsiteY185" fmla="*/ 203876 h 491911"/>
                        <a:gd name="connsiteX186" fmla="*/ 21603 w 321339"/>
                        <a:gd name="connsiteY186" fmla="*/ 202975 h 491911"/>
                        <a:gd name="connsiteX187" fmla="*/ 20253 w 321339"/>
                        <a:gd name="connsiteY187" fmla="*/ 199825 h 491911"/>
                        <a:gd name="connsiteX188" fmla="*/ 20253 w 321339"/>
                        <a:gd name="connsiteY188" fmla="*/ 199375 h 491911"/>
                        <a:gd name="connsiteX189" fmla="*/ 20702 w 321339"/>
                        <a:gd name="connsiteY189" fmla="*/ 198925 h 491911"/>
                        <a:gd name="connsiteX190" fmla="*/ 21603 w 321339"/>
                        <a:gd name="connsiteY190" fmla="*/ 199375 h 491911"/>
                        <a:gd name="connsiteX191" fmla="*/ 23853 w 321339"/>
                        <a:gd name="connsiteY191" fmla="*/ 201625 h 491911"/>
                        <a:gd name="connsiteX192" fmla="*/ 31954 w 321339"/>
                        <a:gd name="connsiteY192" fmla="*/ 210626 h 491911"/>
                        <a:gd name="connsiteX193" fmla="*/ 33754 w 321339"/>
                        <a:gd name="connsiteY193" fmla="*/ 211977 h 491911"/>
                        <a:gd name="connsiteX194" fmla="*/ 35104 w 321339"/>
                        <a:gd name="connsiteY194" fmla="*/ 212877 h 491911"/>
                        <a:gd name="connsiteX195" fmla="*/ 39155 w 321339"/>
                        <a:gd name="connsiteY195" fmla="*/ 214227 h 491911"/>
                        <a:gd name="connsiteX196" fmla="*/ 39605 w 321339"/>
                        <a:gd name="connsiteY196" fmla="*/ 214677 h 491911"/>
                        <a:gd name="connsiteX197" fmla="*/ 40955 w 321339"/>
                        <a:gd name="connsiteY197" fmla="*/ 218277 h 491911"/>
                        <a:gd name="connsiteX198" fmla="*/ 42305 w 321339"/>
                        <a:gd name="connsiteY198" fmla="*/ 219628 h 491911"/>
                        <a:gd name="connsiteX199" fmla="*/ 43656 w 321339"/>
                        <a:gd name="connsiteY199" fmla="*/ 220528 h 491911"/>
                        <a:gd name="connsiteX200" fmla="*/ 55357 w 321339"/>
                        <a:gd name="connsiteY200" fmla="*/ 221428 h 491911"/>
                        <a:gd name="connsiteX201" fmla="*/ 61658 w 321339"/>
                        <a:gd name="connsiteY201" fmla="*/ 220978 h 491911"/>
                        <a:gd name="connsiteX202" fmla="*/ 71559 w 321339"/>
                        <a:gd name="connsiteY202" fmla="*/ 221428 h 491911"/>
                        <a:gd name="connsiteX203" fmla="*/ 80560 w 321339"/>
                        <a:gd name="connsiteY203" fmla="*/ 225028 h 491911"/>
                        <a:gd name="connsiteX204" fmla="*/ 83710 w 321339"/>
                        <a:gd name="connsiteY204" fmla="*/ 225928 h 491911"/>
                        <a:gd name="connsiteX205" fmla="*/ 84611 w 321339"/>
                        <a:gd name="connsiteY205" fmla="*/ 225928 h 491911"/>
                        <a:gd name="connsiteX206" fmla="*/ 85511 w 321339"/>
                        <a:gd name="connsiteY206" fmla="*/ 225028 h 491911"/>
                        <a:gd name="connsiteX207" fmla="*/ 87311 w 321339"/>
                        <a:gd name="connsiteY207" fmla="*/ 220078 h 491911"/>
                        <a:gd name="connsiteX208" fmla="*/ 89111 w 321339"/>
                        <a:gd name="connsiteY208" fmla="*/ 214677 h 491911"/>
                        <a:gd name="connsiteX209" fmla="*/ 89561 w 321339"/>
                        <a:gd name="connsiteY209" fmla="*/ 212877 h 491911"/>
                        <a:gd name="connsiteX210" fmla="*/ 89561 w 321339"/>
                        <a:gd name="connsiteY210" fmla="*/ 211977 h 491911"/>
                        <a:gd name="connsiteX211" fmla="*/ 88211 w 321339"/>
                        <a:gd name="connsiteY211" fmla="*/ 208376 h 491911"/>
                        <a:gd name="connsiteX212" fmla="*/ 88661 w 321339"/>
                        <a:gd name="connsiteY212" fmla="*/ 206576 h 491911"/>
                        <a:gd name="connsiteX213" fmla="*/ 89111 w 321339"/>
                        <a:gd name="connsiteY213" fmla="*/ 205676 h 491911"/>
                        <a:gd name="connsiteX214" fmla="*/ 90911 w 321339"/>
                        <a:gd name="connsiteY214" fmla="*/ 204326 h 491911"/>
                        <a:gd name="connsiteX215" fmla="*/ 96762 w 321339"/>
                        <a:gd name="connsiteY215" fmla="*/ 200725 h 491911"/>
                        <a:gd name="connsiteX216" fmla="*/ 97662 w 321339"/>
                        <a:gd name="connsiteY216" fmla="*/ 199375 h 491911"/>
                        <a:gd name="connsiteX217" fmla="*/ 96762 w 321339"/>
                        <a:gd name="connsiteY217" fmla="*/ 197125 h 491911"/>
                        <a:gd name="connsiteX218" fmla="*/ 96762 w 321339"/>
                        <a:gd name="connsiteY218" fmla="*/ 195775 h 491911"/>
                        <a:gd name="connsiteX219" fmla="*/ 96762 w 321339"/>
                        <a:gd name="connsiteY219" fmla="*/ 193974 h 491911"/>
                        <a:gd name="connsiteX220" fmla="*/ 96762 w 321339"/>
                        <a:gd name="connsiteY220" fmla="*/ 193074 h 491911"/>
                        <a:gd name="connsiteX221" fmla="*/ 93612 w 321339"/>
                        <a:gd name="connsiteY221" fmla="*/ 192174 h 491911"/>
                        <a:gd name="connsiteX222" fmla="*/ 92262 w 321339"/>
                        <a:gd name="connsiteY222" fmla="*/ 191274 h 491911"/>
                        <a:gd name="connsiteX223" fmla="*/ 91361 w 321339"/>
                        <a:gd name="connsiteY223" fmla="*/ 189924 h 491911"/>
                        <a:gd name="connsiteX224" fmla="*/ 89111 w 321339"/>
                        <a:gd name="connsiteY224" fmla="*/ 185873 h 491911"/>
                        <a:gd name="connsiteX225" fmla="*/ 85511 w 321339"/>
                        <a:gd name="connsiteY225" fmla="*/ 180023 h 491911"/>
                        <a:gd name="connsiteX226" fmla="*/ 85511 w 321339"/>
                        <a:gd name="connsiteY226" fmla="*/ 179123 h 491911"/>
                        <a:gd name="connsiteX227" fmla="*/ 85511 w 321339"/>
                        <a:gd name="connsiteY227" fmla="*/ 177772 h 491911"/>
                        <a:gd name="connsiteX228" fmla="*/ 86411 w 321339"/>
                        <a:gd name="connsiteY228" fmla="*/ 176872 h 491911"/>
                        <a:gd name="connsiteX229" fmla="*/ 88211 w 321339"/>
                        <a:gd name="connsiteY229" fmla="*/ 175972 h 491911"/>
                        <a:gd name="connsiteX230" fmla="*/ 88661 w 321339"/>
                        <a:gd name="connsiteY230" fmla="*/ 175522 h 491911"/>
                        <a:gd name="connsiteX231" fmla="*/ 88211 w 321339"/>
                        <a:gd name="connsiteY231" fmla="*/ 174172 h 491911"/>
                        <a:gd name="connsiteX232" fmla="*/ 82810 w 321339"/>
                        <a:gd name="connsiteY232" fmla="*/ 172822 h 491911"/>
                        <a:gd name="connsiteX233" fmla="*/ 81910 w 321339"/>
                        <a:gd name="connsiteY233" fmla="*/ 171922 h 491911"/>
                        <a:gd name="connsiteX234" fmla="*/ 80110 w 321339"/>
                        <a:gd name="connsiteY234" fmla="*/ 171471 h 491911"/>
                        <a:gd name="connsiteX235" fmla="*/ 79210 w 321339"/>
                        <a:gd name="connsiteY235" fmla="*/ 171471 h 491911"/>
                        <a:gd name="connsiteX236" fmla="*/ 79660 w 321339"/>
                        <a:gd name="connsiteY236" fmla="*/ 169671 h 491911"/>
                        <a:gd name="connsiteX237" fmla="*/ 81460 w 321339"/>
                        <a:gd name="connsiteY237" fmla="*/ 166971 h 491911"/>
                        <a:gd name="connsiteX238" fmla="*/ 81010 w 321339"/>
                        <a:gd name="connsiteY238" fmla="*/ 166521 h 491911"/>
                        <a:gd name="connsiteX239" fmla="*/ 77410 w 321339"/>
                        <a:gd name="connsiteY239" fmla="*/ 164721 h 491911"/>
                        <a:gd name="connsiteX240" fmla="*/ 76960 w 321339"/>
                        <a:gd name="connsiteY240" fmla="*/ 164271 h 491911"/>
                        <a:gd name="connsiteX241" fmla="*/ 76960 w 321339"/>
                        <a:gd name="connsiteY241" fmla="*/ 163820 h 491911"/>
                        <a:gd name="connsiteX242" fmla="*/ 76960 w 321339"/>
                        <a:gd name="connsiteY242" fmla="*/ 162470 h 491911"/>
                        <a:gd name="connsiteX243" fmla="*/ 76510 w 321339"/>
                        <a:gd name="connsiteY243" fmla="*/ 160220 h 491911"/>
                        <a:gd name="connsiteX244" fmla="*/ 78310 w 321339"/>
                        <a:gd name="connsiteY244" fmla="*/ 158870 h 491911"/>
                        <a:gd name="connsiteX245" fmla="*/ 80560 w 321339"/>
                        <a:gd name="connsiteY245" fmla="*/ 158420 h 491911"/>
                        <a:gd name="connsiteX246" fmla="*/ 81010 w 321339"/>
                        <a:gd name="connsiteY246" fmla="*/ 157070 h 491911"/>
                        <a:gd name="connsiteX247" fmla="*/ 80560 w 321339"/>
                        <a:gd name="connsiteY247" fmla="*/ 155269 h 491911"/>
                        <a:gd name="connsiteX248" fmla="*/ 77410 w 321339"/>
                        <a:gd name="connsiteY248" fmla="*/ 148969 h 491911"/>
                        <a:gd name="connsiteX249" fmla="*/ 77410 w 321339"/>
                        <a:gd name="connsiteY249" fmla="*/ 148519 h 491911"/>
                        <a:gd name="connsiteX250" fmla="*/ 77860 w 321339"/>
                        <a:gd name="connsiteY250" fmla="*/ 147168 h 491911"/>
                        <a:gd name="connsiteX251" fmla="*/ 79210 w 321339"/>
                        <a:gd name="connsiteY251" fmla="*/ 145368 h 491911"/>
                        <a:gd name="connsiteX252" fmla="*/ 79660 w 321339"/>
                        <a:gd name="connsiteY252" fmla="*/ 144018 h 491911"/>
                        <a:gd name="connsiteX253" fmla="*/ 81010 w 321339"/>
                        <a:gd name="connsiteY253" fmla="*/ 142218 h 491911"/>
                        <a:gd name="connsiteX254" fmla="*/ 81910 w 321339"/>
                        <a:gd name="connsiteY254" fmla="*/ 141318 h 491911"/>
                        <a:gd name="connsiteX255" fmla="*/ 82360 w 321339"/>
                        <a:gd name="connsiteY255" fmla="*/ 135917 h 491911"/>
                        <a:gd name="connsiteX256" fmla="*/ 83260 w 321339"/>
                        <a:gd name="connsiteY256" fmla="*/ 133667 h 491911"/>
                        <a:gd name="connsiteX257" fmla="*/ 84161 w 321339"/>
                        <a:gd name="connsiteY257" fmla="*/ 131867 h 491911"/>
                        <a:gd name="connsiteX258" fmla="*/ 85060 w 321339"/>
                        <a:gd name="connsiteY258" fmla="*/ 128266 h 491911"/>
                        <a:gd name="connsiteX259" fmla="*/ 85060 w 321339"/>
                        <a:gd name="connsiteY259" fmla="*/ 127816 h 491911"/>
                        <a:gd name="connsiteX260" fmla="*/ 84161 w 321339"/>
                        <a:gd name="connsiteY260" fmla="*/ 126466 h 491911"/>
                        <a:gd name="connsiteX261" fmla="*/ 84161 w 321339"/>
                        <a:gd name="connsiteY261" fmla="*/ 125116 h 491911"/>
                        <a:gd name="connsiteX262" fmla="*/ 85511 w 321339"/>
                        <a:gd name="connsiteY262" fmla="*/ 121965 h 491911"/>
                        <a:gd name="connsiteX263" fmla="*/ 85060 w 321339"/>
                        <a:gd name="connsiteY263" fmla="*/ 117465 h 491911"/>
                        <a:gd name="connsiteX264" fmla="*/ 85060 w 321339"/>
                        <a:gd name="connsiteY264" fmla="*/ 116115 h 491911"/>
                        <a:gd name="connsiteX265" fmla="*/ 85511 w 321339"/>
                        <a:gd name="connsiteY265" fmla="*/ 115214 h 491911"/>
                        <a:gd name="connsiteX266" fmla="*/ 88211 w 321339"/>
                        <a:gd name="connsiteY266" fmla="*/ 111614 h 491911"/>
                        <a:gd name="connsiteX267" fmla="*/ 88661 w 321339"/>
                        <a:gd name="connsiteY267" fmla="*/ 110714 h 491911"/>
                        <a:gd name="connsiteX268" fmla="*/ 88661 w 321339"/>
                        <a:gd name="connsiteY268" fmla="*/ 109364 h 491911"/>
                        <a:gd name="connsiteX269" fmla="*/ 88211 w 321339"/>
                        <a:gd name="connsiteY269" fmla="*/ 109364 h 491911"/>
                        <a:gd name="connsiteX270" fmla="*/ 85961 w 321339"/>
                        <a:gd name="connsiteY270" fmla="*/ 110714 h 491911"/>
                        <a:gd name="connsiteX271" fmla="*/ 84161 w 321339"/>
                        <a:gd name="connsiteY271" fmla="*/ 110264 h 491911"/>
                        <a:gd name="connsiteX272" fmla="*/ 83260 w 321339"/>
                        <a:gd name="connsiteY272" fmla="*/ 109814 h 491911"/>
                        <a:gd name="connsiteX273" fmla="*/ 82810 w 321339"/>
                        <a:gd name="connsiteY273" fmla="*/ 108914 h 491911"/>
                        <a:gd name="connsiteX274" fmla="*/ 81910 w 321339"/>
                        <a:gd name="connsiteY274" fmla="*/ 106663 h 491911"/>
                        <a:gd name="connsiteX275" fmla="*/ 81010 w 321339"/>
                        <a:gd name="connsiteY275" fmla="*/ 105763 h 491911"/>
                        <a:gd name="connsiteX276" fmla="*/ 80560 w 321339"/>
                        <a:gd name="connsiteY276" fmla="*/ 105763 h 491911"/>
                        <a:gd name="connsiteX277" fmla="*/ 79210 w 321339"/>
                        <a:gd name="connsiteY277" fmla="*/ 106663 h 491911"/>
                        <a:gd name="connsiteX278" fmla="*/ 78310 w 321339"/>
                        <a:gd name="connsiteY278" fmla="*/ 105763 h 491911"/>
                        <a:gd name="connsiteX279" fmla="*/ 76960 w 321339"/>
                        <a:gd name="connsiteY279" fmla="*/ 103063 h 491911"/>
                        <a:gd name="connsiteX280" fmla="*/ 75159 w 321339"/>
                        <a:gd name="connsiteY280" fmla="*/ 97212 h 491911"/>
                        <a:gd name="connsiteX281" fmla="*/ 71559 w 321339"/>
                        <a:gd name="connsiteY281" fmla="*/ 94062 h 491911"/>
                        <a:gd name="connsiteX282" fmla="*/ 71109 w 321339"/>
                        <a:gd name="connsiteY282" fmla="*/ 93162 h 491911"/>
                        <a:gd name="connsiteX283" fmla="*/ 71109 w 321339"/>
                        <a:gd name="connsiteY283" fmla="*/ 92262 h 491911"/>
                        <a:gd name="connsiteX284" fmla="*/ 71559 w 321339"/>
                        <a:gd name="connsiteY284" fmla="*/ 91362 h 491911"/>
                        <a:gd name="connsiteX285" fmla="*/ 77410 w 321339"/>
                        <a:gd name="connsiteY285" fmla="*/ 83711 h 491911"/>
                        <a:gd name="connsiteX286" fmla="*/ 79210 w 321339"/>
                        <a:gd name="connsiteY286" fmla="*/ 81910 h 491911"/>
                        <a:gd name="connsiteX287" fmla="*/ 82810 w 321339"/>
                        <a:gd name="connsiteY287" fmla="*/ 79660 h 491911"/>
                        <a:gd name="connsiteX288" fmla="*/ 83260 w 321339"/>
                        <a:gd name="connsiteY288" fmla="*/ 78760 h 491911"/>
                        <a:gd name="connsiteX289" fmla="*/ 83260 w 321339"/>
                        <a:gd name="connsiteY289" fmla="*/ 77860 h 491911"/>
                        <a:gd name="connsiteX290" fmla="*/ 82360 w 321339"/>
                        <a:gd name="connsiteY290" fmla="*/ 75610 h 491911"/>
                        <a:gd name="connsiteX291" fmla="*/ 79210 w 321339"/>
                        <a:gd name="connsiteY291" fmla="*/ 76059 h 491911"/>
                        <a:gd name="connsiteX292" fmla="*/ 78760 w 321339"/>
                        <a:gd name="connsiteY292" fmla="*/ 75610 h 491911"/>
                        <a:gd name="connsiteX293" fmla="*/ 78310 w 321339"/>
                        <a:gd name="connsiteY293" fmla="*/ 73809 h 491911"/>
                        <a:gd name="connsiteX294" fmla="*/ 78310 w 321339"/>
                        <a:gd name="connsiteY294" fmla="*/ 72909 h 491911"/>
                        <a:gd name="connsiteX295" fmla="*/ 78760 w 321339"/>
                        <a:gd name="connsiteY295" fmla="*/ 72009 h 491911"/>
                        <a:gd name="connsiteX296" fmla="*/ 79660 w 321339"/>
                        <a:gd name="connsiteY296" fmla="*/ 71109 h 491911"/>
                        <a:gd name="connsiteX297" fmla="*/ 81010 w 321339"/>
                        <a:gd name="connsiteY297" fmla="*/ 70209 h 491911"/>
                        <a:gd name="connsiteX298" fmla="*/ 89561 w 321339"/>
                        <a:gd name="connsiteY298" fmla="*/ 68409 h 491911"/>
                        <a:gd name="connsiteX299" fmla="*/ 90461 w 321339"/>
                        <a:gd name="connsiteY299" fmla="*/ 67959 h 491911"/>
                        <a:gd name="connsiteX300" fmla="*/ 90461 w 321339"/>
                        <a:gd name="connsiteY300" fmla="*/ 67508 h 491911"/>
                        <a:gd name="connsiteX301" fmla="*/ 90461 w 321339"/>
                        <a:gd name="connsiteY301" fmla="*/ 66608 h 491911"/>
                        <a:gd name="connsiteX302" fmla="*/ 90011 w 321339"/>
                        <a:gd name="connsiteY302" fmla="*/ 65258 h 491911"/>
                        <a:gd name="connsiteX303" fmla="*/ 88661 w 321339"/>
                        <a:gd name="connsiteY303" fmla="*/ 63908 h 491911"/>
                        <a:gd name="connsiteX304" fmla="*/ 86861 w 321339"/>
                        <a:gd name="connsiteY304" fmla="*/ 63008 h 491911"/>
                        <a:gd name="connsiteX305" fmla="*/ 85511 w 321339"/>
                        <a:gd name="connsiteY305" fmla="*/ 62558 h 491911"/>
                        <a:gd name="connsiteX306" fmla="*/ 80110 w 321339"/>
                        <a:gd name="connsiteY306" fmla="*/ 64808 h 491911"/>
                        <a:gd name="connsiteX307" fmla="*/ 76510 w 321339"/>
                        <a:gd name="connsiteY307" fmla="*/ 66608 h 491911"/>
                        <a:gd name="connsiteX308" fmla="*/ 75609 w 321339"/>
                        <a:gd name="connsiteY308" fmla="*/ 66608 h 491911"/>
                        <a:gd name="connsiteX309" fmla="*/ 74709 w 321339"/>
                        <a:gd name="connsiteY309" fmla="*/ 65708 h 491911"/>
                        <a:gd name="connsiteX310" fmla="*/ 73359 w 321339"/>
                        <a:gd name="connsiteY310" fmla="*/ 62558 h 491911"/>
                        <a:gd name="connsiteX311" fmla="*/ 66608 w 321339"/>
                        <a:gd name="connsiteY311" fmla="*/ 60758 h 491911"/>
                        <a:gd name="connsiteX312" fmla="*/ 62558 w 321339"/>
                        <a:gd name="connsiteY312" fmla="*/ 59858 h 491911"/>
                        <a:gd name="connsiteX313" fmla="*/ 61658 w 321339"/>
                        <a:gd name="connsiteY313" fmla="*/ 58957 h 491911"/>
                        <a:gd name="connsiteX314" fmla="*/ 61658 w 321339"/>
                        <a:gd name="connsiteY314" fmla="*/ 57607 h 491911"/>
                        <a:gd name="connsiteX315" fmla="*/ 62108 w 321339"/>
                        <a:gd name="connsiteY315" fmla="*/ 56257 h 491911"/>
                        <a:gd name="connsiteX316" fmla="*/ 62558 w 321339"/>
                        <a:gd name="connsiteY316" fmla="*/ 55357 h 491911"/>
                        <a:gd name="connsiteX317" fmla="*/ 63008 w 321339"/>
                        <a:gd name="connsiteY317" fmla="*/ 54907 h 491911"/>
                        <a:gd name="connsiteX318" fmla="*/ 71109 w 321339"/>
                        <a:gd name="connsiteY318" fmla="*/ 57157 h 491911"/>
                        <a:gd name="connsiteX319" fmla="*/ 72009 w 321339"/>
                        <a:gd name="connsiteY319" fmla="*/ 57157 h 491911"/>
                        <a:gd name="connsiteX320" fmla="*/ 72909 w 321339"/>
                        <a:gd name="connsiteY320" fmla="*/ 56257 h 491911"/>
                        <a:gd name="connsiteX321" fmla="*/ 72909 w 321339"/>
                        <a:gd name="connsiteY321" fmla="*/ 55357 h 491911"/>
                        <a:gd name="connsiteX322" fmla="*/ 70659 w 321339"/>
                        <a:gd name="connsiteY322" fmla="*/ 53557 h 491911"/>
                        <a:gd name="connsiteX323" fmla="*/ 69759 w 321339"/>
                        <a:gd name="connsiteY323" fmla="*/ 52657 h 491911"/>
                        <a:gd name="connsiteX324" fmla="*/ 69309 w 321339"/>
                        <a:gd name="connsiteY324" fmla="*/ 50406 h 491911"/>
                        <a:gd name="connsiteX325" fmla="*/ 68859 w 321339"/>
                        <a:gd name="connsiteY325" fmla="*/ 48156 h 491911"/>
                        <a:gd name="connsiteX326" fmla="*/ 68859 w 321339"/>
                        <a:gd name="connsiteY326" fmla="*/ 42755 h 491911"/>
                        <a:gd name="connsiteX327" fmla="*/ 69309 w 321339"/>
                        <a:gd name="connsiteY327" fmla="*/ 40955 h 491911"/>
                        <a:gd name="connsiteX328" fmla="*/ 71109 w 321339"/>
                        <a:gd name="connsiteY328" fmla="*/ 38705 h 491911"/>
                        <a:gd name="connsiteX329" fmla="*/ 72009 w 321339"/>
                        <a:gd name="connsiteY329" fmla="*/ 37805 h 491911"/>
                        <a:gd name="connsiteX330" fmla="*/ 72009 w 321339"/>
                        <a:gd name="connsiteY330" fmla="*/ 36005 h 491911"/>
                        <a:gd name="connsiteX331" fmla="*/ 70659 w 321339"/>
                        <a:gd name="connsiteY331" fmla="*/ 35554 h 491911"/>
                        <a:gd name="connsiteX332" fmla="*/ 64808 w 321339"/>
                        <a:gd name="connsiteY332" fmla="*/ 38255 h 491911"/>
                        <a:gd name="connsiteX333" fmla="*/ 63458 w 321339"/>
                        <a:gd name="connsiteY333" fmla="*/ 37355 h 491911"/>
                        <a:gd name="connsiteX334" fmla="*/ 62558 w 321339"/>
                        <a:gd name="connsiteY334" fmla="*/ 35104 h 491911"/>
                        <a:gd name="connsiteX335" fmla="*/ 63008 w 321339"/>
                        <a:gd name="connsiteY335" fmla="*/ 23403 h 491911"/>
                        <a:gd name="connsiteX336" fmla="*/ 63458 w 321339"/>
                        <a:gd name="connsiteY336" fmla="*/ 21153 h 491911"/>
                        <a:gd name="connsiteX337" fmla="*/ 65708 w 321339"/>
                        <a:gd name="connsiteY337" fmla="*/ 19353 h 491911"/>
                        <a:gd name="connsiteX338" fmla="*/ 65708 w 321339"/>
                        <a:gd name="connsiteY338" fmla="*/ 18452 h 491911"/>
                        <a:gd name="connsiteX339" fmla="*/ 65708 w 321339"/>
                        <a:gd name="connsiteY339" fmla="*/ 18002 h 491911"/>
                        <a:gd name="connsiteX340" fmla="*/ 65258 w 321339"/>
                        <a:gd name="connsiteY340" fmla="*/ 17552 h 491911"/>
                        <a:gd name="connsiteX341" fmla="*/ 62108 w 321339"/>
                        <a:gd name="connsiteY341" fmla="*/ 15752 h 491911"/>
                        <a:gd name="connsiteX342" fmla="*/ 61208 w 321339"/>
                        <a:gd name="connsiteY342" fmla="*/ 14852 h 491911"/>
                        <a:gd name="connsiteX343" fmla="*/ 60758 w 321339"/>
                        <a:gd name="connsiteY343" fmla="*/ 13502 h 491911"/>
                        <a:gd name="connsiteX344" fmla="*/ 60758 w 321339"/>
                        <a:gd name="connsiteY344" fmla="*/ 13052 h 491911"/>
                        <a:gd name="connsiteX345" fmla="*/ 63008 w 321339"/>
                        <a:gd name="connsiteY345" fmla="*/ 12602 h 491911"/>
                        <a:gd name="connsiteX346" fmla="*/ 64358 w 321339"/>
                        <a:gd name="connsiteY346" fmla="*/ 11251 h 491911"/>
                        <a:gd name="connsiteX347" fmla="*/ 65708 w 321339"/>
                        <a:gd name="connsiteY347" fmla="*/ 10351 h 491911"/>
                        <a:gd name="connsiteX348" fmla="*/ 66158 w 321339"/>
                        <a:gd name="connsiteY348" fmla="*/ 9001 h 491911"/>
                        <a:gd name="connsiteX349" fmla="*/ 65708 w 321339"/>
                        <a:gd name="connsiteY349" fmla="*/ 8101 h 491911"/>
                        <a:gd name="connsiteX350" fmla="*/ 62558 w 321339"/>
                        <a:gd name="connsiteY350" fmla="*/ 6751 h 491911"/>
                        <a:gd name="connsiteX351" fmla="*/ 61208 w 321339"/>
                        <a:gd name="connsiteY351" fmla="*/ 4951 h 491911"/>
                        <a:gd name="connsiteX352" fmla="*/ 61208 w 321339"/>
                        <a:gd name="connsiteY352" fmla="*/ 2700 h 491911"/>
                        <a:gd name="connsiteX353" fmla="*/ 61658 w 321339"/>
                        <a:gd name="connsiteY353" fmla="*/ 1800 h 491911"/>
                        <a:gd name="connsiteX354" fmla="*/ 66158 w 321339"/>
                        <a:gd name="connsiteY354" fmla="*/ 0 h 491911"/>
                        <a:gd name="connsiteX355" fmla="*/ 68409 w 321339"/>
                        <a:gd name="connsiteY355" fmla="*/ 1800 h 491911"/>
                        <a:gd name="connsiteX356" fmla="*/ 69759 w 321339"/>
                        <a:gd name="connsiteY356" fmla="*/ 3601 h 491911"/>
                        <a:gd name="connsiteX357" fmla="*/ 70209 w 321339"/>
                        <a:gd name="connsiteY357" fmla="*/ 5851 h 491911"/>
                        <a:gd name="connsiteX358" fmla="*/ 67958 w 321339"/>
                        <a:gd name="connsiteY358" fmla="*/ 9001 h 491911"/>
                        <a:gd name="connsiteX359" fmla="*/ 63908 w 321339"/>
                        <a:gd name="connsiteY359" fmla="*/ 11251 h 491911"/>
                        <a:gd name="connsiteX360" fmla="*/ 62558 w 321339"/>
                        <a:gd name="connsiteY360" fmla="*/ 12152 h 491911"/>
                        <a:gd name="connsiteX361" fmla="*/ 63458 w 321339"/>
                        <a:gd name="connsiteY361" fmla="*/ 12602 h 491911"/>
                        <a:gd name="connsiteX362" fmla="*/ 67058 w 321339"/>
                        <a:gd name="connsiteY362" fmla="*/ 10801 h 491911"/>
                        <a:gd name="connsiteX363" fmla="*/ 70209 w 321339"/>
                        <a:gd name="connsiteY363" fmla="*/ 9901 h 491911"/>
                        <a:gd name="connsiteX364" fmla="*/ 72909 w 321339"/>
                        <a:gd name="connsiteY364" fmla="*/ 9901 h 491911"/>
                        <a:gd name="connsiteX365" fmla="*/ 75159 w 321339"/>
                        <a:gd name="connsiteY365" fmla="*/ 13952 h 491911"/>
                        <a:gd name="connsiteX366" fmla="*/ 75609 w 321339"/>
                        <a:gd name="connsiteY366" fmla="*/ 19353 h 491911"/>
                        <a:gd name="connsiteX367" fmla="*/ 74259 w 321339"/>
                        <a:gd name="connsiteY367" fmla="*/ 23853 h 491911"/>
                        <a:gd name="connsiteX368" fmla="*/ 76059 w 321339"/>
                        <a:gd name="connsiteY368" fmla="*/ 21603 h 491911"/>
                        <a:gd name="connsiteX369" fmla="*/ 77860 w 321339"/>
                        <a:gd name="connsiteY369" fmla="*/ 20253 h 491911"/>
                        <a:gd name="connsiteX370" fmla="*/ 79660 w 321339"/>
                        <a:gd name="connsiteY370" fmla="*/ 22953 h 491911"/>
                        <a:gd name="connsiteX371" fmla="*/ 79660 w 321339"/>
                        <a:gd name="connsiteY371" fmla="*/ 25203 h 491911"/>
                        <a:gd name="connsiteX372" fmla="*/ 80560 w 321339"/>
                        <a:gd name="connsiteY372" fmla="*/ 27453 h 491911"/>
                        <a:gd name="connsiteX373" fmla="*/ 82360 w 321339"/>
                        <a:gd name="connsiteY373" fmla="*/ 30604 h 491911"/>
                        <a:gd name="connsiteX374" fmla="*/ 84161 w 321339"/>
                        <a:gd name="connsiteY374" fmla="*/ 33304 h 491911"/>
                        <a:gd name="connsiteX375" fmla="*/ 81910 w 321339"/>
                        <a:gd name="connsiteY375" fmla="*/ 36005 h 491911"/>
                        <a:gd name="connsiteX376" fmla="*/ 79210 w 321339"/>
                        <a:gd name="connsiteY376" fmla="*/ 37805 h 491911"/>
                        <a:gd name="connsiteX377" fmla="*/ 79660 w 321339"/>
                        <a:gd name="connsiteY377" fmla="*/ 39155 h 491911"/>
                        <a:gd name="connsiteX378" fmla="*/ 83260 w 321339"/>
                        <a:gd name="connsiteY378" fmla="*/ 40505 h 491911"/>
                        <a:gd name="connsiteX379" fmla="*/ 83710 w 321339"/>
                        <a:gd name="connsiteY379" fmla="*/ 41855 h 491911"/>
                        <a:gd name="connsiteX380" fmla="*/ 83260 w 321339"/>
                        <a:gd name="connsiteY380" fmla="*/ 43656 h 491911"/>
                        <a:gd name="connsiteX381" fmla="*/ 83710 w 321339"/>
                        <a:gd name="connsiteY381" fmla="*/ 43656 h 491911"/>
                        <a:gd name="connsiteX382" fmla="*/ 85961 w 321339"/>
                        <a:gd name="connsiteY382" fmla="*/ 40955 h 491911"/>
                        <a:gd name="connsiteX383" fmla="*/ 88211 w 321339"/>
                        <a:gd name="connsiteY383" fmla="*/ 41405 h 491911"/>
                        <a:gd name="connsiteX384" fmla="*/ 90911 w 321339"/>
                        <a:gd name="connsiteY384" fmla="*/ 47256 h 491911"/>
                        <a:gd name="connsiteX385" fmla="*/ 89111 w 321339"/>
                        <a:gd name="connsiteY385" fmla="*/ 50406 h 491911"/>
                        <a:gd name="connsiteX386" fmla="*/ 85961 w 321339"/>
                        <a:gd name="connsiteY386" fmla="*/ 51756 h 491911"/>
                        <a:gd name="connsiteX387" fmla="*/ 83710 w 321339"/>
                        <a:gd name="connsiteY387" fmla="*/ 52207 h 491911"/>
                        <a:gd name="connsiteX388" fmla="*/ 80560 w 321339"/>
                        <a:gd name="connsiteY388" fmla="*/ 52207 h 491911"/>
                        <a:gd name="connsiteX389" fmla="*/ 79210 w 321339"/>
                        <a:gd name="connsiteY389" fmla="*/ 52657 h 491911"/>
                        <a:gd name="connsiteX390" fmla="*/ 79660 w 321339"/>
                        <a:gd name="connsiteY390" fmla="*/ 53557 h 491911"/>
                        <a:gd name="connsiteX391" fmla="*/ 82810 w 321339"/>
                        <a:gd name="connsiteY391" fmla="*/ 53557 h 491911"/>
                        <a:gd name="connsiteX392" fmla="*/ 87761 w 321339"/>
                        <a:gd name="connsiteY392" fmla="*/ 52657 h 491911"/>
                        <a:gd name="connsiteX393" fmla="*/ 91361 w 321339"/>
                        <a:gd name="connsiteY393" fmla="*/ 51306 h 491911"/>
                        <a:gd name="connsiteX394" fmla="*/ 92711 w 321339"/>
                        <a:gd name="connsiteY394" fmla="*/ 51306 h 491911"/>
                        <a:gd name="connsiteX395" fmla="*/ 94512 w 321339"/>
                        <a:gd name="connsiteY395" fmla="*/ 51756 h 491911"/>
                        <a:gd name="connsiteX396" fmla="*/ 94962 w 321339"/>
                        <a:gd name="connsiteY396" fmla="*/ 52207 h 491911"/>
                        <a:gd name="connsiteX397" fmla="*/ 93162 w 321339"/>
                        <a:gd name="connsiteY397" fmla="*/ 53107 h 491911"/>
                        <a:gd name="connsiteX398" fmla="*/ 93162 w 321339"/>
                        <a:gd name="connsiteY398" fmla="*/ 53557 h 491911"/>
                        <a:gd name="connsiteX399" fmla="*/ 93612 w 321339"/>
                        <a:gd name="connsiteY399" fmla="*/ 54457 h 491911"/>
                        <a:gd name="connsiteX400" fmla="*/ 94962 w 321339"/>
                        <a:gd name="connsiteY400" fmla="*/ 57607 h 491911"/>
                        <a:gd name="connsiteX401" fmla="*/ 94962 w 321339"/>
                        <a:gd name="connsiteY401" fmla="*/ 58507 h 491911"/>
                        <a:gd name="connsiteX402" fmla="*/ 93612 w 321339"/>
                        <a:gd name="connsiteY402" fmla="*/ 60308 h 491911"/>
                        <a:gd name="connsiteX403" fmla="*/ 95862 w 321339"/>
                        <a:gd name="connsiteY403" fmla="*/ 60758 h 491911"/>
                        <a:gd name="connsiteX404" fmla="*/ 98562 w 321339"/>
                        <a:gd name="connsiteY404" fmla="*/ 59858 h 491911"/>
                        <a:gd name="connsiteX405" fmla="*/ 99462 w 321339"/>
                        <a:gd name="connsiteY405" fmla="*/ 60758 h 491911"/>
                        <a:gd name="connsiteX406" fmla="*/ 101263 w 321339"/>
                        <a:gd name="connsiteY406" fmla="*/ 64358 h 491911"/>
                        <a:gd name="connsiteX407" fmla="*/ 102163 w 321339"/>
                        <a:gd name="connsiteY407" fmla="*/ 67959 h 491911"/>
                        <a:gd name="connsiteX408" fmla="*/ 97212 w 321339"/>
                        <a:gd name="connsiteY408" fmla="*/ 72909 h 491911"/>
                        <a:gd name="connsiteX409" fmla="*/ 94962 w 321339"/>
                        <a:gd name="connsiteY409" fmla="*/ 73809 h 491911"/>
                        <a:gd name="connsiteX410" fmla="*/ 91361 w 321339"/>
                        <a:gd name="connsiteY410" fmla="*/ 76510 h 491911"/>
                        <a:gd name="connsiteX411" fmla="*/ 90461 w 321339"/>
                        <a:gd name="connsiteY411" fmla="*/ 78760 h 491911"/>
                        <a:gd name="connsiteX412" fmla="*/ 88211 w 321339"/>
                        <a:gd name="connsiteY412" fmla="*/ 81460 h 491911"/>
                        <a:gd name="connsiteX413" fmla="*/ 89561 w 321339"/>
                        <a:gd name="connsiteY413" fmla="*/ 81460 h 491911"/>
                        <a:gd name="connsiteX414" fmla="*/ 93162 w 321339"/>
                        <a:gd name="connsiteY414" fmla="*/ 76960 h 491911"/>
                        <a:gd name="connsiteX415" fmla="*/ 94962 w 321339"/>
                        <a:gd name="connsiteY415" fmla="*/ 76059 h 491911"/>
                        <a:gd name="connsiteX416" fmla="*/ 96312 w 321339"/>
                        <a:gd name="connsiteY416" fmla="*/ 76510 h 491911"/>
                        <a:gd name="connsiteX417" fmla="*/ 96762 w 321339"/>
                        <a:gd name="connsiteY417" fmla="*/ 77410 h 491911"/>
                        <a:gd name="connsiteX418" fmla="*/ 96312 w 321339"/>
                        <a:gd name="connsiteY418" fmla="*/ 78760 h 491911"/>
                        <a:gd name="connsiteX419" fmla="*/ 97662 w 321339"/>
                        <a:gd name="connsiteY419" fmla="*/ 78760 h 491911"/>
                        <a:gd name="connsiteX420" fmla="*/ 102613 w 321339"/>
                        <a:gd name="connsiteY420" fmla="*/ 76059 h 491911"/>
                        <a:gd name="connsiteX421" fmla="*/ 104863 w 321339"/>
                        <a:gd name="connsiteY421" fmla="*/ 75610 h 491911"/>
                        <a:gd name="connsiteX422" fmla="*/ 107563 w 321339"/>
                        <a:gd name="connsiteY422" fmla="*/ 75610 h 491911"/>
                        <a:gd name="connsiteX423" fmla="*/ 108014 w 321339"/>
                        <a:gd name="connsiteY423" fmla="*/ 76510 h 491911"/>
                        <a:gd name="connsiteX424" fmla="*/ 106213 w 321339"/>
                        <a:gd name="connsiteY424" fmla="*/ 82810 h 491911"/>
                        <a:gd name="connsiteX425" fmla="*/ 103513 w 321339"/>
                        <a:gd name="connsiteY425" fmla="*/ 87761 h 491911"/>
                        <a:gd name="connsiteX426" fmla="*/ 98112 w 321339"/>
                        <a:gd name="connsiteY426" fmla="*/ 90911 h 491911"/>
                        <a:gd name="connsiteX427" fmla="*/ 96312 w 321339"/>
                        <a:gd name="connsiteY427" fmla="*/ 92712 h 491911"/>
                        <a:gd name="connsiteX428" fmla="*/ 94062 w 321339"/>
                        <a:gd name="connsiteY428" fmla="*/ 95412 h 491911"/>
                        <a:gd name="connsiteX429" fmla="*/ 94962 w 321339"/>
                        <a:gd name="connsiteY429" fmla="*/ 95862 h 491911"/>
                        <a:gd name="connsiteX430" fmla="*/ 99913 w 321339"/>
                        <a:gd name="connsiteY430" fmla="*/ 92262 h 491911"/>
                        <a:gd name="connsiteX431" fmla="*/ 103513 w 321339"/>
                        <a:gd name="connsiteY431" fmla="*/ 90911 h 491911"/>
                        <a:gd name="connsiteX432" fmla="*/ 108463 w 321339"/>
                        <a:gd name="connsiteY432" fmla="*/ 89561 h 491911"/>
                        <a:gd name="connsiteX433" fmla="*/ 110714 w 321339"/>
                        <a:gd name="connsiteY433" fmla="*/ 89561 h 491911"/>
                        <a:gd name="connsiteX434" fmla="*/ 114764 w 321339"/>
                        <a:gd name="connsiteY434" fmla="*/ 96762 h 491911"/>
                        <a:gd name="connsiteX435" fmla="*/ 117015 w 321339"/>
                        <a:gd name="connsiteY435" fmla="*/ 97662 h 491911"/>
                        <a:gd name="connsiteX436" fmla="*/ 118815 w 321339"/>
                        <a:gd name="connsiteY436" fmla="*/ 97212 h 491911"/>
                        <a:gd name="connsiteX437" fmla="*/ 121965 w 321339"/>
                        <a:gd name="connsiteY437" fmla="*/ 99462 h 491911"/>
                        <a:gd name="connsiteX438" fmla="*/ 123315 w 321339"/>
                        <a:gd name="connsiteY438" fmla="*/ 101263 h 491911"/>
                        <a:gd name="connsiteX439" fmla="*/ 122865 w 321339"/>
                        <a:gd name="connsiteY439" fmla="*/ 102613 h 491911"/>
                        <a:gd name="connsiteX440" fmla="*/ 121515 w 321339"/>
                        <a:gd name="connsiteY440" fmla="*/ 103513 h 491911"/>
                        <a:gd name="connsiteX441" fmla="*/ 121065 w 321339"/>
                        <a:gd name="connsiteY441" fmla="*/ 104863 h 491911"/>
                        <a:gd name="connsiteX442" fmla="*/ 122415 w 321339"/>
                        <a:gd name="connsiteY442" fmla="*/ 108914 h 491911"/>
                        <a:gd name="connsiteX443" fmla="*/ 121515 w 321339"/>
                        <a:gd name="connsiteY443" fmla="*/ 111164 h 491911"/>
                        <a:gd name="connsiteX444" fmla="*/ 119265 w 321339"/>
                        <a:gd name="connsiteY444" fmla="*/ 112964 h 491911"/>
                        <a:gd name="connsiteX445" fmla="*/ 117465 w 321339"/>
                        <a:gd name="connsiteY445" fmla="*/ 113864 h 491911"/>
                        <a:gd name="connsiteX446" fmla="*/ 115665 w 321339"/>
                        <a:gd name="connsiteY446" fmla="*/ 114314 h 491911"/>
                        <a:gd name="connsiteX447" fmla="*/ 113864 w 321339"/>
                        <a:gd name="connsiteY447" fmla="*/ 116115 h 491911"/>
                        <a:gd name="connsiteX448" fmla="*/ 112964 w 321339"/>
                        <a:gd name="connsiteY448" fmla="*/ 116565 h 491911"/>
                        <a:gd name="connsiteX449" fmla="*/ 110264 w 321339"/>
                        <a:gd name="connsiteY449" fmla="*/ 116115 h 491911"/>
                        <a:gd name="connsiteX450" fmla="*/ 111164 w 321339"/>
                        <a:gd name="connsiteY450" fmla="*/ 117015 h 491911"/>
                        <a:gd name="connsiteX451" fmla="*/ 112514 w 321339"/>
                        <a:gd name="connsiteY451" fmla="*/ 117465 h 491911"/>
                        <a:gd name="connsiteX452" fmla="*/ 114314 w 321339"/>
                        <a:gd name="connsiteY452" fmla="*/ 117915 h 491911"/>
                        <a:gd name="connsiteX453" fmla="*/ 116564 w 321339"/>
                        <a:gd name="connsiteY453" fmla="*/ 117465 h 491911"/>
                        <a:gd name="connsiteX454" fmla="*/ 118815 w 321339"/>
                        <a:gd name="connsiteY454" fmla="*/ 117465 h 491911"/>
                        <a:gd name="connsiteX455" fmla="*/ 122415 w 321339"/>
                        <a:gd name="connsiteY455" fmla="*/ 118815 h 491911"/>
                        <a:gd name="connsiteX456" fmla="*/ 123765 w 321339"/>
                        <a:gd name="connsiteY456" fmla="*/ 120165 h 491911"/>
                        <a:gd name="connsiteX457" fmla="*/ 123765 w 321339"/>
                        <a:gd name="connsiteY457" fmla="*/ 120615 h 491911"/>
                        <a:gd name="connsiteX458" fmla="*/ 122865 w 321339"/>
                        <a:gd name="connsiteY458" fmla="*/ 121515 h 491911"/>
                        <a:gd name="connsiteX459" fmla="*/ 121515 w 321339"/>
                        <a:gd name="connsiteY459" fmla="*/ 124216 h 491911"/>
                        <a:gd name="connsiteX460" fmla="*/ 120615 w 321339"/>
                        <a:gd name="connsiteY460" fmla="*/ 125116 h 491911"/>
                        <a:gd name="connsiteX461" fmla="*/ 121515 w 321339"/>
                        <a:gd name="connsiteY461" fmla="*/ 126016 h 491911"/>
                        <a:gd name="connsiteX462" fmla="*/ 123315 w 321339"/>
                        <a:gd name="connsiteY462" fmla="*/ 127366 h 491911"/>
                        <a:gd name="connsiteX463" fmla="*/ 124666 w 321339"/>
                        <a:gd name="connsiteY463" fmla="*/ 127816 h 491911"/>
                        <a:gd name="connsiteX464" fmla="*/ 126466 w 321339"/>
                        <a:gd name="connsiteY464" fmla="*/ 127366 h 491911"/>
                        <a:gd name="connsiteX465" fmla="*/ 128266 w 321339"/>
                        <a:gd name="connsiteY465" fmla="*/ 127816 h 491911"/>
                        <a:gd name="connsiteX466" fmla="*/ 134567 w 321339"/>
                        <a:gd name="connsiteY466" fmla="*/ 134567 h 491911"/>
                        <a:gd name="connsiteX467" fmla="*/ 134117 w 321339"/>
                        <a:gd name="connsiteY467" fmla="*/ 138167 h 491911"/>
                        <a:gd name="connsiteX468" fmla="*/ 133217 w 321339"/>
                        <a:gd name="connsiteY468" fmla="*/ 140868 h 491911"/>
                        <a:gd name="connsiteX469" fmla="*/ 133667 w 321339"/>
                        <a:gd name="connsiteY469" fmla="*/ 144018 h 491911"/>
                        <a:gd name="connsiteX470" fmla="*/ 133667 w 321339"/>
                        <a:gd name="connsiteY470" fmla="*/ 147619 h 491911"/>
                        <a:gd name="connsiteX471" fmla="*/ 130066 w 321339"/>
                        <a:gd name="connsiteY471" fmla="*/ 148519 h 491911"/>
                        <a:gd name="connsiteX472" fmla="*/ 118815 w 321339"/>
                        <a:gd name="connsiteY472" fmla="*/ 146718 h 491911"/>
                        <a:gd name="connsiteX473" fmla="*/ 112514 w 321339"/>
                        <a:gd name="connsiteY473" fmla="*/ 144018 h 491911"/>
                        <a:gd name="connsiteX474" fmla="*/ 112064 w 321339"/>
                        <a:gd name="connsiteY474" fmla="*/ 143118 h 491911"/>
                        <a:gd name="connsiteX475" fmla="*/ 113864 w 321339"/>
                        <a:gd name="connsiteY475" fmla="*/ 141318 h 491911"/>
                        <a:gd name="connsiteX476" fmla="*/ 112064 w 321339"/>
                        <a:gd name="connsiteY476" fmla="*/ 141318 h 491911"/>
                        <a:gd name="connsiteX477" fmla="*/ 110264 w 321339"/>
                        <a:gd name="connsiteY477" fmla="*/ 142218 h 491911"/>
                        <a:gd name="connsiteX478" fmla="*/ 109364 w 321339"/>
                        <a:gd name="connsiteY478" fmla="*/ 142668 h 491911"/>
                        <a:gd name="connsiteX479" fmla="*/ 111614 w 321339"/>
                        <a:gd name="connsiteY479" fmla="*/ 145368 h 491911"/>
                        <a:gd name="connsiteX480" fmla="*/ 117465 w 321339"/>
                        <a:gd name="connsiteY480" fmla="*/ 147619 h 491911"/>
                        <a:gd name="connsiteX481" fmla="*/ 120165 w 321339"/>
                        <a:gd name="connsiteY481" fmla="*/ 150769 h 491911"/>
                        <a:gd name="connsiteX482" fmla="*/ 122865 w 321339"/>
                        <a:gd name="connsiteY482" fmla="*/ 151219 h 491911"/>
                        <a:gd name="connsiteX483" fmla="*/ 123765 w 321339"/>
                        <a:gd name="connsiteY483" fmla="*/ 151669 h 491911"/>
                        <a:gd name="connsiteX484" fmla="*/ 125566 w 321339"/>
                        <a:gd name="connsiteY484" fmla="*/ 153469 h 491911"/>
                        <a:gd name="connsiteX485" fmla="*/ 125116 w 321339"/>
                        <a:gd name="connsiteY485" fmla="*/ 153919 h 491911"/>
                        <a:gd name="connsiteX486" fmla="*/ 121965 w 321339"/>
                        <a:gd name="connsiteY486" fmla="*/ 153919 h 491911"/>
                        <a:gd name="connsiteX487" fmla="*/ 119715 w 321339"/>
                        <a:gd name="connsiteY487" fmla="*/ 155720 h 491911"/>
                        <a:gd name="connsiteX488" fmla="*/ 121065 w 321339"/>
                        <a:gd name="connsiteY488" fmla="*/ 157070 h 491911"/>
                        <a:gd name="connsiteX489" fmla="*/ 126466 w 321339"/>
                        <a:gd name="connsiteY489" fmla="*/ 157970 h 491911"/>
                        <a:gd name="connsiteX490" fmla="*/ 130066 w 321339"/>
                        <a:gd name="connsiteY490" fmla="*/ 158420 h 491911"/>
                        <a:gd name="connsiteX491" fmla="*/ 131866 w 321339"/>
                        <a:gd name="connsiteY491" fmla="*/ 159770 h 491911"/>
                        <a:gd name="connsiteX492" fmla="*/ 130516 w 321339"/>
                        <a:gd name="connsiteY492" fmla="*/ 161120 h 491911"/>
                        <a:gd name="connsiteX493" fmla="*/ 126016 w 321339"/>
                        <a:gd name="connsiteY493" fmla="*/ 162470 h 491911"/>
                        <a:gd name="connsiteX494" fmla="*/ 126016 w 321339"/>
                        <a:gd name="connsiteY494" fmla="*/ 164721 h 491911"/>
                        <a:gd name="connsiteX495" fmla="*/ 129166 w 321339"/>
                        <a:gd name="connsiteY495" fmla="*/ 165621 h 491911"/>
                        <a:gd name="connsiteX496" fmla="*/ 131866 w 321339"/>
                        <a:gd name="connsiteY496" fmla="*/ 165171 h 491911"/>
                        <a:gd name="connsiteX497" fmla="*/ 133217 w 321339"/>
                        <a:gd name="connsiteY497" fmla="*/ 165171 h 491911"/>
                        <a:gd name="connsiteX498" fmla="*/ 134117 w 321339"/>
                        <a:gd name="connsiteY498" fmla="*/ 170571 h 491911"/>
                        <a:gd name="connsiteX499" fmla="*/ 134567 w 321339"/>
                        <a:gd name="connsiteY499" fmla="*/ 171471 h 491911"/>
                        <a:gd name="connsiteX500" fmla="*/ 131416 w 321339"/>
                        <a:gd name="connsiteY500" fmla="*/ 172372 h 491911"/>
                        <a:gd name="connsiteX501" fmla="*/ 131416 w 321339"/>
                        <a:gd name="connsiteY501" fmla="*/ 173272 h 491911"/>
                        <a:gd name="connsiteX502" fmla="*/ 133667 w 321339"/>
                        <a:gd name="connsiteY502" fmla="*/ 174172 h 491911"/>
                        <a:gd name="connsiteX503" fmla="*/ 137267 w 321339"/>
                        <a:gd name="connsiteY503" fmla="*/ 175072 h 491911"/>
                        <a:gd name="connsiteX504" fmla="*/ 138617 w 321339"/>
                        <a:gd name="connsiteY504" fmla="*/ 175972 h 491911"/>
                        <a:gd name="connsiteX505" fmla="*/ 139067 w 321339"/>
                        <a:gd name="connsiteY505" fmla="*/ 177772 h 491911"/>
                        <a:gd name="connsiteX506" fmla="*/ 139967 w 321339"/>
                        <a:gd name="connsiteY506" fmla="*/ 178672 h 491911"/>
                        <a:gd name="connsiteX507" fmla="*/ 141768 w 321339"/>
                        <a:gd name="connsiteY507" fmla="*/ 178672 h 491911"/>
                        <a:gd name="connsiteX508" fmla="*/ 144018 w 321339"/>
                        <a:gd name="connsiteY508" fmla="*/ 176872 h 491911"/>
                        <a:gd name="connsiteX509" fmla="*/ 145368 w 321339"/>
                        <a:gd name="connsiteY509" fmla="*/ 175072 h 491911"/>
                        <a:gd name="connsiteX510" fmla="*/ 147168 w 321339"/>
                        <a:gd name="connsiteY510" fmla="*/ 175522 h 491911"/>
                        <a:gd name="connsiteX511" fmla="*/ 147168 w 321339"/>
                        <a:gd name="connsiteY511" fmla="*/ 177772 h 491911"/>
                        <a:gd name="connsiteX512" fmla="*/ 149419 w 321339"/>
                        <a:gd name="connsiteY512" fmla="*/ 180023 h 491911"/>
                        <a:gd name="connsiteX513" fmla="*/ 150319 w 321339"/>
                        <a:gd name="connsiteY513" fmla="*/ 180473 h 491911"/>
                        <a:gd name="connsiteX514" fmla="*/ 150769 w 321339"/>
                        <a:gd name="connsiteY514" fmla="*/ 183623 h 491911"/>
                        <a:gd name="connsiteX515" fmla="*/ 152569 w 321339"/>
                        <a:gd name="connsiteY515" fmla="*/ 180473 h 491911"/>
                        <a:gd name="connsiteX516" fmla="*/ 153919 w 321339"/>
                        <a:gd name="connsiteY516" fmla="*/ 180923 h 491911"/>
                        <a:gd name="connsiteX517" fmla="*/ 155269 w 321339"/>
                        <a:gd name="connsiteY517" fmla="*/ 180923 h 491911"/>
                        <a:gd name="connsiteX518" fmla="*/ 154819 w 321339"/>
                        <a:gd name="connsiteY518" fmla="*/ 183623 h 491911"/>
                        <a:gd name="connsiteX519" fmla="*/ 153919 w 321339"/>
                        <a:gd name="connsiteY519" fmla="*/ 185873 h 491911"/>
                        <a:gd name="connsiteX520" fmla="*/ 155269 w 321339"/>
                        <a:gd name="connsiteY520" fmla="*/ 187223 h 491911"/>
                        <a:gd name="connsiteX521" fmla="*/ 156170 w 321339"/>
                        <a:gd name="connsiteY521" fmla="*/ 189474 h 491911"/>
                        <a:gd name="connsiteX522" fmla="*/ 158420 w 321339"/>
                        <a:gd name="connsiteY522" fmla="*/ 192174 h 491911"/>
                        <a:gd name="connsiteX523" fmla="*/ 157970 w 321339"/>
                        <a:gd name="connsiteY523" fmla="*/ 193524 h 491911"/>
                        <a:gd name="connsiteX524" fmla="*/ 155269 w 321339"/>
                        <a:gd name="connsiteY524" fmla="*/ 196225 h 491911"/>
                        <a:gd name="connsiteX525" fmla="*/ 153919 w 321339"/>
                        <a:gd name="connsiteY525" fmla="*/ 200725 h 491911"/>
                        <a:gd name="connsiteX526" fmla="*/ 153469 w 321339"/>
                        <a:gd name="connsiteY526" fmla="*/ 202525 h 491911"/>
                        <a:gd name="connsiteX527" fmla="*/ 152119 w 321339"/>
                        <a:gd name="connsiteY527" fmla="*/ 205226 h 491911"/>
                        <a:gd name="connsiteX528" fmla="*/ 149869 w 321339"/>
                        <a:gd name="connsiteY528" fmla="*/ 207926 h 491911"/>
                        <a:gd name="connsiteX529" fmla="*/ 151219 w 321339"/>
                        <a:gd name="connsiteY529" fmla="*/ 207476 h 491911"/>
                        <a:gd name="connsiteX530" fmla="*/ 155719 w 321339"/>
                        <a:gd name="connsiteY530" fmla="*/ 202975 h 491911"/>
                        <a:gd name="connsiteX531" fmla="*/ 158420 w 321339"/>
                        <a:gd name="connsiteY531" fmla="*/ 201175 h 491911"/>
                        <a:gd name="connsiteX532" fmla="*/ 164271 w 321339"/>
                        <a:gd name="connsiteY532" fmla="*/ 200275 h 491911"/>
                        <a:gd name="connsiteX533" fmla="*/ 165621 w 321339"/>
                        <a:gd name="connsiteY533" fmla="*/ 198925 h 491911"/>
                        <a:gd name="connsiteX534" fmla="*/ 167871 w 321339"/>
                        <a:gd name="connsiteY534" fmla="*/ 198475 h 491911"/>
                        <a:gd name="connsiteX535" fmla="*/ 169221 w 321339"/>
                        <a:gd name="connsiteY535" fmla="*/ 199825 h 491911"/>
                        <a:gd name="connsiteX536" fmla="*/ 169221 w 321339"/>
                        <a:gd name="connsiteY536" fmla="*/ 202525 h 491911"/>
                        <a:gd name="connsiteX537" fmla="*/ 171021 w 321339"/>
                        <a:gd name="connsiteY537" fmla="*/ 203426 h 491911"/>
                        <a:gd name="connsiteX538" fmla="*/ 172821 w 321339"/>
                        <a:gd name="connsiteY538" fmla="*/ 202525 h 491911"/>
                        <a:gd name="connsiteX539" fmla="*/ 174622 w 321339"/>
                        <a:gd name="connsiteY539" fmla="*/ 203426 h 491911"/>
                        <a:gd name="connsiteX540" fmla="*/ 173722 w 321339"/>
                        <a:gd name="connsiteY540" fmla="*/ 205226 h 491911"/>
                        <a:gd name="connsiteX541" fmla="*/ 168321 w 321339"/>
                        <a:gd name="connsiteY541" fmla="*/ 211977 h 491911"/>
                        <a:gd name="connsiteX542" fmla="*/ 166521 w 321339"/>
                        <a:gd name="connsiteY542" fmla="*/ 214677 h 491911"/>
                        <a:gd name="connsiteX543" fmla="*/ 166071 w 321339"/>
                        <a:gd name="connsiteY543" fmla="*/ 216477 h 491911"/>
                        <a:gd name="connsiteX544" fmla="*/ 167871 w 321339"/>
                        <a:gd name="connsiteY544" fmla="*/ 213777 h 491911"/>
                        <a:gd name="connsiteX545" fmla="*/ 174622 w 321339"/>
                        <a:gd name="connsiteY545" fmla="*/ 207476 h 491911"/>
                        <a:gd name="connsiteX546" fmla="*/ 175522 w 321339"/>
                        <a:gd name="connsiteY546" fmla="*/ 206576 h 491911"/>
                        <a:gd name="connsiteX547" fmla="*/ 176872 w 321339"/>
                        <a:gd name="connsiteY547" fmla="*/ 203876 h 491911"/>
                        <a:gd name="connsiteX548" fmla="*/ 178222 w 321339"/>
                        <a:gd name="connsiteY548" fmla="*/ 202075 h 491911"/>
                        <a:gd name="connsiteX549" fmla="*/ 181823 w 321339"/>
                        <a:gd name="connsiteY549" fmla="*/ 202525 h 491911"/>
                        <a:gd name="connsiteX550" fmla="*/ 183623 w 321339"/>
                        <a:gd name="connsiteY550" fmla="*/ 203876 h 491911"/>
                        <a:gd name="connsiteX551" fmla="*/ 184523 w 321339"/>
                        <a:gd name="connsiteY551" fmla="*/ 207476 h 491911"/>
                        <a:gd name="connsiteX552" fmla="*/ 185873 w 321339"/>
                        <a:gd name="connsiteY552" fmla="*/ 211076 h 491911"/>
                        <a:gd name="connsiteX553" fmla="*/ 188123 w 321339"/>
                        <a:gd name="connsiteY553" fmla="*/ 215127 h 491911"/>
                        <a:gd name="connsiteX554" fmla="*/ 193974 w 321339"/>
                        <a:gd name="connsiteY554" fmla="*/ 217377 h 491911"/>
                        <a:gd name="connsiteX555" fmla="*/ 196224 w 321339"/>
                        <a:gd name="connsiteY555" fmla="*/ 217827 h 491911"/>
                        <a:gd name="connsiteX556" fmla="*/ 199825 w 321339"/>
                        <a:gd name="connsiteY556" fmla="*/ 216477 h 491911"/>
                        <a:gd name="connsiteX557" fmla="*/ 200275 w 321339"/>
                        <a:gd name="connsiteY557" fmla="*/ 214677 h 491911"/>
                        <a:gd name="connsiteX558" fmla="*/ 202975 w 321339"/>
                        <a:gd name="connsiteY558" fmla="*/ 214227 h 491911"/>
                        <a:gd name="connsiteX559" fmla="*/ 205226 w 321339"/>
                        <a:gd name="connsiteY559" fmla="*/ 214677 h 491911"/>
                        <a:gd name="connsiteX560" fmla="*/ 206126 w 321339"/>
                        <a:gd name="connsiteY560" fmla="*/ 218277 h 491911"/>
                        <a:gd name="connsiteX561" fmla="*/ 208376 w 321339"/>
                        <a:gd name="connsiteY561" fmla="*/ 220078 h 491911"/>
                        <a:gd name="connsiteX562" fmla="*/ 210626 w 321339"/>
                        <a:gd name="connsiteY562" fmla="*/ 221878 h 491911"/>
                        <a:gd name="connsiteX563" fmla="*/ 212877 w 321339"/>
                        <a:gd name="connsiteY563" fmla="*/ 222778 h 491911"/>
                        <a:gd name="connsiteX564" fmla="*/ 216027 w 321339"/>
                        <a:gd name="connsiteY564" fmla="*/ 223228 h 491911"/>
                        <a:gd name="connsiteX565" fmla="*/ 217827 w 321339"/>
                        <a:gd name="connsiteY565" fmla="*/ 225028 h 491911"/>
                        <a:gd name="connsiteX566" fmla="*/ 217827 w 321339"/>
                        <a:gd name="connsiteY566" fmla="*/ 225928 h 491911"/>
                        <a:gd name="connsiteX567" fmla="*/ 216027 w 321339"/>
                        <a:gd name="connsiteY567" fmla="*/ 227729 h 491911"/>
                        <a:gd name="connsiteX568" fmla="*/ 214227 w 321339"/>
                        <a:gd name="connsiteY568" fmla="*/ 230429 h 491911"/>
                        <a:gd name="connsiteX569" fmla="*/ 211526 w 321339"/>
                        <a:gd name="connsiteY569" fmla="*/ 232229 h 491911"/>
                        <a:gd name="connsiteX570" fmla="*/ 207476 w 321339"/>
                        <a:gd name="connsiteY570" fmla="*/ 232229 h 491911"/>
                        <a:gd name="connsiteX571" fmla="*/ 202075 w 321339"/>
                        <a:gd name="connsiteY571" fmla="*/ 233579 h 491911"/>
                        <a:gd name="connsiteX572" fmla="*/ 202075 w 321339"/>
                        <a:gd name="connsiteY572" fmla="*/ 234479 h 491911"/>
                        <a:gd name="connsiteX573" fmla="*/ 200725 w 321339"/>
                        <a:gd name="connsiteY573" fmla="*/ 235829 h 491911"/>
                        <a:gd name="connsiteX574" fmla="*/ 197575 w 321339"/>
                        <a:gd name="connsiteY574" fmla="*/ 237180 h 491911"/>
                        <a:gd name="connsiteX575" fmla="*/ 195774 w 321339"/>
                        <a:gd name="connsiteY575" fmla="*/ 238080 h 491911"/>
                        <a:gd name="connsiteX576" fmla="*/ 193074 w 321339"/>
                        <a:gd name="connsiteY576" fmla="*/ 242580 h 491911"/>
                        <a:gd name="connsiteX577" fmla="*/ 191274 w 321339"/>
                        <a:gd name="connsiteY577" fmla="*/ 244381 h 491911"/>
                        <a:gd name="connsiteX578" fmla="*/ 189474 w 321339"/>
                        <a:gd name="connsiteY578" fmla="*/ 244831 h 491911"/>
                        <a:gd name="connsiteX579" fmla="*/ 186773 w 321339"/>
                        <a:gd name="connsiteY579" fmla="*/ 244831 h 491911"/>
                        <a:gd name="connsiteX580" fmla="*/ 188123 w 321339"/>
                        <a:gd name="connsiteY580" fmla="*/ 245731 h 491911"/>
                        <a:gd name="connsiteX581" fmla="*/ 186773 w 321339"/>
                        <a:gd name="connsiteY581" fmla="*/ 246631 h 491911"/>
                        <a:gd name="connsiteX582" fmla="*/ 185873 w 321339"/>
                        <a:gd name="connsiteY582" fmla="*/ 247981 h 491911"/>
                        <a:gd name="connsiteX583" fmla="*/ 185423 w 321339"/>
                        <a:gd name="connsiteY583" fmla="*/ 248431 h 491911"/>
                        <a:gd name="connsiteX584" fmla="*/ 181823 w 321339"/>
                        <a:gd name="connsiteY584" fmla="*/ 249781 h 491911"/>
                        <a:gd name="connsiteX585" fmla="*/ 175522 w 321339"/>
                        <a:gd name="connsiteY585" fmla="*/ 253382 h 491911"/>
                        <a:gd name="connsiteX586" fmla="*/ 172371 w 321339"/>
                        <a:gd name="connsiteY586" fmla="*/ 253382 h 491911"/>
                        <a:gd name="connsiteX587" fmla="*/ 170121 w 321339"/>
                        <a:gd name="connsiteY587" fmla="*/ 252932 h 491911"/>
                        <a:gd name="connsiteX588" fmla="*/ 168771 w 321339"/>
                        <a:gd name="connsiteY588" fmla="*/ 253382 h 491911"/>
                        <a:gd name="connsiteX589" fmla="*/ 167871 w 321339"/>
                        <a:gd name="connsiteY589" fmla="*/ 254282 h 491911"/>
                        <a:gd name="connsiteX590" fmla="*/ 164720 w 321339"/>
                        <a:gd name="connsiteY590" fmla="*/ 256082 h 491911"/>
                        <a:gd name="connsiteX591" fmla="*/ 163820 w 321339"/>
                        <a:gd name="connsiteY591" fmla="*/ 256982 h 491911"/>
                        <a:gd name="connsiteX592" fmla="*/ 163370 w 321339"/>
                        <a:gd name="connsiteY592" fmla="*/ 258332 h 491911"/>
                        <a:gd name="connsiteX593" fmla="*/ 162920 w 321339"/>
                        <a:gd name="connsiteY593" fmla="*/ 260583 h 491911"/>
                        <a:gd name="connsiteX594" fmla="*/ 162470 w 321339"/>
                        <a:gd name="connsiteY594" fmla="*/ 261483 h 491911"/>
                        <a:gd name="connsiteX595" fmla="*/ 162020 w 321339"/>
                        <a:gd name="connsiteY595" fmla="*/ 261933 h 491911"/>
                        <a:gd name="connsiteX596" fmla="*/ 159320 w 321339"/>
                        <a:gd name="connsiteY596" fmla="*/ 261483 h 491911"/>
                        <a:gd name="connsiteX597" fmla="*/ 156620 w 321339"/>
                        <a:gd name="connsiteY597" fmla="*/ 259232 h 491911"/>
                        <a:gd name="connsiteX598" fmla="*/ 157069 w 321339"/>
                        <a:gd name="connsiteY598" fmla="*/ 261033 h 491911"/>
                        <a:gd name="connsiteX599" fmla="*/ 161570 w 321339"/>
                        <a:gd name="connsiteY599" fmla="*/ 263733 h 491911"/>
                        <a:gd name="connsiteX600" fmla="*/ 162920 w 321339"/>
                        <a:gd name="connsiteY600" fmla="*/ 265083 h 491911"/>
                        <a:gd name="connsiteX601" fmla="*/ 161570 w 321339"/>
                        <a:gd name="connsiteY601" fmla="*/ 266433 h 491911"/>
                        <a:gd name="connsiteX602" fmla="*/ 158870 w 321339"/>
                        <a:gd name="connsiteY602" fmla="*/ 268684 h 491911"/>
                        <a:gd name="connsiteX603" fmla="*/ 158420 w 321339"/>
                        <a:gd name="connsiteY603" fmla="*/ 269584 h 491911"/>
                        <a:gd name="connsiteX604" fmla="*/ 159770 w 321339"/>
                        <a:gd name="connsiteY604" fmla="*/ 270034 h 491911"/>
                        <a:gd name="connsiteX605" fmla="*/ 159320 w 321339"/>
                        <a:gd name="connsiteY605" fmla="*/ 270934 h 491911"/>
                        <a:gd name="connsiteX606" fmla="*/ 157970 w 321339"/>
                        <a:gd name="connsiteY606" fmla="*/ 271834 h 491911"/>
                        <a:gd name="connsiteX607" fmla="*/ 157970 w 321339"/>
                        <a:gd name="connsiteY607" fmla="*/ 272284 h 491911"/>
                        <a:gd name="connsiteX608" fmla="*/ 157970 w 321339"/>
                        <a:gd name="connsiteY608" fmla="*/ 272734 h 491911"/>
                        <a:gd name="connsiteX609" fmla="*/ 162020 w 321339"/>
                        <a:gd name="connsiteY609" fmla="*/ 271384 h 491911"/>
                        <a:gd name="connsiteX610" fmla="*/ 165621 w 321339"/>
                        <a:gd name="connsiteY610" fmla="*/ 268234 h 491911"/>
                        <a:gd name="connsiteX611" fmla="*/ 167871 w 321339"/>
                        <a:gd name="connsiteY611" fmla="*/ 265083 h 491911"/>
                        <a:gd name="connsiteX612" fmla="*/ 168771 w 321339"/>
                        <a:gd name="connsiteY612" fmla="*/ 264183 h 491911"/>
                        <a:gd name="connsiteX613" fmla="*/ 173272 w 321339"/>
                        <a:gd name="connsiteY613" fmla="*/ 262833 h 491911"/>
                        <a:gd name="connsiteX614" fmla="*/ 175972 w 321339"/>
                        <a:gd name="connsiteY614" fmla="*/ 261483 h 491911"/>
                        <a:gd name="connsiteX615" fmla="*/ 179572 w 321339"/>
                        <a:gd name="connsiteY615" fmla="*/ 259232 h 491911"/>
                        <a:gd name="connsiteX616" fmla="*/ 183623 w 321339"/>
                        <a:gd name="connsiteY616" fmla="*/ 255632 h 491911"/>
                        <a:gd name="connsiteX617" fmla="*/ 188123 w 321339"/>
                        <a:gd name="connsiteY617" fmla="*/ 251132 h 491911"/>
                        <a:gd name="connsiteX618" fmla="*/ 193974 w 321339"/>
                        <a:gd name="connsiteY618" fmla="*/ 247531 h 491911"/>
                        <a:gd name="connsiteX619" fmla="*/ 200725 w 321339"/>
                        <a:gd name="connsiteY619" fmla="*/ 244831 h 491911"/>
                        <a:gd name="connsiteX620" fmla="*/ 205676 w 321339"/>
                        <a:gd name="connsiteY620" fmla="*/ 243481 h 491911"/>
                        <a:gd name="connsiteX621" fmla="*/ 208826 w 321339"/>
                        <a:gd name="connsiteY621" fmla="*/ 243481 h 491911"/>
                        <a:gd name="connsiteX622" fmla="*/ 208826 w 321339"/>
                        <a:gd name="connsiteY622" fmla="*/ 243030 h 491911"/>
                        <a:gd name="connsiteX623" fmla="*/ 206126 w 321339"/>
                        <a:gd name="connsiteY623" fmla="*/ 242130 h 491911"/>
                        <a:gd name="connsiteX624" fmla="*/ 203875 w 321339"/>
                        <a:gd name="connsiteY624" fmla="*/ 242130 h 491911"/>
                        <a:gd name="connsiteX625" fmla="*/ 200725 w 321339"/>
                        <a:gd name="connsiteY625" fmla="*/ 242580 h 491911"/>
                        <a:gd name="connsiteX626" fmla="*/ 199825 w 321339"/>
                        <a:gd name="connsiteY626" fmla="*/ 241230 h 491911"/>
                        <a:gd name="connsiteX627" fmla="*/ 199825 w 321339"/>
                        <a:gd name="connsiteY627" fmla="*/ 240780 h 491911"/>
                        <a:gd name="connsiteX628" fmla="*/ 200725 w 321339"/>
                        <a:gd name="connsiteY628" fmla="*/ 239880 h 491911"/>
                        <a:gd name="connsiteX629" fmla="*/ 203425 w 321339"/>
                        <a:gd name="connsiteY629" fmla="*/ 238980 h 491911"/>
                        <a:gd name="connsiteX630" fmla="*/ 215577 w 321339"/>
                        <a:gd name="connsiteY630" fmla="*/ 240330 h 491911"/>
                        <a:gd name="connsiteX631" fmla="*/ 219627 w 321339"/>
                        <a:gd name="connsiteY631" fmla="*/ 241230 h 491911"/>
                        <a:gd name="connsiteX632" fmla="*/ 224128 w 321339"/>
                        <a:gd name="connsiteY632" fmla="*/ 249781 h 491911"/>
                        <a:gd name="connsiteX633" fmla="*/ 225028 w 321339"/>
                        <a:gd name="connsiteY633" fmla="*/ 252482 h 491911"/>
                        <a:gd name="connsiteX634" fmla="*/ 225478 w 321339"/>
                        <a:gd name="connsiteY634" fmla="*/ 254282 h 491911"/>
                        <a:gd name="connsiteX635" fmla="*/ 225028 w 321339"/>
                        <a:gd name="connsiteY635" fmla="*/ 255632 h 491911"/>
                        <a:gd name="connsiteX636" fmla="*/ 223228 w 321339"/>
                        <a:gd name="connsiteY636" fmla="*/ 256982 h 491911"/>
                        <a:gd name="connsiteX637" fmla="*/ 217827 w 321339"/>
                        <a:gd name="connsiteY637" fmla="*/ 260133 h 491911"/>
                        <a:gd name="connsiteX638" fmla="*/ 216927 w 321339"/>
                        <a:gd name="connsiteY638" fmla="*/ 261033 h 491911"/>
                        <a:gd name="connsiteX639" fmla="*/ 216927 w 321339"/>
                        <a:gd name="connsiteY639" fmla="*/ 261483 h 491911"/>
                        <a:gd name="connsiteX640" fmla="*/ 219177 w 321339"/>
                        <a:gd name="connsiteY640" fmla="*/ 261933 h 491911"/>
                        <a:gd name="connsiteX641" fmla="*/ 220077 w 321339"/>
                        <a:gd name="connsiteY641" fmla="*/ 262833 h 491911"/>
                        <a:gd name="connsiteX642" fmla="*/ 221428 w 321339"/>
                        <a:gd name="connsiteY642" fmla="*/ 265983 h 491911"/>
                        <a:gd name="connsiteX643" fmla="*/ 223678 w 321339"/>
                        <a:gd name="connsiteY643" fmla="*/ 263733 h 491911"/>
                        <a:gd name="connsiteX644" fmla="*/ 228179 w 321339"/>
                        <a:gd name="connsiteY644" fmla="*/ 258782 h 491911"/>
                        <a:gd name="connsiteX645" fmla="*/ 231779 w 321339"/>
                        <a:gd name="connsiteY645" fmla="*/ 256532 h 491911"/>
                        <a:gd name="connsiteX646" fmla="*/ 234929 w 321339"/>
                        <a:gd name="connsiteY646" fmla="*/ 256082 h 491911"/>
                        <a:gd name="connsiteX647" fmla="*/ 238530 w 321339"/>
                        <a:gd name="connsiteY647" fmla="*/ 255632 h 491911"/>
                        <a:gd name="connsiteX648" fmla="*/ 239880 w 321339"/>
                        <a:gd name="connsiteY648" fmla="*/ 255632 h 491911"/>
                        <a:gd name="connsiteX649" fmla="*/ 240330 w 321339"/>
                        <a:gd name="connsiteY649" fmla="*/ 257432 h 491911"/>
                        <a:gd name="connsiteX650" fmla="*/ 242130 w 321339"/>
                        <a:gd name="connsiteY650" fmla="*/ 260583 h 491911"/>
                        <a:gd name="connsiteX651" fmla="*/ 243931 w 321339"/>
                        <a:gd name="connsiteY651" fmla="*/ 261483 h 491911"/>
                        <a:gd name="connsiteX652" fmla="*/ 247531 w 321339"/>
                        <a:gd name="connsiteY652" fmla="*/ 261933 h 491911"/>
                        <a:gd name="connsiteX653" fmla="*/ 250681 w 321339"/>
                        <a:gd name="connsiteY653" fmla="*/ 265983 h 491911"/>
                        <a:gd name="connsiteX654" fmla="*/ 252032 w 321339"/>
                        <a:gd name="connsiteY654" fmla="*/ 268684 h 491911"/>
                        <a:gd name="connsiteX655" fmla="*/ 252932 w 321339"/>
                        <a:gd name="connsiteY655" fmla="*/ 270484 h 491911"/>
                        <a:gd name="connsiteX656" fmla="*/ 252932 w 321339"/>
                        <a:gd name="connsiteY656" fmla="*/ 271384 h 491911"/>
                        <a:gd name="connsiteX657" fmla="*/ 252932 w 321339"/>
                        <a:gd name="connsiteY657" fmla="*/ 272284 h 491911"/>
                        <a:gd name="connsiteX658" fmla="*/ 253832 w 321339"/>
                        <a:gd name="connsiteY658" fmla="*/ 273634 h 491911"/>
                        <a:gd name="connsiteX659" fmla="*/ 254282 w 321339"/>
                        <a:gd name="connsiteY659" fmla="*/ 274984 h 491911"/>
                        <a:gd name="connsiteX660" fmla="*/ 254282 w 321339"/>
                        <a:gd name="connsiteY660" fmla="*/ 277685 h 491911"/>
                        <a:gd name="connsiteX661" fmla="*/ 252481 w 321339"/>
                        <a:gd name="connsiteY661" fmla="*/ 282635 h 491911"/>
                        <a:gd name="connsiteX662" fmla="*/ 253832 w 321339"/>
                        <a:gd name="connsiteY662" fmla="*/ 287136 h 491911"/>
                        <a:gd name="connsiteX663" fmla="*/ 253382 w 321339"/>
                        <a:gd name="connsiteY663" fmla="*/ 288936 h 491911"/>
                        <a:gd name="connsiteX664" fmla="*/ 252932 w 321339"/>
                        <a:gd name="connsiteY664" fmla="*/ 292087 h 491911"/>
                        <a:gd name="connsiteX665" fmla="*/ 254282 w 321339"/>
                        <a:gd name="connsiteY665" fmla="*/ 294337 h 491911"/>
                        <a:gd name="connsiteX666" fmla="*/ 254732 w 321339"/>
                        <a:gd name="connsiteY666" fmla="*/ 295687 h 491911"/>
                        <a:gd name="connsiteX667" fmla="*/ 253832 w 321339"/>
                        <a:gd name="connsiteY667" fmla="*/ 296587 h 491911"/>
                        <a:gd name="connsiteX668" fmla="*/ 247081 w 321339"/>
                        <a:gd name="connsiteY668" fmla="*/ 298387 h 491911"/>
                        <a:gd name="connsiteX669" fmla="*/ 244380 w 321339"/>
                        <a:gd name="connsiteY669" fmla="*/ 298387 h 491911"/>
                        <a:gd name="connsiteX670" fmla="*/ 243480 w 321339"/>
                        <a:gd name="connsiteY670" fmla="*/ 299287 h 491911"/>
                        <a:gd name="connsiteX671" fmla="*/ 245731 w 321339"/>
                        <a:gd name="connsiteY671" fmla="*/ 299738 h 491911"/>
                        <a:gd name="connsiteX672" fmla="*/ 249331 w 321339"/>
                        <a:gd name="connsiteY672" fmla="*/ 299738 h 491911"/>
                        <a:gd name="connsiteX673" fmla="*/ 253832 w 321339"/>
                        <a:gd name="connsiteY673" fmla="*/ 300638 h 491911"/>
                        <a:gd name="connsiteX674" fmla="*/ 255632 w 321339"/>
                        <a:gd name="connsiteY674" fmla="*/ 301988 h 491911"/>
                        <a:gd name="connsiteX675" fmla="*/ 256532 w 321339"/>
                        <a:gd name="connsiteY675" fmla="*/ 303788 h 491911"/>
                        <a:gd name="connsiteX676" fmla="*/ 256532 w 321339"/>
                        <a:gd name="connsiteY676" fmla="*/ 305138 h 491911"/>
                        <a:gd name="connsiteX677" fmla="*/ 255182 w 321339"/>
                        <a:gd name="connsiteY677" fmla="*/ 306038 h 491911"/>
                        <a:gd name="connsiteX678" fmla="*/ 252481 w 321339"/>
                        <a:gd name="connsiteY678" fmla="*/ 306038 h 491911"/>
                        <a:gd name="connsiteX679" fmla="*/ 250231 w 321339"/>
                        <a:gd name="connsiteY679" fmla="*/ 305138 h 491911"/>
                        <a:gd name="connsiteX680" fmla="*/ 250231 w 321339"/>
                        <a:gd name="connsiteY680" fmla="*/ 306038 h 491911"/>
                        <a:gd name="connsiteX681" fmla="*/ 253832 w 321339"/>
                        <a:gd name="connsiteY681" fmla="*/ 308289 h 491911"/>
                        <a:gd name="connsiteX682" fmla="*/ 254732 w 321339"/>
                        <a:gd name="connsiteY682" fmla="*/ 309189 h 491911"/>
                        <a:gd name="connsiteX683" fmla="*/ 256532 w 321339"/>
                        <a:gd name="connsiteY683" fmla="*/ 310539 h 491911"/>
                        <a:gd name="connsiteX684" fmla="*/ 256982 w 321339"/>
                        <a:gd name="connsiteY684" fmla="*/ 312339 h 491911"/>
                        <a:gd name="connsiteX685" fmla="*/ 256532 w 321339"/>
                        <a:gd name="connsiteY685" fmla="*/ 314139 h 491911"/>
                        <a:gd name="connsiteX686" fmla="*/ 249781 w 321339"/>
                        <a:gd name="connsiteY686" fmla="*/ 321340 h 491911"/>
                        <a:gd name="connsiteX687" fmla="*/ 243931 w 321339"/>
                        <a:gd name="connsiteY687" fmla="*/ 325841 h 491911"/>
                        <a:gd name="connsiteX688" fmla="*/ 238080 w 321339"/>
                        <a:gd name="connsiteY688" fmla="*/ 329891 h 491911"/>
                        <a:gd name="connsiteX689" fmla="*/ 229078 w 321339"/>
                        <a:gd name="connsiteY689" fmla="*/ 337542 h 491911"/>
                        <a:gd name="connsiteX690" fmla="*/ 228179 w 321339"/>
                        <a:gd name="connsiteY690" fmla="*/ 337992 h 491911"/>
                        <a:gd name="connsiteX691" fmla="*/ 226378 w 321339"/>
                        <a:gd name="connsiteY691" fmla="*/ 336192 h 491911"/>
                        <a:gd name="connsiteX692" fmla="*/ 226378 w 321339"/>
                        <a:gd name="connsiteY692" fmla="*/ 336192 h 491911"/>
                        <a:gd name="connsiteX693" fmla="*/ 128266 w 321339"/>
                        <a:gd name="connsiteY693" fmla="*/ 112964 h 491911"/>
                        <a:gd name="connsiteX694" fmla="*/ 130066 w 321339"/>
                        <a:gd name="connsiteY694" fmla="*/ 114314 h 491911"/>
                        <a:gd name="connsiteX695" fmla="*/ 130516 w 321339"/>
                        <a:gd name="connsiteY695" fmla="*/ 118815 h 491911"/>
                        <a:gd name="connsiteX696" fmla="*/ 127366 w 321339"/>
                        <a:gd name="connsiteY696" fmla="*/ 118365 h 491911"/>
                        <a:gd name="connsiteX697" fmla="*/ 123315 w 321339"/>
                        <a:gd name="connsiteY697" fmla="*/ 115665 h 491911"/>
                        <a:gd name="connsiteX698" fmla="*/ 122415 w 321339"/>
                        <a:gd name="connsiteY698" fmla="*/ 113414 h 491911"/>
                        <a:gd name="connsiteX699" fmla="*/ 122415 w 321339"/>
                        <a:gd name="connsiteY699" fmla="*/ 112964 h 491911"/>
                        <a:gd name="connsiteX700" fmla="*/ 122865 w 321339"/>
                        <a:gd name="connsiteY700" fmla="*/ 112514 h 491911"/>
                        <a:gd name="connsiteX701" fmla="*/ 123765 w 321339"/>
                        <a:gd name="connsiteY701" fmla="*/ 112964 h 491911"/>
                        <a:gd name="connsiteX702" fmla="*/ 124666 w 321339"/>
                        <a:gd name="connsiteY702" fmla="*/ 112064 h 491911"/>
                        <a:gd name="connsiteX703" fmla="*/ 125566 w 321339"/>
                        <a:gd name="connsiteY703" fmla="*/ 111614 h 491911"/>
                        <a:gd name="connsiteX704" fmla="*/ 128266 w 321339"/>
                        <a:gd name="connsiteY704" fmla="*/ 112964 h 491911"/>
                        <a:gd name="connsiteX705" fmla="*/ 144018 w 321339"/>
                        <a:gd name="connsiteY705" fmla="*/ 171922 h 491911"/>
                        <a:gd name="connsiteX706" fmla="*/ 144468 w 321339"/>
                        <a:gd name="connsiteY706" fmla="*/ 172822 h 491911"/>
                        <a:gd name="connsiteX707" fmla="*/ 141318 w 321339"/>
                        <a:gd name="connsiteY707" fmla="*/ 172372 h 491911"/>
                        <a:gd name="connsiteX708" fmla="*/ 139967 w 321339"/>
                        <a:gd name="connsiteY708" fmla="*/ 171922 h 491911"/>
                        <a:gd name="connsiteX709" fmla="*/ 139967 w 321339"/>
                        <a:gd name="connsiteY709" fmla="*/ 171471 h 491911"/>
                        <a:gd name="connsiteX710" fmla="*/ 139967 w 321339"/>
                        <a:gd name="connsiteY710" fmla="*/ 170571 h 491911"/>
                        <a:gd name="connsiteX711" fmla="*/ 140418 w 321339"/>
                        <a:gd name="connsiteY711" fmla="*/ 169671 h 491911"/>
                        <a:gd name="connsiteX712" fmla="*/ 141768 w 321339"/>
                        <a:gd name="connsiteY712" fmla="*/ 168771 h 491911"/>
                        <a:gd name="connsiteX713" fmla="*/ 142668 w 321339"/>
                        <a:gd name="connsiteY713" fmla="*/ 169221 h 491911"/>
                        <a:gd name="connsiteX714" fmla="*/ 144468 w 321339"/>
                        <a:gd name="connsiteY714" fmla="*/ 170571 h 491911"/>
                        <a:gd name="connsiteX715" fmla="*/ 144918 w 321339"/>
                        <a:gd name="connsiteY715" fmla="*/ 171471 h 491911"/>
                        <a:gd name="connsiteX716" fmla="*/ 144018 w 321339"/>
                        <a:gd name="connsiteY716" fmla="*/ 171922 h 491911"/>
                        <a:gd name="connsiteX717" fmla="*/ 263283 w 321339"/>
                        <a:gd name="connsiteY717" fmla="*/ 321340 h 491911"/>
                        <a:gd name="connsiteX718" fmla="*/ 262383 w 321339"/>
                        <a:gd name="connsiteY718" fmla="*/ 321340 h 491911"/>
                        <a:gd name="connsiteX719" fmla="*/ 261933 w 321339"/>
                        <a:gd name="connsiteY719" fmla="*/ 320890 h 491911"/>
                        <a:gd name="connsiteX720" fmla="*/ 262383 w 321339"/>
                        <a:gd name="connsiteY720" fmla="*/ 319540 h 491911"/>
                        <a:gd name="connsiteX721" fmla="*/ 263733 w 321339"/>
                        <a:gd name="connsiteY721" fmla="*/ 318190 h 491911"/>
                        <a:gd name="connsiteX722" fmla="*/ 265083 w 321339"/>
                        <a:gd name="connsiteY722" fmla="*/ 317740 h 491911"/>
                        <a:gd name="connsiteX723" fmla="*/ 264633 w 321339"/>
                        <a:gd name="connsiteY723" fmla="*/ 319990 h 491911"/>
                        <a:gd name="connsiteX724" fmla="*/ 263283 w 321339"/>
                        <a:gd name="connsiteY724" fmla="*/ 321340 h 491911"/>
                        <a:gd name="connsiteX725" fmla="*/ 261483 w 321339"/>
                        <a:gd name="connsiteY725" fmla="*/ 333042 h 491911"/>
                        <a:gd name="connsiteX726" fmla="*/ 260132 w 321339"/>
                        <a:gd name="connsiteY726" fmla="*/ 336642 h 491911"/>
                        <a:gd name="connsiteX727" fmla="*/ 259232 w 321339"/>
                        <a:gd name="connsiteY727" fmla="*/ 338442 h 491911"/>
                        <a:gd name="connsiteX728" fmla="*/ 258332 w 321339"/>
                        <a:gd name="connsiteY728" fmla="*/ 338893 h 491911"/>
                        <a:gd name="connsiteX729" fmla="*/ 256082 w 321339"/>
                        <a:gd name="connsiteY729" fmla="*/ 339342 h 491911"/>
                        <a:gd name="connsiteX730" fmla="*/ 251581 w 321339"/>
                        <a:gd name="connsiteY730" fmla="*/ 339793 h 491911"/>
                        <a:gd name="connsiteX731" fmla="*/ 249781 w 321339"/>
                        <a:gd name="connsiteY731" fmla="*/ 340243 h 491911"/>
                        <a:gd name="connsiteX732" fmla="*/ 249331 w 321339"/>
                        <a:gd name="connsiteY732" fmla="*/ 342493 h 491911"/>
                        <a:gd name="connsiteX733" fmla="*/ 249781 w 321339"/>
                        <a:gd name="connsiteY733" fmla="*/ 343843 h 491911"/>
                        <a:gd name="connsiteX734" fmla="*/ 250231 w 321339"/>
                        <a:gd name="connsiteY734" fmla="*/ 344743 h 491911"/>
                        <a:gd name="connsiteX735" fmla="*/ 251131 w 321339"/>
                        <a:gd name="connsiteY735" fmla="*/ 345193 h 491911"/>
                        <a:gd name="connsiteX736" fmla="*/ 252932 w 321339"/>
                        <a:gd name="connsiteY736" fmla="*/ 344743 h 491911"/>
                        <a:gd name="connsiteX737" fmla="*/ 253832 w 321339"/>
                        <a:gd name="connsiteY737" fmla="*/ 344743 h 491911"/>
                        <a:gd name="connsiteX738" fmla="*/ 254282 w 321339"/>
                        <a:gd name="connsiteY738" fmla="*/ 345193 h 491911"/>
                        <a:gd name="connsiteX739" fmla="*/ 254732 w 321339"/>
                        <a:gd name="connsiteY739" fmla="*/ 346093 h 491911"/>
                        <a:gd name="connsiteX740" fmla="*/ 254732 w 321339"/>
                        <a:gd name="connsiteY740" fmla="*/ 347444 h 491911"/>
                        <a:gd name="connsiteX741" fmla="*/ 254732 w 321339"/>
                        <a:gd name="connsiteY741" fmla="*/ 348794 h 491911"/>
                        <a:gd name="connsiteX742" fmla="*/ 254282 w 321339"/>
                        <a:gd name="connsiteY742" fmla="*/ 350594 h 491911"/>
                        <a:gd name="connsiteX743" fmla="*/ 252932 w 321339"/>
                        <a:gd name="connsiteY743" fmla="*/ 354644 h 491911"/>
                        <a:gd name="connsiteX744" fmla="*/ 251131 w 321339"/>
                        <a:gd name="connsiteY744" fmla="*/ 356895 h 491911"/>
                        <a:gd name="connsiteX745" fmla="*/ 248881 w 321339"/>
                        <a:gd name="connsiteY745" fmla="*/ 358695 h 491911"/>
                        <a:gd name="connsiteX746" fmla="*/ 248431 w 321339"/>
                        <a:gd name="connsiteY746" fmla="*/ 359595 h 491911"/>
                        <a:gd name="connsiteX747" fmla="*/ 247981 w 321339"/>
                        <a:gd name="connsiteY747" fmla="*/ 360495 h 491911"/>
                        <a:gd name="connsiteX748" fmla="*/ 247531 w 321339"/>
                        <a:gd name="connsiteY748" fmla="*/ 363196 h 491911"/>
                        <a:gd name="connsiteX749" fmla="*/ 246181 w 321339"/>
                        <a:gd name="connsiteY749" fmla="*/ 365446 h 491911"/>
                        <a:gd name="connsiteX750" fmla="*/ 242130 w 321339"/>
                        <a:gd name="connsiteY750" fmla="*/ 370846 h 491911"/>
                        <a:gd name="connsiteX751" fmla="*/ 240780 w 321339"/>
                        <a:gd name="connsiteY751" fmla="*/ 372197 h 491911"/>
                        <a:gd name="connsiteX752" fmla="*/ 240780 w 321339"/>
                        <a:gd name="connsiteY752" fmla="*/ 373097 h 491911"/>
                        <a:gd name="connsiteX753" fmla="*/ 240330 w 321339"/>
                        <a:gd name="connsiteY753" fmla="*/ 375797 h 491911"/>
                        <a:gd name="connsiteX754" fmla="*/ 238980 w 321339"/>
                        <a:gd name="connsiteY754" fmla="*/ 378047 h 491911"/>
                        <a:gd name="connsiteX755" fmla="*/ 235829 w 321339"/>
                        <a:gd name="connsiteY755" fmla="*/ 382998 h 491911"/>
                        <a:gd name="connsiteX756" fmla="*/ 234929 w 321339"/>
                        <a:gd name="connsiteY756" fmla="*/ 384798 h 491911"/>
                        <a:gd name="connsiteX757" fmla="*/ 234479 w 321339"/>
                        <a:gd name="connsiteY757" fmla="*/ 386148 h 491911"/>
                        <a:gd name="connsiteX758" fmla="*/ 234479 w 321339"/>
                        <a:gd name="connsiteY758" fmla="*/ 387948 h 491911"/>
                        <a:gd name="connsiteX759" fmla="*/ 234479 w 321339"/>
                        <a:gd name="connsiteY759" fmla="*/ 388849 h 491911"/>
                        <a:gd name="connsiteX760" fmla="*/ 233579 w 321339"/>
                        <a:gd name="connsiteY760" fmla="*/ 390649 h 491911"/>
                        <a:gd name="connsiteX761" fmla="*/ 232679 w 321339"/>
                        <a:gd name="connsiteY761" fmla="*/ 391999 h 491911"/>
                        <a:gd name="connsiteX762" fmla="*/ 232679 w 321339"/>
                        <a:gd name="connsiteY762" fmla="*/ 392899 h 491911"/>
                        <a:gd name="connsiteX763" fmla="*/ 233129 w 321339"/>
                        <a:gd name="connsiteY763" fmla="*/ 394249 h 491911"/>
                        <a:gd name="connsiteX764" fmla="*/ 233579 w 321339"/>
                        <a:gd name="connsiteY764" fmla="*/ 394699 h 491911"/>
                        <a:gd name="connsiteX765" fmla="*/ 233579 w 321339"/>
                        <a:gd name="connsiteY765" fmla="*/ 396050 h 491911"/>
                        <a:gd name="connsiteX766" fmla="*/ 233129 w 321339"/>
                        <a:gd name="connsiteY766" fmla="*/ 397850 h 491911"/>
                        <a:gd name="connsiteX767" fmla="*/ 234479 w 321339"/>
                        <a:gd name="connsiteY767" fmla="*/ 396500 h 491911"/>
                        <a:gd name="connsiteX768" fmla="*/ 237630 w 321339"/>
                        <a:gd name="connsiteY768" fmla="*/ 391999 h 491911"/>
                        <a:gd name="connsiteX769" fmla="*/ 239880 w 321339"/>
                        <a:gd name="connsiteY769" fmla="*/ 389299 h 491911"/>
                        <a:gd name="connsiteX770" fmla="*/ 241230 w 321339"/>
                        <a:gd name="connsiteY770" fmla="*/ 388399 h 491911"/>
                        <a:gd name="connsiteX771" fmla="*/ 242130 w 321339"/>
                        <a:gd name="connsiteY771" fmla="*/ 387049 h 491911"/>
                        <a:gd name="connsiteX772" fmla="*/ 243480 w 321339"/>
                        <a:gd name="connsiteY772" fmla="*/ 384348 h 491911"/>
                        <a:gd name="connsiteX773" fmla="*/ 245281 w 321339"/>
                        <a:gd name="connsiteY773" fmla="*/ 381648 h 491911"/>
                        <a:gd name="connsiteX774" fmla="*/ 246631 w 321339"/>
                        <a:gd name="connsiteY774" fmla="*/ 380748 h 491911"/>
                        <a:gd name="connsiteX775" fmla="*/ 247081 w 321339"/>
                        <a:gd name="connsiteY775" fmla="*/ 381198 h 491911"/>
                        <a:gd name="connsiteX776" fmla="*/ 247531 w 321339"/>
                        <a:gd name="connsiteY776" fmla="*/ 382548 h 491911"/>
                        <a:gd name="connsiteX777" fmla="*/ 247531 w 321339"/>
                        <a:gd name="connsiteY777" fmla="*/ 383898 h 491911"/>
                        <a:gd name="connsiteX778" fmla="*/ 246631 w 321339"/>
                        <a:gd name="connsiteY778" fmla="*/ 385698 h 491911"/>
                        <a:gd name="connsiteX779" fmla="*/ 246631 w 321339"/>
                        <a:gd name="connsiteY779" fmla="*/ 386148 h 491911"/>
                        <a:gd name="connsiteX780" fmla="*/ 248431 w 321339"/>
                        <a:gd name="connsiteY780" fmla="*/ 384798 h 491911"/>
                        <a:gd name="connsiteX781" fmla="*/ 251581 w 321339"/>
                        <a:gd name="connsiteY781" fmla="*/ 383448 h 491911"/>
                        <a:gd name="connsiteX782" fmla="*/ 252932 w 321339"/>
                        <a:gd name="connsiteY782" fmla="*/ 383448 h 491911"/>
                        <a:gd name="connsiteX783" fmla="*/ 255182 w 321339"/>
                        <a:gd name="connsiteY783" fmla="*/ 385248 h 491911"/>
                        <a:gd name="connsiteX784" fmla="*/ 256982 w 321339"/>
                        <a:gd name="connsiteY784" fmla="*/ 385248 h 491911"/>
                        <a:gd name="connsiteX785" fmla="*/ 260132 w 321339"/>
                        <a:gd name="connsiteY785" fmla="*/ 384348 h 491911"/>
                        <a:gd name="connsiteX786" fmla="*/ 260582 w 321339"/>
                        <a:gd name="connsiteY786" fmla="*/ 384798 h 491911"/>
                        <a:gd name="connsiteX787" fmla="*/ 260132 w 321339"/>
                        <a:gd name="connsiteY787" fmla="*/ 386148 h 491911"/>
                        <a:gd name="connsiteX788" fmla="*/ 258782 w 321339"/>
                        <a:gd name="connsiteY788" fmla="*/ 387499 h 491911"/>
                        <a:gd name="connsiteX789" fmla="*/ 256082 w 321339"/>
                        <a:gd name="connsiteY789" fmla="*/ 389749 h 491911"/>
                        <a:gd name="connsiteX790" fmla="*/ 249331 w 321339"/>
                        <a:gd name="connsiteY790" fmla="*/ 393799 h 491911"/>
                        <a:gd name="connsiteX791" fmla="*/ 247081 w 321339"/>
                        <a:gd name="connsiteY791" fmla="*/ 396500 h 491911"/>
                        <a:gd name="connsiteX792" fmla="*/ 247531 w 321339"/>
                        <a:gd name="connsiteY792" fmla="*/ 396500 h 491911"/>
                        <a:gd name="connsiteX793" fmla="*/ 248881 w 321339"/>
                        <a:gd name="connsiteY793" fmla="*/ 395150 h 491911"/>
                        <a:gd name="connsiteX794" fmla="*/ 250231 w 321339"/>
                        <a:gd name="connsiteY794" fmla="*/ 394699 h 491911"/>
                        <a:gd name="connsiteX795" fmla="*/ 252032 w 321339"/>
                        <a:gd name="connsiteY795" fmla="*/ 394699 h 491911"/>
                        <a:gd name="connsiteX796" fmla="*/ 252932 w 321339"/>
                        <a:gd name="connsiteY796" fmla="*/ 395150 h 491911"/>
                        <a:gd name="connsiteX797" fmla="*/ 252481 w 321339"/>
                        <a:gd name="connsiteY797" fmla="*/ 396050 h 491911"/>
                        <a:gd name="connsiteX798" fmla="*/ 252481 w 321339"/>
                        <a:gd name="connsiteY798" fmla="*/ 398300 h 491911"/>
                        <a:gd name="connsiteX799" fmla="*/ 248431 w 321339"/>
                        <a:gd name="connsiteY799" fmla="*/ 402350 h 491911"/>
                        <a:gd name="connsiteX800" fmla="*/ 249331 w 321339"/>
                        <a:gd name="connsiteY800" fmla="*/ 402350 h 491911"/>
                        <a:gd name="connsiteX801" fmla="*/ 254282 w 321339"/>
                        <a:gd name="connsiteY801" fmla="*/ 400550 h 491911"/>
                        <a:gd name="connsiteX802" fmla="*/ 256982 w 321339"/>
                        <a:gd name="connsiteY802" fmla="*/ 403251 h 491911"/>
                        <a:gd name="connsiteX803" fmla="*/ 261033 w 321339"/>
                        <a:gd name="connsiteY803" fmla="*/ 402350 h 491911"/>
                        <a:gd name="connsiteX804" fmla="*/ 263283 w 321339"/>
                        <a:gd name="connsiteY804" fmla="*/ 401450 h 491911"/>
                        <a:gd name="connsiteX805" fmla="*/ 263283 w 321339"/>
                        <a:gd name="connsiteY805" fmla="*/ 401900 h 491911"/>
                        <a:gd name="connsiteX806" fmla="*/ 263733 w 321339"/>
                        <a:gd name="connsiteY806" fmla="*/ 403251 h 491911"/>
                        <a:gd name="connsiteX807" fmla="*/ 263733 w 321339"/>
                        <a:gd name="connsiteY807" fmla="*/ 405051 h 491911"/>
                        <a:gd name="connsiteX808" fmla="*/ 264183 w 321339"/>
                        <a:gd name="connsiteY808" fmla="*/ 405501 h 491911"/>
                        <a:gd name="connsiteX809" fmla="*/ 265533 w 321339"/>
                        <a:gd name="connsiteY809" fmla="*/ 405051 h 491911"/>
                        <a:gd name="connsiteX810" fmla="*/ 265533 w 321339"/>
                        <a:gd name="connsiteY810" fmla="*/ 404151 h 491911"/>
                        <a:gd name="connsiteX811" fmla="*/ 265533 w 321339"/>
                        <a:gd name="connsiteY811" fmla="*/ 401000 h 491911"/>
                        <a:gd name="connsiteX812" fmla="*/ 265983 w 321339"/>
                        <a:gd name="connsiteY812" fmla="*/ 400550 h 491911"/>
                        <a:gd name="connsiteX813" fmla="*/ 266883 w 321339"/>
                        <a:gd name="connsiteY813" fmla="*/ 401000 h 491911"/>
                        <a:gd name="connsiteX814" fmla="*/ 267333 w 321339"/>
                        <a:gd name="connsiteY814" fmla="*/ 401900 h 491911"/>
                        <a:gd name="connsiteX815" fmla="*/ 267333 w 321339"/>
                        <a:gd name="connsiteY815" fmla="*/ 404151 h 491911"/>
                        <a:gd name="connsiteX816" fmla="*/ 266883 w 321339"/>
                        <a:gd name="connsiteY816" fmla="*/ 406401 h 491911"/>
                        <a:gd name="connsiteX817" fmla="*/ 265983 w 321339"/>
                        <a:gd name="connsiteY817" fmla="*/ 408651 h 491911"/>
                        <a:gd name="connsiteX818" fmla="*/ 264183 w 321339"/>
                        <a:gd name="connsiteY818" fmla="*/ 411802 h 491911"/>
                        <a:gd name="connsiteX819" fmla="*/ 264183 w 321339"/>
                        <a:gd name="connsiteY819" fmla="*/ 413152 h 491911"/>
                        <a:gd name="connsiteX820" fmla="*/ 263733 w 321339"/>
                        <a:gd name="connsiteY820" fmla="*/ 414502 h 491911"/>
                        <a:gd name="connsiteX821" fmla="*/ 264183 w 321339"/>
                        <a:gd name="connsiteY821" fmla="*/ 414502 h 491911"/>
                        <a:gd name="connsiteX822" fmla="*/ 265983 w 321339"/>
                        <a:gd name="connsiteY822" fmla="*/ 413152 h 491911"/>
                        <a:gd name="connsiteX823" fmla="*/ 265983 w 321339"/>
                        <a:gd name="connsiteY823" fmla="*/ 412702 h 491911"/>
                        <a:gd name="connsiteX824" fmla="*/ 265983 w 321339"/>
                        <a:gd name="connsiteY824" fmla="*/ 411351 h 491911"/>
                        <a:gd name="connsiteX825" fmla="*/ 265983 w 321339"/>
                        <a:gd name="connsiteY825" fmla="*/ 410902 h 491911"/>
                        <a:gd name="connsiteX826" fmla="*/ 267333 w 321339"/>
                        <a:gd name="connsiteY826" fmla="*/ 409551 h 491911"/>
                        <a:gd name="connsiteX827" fmla="*/ 269584 w 321339"/>
                        <a:gd name="connsiteY827" fmla="*/ 407751 h 491911"/>
                        <a:gd name="connsiteX828" fmla="*/ 270484 w 321339"/>
                        <a:gd name="connsiteY828" fmla="*/ 407301 h 491911"/>
                        <a:gd name="connsiteX829" fmla="*/ 270934 w 321339"/>
                        <a:gd name="connsiteY829" fmla="*/ 407751 h 491911"/>
                        <a:gd name="connsiteX830" fmla="*/ 270934 w 321339"/>
                        <a:gd name="connsiteY830" fmla="*/ 408651 h 491911"/>
                        <a:gd name="connsiteX831" fmla="*/ 271834 w 321339"/>
                        <a:gd name="connsiteY831" fmla="*/ 408201 h 491911"/>
                        <a:gd name="connsiteX832" fmla="*/ 273184 w 321339"/>
                        <a:gd name="connsiteY832" fmla="*/ 406851 h 491911"/>
                        <a:gd name="connsiteX833" fmla="*/ 274534 w 321339"/>
                        <a:gd name="connsiteY833" fmla="*/ 405951 h 491911"/>
                        <a:gd name="connsiteX834" fmla="*/ 275884 w 321339"/>
                        <a:gd name="connsiteY834" fmla="*/ 405501 h 491911"/>
                        <a:gd name="connsiteX835" fmla="*/ 277235 w 321339"/>
                        <a:gd name="connsiteY835" fmla="*/ 404601 h 491911"/>
                        <a:gd name="connsiteX836" fmla="*/ 278585 w 321339"/>
                        <a:gd name="connsiteY836" fmla="*/ 402801 h 491911"/>
                        <a:gd name="connsiteX837" fmla="*/ 279935 w 321339"/>
                        <a:gd name="connsiteY837" fmla="*/ 401450 h 491911"/>
                        <a:gd name="connsiteX838" fmla="*/ 281735 w 321339"/>
                        <a:gd name="connsiteY838" fmla="*/ 400100 h 491911"/>
                        <a:gd name="connsiteX839" fmla="*/ 282635 w 321339"/>
                        <a:gd name="connsiteY839" fmla="*/ 400100 h 491911"/>
                        <a:gd name="connsiteX840" fmla="*/ 282185 w 321339"/>
                        <a:gd name="connsiteY840" fmla="*/ 401900 h 491911"/>
                        <a:gd name="connsiteX841" fmla="*/ 282635 w 321339"/>
                        <a:gd name="connsiteY841" fmla="*/ 404151 h 491911"/>
                        <a:gd name="connsiteX842" fmla="*/ 282635 w 321339"/>
                        <a:gd name="connsiteY842" fmla="*/ 405951 h 491911"/>
                        <a:gd name="connsiteX843" fmla="*/ 283085 w 321339"/>
                        <a:gd name="connsiteY843" fmla="*/ 406401 h 491911"/>
                        <a:gd name="connsiteX844" fmla="*/ 284436 w 321339"/>
                        <a:gd name="connsiteY844" fmla="*/ 404151 h 491911"/>
                        <a:gd name="connsiteX845" fmla="*/ 285336 w 321339"/>
                        <a:gd name="connsiteY845" fmla="*/ 403251 h 491911"/>
                        <a:gd name="connsiteX846" fmla="*/ 286236 w 321339"/>
                        <a:gd name="connsiteY846" fmla="*/ 402801 h 491911"/>
                        <a:gd name="connsiteX847" fmla="*/ 287136 w 321339"/>
                        <a:gd name="connsiteY847" fmla="*/ 402801 h 491911"/>
                        <a:gd name="connsiteX848" fmla="*/ 293887 w 321339"/>
                        <a:gd name="connsiteY848" fmla="*/ 401900 h 491911"/>
                        <a:gd name="connsiteX849" fmla="*/ 295687 w 321339"/>
                        <a:gd name="connsiteY849" fmla="*/ 402350 h 491911"/>
                        <a:gd name="connsiteX850" fmla="*/ 297937 w 321339"/>
                        <a:gd name="connsiteY850" fmla="*/ 403700 h 491911"/>
                        <a:gd name="connsiteX851" fmla="*/ 300638 w 321339"/>
                        <a:gd name="connsiteY851" fmla="*/ 405951 h 491911"/>
                        <a:gd name="connsiteX852" fmla="*/ 301538 w 321339"/>
                        <a:gd name="connsiteY852" fmla="*/ 407751 h 491911"/>
                        <a:gd name="connsiteX853" fmla="*/ 301538 w 321339"/>
                        <a:gd name="connsiteY853" fmla="*/ 410001 h 491911"/>
                        <a:gd name="connsiteX854" fmla="*/ 301087 w 321339"/>
                        <a:gd name="connsiteY854" fmla="*/ 411802 h 491911"/>
                        <a:gd name="connsiteX855" fmla="*/ 298837 w 321339"/>
                        <a:gd name="connsiteY855" fmla="*/ 414052 h 491911"/>
                        <a:gd name="connsiteX856" fmla="*/ 297037 w 321339"/>
                        <a:gd name="connsiteY856" fmla="*/ 415402 h 491911"/>
                        <a:gd name="connsiteX857" fmla="*/ 296137 w 321339"/>
                        <a:gd name="connsiteY857" fmla="*/ 416752 h 491911"/>
                        <a:gd name="connsiteX858" fmla="*/ 295687 w 321339"/>
                        <a:gd name="connsiteY858" fmla="*/ 418102 h 491911"/>
                        <a:gd name="connsiteX859" fmla="*/ 295237 w 321339"/>
                        <a:gd name="connsiteY859" fmla="*/ 419002 h 491911"/>
                        <a:gd name="connsiteX860" fmla="*/ 293887 w 321339"/>
                        <a:gd name="connsiteY860" fmla="*/ 420353 h 491911"/>
                        <a:gd name="connsiteX861" fmla="*/ 288486 w 321339"/>
                        <a:gd name="connsiteY861" fmla="*/ 423503 h 491911"/>
                        <a:gd name="connsiteX862" fmla="*/ 289836 w 321339"/>
                        <a:gd name="connsiteY862" fmla="*/ 423503 h 491911"/>
                        <a:gd name="connsiteX863" fmla="*/ 292987 w 321339"/>
                        <a:gd name="connsiteY863" fmla="*/ 422603 h 491911"/>
                        <a:gd name="connsiteX864" fmla="*/ 295237 w 321339"/>
                        <a:gd name="connsiteY864" fmla="*/ 422603 h 491911"/>
                        <a:gd name="connsiteX865" fmla="*/ 295237 w 321339"/>
                        <a:gd name="connsiteY865" fmla="*/ 423053 h 491911"/>
                        <a:gd name="connsiteX866" fmla="*/ 294337 w 321339"/>
                        <a:gd name="connsiteY866" fmla="*/ 423953 h 491911"/>
                        <a:gd name="connsiteX867" fmla="*/ 292537 w 321339"/>
                        <a:gd name="connsiteY867" fmla="*/ 424853 h 491911"/>
                        <a:gd name="connsiteX868" fmla="*/ 292537 w 321339"/>
                        <a:gd name="connsiteY868" fmla="*/ 425303 h 491911"/>
                        <a:gd name="connsiteX869" fmla="*/ 292537 w 321339"/>
                        <a:gd name="connsiteY869" fmla="*/ 425753 h 491911"/>
                        <a:gd name="connsiteX870" fmla="*/ 294337 w 321339"/>
                        <a:gd name="connsiteY870" fmla="*/ 426653 h 491911"/>
                        <a:gd name="connsiteX871" fmla="*/ 296587 w 321339"/>
                        <a:gd name="connsiteY871" fmla="*/ 426203 h 491911"/>
                        <a:gd name="connsiteX872" fmla="*/ 298387 w 321339"/>
                        <a:gd name="connsiteY872" fmla="*/ 426653 h 491911"/>
                        <a:gd name="connsiteX873" fmla="*/ 298387 w 321339"/>
                        <a:gd name="connsiteY873" fmla="*/ 427554 h 491911"/>
                        <a:gd name="connsiteX874" fmla="*/ 297037 w 321339"/>
                        <a:gd name="connsiteY874" fmla="*/ 430254 h 491911"/>
                        <a:gd name="connsiteX875" fmla="*/ 296587 w 321339"/>
                        <a:gd name="connsiteY875" fmla="*/ 432054 h 491911"/>
                        <a:gd name="connsiteX876" fmla="*/ 294787 w 321339"/>
                        <a:gd name="connsiteY876" fmla="*/ 433404 h 491911"/>
                        <a:gd name="connsiteX877" fmla="*/ 290736 w 321339"/>
                        <a:gd name="connsiteY877" fmla="*/ 435655 h 491911"/>
                        <a:gd name="connsiteX878" fmla="*/ 289836 w 321339"/>
                        <a:gd name="connsiteY878" fmla="*/ 436555 h 491911"/>
                        <a:gd name="connsiteX879" fmla="*/ 289836 w 321339"/>
                        <a:gd name="connsiteY879" fmla="*/ 436555 h 491911"/>
                        <a:gd name="connsiteX880" fmla="*/ 293437 w 321339"/>
                        <a:gd name="connsiteY880" fmla="*/ 435204 h 491911"/>
                        <a:gd name="connsiteX881" fmla="*/ 295237 w 321339"/>
                        <a:gd name="connsiteY881" fmla="*/ 434754 h 491911"/>
                        <a:gd name="connsiteX882" fmla="*/ 296587 w 321339"/>
                        <a:gd name="connsiteY882" fmla="*/ 434754 h 491911"/>
                        <a:gd name="connsiteX883" fmla="*/ 297937 w 321339"/>
                        <a:gd name="connsiteY883" fmla="*/ 433404 h 491911"/>
                        <a:gd name="connsiteX884" fmla="*/ 299737 w 321339"/>
                        <a:gd name="connsiteY884" fmla="*/ 432954 h 491911"/>
                        <a:gd name="connsiteX885" fmla="*/ 301538 w 321339"/>
                        <a:gd name="connsiteY885" fmla="*/ 433854 h 491911"/>
                        <a:gd name="connsiteX886" fmla="*/ 304688 w 321339"/>
                        <a:gd name="connsiteY886" fmla="*/ 431154 h 491911"/>
                        <a:gd name="connsiteX887" fmla="*/ 305588 w 321339"/>
                        <a:gd name="connsiteY887" fmla="*/ 430704 h 491911"/>
                        <a:gd name="connsiteX888" fmla="*/ 307388 w 321339"/>
                        <a:gd name="connsiteY888" fmla="*/ 431154 h 491911"/>
                        <a:gd name="connsiteX889" fmla="*/ 308738 w 321339"/>
                        <a:gd name="connsiteY889" fmla="*/ 430704 h 491911"/>
                        <a:gd name="connsiteX890" fmla="*/ 310539 w 321339"/>
                        <a:gd name="connsiteY890" fmla="*/ 428904 h 491911"/>
                        <a:gd name="connsiteX891" fmla="*/ 311889 w 321339"/>
                        <a:gd name="connsiteY891" fmla="*/ 428004 h 491911"/>
                        <a:gd name="connsiteX892" fmla="*/ 312339 w 321339"/>
                        <a:gd name="connsiteY892" fmla="*/ 428004 h 491911"/>
                        <a:gd name="connsiteX893" fmla="*/ 312789 w 321339"/>
                        <a:gd name="connsiteY893" fmla="*/ 428904 h 491911"/>
                        <a:gd name="connsiteX894" fmla="*/ 312789 w 321339"/>
                        <a:gd name="connsiteY894" fmla="*/ 430704 h 491911"/>
                        <a:gd name="connsiteX895" fmla="*/ 312339 w 321339"/>
                        <a:gd name="connsiteY895" fmla="*/ 432504 h 491911"/>
                        <a:gd name="connsiteX896" fmla="*/ 311889 w 321339"/>
                        <a:gd name="connsiteY896" fmla="*/ 433854 h 491911"/>
                        <a:gd name="connsiteX897" fmla="*/ 310089 w 321339"/>
                        <a:gd name="connsiteY897" fmla="*/ 436555 h 491911"/>
                        <a:gd name="connsiteX898" fmla="*/ 309189 w 321339"/>
                        <a:gd name="connsiteY898" fmla="*/ 437455 h 491911"/>
                        <a:gd name="connsiteX899" fmla="*/ 308289 w 321339"/>
                        <a:gd name="connsiteY899" fmla="*/ 437905 h 491911"/>
                        <a:gd name="connsiteX900" fmla="*/ 306488 w 321339"/>
                        <a:gd name="connsiteY900" fmla="*/ 437905 h 491911"/>
                        <a:gd name="connsiteX901" fmla="*/ 305588 w 321339"/>
                        <a:gd name="connsiteY901" fmla="*/ 438355 h 491911"/>
                        <a:gd name="connsiteX902" fmla="*/ 304238 w 321339"/>
                        <a:gd name="connsiteY902" fmla="*/ 440155 h 491911"/>
                        <a:gd name="connsiteX903" fmla="*/ 301538 w 321339"/>
                        <a:gd name="connsiteY903" fmla="*/ 441955 h 491911"/>
                        <a:gd name="connsiteX904" fmla="*/ 299737 w 321339"/>
                        <a:gd name="connsiteY904" fmla="*/ 442855 h 491911"/>
                        <a:gd name="connsiteX905" fmla="*/ 300638 w 321339"/>
                        <a:gd name="connsiteY905" fmla="*/ 443756 h 491911"/>
                        <a:gd name="connsiteX906" fmla="*/ 301087 w 321339"/>
                        <a:gd name="connsiteY906" fmla="*/ 446006 h 491911"/>
                        <a:gd name="connsiteX907" fmla="*/ 300638 w 321339"/>
                        <a:gd name="connsiteY907" fmla="*/ 446456 h 491911"/>
                        <a:gd name="connsiteX908" fmla="*/ 297937 w 321339"/>
                        <a:gd name="connsiteY908" fmla="*/ 446906 h 491911"/>
                        <a:gd name="connsiteX909" fmla="*/ 297937 w 321339"/>
                        <a:gd name="connsiteY909" fmla="*/ 447356 h 491911"/>
                        <a:gd name="connsiteX910" fmla="*/ 297037 w 321339"/>
                        <a:gd name="connsiteY910" fmla="*/ 447806 h 491911"/>
                        <a:gd name="connsiteX911" fmla="*/ 294787 w 321339"/>
                        <a:gd name="connsiteY911" fmla="*/ 448706 h 491911"/>
                        <a:gd name="connsiteX912" fmla="*/ 296587 w 321339"/>
                        <a:gd name="connsiteY912" fmla="*/ 449156 h 491911"/>
                        <a:gd name="connsiteX913" fmla="*/ 299737 w 321339"/>
                        <a:gd name="connsiteY913" fmla="*/ 448706 h 491911"/>
                        <a:gd name="connsiteX914" fmla="*/ 300188 w 321339"/>
                        <a:gd name="connsiteY914" fmla="*/ 449156 h 491911"/>
                        <a:gd name="connsiteX915" fmla="*/ 299737 w 321339"/>
                        <a:gd name="connsiteY915" fmla="*/ 450506 h 491911"/>
                        <a:gd name="connsiteX916" fmla="*/ 298837 w 321339"/>
                        <a:gd name="connsiteY916" fmla="*/ 451857 h 491911"/>
                        <a:gd name="connsiteX917" fmla="*/ 295237 w 321339"/>
                        <a:gd name="connsiteY917" fmla="*/ 455907 h 491911"/>
                        <a:gd name="connsiteX918" fmla="*/ 295237 w 321339"/>
                        <a:gd name="connsiteY918" fmla="*/ 456357 h 491911"/>
                        <a:gd name="connsiteX919" fmla="*/ 295687 w 321339"/>
                        <a:gd name="connsiteY919" fmla="*/ 458157 h 491911"/>
                        <a:gd name="connsiteX920" fmla="*/ 296587 w 321339"/>
                        <a:gd name="connsiteY920" fmla="*/ 459508 h 491911"/>
                        <a:gd name="connsiteX921" fmla="*/ 297487 w 321339"/>
                        <a:gd name="connsiteY921" fmla="*/ 460408 h 491911"/>
                        <a:gd name="connsiteX922" fmla="*/ 299287 w 321339"/>
                        <a:gd name="connsiteY922" fmla="*/ 460408 h 491911"/>
                        <a:gd name="connsiteX923" fmla="*/ 300638 w 321339"/>
                        <a:gd name="connsiteY923" fmla="*/ 459957 h 491911"/>
                        <a:gd name="connsiteX924" fmla="*/ 302888 w 321339"/>
                        <a:gd name="connsiteY924" fmla="*/ 457257 h 491911"/>
                        <a:gd name="connsiteX925" fmla="*/ 307388 w 321339"/>
                        <a:gd name="connsiteY925" fmla="*/ 449156 h 491911"/>
                        <a:gd name="connsiteX926" fmla="*/ 311439 w 321339"/>
                        <a:gd name="connsiteY926" fmla="*/ 446906 h 491911"/>
                        <a:gd name="connsiteX927" fmla="*/ 315039 w 321339"/>
                        <a:gd name="connsiteY927" fmla="*/ 444206 h 491911"/>
                        <a:gd name="connsiteX928" fmla="*/ 315940 w 321339"/>
                        <a:gd name="connsiteY928" fmla="*/ 444656 h 491911"/>
                        <a:gd name="connsiteX929" fmla="*/ 316390 w 321339"/>
                        <a:gd name="connsiteY929" fmla="*/ 445106 h 491911"/>
                        <a:gd name="connsiteX930" fmla="*/ 316390 w 321339"/>
                        <a:gd name="connsiteY930" fmla="*/ 445556 h 491911"/>
                        <a:gd name="connsiteX931" fmla="*/ 314589 w 321339"/>
                        <a:gd name="connsiteY931" fmla="*/ 447806 h 491911"/>
                        <a:gd name="connsiteX932" fmla="*/ 313689 w 321339"/>
                        <a:gd name="connsiteY932" fmla="*/ 449606 h 491911"/>
                        <a:gd name="connsiteX933" fmla="*/ 311439 w 321339"/>
                        <a:gd name="connsiteY933" fmla="*/ 455007 h 491911"/>
                        <a:gd name="connsiteX934" fmla="*/ 310539 w 321339"/>
                        <a:gd name="connsiteY934" fmla="*/ 457257 h 491911"/>
                        <a:gd name="connsiteX935" fmla="*/ 310089 w 321339"/>
                        <a:gd name="connsiteY935" fmla="*/ 459957 h 491911"/>
                        <a:gd name="connsiteX936" fmla="*/ 310089 w 321339"/>
                        <a:gd name="connsiteY936" fmla="*/ 464458 h 491911"/>
                        <a:gd name="connsiteX937" fmla="*/ 310539 w 321339"/>
                        <a:gd name="connsiteY937" fmla="*/ 465358 h 491911"/>
                        <a:gd name="connsiteX938" fmla="*/ 311439 w 321339"/>
                        <a:gd name="connsiteY938" fmla="*/ 466258 h 491911"/>
                        <a:gd name="connsiteX939" fmla="*/ 312789 w 321339"/>
                        <a:gd name="connsiteY939" fmla="*/ 465358 h 491911"/>
                        <a:gd name="connsiteX940" fmla="*/ 315039 w 321339"/>
                        <a:gd name="connsiteY940" fmla="*/ 463108 h 491911"/>
                        <a:gd name="connsiteX941" fmla="*/ 316390 w 321339"/>
                        <a:gd name="connsiteY941" fmla="*/ 460858 h 491911"/>
                        <a:gd name="connsiteX942" fmla="*/ 317740 w 321339"/>
                        <a:gd name="connsiteY942" fmla="*/ 457257 h 491911"/>
                        <a:gd name="connsiteX943" fmla="*/ 318640 w 321339"/>
                        <a:gd name="connsiteY943" fmla="*/ 455907 h 491911"/>
                        <a:gd name="connsiteX944" fmla="*/ 319540 w 321339"/>
                        <a:gd name="connsiteY944" fmla="*/ 455907 h 491911"/>
                        <a:gd name="connsiteX945" fmla="*/ 320440 w 321339"/>
                        <a:gd name="connsiteY945" fmla="*/ 456807 h 491911"/>
                        <a:gd name="connsiteX946" fmla="*/ 320440 w 321339"/>
                        <a:gd name="connsiteY946" fmla="*/ 458607 h 491911"/>
                        <a:gd name="connsiteX947" fmla="*/ 320890 w 321339"/>
                        <a:gd name="connsiteY947" fmla="*/ 460858 h 491911"/>
                        <a:gd name="connsiteX948" fmla="*/ 321340 w 321339"/>
                        <a:gd name="connsiteY948" fmla="*/ 463108 h 491911"/>
                        <a:gd name="connsiteX949" fmla="*/ 320890 w 321339"/>
                        <a:gd name="connsiteY949" fmla="*/ 465808 h 491911"/>
                        <a:gd name="connsiteX950" fmla="*/ 320440 w 321339"/>
                        <a:gd name="connsiteY950" fmla="*/ 467159 h 491911"/>
                        <a:gd name="connsiteX951" fmla="*/ 315489 w 321339"/>
                        <a:gd name="connsiteY951" fmla="*/ 477060 h 491911"/>
                        <a:gd name="connsiteX952" fmla="*/ 315940 w 321339"/>
                        <a:gd name="connsiteY952" fmla="*/ 478860 h 491911"/>
                        <a:gd name="connsiteX953" fmla="*/ 315940 w 321339"/>
                        <a:gd name="connsiteY953" fmla="*/ 479760 h 491911"/>
                        <a:gd name="connsiteX954" fmla="*/ 315940 w 321339"/>
                        <a:gd name="connsiteY954" fmla="*/ 481110 h 491911"/>
                        <a:gd name="connsiteX955" fmla="*/ 314589 w 321339"/>
                        <a:gd name="connsiteY955" fmla="*/ 486061 h 491911"/>
                        <a:gd name="connsiteX956" fmla="*/ 313239 w 321339"/>
                        <a:gd name="connsiteY956" fmla="*/ 489211 h 491911"/>
                        <a:gd name="connsiteX957" fmla="*/ 312339 w 321339"/>
                        <a:gd name="connsiteY957" fmla="*/ 490562 h 491911"/>
                        <a:gd name="connsiteX958" fmla="*/ 311439 w 321339"/>
                        <a:gd name="connsiteY958" fmla="*/ 491461 h 491911"/>
                        <a:gd name="connsiteX959" fmla="*/ 310539 w 321339"/>
                        <a:gd name="connsiteY959" fmla="*/ 491912 h 491911"/>
                        <a:gd name="connsiteX960" fmla="*/ 309639 w 321339"/>
                        <a:gd name="connsiteY960" fmla="*/ 491461 h 491911"/>
                        <a:gd name="connsiteX961" fmla="*/ 308738 w 321339"/>
                        <a:gd name="connsiteY961" fmla="*/ 490111 h 491911"/>
                        <a:gd name="connsiteX962" fmla="*/ 307838 w 321339"/>
                        <a:gd name="connsiteY962" fmla="*/ 489661 h 491911"/>
                        <a:gd name="connsiteX963" fmla="*/ 307388 w 321339"/>
                        <a:gd name="connsiteY963" fmla="*/ 489661 h 491911"/>
                        <a:gd name="connsiteX964" fmla="*/ 306038 w 321339"/>
                        <a:gd name="connsiteY964" fmla="*/ 489661 h 491911"/>
                        <a:gd name="connsiteX965" fmla="*/ 302888 w 321339"/>
                        <a:gd name="connsiteY965" fmla="*/ 491912 h 491911"/>
                        <a:gd name="connsiteX966" fmla="*/ 302438 w 321339"/>
                        <a:gd name="connsiteY966" fmla="*/ 491912 h 491911"/>
                        <a:gd name="connsiteX967" fmla="*/ 301988 w 321339"/>
                        <a:gd name="connsiteY967" fmla="*/ 491461 h 491911"/>
                        <a:gd name="connsiteX968" fmla="*/ 301538 w 321339"/>
                        <a:gd name="connsiteY968" fmla="*/ 490111 h 491911"/>
                        <a:gd name="connsiteX969" fmla="*/ 301988 w 321339"/>
                        <a:gd name="connsiteY969" fmla="*/ 483811 h 491911"/>
                        <a:gd name="connsiteX970" fmla="*/ 302438 w 321339"/>
                        <a:gd name="connsiteY970" fmla="*/ 481560 h 491911"/>
                        <a:gd name="connsiteX971" fmla="*/ 300638 w 321339"/>
                        <a:gd name="connsiteY971" fmla="*/ 479760 h 491911"/>
                        <a:gd name="connsiteX972" fmla="*/ 301538 w 321339"/>
                        <a:gd name="connsiteY972" fmla="*/ 477060 h 491911"/>
                        <a:gd name="connsiteX973" fmla="*/ 301538 w 321339"/>
                        <a:gd name="connsiteY973" fmla="*/ 476160 h 491911"/>
                        <a:gd name="connsiteX974" fmla="*/ 301087 w 321339"/>
                        <a:gd name="connsiteY974" fmla="*/ 475709 h 491911"/>
                        <a:gd name="connsiteX975" fmla="*/ 300188 w 321339"/>
                        <a:gd name="connsiteY975" fmla="*/ 476160 h 491911"/>
                        <a:gd name="connsiteX976" fmla="*/ 298837 w 321339"/>
                        <a:gd name="connsiteY976" fmla="*/ 477510 h 491911"/>
                        <a:gd name="connsiteX977" fmla="*/ 297037 w 321339"/>
                        <a:gd name="connsiteY977" fmla="*/ 480210 h 491911"/>
                        <a:gd name="connsiteX978" fmla="*/ 295237 w 321339"/>
                        <a:gd name="connsiteY978" fmla="*/ 482460 h 491911"/>
                        <a:gd name="connsiteX979" fmla="*/ 292086 w 321339"/>
                        <a:gd name="connsiteY979" fmla="*/ 485611 h 491911"/>
                        <a:gd name="connsiteX980" fmla="*/ 290736 w 321339"/>
                        <a:gd name="connsiteY980" fmla="*/ 486061 h 491911"/>
                        <a:gd name="connsiteX981" fmla="*/ 290286 w 321339"/>
                        <a:gd name="connsiteY981" fmla="*/ 486061 h 491911"/>
                        <a:gd name="connsiteX982" fmla="*/ 289836 w 321339"/>
                        <a:gd name="connsiteY982" fmla="*/ 485611 h 491911"/>
                        <a:gd name="connsiteX983" fmla="*/ 288936 w 321339"/>
                        <a:gd name="connsiteY983" fmla="*/ 484261 h 491911"/>
                        <a:gd name="connsiteX984" fmla="*/ 288936 w 321339"/>
                        <a:gd name="connsiteY984" fmla="*/ 482911 h 491911"/>
                        <a:gd name="connsiteX985" fmla="*/ 289386 w 321339"/>
                        <a:gd name="connsiteY985" fmla="*/ 481560 h 491911"/>
                        <a:gd name="connsiteX986" fmla="*/ 290736 w 321339"/>
                        <a:gd name="connsiteY986" fmla="*/ 477960 h 491911"/>
                        <a:gd name="connsiteX987" fmla="*/ 293437 w 321339"/>
                        <a:gd name="connsiteY987" fmla="*/ 472559 h 491911"/>
                        <a:gd name="connsiteX988" fmla="*/ 295687 w 321339"/>
                        <a:gd name="connsiteY988" fmla="*/ 468509 h 491911"/>
                        <a:gd name="connsiteX989" fmla="*/ 296137 w 321339"/>
                        <a:gd name="connsiteY989" fmla="*/ 466708 h 491911"/>
                        <a:gd name="connsiteX990" fmla="*/ 295687 w 321339"/>
                        <a:gd name="connsiteY990" fmla="*/ 465808 h 491911"/>
                        <a:gd name="connsiteX991" fmla="*/ 295237 w 321339"/>
                        <a:gd name="connsiteY991" fmla="*/ 464458 h 491911"/>
                        <a:gd name="connsiteX992" fmla="*/ 294337 w 321339"/>
                        <a:gd name="connsiteY992" fmla="*/ 460408 h 491911"/>
                        <a:gd name="connsiteX993" fmla="*/ 293437 w 321339"/>
                        <a:gd name="connsiteY993" fmla="*/ 456807 h 491911"/>
                        <a:gd name="connsiteX994" fmla="*/ 292086 w 321339"/>
                        <a:gd name="connsiteY994" fmla="*/ 455457 h 491911"/>
                        <a:gd name="connsiteX995" fmla="*/ 288936 w 321339"/>
                        <a:gd name="connsiteY995" fmla="*/ 453657 h 491911"/>
                        <a:gd name="connsiteX996" fmla="*/ 288486 w 321339"/>
                        <a:gd name="connsiteY996" fmla="*/ 454107 h 491911"/>
                        <a:gd name="connsiteX997" fmla="*/ 288036 w 321339"/>
                        <a:gd name="connsiteY997" fmla="*/ 456357 h 491911"/>
                        <a:gd name="connsiteX998" fmla="*/ 284436 w 321339"/>
                        <a:gd name="connsiteY998" fmla="*/ 463108 h 491911"/>
                        <a:gd name="connsiteX999" fmla="*/ 283985 w 321339"/>
                        <a:gd name="connsiteY999" fmla="*/ 466258 h 491911"/>
                        <a:gd name="connsiteX1000" fmla="*/ 283535 w 321339"/>
                        <a:gd name="connsiteY1000" fmla="*/ 467159 h 491911"/>
                        <a:gd name="connsiteX1001" fmla="*/ 282635 w 321339"/>
                        <a:gd name="connsiteY1001" fmla="*/ 468059 h 491911"/>
                        <a:gd name="connsiteX1002" fmla="*/ 280835 w 321339"/>
                        <a:gd name="connsiteY1002" fmla="*/ 468959 h 491911"/>
                        <a:gd name="connsiteX1003" fmla="*/ 281285 w 321339"/>
                        <a:gd name="connsiteY1003" fmla="*/ 467609 h 491911"/>
                        <a:gd name="connsiteX1004" fmla="*/ 283085 w 321339"/>
                        <a:gd name="connsiteY1004" fmla="*/ 464008 h 491911"/>
                        <a:gd name="connsiteX1005" fmla="*/ 282635 w 321339"/>
                        <a:gd name="connsiteY1005" fmla="*/ 463558 h 491911"/>
                        <a:gd name="connsiteX1006" fmla="*/ 280385 w 321339"/>
                        <a:gd name="connsiteY1006" fmla="*/ 466258 h 491911"/>
                        <a:gd name="connsiteX1007" fmla="*/ 278585 w 321339"/>
                        <a:gd name="connsiteY1007" fmla="*/ 467609 h 491911"/>
                        <a:gd name="connsiteX1008" fmla="*/ 276785 w 321339"/>
                        <a:gd name="connsiteY1008" fmla="*/ 468059 h 491911"/>
                        <a:gd name="connsiteX1009" fmla="*/ 275434 w 321339"/>
                        <a:gd name="connsiteY1009" fmla="*/ 468059 h 491911"/>
                        <a:gd name="connsiteX1010" fmla="*/ 274084 w 321339"/>
                        <a:gd name="connsiteY1010" fmla="*/ 468509 h 491911"/>
                        <a:gd name="connsiteX1011" fmla="*/ 269134 w 321339"/>
                        <a:gd name="connsiteY1011" fmla="*/ 475260 h 491911"/>
                        <a:gd name="connsiteX1012" fmla="*/ 269134 w 321339"/>
                        <a:gd name="connsiteY1012" fmla="*/ 477510 h 491911"/>
                        <a:gd name="connsiteX1013" fmla="*/ 268233 w 321339"/>
                        <a:gd name="connsiteY1013" fmla="*/ 479310 h 491911"/>
                        <a:gd name="connsiteX1014" fmla="*/ 265983 w 321339"/>
                        <a:gd name="connsiteY1014" fmla="*/ 482460 h 491911"/>
                        <a:gd name="connsiteX1015" fmla="*/ 264633 w 321339"/>
                        <a:gd name="connsiteY1015" fmla="*/ 483360 h 491911"/>
                        <a:gd name="connsiteX1016" fmla="*/ 262833 w 321339"/>
                        <a:gd name="connsiteY1016" fmla="*/ 483360 h 491911"/>
                        <a:gd name="connsiteX1017" fmla="*/ 261033 w 321339"/>
                        <a:gd name="connsiteY1017" fmla="*/ 482911 h 491911"/>
                        <a:gd name="connsiteX1018" fmla="*/ 260132 w 321339"/>
                        <a:gd name="connsiteY1018" fmla="*/ 482911 h 491911"/>
                        <a:gd name="connsiteX1019" fmla="*/ 257432 w 321339"/>
                        <a:gd name="connsiteY1019" fmla="*/ 483811 h 491911"/>
                        <a:gd name="connsiteX1020" fmla="*/ 254732 w 321339"/>
                        <a:gd name="connsiteY1020" fmla="*/ 484261 h 491911"/>
                        <a:gd name="connsiteX1021" fmla="*/ 253382 w 321339"/>
                        <a:gd name="connsiteY1021" fmla="*/ 484261 h 491911"/>
                        <a:gd name="connsiteX1022" fmla="*/ 252481 w 321339"/>
                        <a:gd name="connsiteY1022" fmla="*/ 483811 h 491911"/>
                        <a:gd name="connsiteX1023" fmla="*/ 251131 w 321339"/>
                        <a:gd name="connsiteY1023" fmla="*/ 482460 h 491911"/>
                        <a:gd name="connsiteX1024" fmla="*/ 251131 w 321339"/>
                        <a:gd name="connsiteY1024" fmla="*/ 481560 h 491911"/>
                        <a:gd name="connsiteX1025" fmla="*/ 251131 w 321339"/>
                        <a:gd name="connsiteY1025" fmla="*/ 481110 h 491911"/>
                        <a:gd name="connsiteX1026" fmla="*/ 252032 w 321339"/>
                        <a:gd name="connsiteY1026" fmla="*/ 479760 h 491911"/>
                        <a:gd name="connsiteX1027" fmla="*/ 253832 w 321339"/>
                        <a:gd name="connsiteY1027" fmla="*/ 477960 h 491911"/>
                        <a:gd name="connsiteX1028" fmla="*/ 255182 w 321339"/>
                        <a:gd name="connsiteY1028" fmla="*/ 477510 h 491911"/>
                        <a:gd name="connsiteX1029" fmla="*/ 258782 w 321339"/>
                        <a:gd name="connsiteY1029" fmla="*/ 476610 h 491911"/>
                        <a:gd name="connsiteX1030" fmla="*/ 261483 w 321339"/>
                        <a:gd name="connsiteY1030" fmla="*/ 475260 h 491911"/>
                        <a:gd name="connsiteX1031" fmla="*/ 263283 w 321339"/>
                        <a:gd name="connsiteY1031" fmla="*/ 473459 h 491911"/>
                        <a:gd name="connsiteX1032" fmla="*/ 264183 w 321339"/>
                        <a:gd name="connsiteY1032" fmla="*/ 472109 h 491911"/>
                        <a:gd name="connsiteX1033" fmla="*/ 267783 w 321339"/>
                        <a:gd name="connsiteY1033" fmla="*/ 466258 h 491911"/>
                        <a:gd name="connsiteX1034" fmla="*/ 272284 w 321339"/>
                        <a:gd name="connsiteY1034" fmla="*/ 464008 h 491911"/>
                        <a:gd name="connsiteX1035" fmla="*/ 274534 w 321339"/>
                        <a:gd name="connsiteY1035" fmla="*/ 462208 h 491911"/>
                        <a:gd name="connsiteX1036" fmla="*/ 276334 w 321339"/>
                        <a:gd name="connsiteY1036" fmla="*/ 459957 h 491911"/>
                        <a:gd name="connsiteX1037" fmla="*/ 276785 w 321339"/>
                        <a:gd name="connsiteY1037" fmla="*/ 459058 h 491911"/>
                        <a:gd name="connsiteX1038" fmla="*/ 274534 w 321339"/>
                        <a:gd name="connsiteY1038" fmla="*/ 459957 h 491911"/>
                        <a:gd name="connsiteX1039" fmla="*/ 273184 w 321339"/>
                        <a:gd name="connsiteY1039" fmla="*/ 460408 h 491911"/>
                        <a:gd name="connsiteX1040" fmla="*/ 271384 w 321339"/>
                        <a:gd name="connsiteY1040" fmla="*/ 459957 h 491911"/>
                        <a:gd name="connsiteX1041" fmla="*/ 270484 w 321339"/>
                        <a:gd name="connsiteY1041" fmla="*/ 459058 h 491911"/>
                        <a:gd name="connsiteX1042" fmla="*/ 267783 w 321339"/>
                        <a:gd name="connsiteY1042" fmla="*/ 459508 h 491911"/>
                        <a:gd name="connsiteX1043" fmla="*/ 264183 w 321339"/>
                        <a:gd name="connsiteY1043" fmla="*/ 459058 h 491911"/>
                        <a:gd name="connsiteX1044" fmla="*/ 263733 w 321339"/>
                        <a:gd name="connsiteY1044" fmla="*/ 459508 h 491911"/>
                        <a:gd name="connsiteX1045" fmla="*/ 263283 w 321339"/>
                        <a:gd name="connsiteY1045" fmla="*/ 462208 h 491911"/>
                        <a:gd name="connsiteX1046" fmla="*/ 262833 w 321339"/>
                        <a:gd name="connsiteY1046" fmla="*/ 463558 h 491911"/>
                        <a:gd name="connsiteX1047" fmla="*/ 262383 w 321339"/>
                        <a:gd name="connsiteY1047" fmla="*/ 464008 h 491911"/>
                        <a:gd name="connsiteX1048" fmla="*/ 261483 w 321339"/>
                        <a:gd name="connsiteY1048" fmla="*/ 464458 h 491911"/>
                        <a:gd name="connsiteX1049" fmla="*/ 259683 w 321339"/>
                        <a:gd name="connsiteY1049" fmla="*/ 464908 h 491911"/>
                        <a:gd name="connsiteX1050" fmla="*/ 255632 w 321339"/>
                        <a:gd name="connsiteY1050" fmla="*/ 464008 h 491911"/>
                        <a:gd name="connsiteX1051" fmla="*/ 254732 w 321339"/>
                        <a:gd name="connsiteY1051" fmla="*/ 463558 h 491911"/>
                        <a:gd name="connsiteX1052" fmla="*/ 253832 w 321339"/>
                        <a:gd name="connsiteY1052" fmla="*/ 463108 h 491911"/>
                        <a:gd name="connsiteX1053" fmla="*/ 249331 w 321339"/>
                        <a:gd name="connsiteY1053" fmla="*/ 464008 h 491911"/>
                        <a:gd name="connsiteX1054" fmla="*/ 248431 w 321339"/>
                        <a:gd name="connsiteY1054" fmla="*/ 464008 h 491911"/>
                        <a:gd name="connsiteX1055" fmla="*/ 249331 w 321339"/>
                        <a:gd name="connsiteY1055" fmla="*/ 463108 h 491911"/>
                        <a:gd name="connsiteX1056" fmla="*/ 253832 w 321339"/>
                        <a:gd name="connsiteY1056" fmla="*/ 460858 h 491911"/>
                        <a:gd name="connsiteX1057" fmla="*/ 254282 w 321339"/>
                        <a:gd name="connsiteY1057" fmla="*/ 454557 h 491911"/>
                        <a:gd name="connsiteX1058" fmla="*/ 253832 w 321339"/>
                        <a:gd name="connsiteY1058" fmla="*/ 453657 h 491911"/>
                        <a:gd name="connsiteX1059" fmla="*/ 252481 w 321339"/>
                        <a:gd name="connsiteY1059" fmla="*/ 454557 h 491911"/>
                        <a:gd name="connsiteX1060" fmla="*/ 250231 w 321339"/>
                        <a:gd name="connsiteY1060" fmla="*/ 455457 h 491911"/>
                        <a:gd name="connsiteX1061" fmla="*/ 248881 w 321339"/>
                        <a:gd name="connsiteY1061" fmla="*/ 455007 h 491911"/>
                        <a:gd name="connsiteX1062" fmla="*/ 247981 w 321339"/>
                        <a:gd name="connsiteY1062" fmla="*/ 454557 h 491911"/>
                        <a:gd name="connsiteX1063" fmla="*/ 247531 w 321339"/>
                        <a:gd name="connsiteY1063" fmla="*/ 455007 h 491911"/>
                        <a:gd name="connsiteX1064" fmla="*/ 246181 w 321339"/>
                        <a:gd name="connsiteY1064" fmla="*/ 458157 h 491911"/>
                        <a:gd name="connsiteX1065" fmla="*/ 245281 w 321339"/>
                        <a:gd name="connsiteY1065" fmla="*/ 458607 h 491911"/>
                        <a:gd name="connsiteX1066" fmla="*/ 243931 w 321339"/>
                        <a:gd name="connsiteY1066" fmla="*/ 458607 h 491911"/>
                        <a:gd name="connsiteX1067" fmla="*/ 241230 w 321339"/>
                        <a:gd name="connsiteY1067" fmla="*/ 459957 h 491911"/>
                        <a:gd name="connsiteX1068" fmla="*/ 235829 w 321339"/>
                        <a:gd name="connsiteY1068" fmla="*/ 460858 h 491911"/>
                        <a:gd name="connsiteX1069" fmla="*/ 234929 w 321339"/>
                        <a:gd name="connsiteY1069" fmla="*/ 461758 h 491911"/>
                        <a:gd name="connsiteX1070" fmla="*/ 231329 w 321339"/>
                        <a:gd name="connsiteY1070" fmla="*/ 461308 h 491911"/>
                        <a:gd name="connsiteX1071" fmla="*/ 220077 w 321339"/>
                        <a:gd name="connsiteY1071" fmla="*/ 459508 h 491911"/>
                        <a:gd name="connsiteX1072" fmla="*/ 216027 w 321339"/>
                        <a:gd name="connsiteY1072" fmla="*/ 459508 h 491911"/>
                        <a:gd name="connsiteX1073" fmla="*/ 211076 w 321339"/>
                        <a:gd name="connsiteY1073" fmla="*/ 458607 h 491911"/>
                        <a:gd name="connsiteX1074" fmla="*/ 210176 w 321339"/>
                        <a:gd name="connsiteY1074" fmla="*/ 458157 h 491911"/>
                        <a:gd name="connsiteX1075" fmla="*/ 203425 w 321339"/>
                        <a:gd name="connsiteY1075" fmla="*/ 458157 h 491911"/>
                        <a:gd name="connsiteX1076" fmla="*/ 201625 w 321339"/>
                        <a:gd name="connsiteY1076" fmla="*/ 457707 h 491911"/>
                        <a:gd name="connsiteX1077" fmla="*/ 201625 w 321339"/>
                        <a:gd name="connsiteY1077" fmla="*/ 456357 h 491911"/>
                        <a:gd name="connsiteX1078" fmla="*/ 201625 w 321339"/>
                        <a:gd name="connsiteY1078" fmla="*/ 455907 h 491911"/>
                        <a:gd name="connsiteX1079" fmla="*/ 199825 w 321339"/>
                        <a:gd name="connsiteY1079" fmla="*/ 457257 h 491911"/>
                        <a:gd name="connsiteX1080" fmla="*/ 198025 w 321339"/>
                        <a:gd name="connsiteY1080" fmla="*/ 458157 h 491911"/>
                        <a:gd name="connsiteX1081" fmla="*/ 195774 w 321339"/>
                        <a:gd name="connsiteY1081" fmla="*/ 459058 h 491911"/>
                        <a:gd name="connsiteX1082" fmla="*/ 189024 w 321339"/>
                        <a:gd name="connsiteY1082" fmla="*/ 460408 h 491911"/>
                        <a:gd name="connsiteX1083" fmla="*/ 185423 w 321339"/>
                        <a:gd name="connsiteY1083" fmla="*/ 460858 h 491911"/>
                        <a:gd name="connsiteX1084" fmla="*/ 183173 w 321339"/>
                        <a:gd name="connsiteY1084" fmla="*/ 459957 h 491911"/>
                        <a:gd name="connsiteX1085" fmla="*/ 182273 w 321339"/>
                        <a:gd name="connsiteY1085" fmla="*/ 459058 h 491911"/>
                        <a:gd name="connsiteX1086" fmla="*/ 180923 w 321339"/>
                        <a:gd name="connsiteY1086" fmla="*/ 455907 h 491911"/>
                        <a:gd name="connsiteX1087" fmla="*/ 180023 w 321339"/>
                        <a:gd name="connsiteY1087" fmla="*/ 451857 h 491911"/>
                        <a:gd name="connsiteX1088" fmla="*/ 180023 w 321339"/>
                        <a:gd name="connsiteY1088" fmla="*/ 450956 h 491911"/>
                        <a:gd name="connsiteX1089" fmla="*/ 180472 w 321339"/>
                        <a:gd name="connsiteY1089" fmla="*/ 449606 h 491911"/>
                        <a:gd name="connsiteX1090" fmla="*/ 181823 w 321339"/>
                        <a:gd name="connsiteY1090" fmla="*/ 447806 h 491911"/>
                        <a:gd name="connsiteX1091" fmla="*/ 188573 w 321339"/>
                        <a:gd name="connsiteY1091" fmla="*/ 442405 h 491911"/>
                        <a:gd name="connsiteX1092" fmla="*/ 193974 w 321339"/>
                        <a:gd name="connsiteY1092" fmla="*/ 437005 h 491911"/>
                        <a:gd name="connsiteX1093" fmla="*/ 196224 w 321339"/>
                        <a:gd name="connsiteY1093" fmla="*/ 434304 h 491911"/>
                        <a:gd name="connsiteX1094" fmla="*/ 198475 w 321339"/>
                        <a:gd name="connsiteY1094" fmla="*/ 433404 h 491911"/>
                        <a:gd name="connsiteX1095" fmla="*/ 202075 w 321339"/>
                        <a:gd name="connsiteY1095" fmla="*/ 431154 h 491911"/>
                        <a:gd name="connsiteX1096" fmla="*/ 202075 w 321339"/>
                        <a:gd name="connsiteY1096" fmla="*/ 430704 h 491911"/>
                        <a:gd name="connsiteX1097" fmla="*/ 198475 w 321339"/>
                        <a:gd name="connsiteY1097" fmla="*/ 431154 h 491911"/>
                        <a:gd name="connsiteX1098" fmla="*/ 196224 w 321339"/>
                        <a:gd name="connsiteY1098" fmla="*/ 430704 h 491911"/>
                        <a:gd name="connsiteX1099" fmla="*/ 193974 w 321339"/>
                        <a:gd name="connsiteY1099" fmla="*/ 430254 h 491911"/>
                        <a:gd name="connsiteX1100" fmla="*/ 189474 w 321339"/>
                        <a:gd name="connsiteY1100" fmla="*/ 430704 h 491911"/>
                        <a:gd name="connsiteX1101" fmla="*/ 184523 w 321339"/>
                        <a:gd name="connsiteY1101" fmla="*/ 430704 h 491911"/>
                        <a:gd name="connsiteX1102" fmla="*/ 184523 w 321339"/>
                        <a:gd name="connsiteY1102" fmla="*/ 429354 h 491911"/>
                        <a:gd name="connsiteX1103" fmla="*/ 186773 w 321339"/>
                        <a:gd name="connsiteY1103" fmla="*/ 427103 h 491911"/>
                        <a:gd name="connsiteX1104" fmla="*/ 191274 w 321339"/>
                        <a:gd name="connsiteY1104" fmla="*/ 423503 h 491911"/>
                        <a:gd name="connsiteX1105" fmla="*/ 191724 w 321339"/>
                        <a:gd name="connsiteY1105" fmla="*/ 423503 h 491911"/>
                        <a:gd name="connsiteX1106" fmla="*/ 190374 w 321339"/>
                        <a:gd name="connsiteY1106" fmla="*/ 425303 h 491911"/>
                        <a:gd name="connsiteX1107" fmla="*/ 189924 w 321339"/>
                        <a:gd name="connsiteY1107" fmla="*/ 426653 h 491911"/>
                        <a:gd name="connsiteX1108" fmla="*/ 190374 w 321339"/>
                        <a:gd name="connsiteY1108" fmla="*/ 427554 h 491911"/>
                        <a:gd name="connsiteX1109" fmla="*/ 191274 w 321339"/>
                        <a:gd name="connsiteY1109" fmla="*/ 428004 h 491911"/>
                        <a:gd name="connsiteX1110" fmla="*/ 193974 w 321339"/>
                        <a:gd name="connsiteY1110" fmla="*/ 428454 h 491911"/>
                        <a:gd name="connsiteX1111" fmla="*/ 194424 w 321339"/>
                        <a:gd name="connsiteY1111" fmla="*/ 427554 h 491911"/>
                        <a:gd name="connsiteX1112" fmla="*/ 195324 w 321339"/>
                        <a:gd name="connsiteY1112" fmla="*/ 423503 h 491911"/>
                        <a:gd name="connsiteX1113" fmla="*/ 197575 w 321339"/>
                        <a:gd name="connsiteY1113" fmla="*/ 418553 h 491911"/>
                        <a:gd name="connsiteX1114" fmla="*/ 198475 w 321339"/>
                        <a:gd name="connsiteY1114" fmla="*/ 414952 h 491911"/>
                        <a:gd name="connsiteX1115" fmla="*/ 200275 w 321339"/>
                        <a:gd name="connsiteY1115" fmla="*/ 412252 h 491911"/>
                        <a:gd name="connsiteX1116" fmla="*/ 201175 w 321339"/>
                        <a:gd name="connsiteY1116" fmla="*/ 411802 h 491911"/>
                        <a:gd name="connsiteX1117" fmla="*/ 202075 w 321339"/>
                        <a:gd name="connsiteY1117" fmla="*/ 412252 h 491911"/>
                        <a:gd name="connsiteX1118" fmla="*/ 204776 w 321339"/>
                        <a:gd name="connsiteY1118" fmla="*/ 412702 h 491911"/>
                        <a:gd name="connsiteX1119" fmla="*/ 207476 w 321339"/>
                        <a:gd name="connsiteY1119" fmla="*/ 414952 h 491911"/>
                        <a:gd name="connsiteX1120" fmla="*/ 208376 w 321339"/>
                        <a:gd name="connsiteY1120" fmla="*/ 414952 h 491911"/>
                        <a:gd name="connsiteX1121" fmla="*/ 208826 w 321339"/>
                        <a:gd name="connsiteY1121" fmla="*/ 414952 h 491911"/>
                        <a:gd name="connsiteX1122" fmla="*/ 207926 w 321339"/>
                        <a:gd name="connsiteY1122" fmla="*/ 414052 h 491911"/>
                        <a:gd name="connsiteX1123" fmla="*/ 207026 w 321339"/>
                        <a:gd name="connsiteY1123" fmla="*/ 412702 h 491911"/>
                        <a:gd name="connsiteX1124" fmla="*/ 206576 w 321339"/>
                        <a:gd name="connsiteY1124" fmla="*/ 411802 h 491911"/>
                        <a:gd name="connsiteX1125" fmla="*/ 207476 w 321339"/>
                        <a:gd name="connsiteY1125" fmla="*/ 408651 h 491911"/>
                        <a:gd name="connsiteX1126" fmla="*/ 208826 w 321339"/>
                        <a:gd name="connsiteY1126" fmla="*/ 407751 h 491911"/>
                        <a:gd name="connsiteX1127" fmla="*/ 208826 w 321339"/>
                        <a:gd name="connsiteY1127" fmla="*/ 407301 h 491911"/>
                        <a:gd name="connsiteX1128" fmla="*/ 206126 w 321339"/>
                        <a:gd name="connsiteY1128" fmla="*/ 407301 h 491911"/>
                        <a:gd name="connsiteX1129" fmla="*/ 204325 w 321339"/>
                        <a:gd name="connsiteY1129" fmla="*/ 406401 h 491911"/>
                        <a:gd name="connsiteX1130" fmla="*/ 203875 w 321339"/>
                        <a:gd name="connsiteY1130" fmla="*/ 405051 h 491911"/>
                        <a:gd name="connsiteX1131" fmla="*/ 203875 w 321339"/>
                        <a:gd name="connsiteY1131" fmla="*/ 402350 h 491911"/>
                        <a:gd name="connsiteX1132" fmla="*/ 204325 w 321339"/>
                        <a:gd name="connsiteY1132" fmla="*/ 400550 h 491911"/>
                        <a:gd name="connsiteX1133" fmla="*/ 206126 w 321339"/>
                        <a:gd name="connsiteY1133" fmla="*/ 398300 h 491911"/>
                        <a:gd name="connsiteX1134" fmla="*/ 207926 w 321339"/>
                        <a:gd name="connsiteY1134" fmla="*/ 396950 h 491911"/>
                        <a:gd name="connsiteX1135" fmla="*/ 209276 w 321339"/>
                        <a:gd name="connsiteY1135" fmla="*/ 397400 h 491911"/>
                        <a:gd name="connsiteX1136" fmla="*/ 211526 w 321339"/>
                        <a:gd name="connsiteY1136" fmla="*/ 399200 h 491911"/>
                        <a:gd name="connsiteX1137" fmla="*/ 212877 w 321339"/>
                        <a:gd name="connsiteY1137" fmla="*/ 398750 h 491911"/>
                        <a:gd name="connsiteX1138" fmla="*/ 212877 w 321339"/>
                        <a:gd name="connsiteY1138" fmla="*/ 398300 h 491911"/>
                        <a:gd name="connsiteX1139" fmla="*/ 210626 w 321339"/>
                        <a:gd name="connsiteY1139" fmla="*/ 395150 h 491911"/>
                        <a:gd name="connsiteX1140" fmla="*/ 210176 w 321339"/>
                        <a:gd name="connsiteY1140" fmla="*/ 392899 h 491911"/>
                        <a:gd name="connsiteX1141" fmla="*/ 210176 w 321339"/>
                        <a:gd name="connsiteY1141" fmla="*/ 391999 h 491911"/>
                        <a:gd name="connsiteX1142" fmla="*/ 214677 w 321339"/>
                        <a:gd name="connsiteY1142" fmla="*/ 381198 h 491911"/>
                        <a:gd name="connsiteX1143" fmla="*/ 216927 w 321339"/>
                        <a:gd name="connsiteY1143" fmla="*/ 375347 h 491911"/>
                        <a:gd name="connsiteX1144" fmla="*/ 220077 w 321339"/>
                        <a:gd name="connsiteY1144" fmla="*/ 366796 h 491911"/>
                        <a:gd name="connsiteX1145" fmla="*/ 220978 w 321339"/>
                        <a:gd name="connsiteY1145" fmla="*/ 365446 h 491911"/>
                        <a:gd name="connsiteX1146" fmla="*/ 222328 w 321339"/>
                        <a:gd name="connsiteY1146" fmla="*/ 362745 h 491911"/>
                        <a:gd name="connsiteX1147" fmla="*/ 222778 w 321339"/>
                        <a:gd name="connsiteY1147" fmla="*/ 361845 h 491911"/>
                        <a:gd name="connsiteX1148" fmla="*/ 224578 w 321339"/>
                        <a:gd name="connsiteY1148" fmla="*/ 361845 h 491911"/>
                        <a:gd name="connsiteX1149" fmla="*/ 225928 w 321339"/>
                        <a:gd name="connsiteY1149" fmla="*/ 361395 h 491911"/>
                        <a:gd name="connsiteX1150" fmla="*/ 224128 w 321339"/>
                        <a:gd name="connsiteY1150" fmla="*/ 360045 h 491911"/>
                        <a:gd name="connsiteX1151" fmla="*/ 223678 w 321339"/>
                        <a:gd name="connsiteY1151" fmla="*/ 359145 h 491911"/>
                        <a:gd name="connsiteX1152" fmla="*/ 223678 w 321339"/>
                        <a:gd name="connsiteY1152" fmla="*/ 358245 h 491911"/>
                        <a:gd name="connsiteX1153" fmla="*/ 224128 w 321339"/>
                        <a:gd name="connsiteY1153" fmla="*/ 357345 h 491911"/>
                        <a:gd name="connsiteX1154" fmla="*/ 225028 w 321339"/>
                        <a:gd name="connsiteY1154" fmla="*/ 356895 h 491911"/>
                        <a:gd name="connsiteX1155" fmla="*/ 227278 w 321339"/>
                        <a:gd name="connsiteY1155" fmla="*/ 355545 h 491911"/>
                        <a:gd name="connsiteX1156" fmla="*/ 229078 w 321339"/>
                        <a:gd name="connsiteY1156" fmla="*/ 353294 h 491911"/>
                        <a:gd name="connsiteX1157" fmla="*/ 229979 w 321339"/>
                        <a:gd name="connsiteY1157" fmla="*/ 350594 h 491911"/>
                        <a:gd name="connsiteX1158" fmla="*/ 229979 w 321339"/>
                        <a:gd name="connsiteY1158" fmla="*/ 349694 h 491911"/>
                        <a:gd name="connsiteX1159" fmla="*/ 229529 w 321339"/>
                        <a:gd name="connsiteY1159" fmla="*/ 348794 h 491911"/>
                        <a:gd name="connsiteX1160" fmla="*/ 229529 w 321339"/>
                        <a:gd name="connsiteY1160" fmla="*/ 348344 h 491911"/>
                        <a:gd name="connsiteX1161" fmla="*/ 230879 w 321339"/>
                        <a:gd name="connsiteY1161" fmla="*/ 347894 h 491911"/>
                        <a:gd name="connsiteX1162" fmla="*/ 234029 w 321339"/>
                        <a:gd name="connsiteY1162" fmla="*/ 344743 h 491911"/>
                        <a:gd name="connsiteX1163" fmla="*/ 234479 w 321339"/>
                        <a:gd name="connsiteY1163" fmla="*/ 344293 h 491911"/>
                        <a:gd name="connsiteX1164" fmla="*/ 235829 w 321339"/>
                        <a:gd name="connsiteY1164" fmla="*/ 339793 h 491911"/>
                        <a:gd name="connsiteX1165" fmla="*/ 237180 w 321339"/>
                        <a:gd name="connsiteY1165" fmla="*/ 337992 h 491911"/>
                        <a:gd name="connsiteX1166" fmla="*/ 238530 w 321339"/>
                        <a:gd name="connsiteY1166" fmla="*/ 337092 h 491911"/>
                        <a:gd name="connsiteX1167" fmla="*/ 240780 w 321339"/>
                        <a:gd name="connsiteY1167" fmla="*/ 335742 h 491911"/>
                        <a:gd name="connsiteX1168" fmla="*/ 247531 w 321339"/>
                        <a:gd name="connsiteY1168" fmla="*/ 332592 h 491911"/>
                        <a:gd name="connsiteX1169" fmla="*/ 251581 w 321339"/>
                        <a:gd name="connsiteY1169" fmla="*/ 329891 h 491911"/>
                        <a:gd name="connsiteX1170" fmla="*/ 254282 w 321339"/>
                        <a:gd name="connsiteY1170" fmla="*/ 329891 h 491911"/>
                        <a:gd name="connsiteX1171" fmla="*/ 255182 w 321339"/>
                        <a:gd name="connsiteY1171" fmla="*/ 331692 h 491911"/>
                        <a:gd name="connsiteX1172" fmla="*/ 258782 w 321339"/>
                        <a:gd name="connsiteY1172" fmla="*/ 333042 h 491911"/>
                        <a:gd name="connsiteX1173" fmla="*/ 259232 w 321339"/>
                        <a:gd name="connsiteY1173" fmla="*/ 331692 h 491911"/>
                        <a:gd name="connsiteX1174" fmla="*/ 258332 w 321339"/>
                        <a:gd name="connsiteY1174" fmla="*/ 329891 h 491911"/>
                        <a:gd name="connsiteX1175" fmla="*/ 259232 w 321339"/>
                        <a:gd name="connsiteY1175" fmla="*/ 329441 h 491911"/>
                        <a:gd name="connsiteX1176" fmla="*/ 262383 w 321339"/>
                        <a:gd name="connsiteY1176" fmla="*/ 328991 h 491911"/>
                        <a:gd name="connsiteX1177" fmla="*/ 262833 w 321339"/>
                        <a:gd name="connsiteY1177" fmla="*/ 328991 h 491911"/>
                        <a:gd name="connsiteX1178" fmla="*/ 263733 w 321339"/>
                        <a:gd name="connsiteY1178" fmla="*/ 329891 h 491911"/>
                        <a:gd name="connsiteX1179" fmla="*/ 261483 w 321339"/>
                        <a:gd name="connsiteY1179" fmla="*/ 333042 h 491911"/>
                        <a:gd name="connsiteX1180" fmla="*/ 259683 w 321339"/>
                        <a:gd name="connsiteY1180" fmla="*/ 360945 h 491911"/>
                        <a:gd name="connsiteX1181" fmla="*/ 258782 w 321339"/>
                        <a:gd name="connsiteY1181" fmla="*/ 361395 h 491911"/>
                        <a:gd name="connsiteX1182" fmla="*/ 258332 w 321339"/>
                        <a:gd name="connsiteY1182" fmla="*/ 361395 h 491911"/>
                        <a:gd name="connsiteX1183" fmla="*/ 257882 w 321339"/>
                        <a:gd name="connsiteY1183" fmla="*/ 360945 h 491911"/>
                        <a:gd name="connsiteX1184" fmla="*/ 257882 w 321339"/>
                        <a:gd name="connsiteY1184" fmla="*/ 360495 h 491911"/>
                        <a:gd name="connsiteX1185" fmla="*/ 258332 w 321339"/>
                        <a:gd name="connsiteY1185" fmla="*/ 359145 h 491911"/>
                        <a:gd name="connsiteX1186" fmla="*/ 260132 w 321339"/>
                        <a:gd name="connsiteY1186" fmla="*/ 358245 h 491911"/>
                        <a:gd name="connsiteX1187" fmla="*/ 261483 w 321339"/>
                        <a:gd name="connsiteY1187" fmla="*/ 358245 h 491911"/>
                        <a:gd name="connsiteX1188" fmla="*/ 261483 w 321339"/>
                        <a:gd name="connsiteY1188" fmla="*/ 359145 h 491911"/>
                        <a:gd name="connsiteX1189" fmla="*/ 261033 w 321339"/>
                        <a:gd name="connsiteY1189" fmla="*/ 360495 h 491911"/>
                        <a:gd name="connsiteX1190" fmla="*/ 259683 w 321339"/>
                        <a:gd name="connsiteY1190" fmla="*/ 360945 h 491911"/>
                        <a:gd name="connsiteX1191" fmla="*/ 290286 w 321339"/>
                        <a:gd name="connsiteY1191" fmla="*/ 392899 h 491911"/>
                        <a:gd name="connsiteX1192" fmla="*/ 291636 w 321339"/>
                        <a:gd name="connsiteY1192" fmla="*/ 395150 h 491911"/>
                        <a:gd name="connsiteX1193" fmla="*/ 292537 w 321339"/>
                        <a:gd name="connsiteY1193" fmla="*/ 395599 h 491911"/>
                        <a:gd name="connsiteX1194" fmla="*/ 287136 w 321339"/>
                        <a:gd name="connsiteY1194" fmla="*/ 397850 h 491911"/>
                        <a:gd name="connsiteX1195" fmla="*/ 286686 w 321339"/>
                        <a:gd name="connsiteY1195" fmla="*/ 397850 h 491911"/>
                        <a:gd name="connsiteX1196" fmla="*/ 286236 w 321339"/>
                        <a:gd name="connsiteY1196" fmla="*/ 397400 h 491911"/>
                        <a:gd name="connsiteX1197" fmla="*/ 286236 w 321339"/>
                        <a:gd name="connsiteY1197" fmla="*/ 395150 h 491911"/>
                        <a:gd name="connsiteX1198" fmla="*/ 286686 w 321339"/>
                        <a:gd name="connsiteY1198" fmla="*/ 393349 h 491911"/>
                        <a:gd name="connsiteX1199" fmla="*/ 287136 w 321339"/>
                        <a:gd name="connsiteY1199" fmla="*/ 392899 h 491911"/>
                        <a:gd name="connsiteX1200" fmla="*/ 288486 w 321339"/>
                        <a:gd name="connsiteY1200" fmla="*/ 393799 h 491911"/>
                        <a:gd name="connsiteX1201" fmla="*/ 289836 w 321339"/>
                        <a:gd name="connsiteY1201" fmla="*/ 391549 h 491911"/>
                        <a:gd name="connsiteX1202" fmla="*/ 290286 w 321339"/>
                        <a:gd name="connsiteY1202" fmla="*/ 392899 h 491911"/>
                        <a:gd name="connsiteX1203" fmla="*/ 280385 w 321339"/>
                        <a:gd name="connsiteY1203" fmla="*/ 397850 h 491911"/>
                        <a:gd name="connsiteX1204" fmla="*/ 277235 w 321339"/>
                        <a:gd name="connsiteY1204" fmla="*/ 399650 h 491911"/>
                        <a:gd name="connsiteX1205" fmla="*/ 276334 w 321339"/>
                        <a:gd name="connsiteY1205" fmla="*/ 400550 h 491911"/>
                        <a:gd name="connsiteX1206" fmla="*/ 275434 w 321339"/>
                        <a:gd name="connsiteY1206" fmla="*/ 401000 h 491911"/>
                        <a:gd name="connsiteX1207" fmla="*/ 274534 w 321339"/>
                        <a:gd name="connsiteY1207" fmla="*/ 400550 h 491911"/>
                        <a:gd name="connsiteX1208" fmla="*/ 273634 w 321339"/>
                        <a:gd name="connsiteY1208" fmla="*/ 398750 h 491911"/>
                        <a:gd name="connsiteX1209" fmla="*/ 273634 w 321339"/>
                        <a:gd name="connsiteY1209" fmla="*/ 398300 h 491911"/>
                        <a:gd name="connsiteX1210" fmla="*/ 274534 w 321339"/>
                        <a:gd name="connsiteY1210" fmla="*/ 398300 h 491911"/>
                        <a:gd name="connsiteX1211" fmla="*/ 274984 w 321339"/>
                        <a:gd name="connsiteY1211" fmla="*/ 398750 h 491911"/>
                        <a:gd name="connsiteX1212" fmla="*/ 274984 w 321339"/>
                        <a:gd name="connsiteY1212" fmla="*/ 399200 h 491911"/>
                        <a:gd name="connsiteX1213" fmla="*/ 275434 w 321339"/>
                        <a:gd name="connsiteY1213" fmla="*/ 399650 h 491911"/>
                        <a:gd name="connsiteX1214" fmla="*/ 275884 w 321339"/>
                        <a:gd name="connsiteY1214" fmla="*/ 399650 h 491911"/>
                        <a:gd name="connsiteX1215" fmla="*/ 278135 w 321339"/>
                        <a:gd name="connsiteY1215" fmla="*/ 397850 h 491911"/>
                        <a:gd name="connsiteX1216" fmla="*/ 279485 w 321339"/>
                        <a:gd name="connsiteY1216" fmla="*/ 397400 h 491911"/>
                        <a:gd name="connsiteX1217" fmla="*/ 279935 w 321339"/>
                        <a:gd name="connsiteY1217" fmla="*/ 397850 h 491911"/>
                        <a:gd name="connsiteX1218" fmla="*/ 280385 w 321339"/>
                        <a:gd name="connsiteY1218" fmla="*/ 397850 h 491911"/>
                        <a:gd name="connsiteX1219" fmla="*/ 287586 w 321339"/>
                        <a:gd name="connsiteY1219" fmla="*/ 466708 h 491911"/>
                        <a:gd name="connsiteX1220" fmla="*/ 286686 w 321339"/>
                        <a:gd name="connsiteY1220" fmla="*/ 467609 h 491911"/>
                        <a:gd name="connsiteX1221" fmla="*/ 285786 w 321339"/>
                        <a:gd name="connsiteY1221" fmla="*/ 467609 h 491911"/>
                        <a:gd name="connsiteX1222" fmla="*/ 285786 w 321339"/>
                        <a:gd name="connsiteY1222" fmla="*/ 466708 h 491911"/>
                        <a:gd name="connsiteX1223" fmla="*/ 287136 w 321339"/>
                        <a:gd name="connsiteY1223" fmla="*/ 464908 h 491911"/>
                        <a:gd name="connsiteX1224" fmla="*/ 287586 w 321339"/>
                        <a:gd name="connsiteY1224" fmla="*/ 463558 h 491911"/>
                        <a:gd name="connsiteX1225" fmla="*/ 287586 w 321339"/>
                        <a:gd name="connsiteY1225" fmla="*/ 462658 h 491911"/>
                        <a:gd name="connsiteX1226" fmla="*/ 288036 w 321339"/>
                        <a:gd name="connsiteY1226" fmla="*/ 462208 h 491911"/>
                        <a:gd name="connsiteX1227" fmla="*/ 288936 w 321339"/>
                        <a:gd name="connsiteY1227" fmla="*/ 461308 h 491911"/>
                        <a:gd name="connsiteX1228" fmla="*/ 289836 w 321339"/>
                        <a:gd name="connsiteY1228" fmla="*/ 459957 h 491911"/>
                        <a:gd name="connsiteX1229" fmla="*/ 289386 w 321339"/>
                        <a:gd name="connsiteY1229" fmla="*/ 462208 h 491911"/>
                        <a:gd name="connsiteX1230" fmla="*/ 287586 w 321339"/>
                        <a:gd name="connsiteY1230" fmla="*/ 466708 h 49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Lst>
                      <a:rect l="l" t="t" r="r" b="b"/>
                      <a:pathLst>
                        <a:path w="321339" h="491911">
                          <a:moveTo>
                            <a:pt x="226378" y="336192"/>
                          </a:moveTo>
                          <a:lnTo>
                            <a:pt x="226378" y="327191"/>
                          </a:lnTo>
                          <a:lnTo>
                            <a:pt x="226378" y="317290"/>
                          </a:lnTo>
                          <a:lnTo>
                            <a:pt x="217827" y="317290"/>
                          </a:lnTo>
                          <a:lnTo>
                            <a:pt x="209276" y="317290"/>
                          </a:lnTo>
                          <a:lnTo>
                            <a:pt x="200725" y="317290"/>
                          </a:lnTo>
                          <a:lnTo>
                            <a:pt x="192174" y="317290"/>
                          </a:lnTo>
                          <a:lnTo>
                            <a:pt x="183623" y="317290"/>
                          </a:lnTo>
                          <a:lnTo>
                            <a:pt x="174622" y="317290"/>
                          </a:lnTo>
                          <a:lnTo>
                            <a:pt x="166071" y="317290"/>
                          </a:lnTo>
                          <a:lnTo>
                            <a:pt x="157520" y="317290"/>
                          </a:lnTo>
                          <a:lnTo>
                            <a:pt x="148969" y="317290"/>
                          </a:lnTo>
                          <a:lnTo>
                            <a:pt x="140418" y="317290"/>
                          </a:lnTo>
                          <a:lnTo>
                            <a:pt x="131866" y="317290"/>
                          </a:lnTo>
                          <a:lnTo>
                            <a:pt x="123315" y="317290"/>
                          </a:lnTo>
                          <a:lnTo>
                            <a:pt x="114764" y="317290"/>
                          </a:lnTo>
                          <a:lnTo>
                            <a:pt x="106213" y="317290"/>
                          </a:lnTo>
                          <a:lnTo>
                            <a:pt x="97662" y="317290"/>
                          </a:lnTo>
                          <a:lnTo>
                            <a:pt x="89111" y="317290"/>
                          </a:lnTo>
                          <a:lnTo>
                            <a:pt x="85961" y="316840"/>
                          </a:lnTo>
                          <a:lnTo>
                            <a:pt x="85511" y="316390"/>
                          </a:lnTo>
                          <a:lnTo>
                            <a:pt x="85511" y="315490"/>
                          </a:lnTo>
                          <a:lnTo>
                            <a:pt x="85511" y="315039"/>
                          </a:lnTo>
                          <a:lnTo>
                            <a:pt x="87311" y="315039"/>
                          </a:lnTo>
                          <a:lnTo>
                            <a:pt x="88211" y="314589"/>
                          </a:lnTo>
                          <a:lnTo>
                            <a:pt x="88211" y="313239"/>
                          </a:lnTo>
                          <a:lnTo>
                            <a:pt x="87761" y="311889"/>
                          </a:lnTo>
                          <a:lnTo>
                            <a:pt x="85961" y="306488"/>
                          </a:lnTo>
                          <a:lnTo>
                            <a:pt x="83260" y="304688"/>
                          </a:lnTo>
                          <a:lnTo>
                            <a:pt x="82360" y="303338"/>
                          </a:lnTo>
                          <a:lnTo>
                            <a:pt x="82360" y="301988"/>
                          </a:lnTo>
                          <a:lnTo>
                            <a:pt x="82360" y="301538"/>
                          </a:lnTo>
                          <a:lnTo>
                            <a:pt x="80110" y="300638"/>
                          </a:lnTo>
                          <a:lnTo>
                            <a:pt x="80110" y="300188"/>
                          </a:lnTo>
                          <a:lnTo>
                            <a:pt x="80110" y="299738"/>
                          </a:lnTo>
                          <a:lnTo>
                            <a:pt x="81010" y="298387"/>
                          </a:lnTo>
                          <a:lnTo>
                            <a:pt x="82360" y="297037"/>
                          </a:lnTo>
                          <a:lnTo>
                            <a:pt x="83710" y="296137"/>
                          </a:lnTo>
                          <a:lnTo>
                            <a:pt x="85511" y="295237"/>
                          </a:lnTo>
                          <a:lnTo>
                            <a:pt x="91811" y="293887"/>
                          </a:lnTo>
                          <a:lnTo>
                            <a:pt x="94062" y="292987"/>
                          </a:lnTo>
                          <a:lnTo>
                            <a:pt x="94512" y="292537"/>
                          </a:lnTo>
                          <a:lnTo>
                            <a:pt x="91361" y="289386"/>
                          </a:lnTo>
                          <a:lnTo>
                            <a:pt x="90911" y="288486"/>
                          </a:lnTo>
                          <a:lnTo>
                            <a:pt x="90911" y="287586"/>
                          </a:lnTo>
                          <a:lnTo>
                            <a:pt x="91361" y="283535"/>
                          </a:lnTo>
                          <a:lnTo>
                            <a:pt x="91361" y="282635"/>
                          </a:lnTo>
                          <a:lnTo>
                            <a:pt x="90461" y="279935"/>
                          </a:lnTo>
                          <a:lnTo>
                            <a:pt x="89111" y="277685"/>
                          </a:lnTo>
                          <a:lnTo>
                            <a:pt x="88211" y="277235"/>
                          </a:lnTo>
                          <a:lnTo>
                            <a:pt x="86411" y="277235"/>
                          </a:lnTo>
                          <a:lnTo>
                            <a:pt x="84161" y="278135"/>
                          </a:lnTo>
                          <a:lnTo>
                            <a:pt x="83710" y="278585"/>
                          </a:lnTo>
                          <a:lnTo>
                            <a:pt x="82360" y="284436"/>
                          </a:lnTo>
                          <a:lnTo>
                            <a:pt x="81460" y="284886"/>
                          </a:lnTo>
                          <a:lnTo>
                            <a:pt x="78760" y="285786"/>
                          </a:lnTo>
                          <a:lnTo>
                            <a:pt x="77860" y="287136"/>
                          </a:lnTo>
                          <a:lnTo>
                            <a:pt x="77860" y="293887"/>
                          </a:lnTo>
                          <a:lnTo>
                            <a:pt x="77860" y="296587"/>
                          </a:lnTo>
                          <a:lnTo>
                            <a:pt x="79660" y="302888"/>
                          </a:lnTo>
                          <a:lnTo>
                            <a:pt x="79210" y="309639"/>
                          </a:lnTo>
                          <a:lnTo>
                            <a:pt x="78760" y="310989"/>
                          </a:lnTo>
                          <a:lnTo>
                            <a:pt x="76510" y="312789"/>
                          </a:lnTo>
                          <a:lnTo>
                            <a:pt x="76059" y="313239"/>
                          </a:lnTo>
                          <a:lnTo>
                            <a:pt x="75159" y="318640"/>
                          </a:lnTo>
                          <a:lnTo>
                            <a:pt x="74709" y="321790"/>
                          </a:lnTo>
                          <a:lnTo>
                            <a:pt x="74709" y="322690"/>
                          </a:lnTo>
                          <a:lnTo>
                            <a:pt x="75609" y="324041"/>
                          </a:lnTo>
                          <a:lnTo>
                            <a:pt x="75609" y="325391"/>
                          </a:lnTo>
                          <a:lnTo>
                            <a:pt x="71109" y="329441"/>
                          </a:lnTo>
                          <a:lnTo>
                            <a:pt x="69309" y="329891"/>
                          </a:lnTo>
                          <a:lnTo>
                            <a:pt x="67058" y="325841"/>
                          </a:lnTo>
                          <a:lnTo>
                            <a:pt x="67058" y="324941"/>
                          </a:lnTo>
                          <a:lnTo>
                            <a:pt x="67058" y="324491"/>
                          </a:lnTo>
                          <a:lnTo>
                            <a:pt x="68409" y="323590"/>
                          </a:lnTo>
                          <a:lnTo>
                            <a:pt x="68859" y="322240"/>
                          </a:lnTo>
                          <a:lnTo>
                            <a:pt x="68409" y="321340"/>
                          </a:lnTo>
                          <a:lnTo>
                            <a:pt x="66158" y="319540"/>
                          </a:lnTo>
                          <a:lnTo>
                            <a:pt x="62558" y="314589"/>
                          </a:lnTo>
                          <a:lnTo>
                            <a:pt x="60307" y="312789"/>
                          </a:lnTo>
                          <a:lnTo>
                            <a:pt x="58057" y="311439"/>
                          </a:lnTo>
                          <a:lnTo>
                            <a:pt x="55357" y="310539"/>
                          </a:lnTo>
                          <a:lnTo>
                            <a:pt x="52657" y="310089"/>
                          </a:lnTo>
                          <a:lnTo>
                            <a:pt x="51306" y="310089"/>
                          </a:lnTo>
                          <a:lnTo>
                            <a:pt x="50856" y="310539"/>
                          </a:lnTo>
                          <a:lnTo>
                            <a:pt x="49056" y="314139"/>
                          </a:lnTo>
                          <a:lnTo>
                            <a:pt x="48156" y="315039"/>
                          </a:lnTo>
                          <a:lnTo>
                            <a:pt x="47256" y="315039"/>
                          </a:lnTo>
                          <a:lnTo>
                            <a:pt x="45906" y="314139"/>
                          </a:lnTo>
                          <a:lnTo>
                            <a:pt x="44105" y="313689"/>
                          </a:lnTo>
                          <a:lnTo>
                            <a:pt x="43656" y="315039"/>
                          </a:lnTo>
                          <a:lnTo>
                            <a:pt x="43205" y="315490"/>
                          </a:lnTo>
                          <a:lnTo>
                            <a:pt x="41855" y="315490"/>
                          </a:lnTo>
                          <a:lnTo>
                            <a:pt x="39605" y="314589"/>
                          </a:lnTo>
                          <a:lnTo>
                            <a:pt x="38255" y="313689"/>
                          </a:lnTo>
                          <a:lnTo>
                            <a:pt x="36905" y="310089"/>
                          </a:lnTo>
                          <a:lnTo>
                            <a:pt x="36005" y="309189"/>
                          </a:lnTo>
                          <a:lnTo>
                            <a:pt x="33304" y="306938"/>
                          </a:lnTo>
                          <a:lnTo>
                            <a:pt x="32854" y="306938"/>
                          </a:lnTo>
                          <a:lnTo>
                            <a:pt x="32404" y="310539"/>
                          </a:lnTo>
                          <a:lnTo>
                            <a:pt x="31954" y="311889"/>
                          </a:lnTo>
                          <a:lnTo>
                            <a:pt x="31054" y="311439"/>
                          </a:lnTo>
                          <a:lnTo>
                            <a:pt x="30604" y="310989"/>
                          </a:lnTo>
                          <a:lnTo>
                            <a:pt x="29704" y="309639"/>
                          </a:lnTo>
                          <a:lnTo>
                            <a:pt x="29254" y="307389"/>
                          </a:lnTo>
                          <a:lnTo>
                            <a:pt x="29254" y="305588"/>
                          </a:lnTo>
                          <a:lnTo>
                            <a:pt x="30604" y="303788"/>
                          </a:lnTo>
                          <a:lnTo>
                            <a:pt x="30604" y="302888"/>
                          </a:lnTo>
                          <a:lnTo>
                            <a:pt x="29704" y="294337"/>
                          </a:lnTo>
                          <a:lnTo>
                            <a:pt x="29704" y="293437"/>
                          </a:lnTo>
                          <a:lnTo>
                            <a:pt x="30604" y="291637"/>
                          </a:lnTo>
                          <a:lnTo>
                            <a:pt x="30604" y="289386"/>
                          </a:lnTo>
                          <a:lnTo>
                            <a:pt x="31054" y="288036"/>
                          </a:lnTo>
                          <a:lnTo>
                            <a:pt x="31504" y="287136"/>
                          </a:lnTo>
                          <a:lnTo>
                            <a:pt x="31504" y="285786"/>
                          </a:lnTo>
                          <a:lnTo>
                            <a:pt x="31054" y="284436"/>
                          </a:lnTo>
                          <a:lnTo>
                            <a:pt x="29704" y="282185"/>
                          </a:lnTo>
                          <a:lnTo>
                            <a:pt x="28804" y="281735"/>
                          </a:lnTo>
                          <a:lnTo>
                            <a:pt x="27903" y="281285"/>
                          </a:lnTo>
                          <a:lnTo>
                            <a:pt x="27453" y="281735"/>
                          </a:lnTo>
                          <a:lnTo>
                            <a:pt x="27003" y="283535"/>
                          </a:lnTo>
                          <a:lnTo>
                            <a:pt x="25203" y="284436"/>
                          </a:lnTo>
                          <a:lnTo>
                            <a:pt x="24753" y="285336"/>
                          </a:lnTo>
                          <a:lnTo>
                            <a:pt x="23853" y="291187"/>
                          </a:lnTo>
                          <a:lnTo>
                            <a:pt x="23403" y="292087"/>
                          </a:lnTo>
                          <a:lnTo>
                            <a:pt x="20702" y="293437"/>
                          </a:lnTo>
                          <a:lnTo>
                            <a:pt x="19802" y="292987"/>
                          </a:lnTo>
                          <a:lnTo>
                            <a:pt x="18902" y="292987"/>
                          </a:lnTo>
                          <a:lnTo>
                            <a:pt x="17552" y="292987"/>
                          </a:lnTo>
                          <a:lnTo>
                            <a:pt x="15752" y="292087"/>
                          </a:lnTo>
                          <a:lnTo>
                            <a:pt x="14852" y="290736"/>
                          </a:lnTo>
                          <a:lnTo>
                            <a:pt x="14852" y="288036"/>
                          </a:lnTo>
                          <a:lnTo>
                            <a:pt x="15302" y="284886"/>
                          </a:lnTo>
                          <a:lnTo>
                            <a:pt x="15752" y="282635"/>
                          </a:lnTo>
                          <a:lnTo>
                            <a:pt x="17102" y="279485"/>
                          </a:lnTo>
                          <a:lnTo>
                            <a:pt x="17102" y="275435"/>
                          </a:lnTo>
                          <a:lnTo>
                            <a:pt x="17552" y="270484"/>
                          </a:lnTo>
                          <a:lnTo>
                            <a:pt x="17552" y="269584"/>
                          </a:lnTo>
                          <a:lnTo>
                            <a:pt x="16652" y="268684"/>
                          </a:lnTo>
                          <a:lnTo>
                            <a:pt x="15752" y="268234"/>
                          </a:lnTo>
                          <a:lnTo>
                            <a:pt x="14852" y="267333"/>
                          </a:lnTo>
                          <a:lnTo>
                            <a:pt x="13952" y="264183"/>
                          </a:lnTo>
                          <a:lnTo>
                            <a:pt x="13052" y="262833"/>
                          </a:lnTo>
                          <a:lnTo>
                            <a:pt x="6751" y="260583"/>
                          </a:lnTo>
                          <a:lnTo>
                            <a:pt x="6301" y="260133"/>
                          </a:lnTo>
                          <a:lnTo>
                            <a:pt x="6301" y="259232"/>
                          </a:lnTo>
                          <a:lnTo>
                            <a:pt x="6751" y="255632"/>
                          </a:lnTo>
                          <a:lnTo>
                            <a:pt x="6301" y="253382"/>
                          </a:lnTo>
                          <a:lnTo>
                            <a:pt x="4951" y="252032"/>
                          </a:lnTo>
                          <a:lnTo>
                            <a:pt x="0" y="244831"/>
                          </a:lnTo>
                          <a:lnTo>
                            <a:pt x="0" y="243931"/>
                          </a:lnTo>
                          <a:lnTo>
                            <a:pt x="450" y="242580"/>
                          </a:lnTo>
                          <a:lnTo>
                            <a:pt x="1350" y="241230"/>
                          </a:lnTo>
                          <a:lnTo>
                            <a:pt x="4951" y="237630"/>
                          </a:lnTo>
                          <a:lnTo>
                            <a:pt x="4951" y="237180"/>
                          </a:lnTo>
                          <a:lnTo>
                            <a:pt x="4951" y="236280"/>
                          </a:lnTo>
                          <a:lnTo>
                            <a:pt x="3600" y="232229"/>
                          </a:lnTo>
                          <a:lnTo>
                            <a:pt x="3150" y="229979"/>
                          </a:lnTo>
                          <a:lnTo>
                            <a:pt x="3150" y="228179"/>
                          </a:lnTo>
                          <a:lnTo>
                            <a:pt x="3600" y="226378"/>
                          </a:lnTo>
                          <a:lnTo>
                            <a:pt x="4050" y="225928"/>
                          </a:lnTo>
                          <a:lnTo>
                            <a:pt x="4951" y="225478"/>
                          </a:lnTo>
                          <a:lnTo>
                            <a:pt x="9451" y="227278"/>
                          </a:lnTo>
                          <a:lnTo>
                            <a:pt x="9901" y="227278"/>
                          </a:lnTo>
                          <a:lnTo>
                            <a:pt x="10801" y="225028"/>
                          </a:lnTo>
                          <a:lnTo>
                            <a:pt x="12602" y="223678"/>
                          </a:lnTo>
                          <a:lnTo>
                            <a:pt x="12602" y="222328"/>
                          </a:lnTo>
                          <a:lnTo>
                            <a:pt x="11701" y="221428"/>
                          </a:lnTo>
                          <a:lnTo>
                            <a:pt x="11701" y="220978"/>
                          </a:lnTo>
                          <a:lnTo>
                            <a:pt x="9901" y="216477"/>
                          </a:lnTo>
                          <a:lnTo>
                            <a:pt x="8101" y="213327"/>
                          </a:lnTo>
                          <a:lnTo>
                            <a:pt x="7201" y="211076"/>
                          </a:lnTo>
                          <a:lnTo>
                            <a:pt x="6751" y="209276"/>
                          </a:lnTo>
                          <a:lnTo>
                            <a:pt x="7201" y="208376"/>
                          </a:lnTo>
                          <a:lnTo>
                            <a:pt x="7651" y="207926"/>
                          </a:lnTo>
                          <a:lnTo>
                            <a:pt x="9001" y="207926"/>
                          </a:lnTo>
                          <a:lnTo>
                            <a:pt x="9901" y="208376"/>
                          </a:lnTo>
                          <a:lnTo>
                            <a:pt x="12602" y="212877"/>
                          </a:lnTo>
                          <a:lnTo>
                            <a:pt x="18902" y="218727"/>
                          </a:lnTo>
                          <a:lnTo>
                            <a:pt x="22053" y="220078"/>
                          </a:lnTo>
                          <a:lnTo>
                            <a:pt x="23403" y="218277"/>
                          </a:lnTo>
                          <a:lnTo>
                            <a:pt x="23403" y="216477"/>
                          </a:lnTo>
                          <a:lnTo>
                            <a:pt x="22053" y="212877"/>
                          </a:lnTo>
                          <a:lnTo>
                            <a:pt x="22503" y="211076"/>
                          </a:lnTo>
                          <a:lnTo>
                            <a:pt x="21153" y="206126"/>
                          </a:lnTo>
                          <a:lnTo>
                            <a:pt x="21603" y="203876"/>
                          </a:lnTo>
                          <a:lnTo>
                            <a:pt x="21603" y="202975"/>
                          </a:lnTo>
                          <a:lnTo>
                            <a:pt x="20253" y="199825"/>
                          </a:lnTo>
                          <a:lnTo>
                            <a:pt x="20253" y="199375"/>
                          </a:lnTo>
                          <a:lnTo>
                            <a:pt x="20702" y="198925"/>
                          </a:lnTo>
                          <a:lnTo>
                            <a:pt x="21603" y="199375"/>
                          </a:lnTo>
                          <a:lnTo>
                            <a:pt x="23853" y="201625"/>
                          </a:lnTo>
                          <a:lnTo>
                            <a:pt x="31954" y="210626"/>
                          </a:lnTo>
                          <a:lnTo>
                            <a:pt x="33754" y="211977"/>
                          </a:lnTo>
                          <a:lnTo>
                            <a:pt x="35104" y="212877"/>
                          </a:lnTo>
                          <a:lnTo>
                            <a:pt x="39155" y="214227"/>
                          </a:lnTo>
                          <a:lnTo>
                            <a:pt x="39605" y="214677"/>
                          </a:lnTo>
                          <a:lnTo>
                            <a:pt x="40955" y="218277"/>
                          </a:lnTo>
                          <a:lnTo>
                            <a:pt x="42305" y="219628"/>
                          </a:lnTo>
                          <a:lnTo>
                            <a:pt x="43656" y="220528"/>
                          </a:lnTo>
                          <a:lnTo>
                            <a:pt x="55357" y="221428"/>
                          </a:lnTo>
                          <a:lnTo>
                            <a:pt x="61658" y="220978"/>
                          </a:lnTo>
                          <a:lnTo>
                            <a:pt x="71559" y="221428"/>
                          </a:lnTo>
                          <a:lnTo>
                            <a:pt x="80560" y="225028"/>
                          </a:lnTo>
                          <a:lnTo>
                            <a:pt x="83710" y="225928"/>
                          </a:lnTo>
                          <a:lnTo>
                            <a:pt x="84611" y="225928"/>
                          </a:lnTo>
                          <a:lnTo>
                            <a:pt x="85511" y="225028"/>
                          </a:lnTo>
                          <a:lnTo>
                            <a:pt x="87311" y="220078"/>
                          </a:lnTo>
                          <a:lnTo>
                            <a:pt x="89111" y="214677"/>
                          </a:lnTo>
                          <a:lnTo>
                            <a:pt x="89561" y="212877"/>
                          </a:lnTo>
                          <a:lnTo>
                            <a:pt x="89561" y="211977"/>
                          </a:lnTo>
                          <a:lnTo>
                            <a:pt x="88211" y="208376"/>
                          </a:lnTo>
                          <a:lnTo>
                            <a:pt x="88661" y="206576"/>
                          </a:lnTo>
                          <a:lnTo>
                            <a:pt x="89111" y="205676"/>
                          </a:lnTo>
                          <a:lnTo>
                            <a:pt x="90911" y="204326"/>
                          </a:lnTo>
                          <a:lnTo>
                            <a:pt x="96762" y="200725"/>
                          </a:lnTo>
                          <a:lnTo>
                            <a:pt x="97662" y="199375"/>
                          </a:lnTo>
                          <a:lnTo>
                            <a:pt x="96762" y="197125"/>
                          </a:lnTo>
                          <a:lnTo>
                            <a:pt x="96762" y="195775"/>
                          </a:lnTo>
                          <a:lnTo>
                            <a:pt x="96762" y="193974"/>
                          </a:lnTo>
                          <a:lnTo>
                            <a:pt x="96762" y="193074"/>
                          </a:lnTo>
                          <a:lnTo>
                            <a:pt x="93612" y="192174"/>
                          </a:lnTo>
                          <a:lnTo>
                            <a:pt x="92262" y="191274"/>
                          </a:lnTo>
                          <a:lnTo>
                            <a:pt x="91361" y="189924"/>
                          </a:lnTo>
                          <a:lnTo>
                            <a:pt x="89111" y="185873"/>
                          </a:lnTo>
                          <a:lnTo>
                            <a:pt x="85511" y="180023"/>
                          </a:lnTo>
                          <a:lnTo>
                            <a:pt x="85511" y="179123"/>
                          </a:lnTo>
                          <a:lnTo>
                            <a:pt x="85511" y="177772"/>
                          </a:lnTo>
                          <a:lnTo>
                            <a:pt x="86411" y="176872"/>
                          </a:lnTo>
                          <a:lnTo>
                            <a:pt x="88211" y="175972"/>
                          </a:lnTo>
                          <a:lnTo>
                            <a:pt x="88661" y="175522"/>
                          </a:lnTo>
                          <a:lnTo>
                            <a:pt x="88211" y="174172"/>
                          </a:lnTo>
                          <a:lnTo>
                            <a:pt x="82810" y="172822"/>
                          </a:lnTo>
                          <a:lnTo>
                            <a:pt x="81910" y="171922"/>
                          </a:lnTo>
                          <a:lnTo>
                            <a:pt x="80110" y="171471"/>
                          </a:lnTo>
                          <a:lnTo>
                            <a:pt x="79210" y="171471"/>
                          </a:lnTo>
                          <a:lnTo>
                            <a:pt x="79660" y="169671"/>
                          </a:lnTo>
                          <a:lnTo>
                            <a:pt x="81460" y="166971"/>
                          </a:lnTo>
                          <a:lnTo>
                            <a:pt x="81010" y="166521"/>
                          </a:lnTo>
                          <a:lnTo>
                            <a:pt x="77410" y="164721"/>
                          </a:lnTo>
                          <a:lnTo>
                            <a:pt x="76960" y="164271"/>
                          </a:lnTo>
                          <a:lnTo>
                            <a:pt x="76960" y="163820"/>
                          </a:lnTo>
                          <a:lnTo>
                            <a:pt x="76960" y="162470"/>
                          </a:lnTo>
                          <a:lnTo>
                            <a:pt x="76510" y="160220"/>
                          </a:lnTo>
                          <a:lnTo>
                            <a:pt x="78310" y="158870"/>
                          </a:lnTo>
                          <a:lnTo>
                            <a:pt x="80560" y="158420"/>
                          </a:lnTo>
                          <a:lnTo>
                            <a:pt x="81010" y="157070"/>
                          </a:lnTo>
                          <a:lnTo>
                            <a:pt x="80560" y="155269"/>
                          </a:lnTo>
                          <a:lnTo>
                            <a:pt x="77410" y="148969"/>
                          </a:lnTo>
                          <a:lnTo>
                            <a:pt x="77410" y="148519"/>
                          </a:lnTo>
                          <a:lnTo>
                            <a:pt x="77860" y="147168"/>
                          </a:lnTo>
                          <a:lnTo>
                            <a:pt x="79210" y="145368"/>
                          </a:lnTo>
                          <a:lnTo>
                            <a:pt x="79660" y="144018"/>
                          </a:lnTo>
                          <a:lnTo>
                            <a:pt x="81010" y="142218"/>
                          </a:lnTo>
                          <a:lnTo>
                            <a:pt x="81910" y="141318"/>
                          </a:lnTo>
                          <a:lnTo>
                            <a:pt x="82360" y="135917"/>
                          </a:lnTo>
                          <a:lnTo>
                            <a:pt x="83260" y="133667"/>
                          </a:lnTo>
                          <a:lnTo>
                            <a:pt x="84161" y="131867"/>
                          </a:lnTo>
                          <a:lnTo>
                            <a:pt x="85060" y="128266"/>
                          </a:lnTo>
                          <a:lnTo>
                            <a:pt x="85060" y="127816"/>
                          </a:lnTo>
                          <a:lnTo>
                            <a:pt x="84161" y="126466"/>
                          </a:lnTo>
                          <a:lnTo>
                            <a:pt x="84161" y="125116"/>
                          </a:lnTo>
                          <a:lnTo>
                            <a:pt x="85511" y="121965"/>
                          </a:lnTo>
                          <a:lnTo>
                            <a:pt x="85060" y="117465"/>
                          </a:lnTo>
                          <a:lnTo>
                            <a:pt x="85060" y="116115"/>
                          </a:lnTo>
                          <a:lnTo>
                            <a:pt x="85511" y="115214"/>
                          </a:lnTo>
                          <a:lnTo>
                            <a:pt x="88211" y="111614"/>
                          </a:lnTo>
                          <a:lnTo>
                            <a:pt x="88661" y="110714"/>
                          </a:lnTo>
                          <a:lnTo>
                            <a:pt x="88661" y="109364"/>
                          </a:lnTo>
                          <a:lnTo>
                            <a:pt x="88211" y="109364"/>
                          </a:lnTo>
                          <a:lnTo>
                            <a:pt x="85961" y="110714"/>
                          </a:lnTo>
                          <a:lnTo>
                            <a:pt x="84161" y="110264"/>
                          </a:lnTo>
                          <a:lnTo>
                            <a:pt x="83260" y="109814"/>
                          </a:lnTo>
                          <a:lnTo>
                            <a:pt x="82810" y="108914"/>
                          </a:lnTo>
                          <a:lnTo>
                            <a:pt x="81910" y="106663"/>
                          </a:lnTo>
                          <a:lnTo>
                            <a:pt x="81010" y="105763"/>
                          </a:lnTo>
                          <a:lnTo>
                            <a:pt x="80560" y="105763"/>
                          </a:lnTo>
                          <a:lnTo>
                            <a:pt x="79210" y="106663"/>
                          </a:lnTo>
                          <a:lnTo>
                            <a:pt x="78310" y="105763"/>
                          </a:lnTo>
                          <a:lnTo>
                            <a:pt x="76960" y="103063"/>
                          </a:lnTo>
                          <a:lnTo>
                            <a:pt x="75159" y="97212"/>
                          </a:lnTo>
                          <a:lnTo>
                            <a:pt x="71559" y="94062"/>
                          </a:lnTo>
                          <a:lnTo>
                            <a:pt x="71109" y="93162"/>
                          </a:lnTo>
                          <a:lnTo>
                            <a:pt x="71109" y="92262"/>
                          </a:lnTo>
                          <a:lnTo>
                            <a:pt x="71559" y="91362"/>
                          </a:lnTo>
                          <a:lnTo>
                            <a:pt x="77410" y="83711"/>
                          </a:lnTo>
                          <a:lnTo>
                            <a:pt x="79210" y="81910"/>
                          </a:lnTo>
                          <a:lnTo>
                            <a:pt x="82810" y="79660"/>
                          </a:lnTo>
                          <a:lnTo>
                            <a:pt x="83260" y="78760"/>
                          </a:lnTo>
                          <a:lnTo>
                            <a:pt x="83260" y="77860"/>
                          </a:lnTo>
                          <a:lnTo>
                            <a:pt x="82360" y="75610"/>
                          </a:lnTo>
                          <a:lnTo>
                            <a:pt x="79210" y="76059"/>
                          </a:lnTo>
                          <a:lnTo>
                            <a:pt x="78760" y="75610"/>
                          </a:lnTo>
                          <a:lnTo>
                            <a:pt x="78310" y="73809"/>
                          </a:lnTo>
                          <a:lnTo>
                            <a:pt x="78310" y="72909"/>
                          </a:lnTo>
                          <a:lnTo>
                            <a:pt x="78760" y="72009"/>
                          </a:lnTo>
                          <a:lnTo>
                            <a:pt x="79660" y="71109"/>
                          </a:lnTo>
                          <a:lnTo>
                            <a:pt x="81010" y="70209"/>
                          </a:lnTo>
                          <a:lnTo>
                            <a:pt x="89561" y="68409"/>
                          </a:lnTo>
                          <a:lnTo>
                            <a:pt x="90461" y="67959"/>
                          </a:lnTo>
                          <a:lnTo>
                            <a:pt x="90461" y="67508"/>
                          </a:lnTo>
                          <a:lnTo>
                            <a:pt x="90461" y="66608"/>
                          </a:lnTo>
                          <a:lnTo>
                            <a:pt x="90011" y="65258"/>
                          </a:lnTo>
                          <a:lnTo>
                            <a:pt x="88661" y="63908"/>
                          </a:lnTo>
                          <a:lnTo>
                            <a:pt x="86861" y="63008"/>
                          </a:lnTo>
                          <a:lnTo>
                            <a:pt x="85511" y="62558"/>
                          </a:lnTo>
                          <a:lnTo>
                            <a:pt x="80110" y="64808"/>
                          </a:lnTo>
                          <a:lnTo>
                            <a:pt x="76510" y="66608"/>
                          </a:lnTo>
                          <a:lnTo>
                            <a:pt x="75609" y="66608"/>
                          </a:lnTo>
                          <a:lnTo>
                            <a:pt x="74709" y="65708"/>
                          </a:lnTo>
                          <a:lnTo>
                            <a:pt x="73359" y="62558"/>
                          </a:lnTo>
                          <a:lnTo>
                            <a:pt x="66608" y="60758"/>
                          </a:lnTo>
                          <a:lnTo>
                            <a:pt x="62558" y="59858"/>
                          </a:lnTo>
                          <a:lnTo>
                            <a:pt x="61658" y="58957"/>
                          </a:lnTo>
                          <a:lnTo>
                            <a:pt x="61658" y="57607"/>
                          </a:lnTo>
                          <a:lnTo>
                            <a:pt x="62108" y="56257"/>
                          </a:lnTo>
                          <a:lnTo>
                            <a:pt x="62558" y="55357"/>
                          </a:lnTo>
                          <a:lnTo>
                            <a:pt x="63008" y="54907"/>
                          </a:lnTo>
                          <a:lnTo>
                            <a:pt x="71109" y="57157"/>
                          </a:lnTo>
                          <a:lnTo>
                            <a:pt x="72009" y="57157"/>
                          </a:lnTo>
                          <a:lnTo>
                            <a:pt x="72909" y="56257"/>
                          </a:lnTo>
                          <a:lnTo>
                            <a:pt x="72909" y="55357"/>
                          </a:lnTo>
                          <a:lnTo>
                            <a:pt x="70659" y="53557"/>
                          </a:lnTo>
                          <a:lnTo>
                            <a:pt x="69759" y="52657"/>
                          </a:lnTo>
                          <a:lnTo>
                            <a:pt x="69309" y="50406"/>
                          </a:lnTo>
                          <a:lnTo>
                            <a:pt x="68859" y="48156"/>
                          </a:lnTo>
                          <a:lnTo>
                            <a:pt x="68859" y="42755"/>
                          </a:lnTo>
                          <a:lnTo>
                            <a:pt x="69309" y="40955"/>
                          </a:lnTo>
                          <a:lnTo>
                            <a:pt x="71109" y="38705"/>
                          </a:lnTo>
                          <a:lnTo>
                            <a:pt x="72009" y="37805"/>
                          </a:lnTo>
                          <a:lnTo>
                            <a:pt x="72009" y="36005"/>
                          </a:lnTo>
                          <a:lnTo>
                            <a:pt x="70659" y="35554"/>
                          </a:lnTo>
                          <a:lnTo>
                            <a:pt x="64808" y="38255"/>
                          </a:lnTo>
                          <a:lnTo>
                            <a:pt x="63458" y="37355"/>
                          </a:lnTo>
                          <a:lnTo>
                            <a:pt x="62558" y="35104"/>
                          </a:lnTo>
                          <a:lnTo>
                            <a:pt x="63008" y="23403"/>
                          </a:lnTo>
                          <a:lnTo>
                            <a:pt x="63458" y="21153"/>
                          </a:lnTo>
                          <a:lnTo>
                            <a:pt x="65708" y="19353"/>
                          </a:lnTo>
                          <a:lnTo>
                            <a:pt x="65708" y="18452"/>
                          </a:lnTo>
                          <a:lnTo>
                            <a:pt x="65708" y="18002"/>
                          </a:lnTo>
                          <a:lnTo>
                            <a:pt x="65258" y="17552"/>
                          </a:lnTo>
                          <a:lnTo>
                            <a:pt x="62108" y="15752"/>
                          </a:lnTo>
                          <a:lnTo>
                            <a:pt x="61208" y="14852"/>
                          </a:lnTo>
                          <a:lnTo>
                            <a:pt x="60758" y="13502"/>
                          </a:lnTo>
                          <a:lnTo>
                            <a:pt x="60758" y="13052"/>
                          </a:lnTo>
                          <a:lnTo>
                            <a:pt x="63008" y="12602"/>
                          </a:lnTo>
                          <a:lnTo>
                            <a:pt x="64358" y="11251"/>
                          </a:lnTo>
                          <a:lnTo>
                            <a:pt x="65708" y="10351"/>
                          </a:lnTo>
                          <a:lnTo>
                            <a:pt x="66158" y="9001"/>
                          </a:lnTo>
                          <a:lnTo>
                            <a:pt x="65708" y="8101"/>
                          </a:lnTo>
                          <a:lnTo>
                            <a:pt x="62558" y="6751"/>
                          </a:lnTo>
                          <a:lnTo>
                            <a:pt x="61208" y="4951"/>
                          </a:lnTo>
                          <a:lnTo>
                            <a:pt x="61208" y="2700"/>
                          </a:lnTo>
                          <a:lnTo>
                            <a:pt x="61658" y="1800"/>
                          </a:lnTo>
                          <a:lnTo>
                            <a:pt x="66158" y="0"/>
                          </a:lnTo>
                          <a:lnTo>
                            <a:pt x="68409" y="1800"/>
                          </a:lnTo>
                          <a:lnTo>
                            <a:pt x="69759" y="3601"/>
                          </a:lnTo>
                          <a:lnTo>
                            <a:pt x="70209" y="5851"/>
                          </a:lnTo>
                          <a:lnTo>
                            <a:pt x="67958" y="9001"/>
                          </a:lnTo>
                          <a:lnTo>
                            <a:pt x="63908" y="11251"/>
                          </a:lnTo>
                          <a:lnTo>
                            <a:pt x="62558" y="12152"/>
                          </a:lnTo>
                          <a:lnTo>
                            <a:pt x="63458" y="12602"/>
                          </a:lnTo>
                          <a:lnTo>
                            <a:pt x="67058" y="10801"/>
                          </a:lnTo>
                          <a:lnTo>
                            <a:pt x="70209" y="9901"/>
                          </a:lnTo>
                          <a:lnTo>
                            <a:pt x="72909" y="9901"/>
                          </a:lnTo>
                          <a:lnTo>
                            <a:pt x="75159" y="13952"/>
                          </a:lnTo>
                          <a:lnTo>
                            <a:pt x="75609" y="19353"/>
                          </a:lnTo>
                          <a:lnTo>
                            <a:pt x="74259" y="23853"/>
                          </a:lnTo>
                          <a:lnTo>
                            <a:pt x="76059" y="21603"/>
                          </a:lnTo>
                          <a:lnTo>
                            <a:pt x="77860" y="20253"/>
                          </a:lnTo>
                          <a:lnTo>
                            <a:pt x="79660" y="22953"/>
                          </a:lnTo>
                          <a:lnTo>
                            <a:pt x="79660" y="25203"/>
                          </a:lnTo>
                          <a:lnTo>
                            <a:pt x="80560" y="27453"/>
                          </a:lnTo>
                          <a:lnTo>
                            <a:pt x="82360" y="30604"/>
                          </a:lnTo>
                          <a:lnTo>
                            <a:pt x="84161" y="33304"/>
                          </a:lnTo>
                          <a:lnTo>
                            <a:pt x="81910" y="36005"/>
                          </a:lnTo>
                          <a:lnTo>
                            <a:pt x="79210" y="37805"/>
                          </a:lnTo>
                          <a:lnTo>
                            <a:pt x="79660" y="39155"/>
                          </a:lnTo>
                          <a:lnTo>
                            <a:pt x="83260" y="40505"/>
                          </a:lnTo>
                          <a:lnTo>
                            <a:pt x="83710" y="41855"/>
                          </a:lnTo>
                          <a:lnTo>
                            <a:pt x="83260" y="43656"/>
                          </a:lnTo>
                          <a:lnTo>
                            <a:pt x="83710" y="43656"/>
                          </a:lnTo>
                          <a:lnTo>
                            <a:pt x="85961" y="40955"/>
                          </a:lnTo>
                          <a:lnTo>
                            <a:pt x="88211" y="41405"/>
                          </a:lnTo>
                          <a:lnTo>
                            <a:pt x="90911" y="47256"/>
                          </a:lnTo>
                          <a:lnTo>
                            <a:pt x="89111" y="50406"/>
                          </a:lnTo>
                          <a:lnTo>
                            <a:pt x="85961" y="51756"/>
                          </a:lnTo>
                          <a:lnTo>
                            <a:pt x="83710" y="52207"/>
                          </a:lnTo>
                          <a:lnTo>
                            <a:pt x="80560" y="52207"/>
                          </a:lnTo>
                          <a:lnTo>
                            <a:pt x="79210" y="52657"/>
                          </a:lnTo>
                          <a:lnTo>
                            <a:pt x="79660" y="53557"/>
                          </a:lnTo>
                          <a:lnTo>
                            <a:pt x="82810" y="53557"/>
                          </a:lnTo>
                          <a:lnTo>
                            <a:pt x="87761" y="52657"/>
                          </a:lnTo>
                          <a:lnTo>
                            <a:pt x="91361" y="51306"/>
                          </a:lnTo>
                          <a:lnTo>
                            <a:pt x="92711" y="51306"/>
                          </a:lnTo>
                          <a:lnTo>
                            <a:pt x="94512" y="51756"/>
                          </a:lnTo>
                          <a:lnTo>
                            <a:pt x="94962" y="52207"/>
                          </a:lnTo>
                          <a:lnTo>
                            <a:pt x="93162" y="53107"/>
                          </a:lnTo>
                          <a:lnTo>
                            <a:pt x="93162" y="53557"/>
                          </a:lnTo>
                          <a:lnTo>
                            <a:pt x="93612" y="54457"/>
                          </a:lnTo>
                          <a:lnTo>
                            <a:pt x="94962" y="57607"/>
                          </a:lnTo>
                          <a:lnTo>
                            <a:pt x="94962" y="58507"/>
                          </a:lnTo>
                          <a:lnTo>
                            <a:pt x="93612" y="60308"/>
                          </a:lnTo>
                          <a:lnTo>
                            <a:pt x="95862" y="60758"/>
                          </a:lnTo>
                          <a:lnTo>
                            <a:pt x="98562" y="59858"/>
                          </a:lnTo>
                          <a:lnTo>
                            <a:pt x="99462" y="60758"/>
                          </a:lnTo>
                          <a:lnTo>
                            <a:pt x="101263" y="64358"/>
                          </a:lnTo>
                          <a:lnTo>
                            <a:pt x="102163" y="67959"/>
                          </a:lnTo>
                          <a:lnTo>
                            <a:pt x="97212" y="72909"/>
                          </a:lnTo>
                          <a:lnTo>
                            <a:pt x="94962" y="73809"/>
                          </a:lnTo>
                          <a:lnTo>
                            <a:pt x="91361" y="76510"/>
                          </a:lnTo>
                          <a:lnTo>
                            <a:pt x="90461" y="78760"/>
                          </a:lnTo>
                          <a:lnTo>
                            <a:pt x="88211" y="81460"/>
                          </a:lnTo>
                          <a:lnTo>
                            <a:pt x="89561" y="81460"/>
                          </a:lnTo>
                          <a:lnTo>
                            <a:pt x="93162" y="76960"/>
                          </a:lnTo>
                          <a:lnTo>
                            <a:pt x="94962" y="76059"/>
                          </a:lnTo>
                          <a:lnTo>
                            <a:pt x="96312" y="76510"/>
                          </a:lnTo>
                          <a:lnTo>
                            <a:pt x="96762" y="77410"/>
                          </a:lnTo>
                          <a:lnTo>
                            <a:pt x="96312" y="78760"/>
                          </a:lnTo>
                          <a:lnTo>
                            <a:pt x="97662" y="78760"/>
                          </a:lnTo>
                          <a:lnTo>
                            <a:pt x="102613" y="76059"/>
                          </a:lnTo>
                          <a:lnTo>
                            <a:pt x="104863" y="75610"/>
                          </a:lnTo>
                          <a:lnTo>
                            <a:pt x="107563" y="75610"/>
                          </a:lnTo>
                          <a:lnTo>
                            <a:pt x="108014" y="76510"/>
                          </a:lnTo>
                          <a:lnTo>
                            <a:pt x="106213" y="82810"/>
                          </a:lnTo>
                          <a:lnTo>
                            <a:pt x="103513" y="87761"/>
                          </a:lnTo>
                          <a:lnTo>
                            <a:pt x="98112" y="90911"/>
                          </a:lnTo>
                          <a:lnTo>
                            <a:pt x="96312" y="92712"/>
                          </a:lnTo>
                          <a:lnTo>
                            <a:pt x="94062" y="95412"/>
                          </a:lnTo>
                          <a:lnTo>
                            <a:pt x="94962" y="95862"/>
                          </a:lnTo>
                          <a:lnTo>
                            <a:pt x="99913" y="92262"/>
                          </a:lnTo>
                          <a:lnTo>
                            <a:pt x="103513" y="90911"/>
                          </a:lnTo>
                          <a:lnTo>
                            <a:pt x="108463" y="89561"/>
                          </a:lnTo>
                          <a:lnTo>
                            <a:pt x="110714" y="89561"/>
                          </a:lnTo>
                          <a:lnTo>
                            <a:pt x="114764" y="96762"/>
                          </a:lnTo>
                          <a:lnTo>
                            <a:pt x="117015" y="97662"/>
                          </a:lnTo>
                          <a:lnTo>
                            <a:pt x="118815" y="97212"/>
                          </a:lnTo>
                          <a:lnTo>
                            <a:pt x="121965" y="99462"/>
                          </a:lnTo>
                          <a:lnTo>
                            <a:pt x="123315" y="101263"/>
                          </a:lnTo>
                          <a:lnTo>
                            <a:pt x="122865" y="102613"/>
                          </a:lnTo>
                          <a:lnTo>
                            <a:pt x="121515" y="103513"/>
                          </a:lnTo>
                          <a:lnTo>
                            <a:pt x="121065" y="104863"/>
                          </a:lnTo>
                          <a:lnTo>
                            <a:pt x="122415" y="108914"/>
                          </a:lnTo>
                          <a:lnTo>
                            <a:pt x="121515" y="111164"/>
                          </a:lnTo>
                          <a:lnTo>
                            <a:pt x="119265" y="112964"/>
                          </a:lnTo>
                          <a:lnTo>
                            <a:pt x="117465" y="113864"/>
                          </a:lnTo>
                          <a:lnTo>
                            <a:pt x="115665" y="114314"/>
                          </a:lnTo>
                          <a:lnTo>
                            <a:pt x="113864" y="116115"/>
                          </a:lnTo>
                          <a:lnTo>
                            <a:pt x="112964" y="116565"/>
                          </a:lnTo>
                          <a:lnTo>
                            <a:pt x="110264" y="116115"/>
                          </a:lnTo>
                          <a:lnTo>
                            <a:pt x="111164" y="117015"/>
                          </a:lnTo>
                          <a:lnTo>
                            <a:pt x="112514" y="117465"/>
                          </a:lnTo>
                          <a:lnTo>
                            <a:pt x="114314" y="117915"/>
                          </a:lnTo>
                          <a:lnTo>
                            <a:pt x="116564" y="117465"/>
                          </a:lnTo>
                          <a:lnTo>
                            <a:pt x="118815" y="117465"/>
                          </a:lnTo>
                          <a:lnTo>
                            <a:pt x="122415" y="118815"/>
                          </a:lnTo>
                          <a:lnTo>
                            <a:pt x="123765" y="120165"/>
                          </a:lnTo>
                          <a:lnTo>
                            <a:pt x="123765" y="120615"/>
                          </a:lnTo>
                          <a:lnTo>
                            <a:pt x="122865" y="121515"/>
                          </a:lnTo>
                          <a:lnTo>
                            <a:pt x="121515" y="124216"/>
                          </a:lnTo>
                          <a:lnTo>
                            <a:pt x="120615" y="125116"/>
                          </a:lnTo>
                          <a:lnTo>
                            <a:pt x="121515" y="126016"/>
                          </a:lnTo>
                          <a:lnTo>
                            <a:pt x="123315" y="127366"/>
                          </a:lnTo>
                          <a:lnTo>
                            <a:pt x="124666" y="127816"/>
                          </a:lnTo>
                          <a:lnTo>
                            <a:pt x="126466" y="127366"/>
                          </a:lnTo>
                          <a:lnTo>
                            <a:pt x="128266" y="127816"/>
                          </a:lnTo>
                          <a:lnTo>
                            <a:pt x="134567" y="134567"/>
                          </a:lnTo>
                          <a:lnTo>
                            <a:pt x="134117" y="138167"/>
                          </a:lnTo>
                          <a:lnTo>
                            <a:pt x="133217" y="140868"/>
                          </a:lnTo>
                          <a:lnTo>
                            <a:pt x="133667" y="144018"/>
                          </a:lnTo>
                          <a:lnTo>
                            <a:pt x="133667" y="147619"/>
                          </a:lnTo>
                          <a:lnTo>
                            <a:pt x="130066" y="148519"/>
                          </a:lnTo>
                          <a:lnTo>
                            <a:pt x="118815" y="146718"/>
                          </a:lnTo>
                          <a:lnTo>
                            <a:pt x="112514" y="144018"/>
                          </a:lnTo>
                          <a:lnTo>
                            <a:pt x="112064" y="143118"/>
                          </a:lnTo>
                          <a:lnTo>
                            <a:pt x="113864" y="141318"/>
                          </a:lnTo>
                          <a:lnTo>
                            <a:pt x="112064" y="141318"/>
                          </a:lnTo>
                          <a:lnTo>
                            <a:pt x="110264" y="142218"/>
                          </a:lnTo>
                          <a:lnTo>
                            <a:pt x="109364" y="142668"/>
                          </a:lnTo>
                          <a:lnTo>
                            <a:pt x="111614" y="145368"/>
                          </a:lnTo>
                          <a:lnTo>
                            <a:pt x="117465" y="147619"/>
                          </a:lnTo>
                          <a:lnTo>
                            <a:pt x="120165" y="150769"/>
                          </a:lnTo>
                          <a:lnTo>
                            <a:pt x="122865" y="151219"/>
                          </a:lnTo>
                          <a:lnTo>
                            <a:pt x="123765" y="151669"/>
                          </a:lnTo>
                          <a:lnTo>
                            <a:pt x="125566" y="153469"/>
                          </a:lnTo>
                          <a:lnTo>
                            <a:pt x="125116" y="153919"/>
                          </a:lnTo>
                          <a:lnTo>
                            <a:pt x="121965" y="153919"/>
                          </a:lnTo>
                          <a:lnTo>
                            <a:pt x="119715" y="155720"/>
                          </a:lnTo>
                          <a:lnTo>
                            <a:pt x="121065" y="157070"/>
                          </a:lnTo>
                          <a:lnTo>
                            <a:pt x="126466" y="157970"/>
                          </a:lnTo>
                          <a:lnTo>
                            <a:pt x="130066" y="158420"/>
                          </a:lnTo>
                          <a:lnTo>
                            <a:pt x="131866" y="159770"/>
                          </a:lnTo>
                          <a:lnTo>
                            <a:pt x="130516" y="161120"/>
                          </a:lnTo>
                          <a:lnTo>
                            <a:pt x="126016" y="162470"/>
                          </a:lnTo>
                          <a:lnTo>
                            <a:pt x="126016" y="164721"/>
                          </a:lnTo>
                          <a:lnTo>
                            <a:pt x="129166" y="165621"/>
                          </a:lnTo>
                          <a:lnTo>
                            <a:pt x="131866" y="165171"/>
                          </a:lnTo>
                          <a:lnTo>
                            <a:pt x="133217" y="165171"/>
                          </a:lnTo>
                          <a:lnTo>
                            <a:pt x="134117" y="170571"/>
                          </a:lnTo>
                          <a:lnTo>
                            <a:pt x="134567" y="171471"/>
                          </a:lnTo>
                          <a:lnTo>
                            <a:pt x="131416" y="172372"/>
                          </a:lnTo>
                          <a:lnTo>
                            <a:pt x="131416" y="173272"/>
                          </a:lnTo>
                          <a:lnTo>
                            <a:pt x="133667" y="174172"/>
                          </a:lnTo>
                          <a:lnTo>
                            <a:pt x="137267" y="175072"/>
                          </a:lnTo>
                          <a:lnTo>
                            <a:pt x="138617" y="175972"/>
                          </a:lnTo>
                          <a:lnTo>
                            <a:pt x="139067" y="177772"/>
                          </a:lnTo>
                          <a:lnTo>
                            <a:pt x="139967" y="178672"/>
                          </a:lnTo>
                          <a:lnTo>
                            <a:pt x="141768" y="178672"/>
                          </a:lnTo>
                          <a:lnTo>
                            <a:pt x="144018" y="176872"/>
                          </a:lnTo>
                          <a:lnTo>
                            <a:pt x="145368" y="175072"/>
                          </a:lnTo>
                          <a:lnTo>
                            <a:pt x="147168" y="175522"/>
                          </a:lnTo>
                          <a:lnTo>
                            <a:pt x="147168" y="177772"/>
                          </a:lnTo>
                          <a:lnTo>
                            <a:pt x="149419" y="180023"/>
                          </a:lnTo>
                          <a:lnTo>
                            <a:pt x="150319" y="180473"/>
                          </a:lnTo>
                          <a:lnTo>
                            <a:pt x="150769" y="183623"/>
                          </a:lnTo>
                          <a:lnTo>
                            <a:pt x="152569" y="180473"/>
                          </a:lnTo>
                          <a:lnTo>
                            <a:pt x="153919" y="180923"/>
                          </a:lnTo>
                          <a:lnTo>
                            <a:pt x="155269" y="180923"/>
                          </a:lnTo>
                          <a:lnTo>
                            <a:pt x="154819" y="183623"/>
                          </a:lnTo>
                          <a:lnTo>
                            <a:pt x="153919" y="185873"/>
                          </a:lnTo>
                          <a:lnTo>
                            <a:pt x="155269" y="187223"/>
                          </a:lnTo>
                          <a:lnTo>
                            <a:pt x="156170" y="189474"/>
                          </a:lnTo>
                          <a:lnTo>
                            <a:pt x="158420" y="192174"/>
                          </a:lnTo>
                          <a:lnTo>
                            <a:pt x="157970" y="193524"/>
                          </a:lnTo>
                          <a:lnTo>
                            <a:pt x="155269" y="196225"/>
                          </a:lnTo>
                          <a:lnTo>
                            <a:pt x="153919" y="200725"/>
                          </a:lnTo>
                          <a:lnTo>
                            <a:pt x="153469" y="202525"/>
                          </a:lnTo>
                          <a:lnTo>
                            <a:pt x="152119" y="205226"/>
                          </a:lnTo>
                          <a:lnTo>
                            <a:pt x="149869" y="207926"/>
                          </a:lnTo>
                          <a:lnTo>
                            <a:pt x="151219" y="207476"/>
                          </a:lnTo>
                          <a:lnTo>
                            <a:pt x="155719" y="202975"/>
                          </a:lnTo>
                          <a:lnTo>
                            <a:pt x="158420" y="201175"/>
                          </a:lnTo>
                          <a:lnTo>
                            <a:pt x="164271" y="200275"/>
                          </a:lnTo>
                          <a:lnTo>
                            <a:pt x="165621" y="198925"/>
                          </a:lnTo>
                          <a:lnTo>
                            <a:pt x="167871" y="198475"/>
                          </a:lnTo>
                          <a:lnTo>
                            <a:pt x="169221" y="199825"/>
                          </a:lnTo>
                          <a:lnTo>
                            <a:pt x="169221" y="202525"/>
                          </a:lnTo>
                          <a:lnTo>
                            <a:pt x="171021" y="203426"/>
                          </a:lnTo>
                          <a:lnTo>
                            <a:pt x="172821" y="202525"/>
                          </a:lnTo>
                          <a:lnTo>
                            <a:pt x="174622" y="203426"/>
                          </a:lnTo>
                          <a:lnTo>
                            <a:pt x="173722" y="205226"/>
                          </a:lnTo>
                          <a:lnTo>
                            <a:pt x="168321" y="211977"/>
                          </a:lnTo>
                          <a:lnTo>
                            <a:pt x="166521" y="214677"/>
                          </a:lnTo>
                          <a:lnTo>
                            <a:pt x="166071" y="216477"/>
                          </a:lnTo>
                          <a:lnTo>
                            <a:pt x="167871" y="213777"/>
                          </a:lnTo>
                          <a:lnTo>
                            <a:pt x="174622" y="207476"/>
                          </a:lnTo>
                          <a:lnTo>
                            <a:pt x="175522" y="206576"/>
                          </a:lnTo>
                          <a:lnTo>
                            <a:pt x="176872" y="203876"/>
                          </a:lnTo>
                          <a:lnTo>
                            <a:pt x="178222" y="202075"/>
                          </a:lnTo>
                          <a:lnTo>
                            <a:pt x="181823" y="202525"/>
                          </a:lnTo>
                          <a:lnTo>
                            <a:pt x="183623" y="203876"/>
                          </a:lnTo>
                          <a:lnTo>
                            <a:pt x="184523" y="207476"/>
                          </a:lnTo>
                          <a:lnTo>
                            <a:pt x="185873" y="211076"/>
                          </a:lnTo>
                          <a:lnTo>
                            <a:pt x="188123" y="215127"/>
                          </a:lnTo>
                          <a:lnTo>
                            <a:pt x="193974" y="217377"/>
                          </a:lnTo>
                          <a:lnTo>
                            <a:pt x="196224" y="217827"/>
                          </a:lnTo>
                          <a:lnTo>
                            <a:pt x="199825" y="216477"/>
                          </a:lnTo>
                          <a:lnTo>
                            <a:pt x="200275" y="214677"/>
                          </a:lnTo>
                          <a:lnTo>
                            <a:pt x="202975" y="214227"/>
                          </a:lnTo>
                          <a:lnTo>
                            <a:pt x="205226" y="214677"/>
                          </a:lnTo>
                          <a:lnTo>
                            <a:pt x="206126" y="218277"/>
                          </a:lnTo>
                          <a:lnTo>
                            <a:pt x="208376" y="220078"/>
                          </a:lnTo>
                          <a:lnTo>
                            <a:pt x="210626" y="221878"/>
                          </a:lnTo>
                          <a:lnTo>
                            <a:pt x="212877" y="222778"/>
                          </a:lnTo>
                          <a:lnTo>
                            <a:pt x="216027" y="223228"/>
                          </a:lnTo>
                          <a:lnTo>
                            <a:pt x="217827" y="225028"/>
                          </a:lnTo>
                          <a:lnTo>
                            <a:pt x="217827" y="225928"/>
                          </a:lnTo>
                          <a:lnTo>
                            <a:pt x="216027" y="227729"/>
                          </a:lnTo>
                          <a:lnTo>
                            <a:pt x="214227" y="230429"/>
                          </a:lnTo>
                          <a:lnTo>
                            <a:pt x="211526" y="232229"/>
                          </a:lnTo>
                          <a:lnTo>
                            <a:pt x="207476" y="232229"/>
                          </a:lnTo>
                          <a:lnTo>
                            <a:pt x="202075" y="233579"/>
                          </a:lnTo>
                          <a:lnTo>
                            <a:pt x="202075" y="234479"/>
                          </a:lnTo>
                          <a:lnTo>
                            <a:pt x="200725" y="235829"/>
                          </a:lnTo>
                          <a:lnTo>
                            <a:pt x="197575" y="237180"/>
                          </a:lnTo>
                          <a:lnTo>
                            <a:pt x="195774" y="238080"/>
                          </a:lnTo>
                          <a:lnTo>
                            <a:pt x="193074" y="242580"/>
                          </a:lnTo>
                          <a:lnTo>
                            <a:pt x="191274" y="244381"/>
                          </a:lnTo>
                          <a:lnTo>
                            <a:pt x="189474" y="244831"/>
                          </a:lnTo>
                          <a:lnTo>
                            <a:pt x="186773" y="244831"/>
                          </a:lnTo>
                          <a:lnTo>
                            <a:pt x="188123" y="245731"/>
                          </a:lnTo>
                          <a:lnTo>
                            <a:pt x="186773" y="246631"/>
                          </a:lnTo>
                          <a:lnTo>
                            <a:pt x="185873" y="247981"/>
                          </a:lnTo>
                          <a:lnTo>
                            <a:pt x="185423" y="248431"/>
                          </a:lnTo>
                          <a:lnTo>
                            <a:pt x="181823" y="249781"/>
                          </a:lnTo>
                          <a:lnTo>
                            <a:pt x="175522" y="253382"/>
                          </a:lnTo>
                          <a:lnTo>
                            <a:pt x="172371" y="253382"/>
                          </a:lnTo>
                          <a:lnTo>
                            <a:pt x="170121" y="252932"/>
                          </a:lnTo>
                          <a:lnTo>
                            <a:pt x="168771" y="253382"/>
                          </a:lnTo>
                          <a:lnTo>
                            <a:pt x="167871" y="254282"/>
                          </a:lnTo>
                          <a:lnTo>
                            <a:pt x="164720" y="256082"/>
                          </a:lnTo>
                          <a:lnTo>
                            <a:pt x="163820" y="256982"/>
                          </a:lnTo>
                          <a:lnTo>
                            <a:pt x="163370" y="258332"/>
                          </a:lnTo>
                          <a:lnTo>
                            <a:pt x="162920" y="260583"/>
                          </a:lnTo>
                          <a:lnTo>
                            <a:pt x="162470" y="261483"/>
                          </a:lnTo>
                          <a:lnTo>
                            <a:pt x="162020" y="261933"/>
                          </a:lnTo>
                          <a:lnTo>
                            <a:pt x="159320" y="261483"/>
                          </a:lnTo>
                          <a:lnTo>
                            <a:pt x="156620" y="259232"/>
                          </a:lnTo>
                          <a:lnTo>
                            <a:pt x="157069" y="261033"/>
                          </a:lnTo>
                          <a:lnTo>
                            <a:pt x="161570" y="263733"/>
                          </a:lnTo>
                          <a:lnTo>
                            <a:pt x="162920" y="265083"/>
                          </a:lnTo>
                          <a:lnTo>
                            <a:pt x="161570" y="266433"/>
                          </a:lnTo>
                          <a:lnTo>
                            <a:pt x="158870" y="268684"/>
                          </a:lnTo>
                          <a:lnTo>
                            <a:pt x="158420" y="269584"/>
                          </a:lnTo>
                          <a:lnTo>
                            <a:pt x="159770" y="270034"/>
                          </a:lnTo>
                          <a:lnTo>
                            <a:pt x="159320" y="270934"/>
                          </a:lnTo>
                          <a:lnTo>
                            <a:pt x="157970" y="271834"/>
                          </a:lnTo>
                          <a:lnTo>
                            <a:pt x="157970" y="272284"/>
                          </a:lnTo>
                          <a:lnTo>
                            <a:pt x="157970" y="272734"/>
                          </a:lnTo>
                          <a:lnTo>
                            <a:pt x="162020" y="271384"/>
                          </a:lnTo>
                          <a:lnTo>
                            <a:pt x="165621" y="268234"/>
                          </a:lnTo>
                          <a:lnTo>
                            <a:pt x="167871" y="265083"/>
                          </a:lnTo>
                          <a:lnTo>
                            <a:pt x="168771" y="264183"/>
                          </a:lnTo>
                          <a:lnTo>
                            <a:pt x="173272" y="262833"/>
                          </a:lnTo>
                          <a:lnTo>
                            <a:pt x="175972" y="261483"/>
                          </a:lnTo>
                          <a:lnTo>
                            <a:pt x="179572" y="259232"/>
                          </a:lnTo>
                          <a:lnTo>
                            <a:pt x="183623" y="255632"/>
                          </a:lnTo>
                          <a:lnTo>
                            <a:pt x="188123" y="251132"/>
                          </a:lnTo>
                          <a:lnTo>
                            <a:pt x="193974" y="247531"/>
                          </a:lnTo>
                          <a:lnTo>
                            <a:pt x="200725" y="244831"/>
                          </a:lnTo>
                          <a:lnTo>
                            <a:pt x="205676" y="243481"/>
                          </a:lnTo>
                          <a:lnTo>
                            <a:pt x="208826" y="243481"/>
                          </a:lnTo>
                          <a:lnTo>
                            <a:pt x="208826" y="243030"/>
                          </a:lnTo>
                          <a:lnTo>
                            <a:pt x="206126" y="242130"/>
                          </a:lnTo>
                          <a:lnTo>
                            <a:pt x="203875" y="242130"/>
                          </a:lnTo>
                          <a:lnTo>
                            <a:pt x="200725" y="242580"/>
                          </a:lnTo>
                          <a:lnTo>
                            <a:pt x="199825" y="241230"/>
                          </a:lnTo>
                          <a:lnTo>
                            <a:pt x="199825" y="240780"/>
                          </a:lnTo>
                          <a:lnTo>
                            <a:pt x="200725" y="239880"/>
                          </a:lnTo>
                          <a:lnTo>
                            <a:pt x="203425" y="238980"/>
                          </a:lnTo>
                          <a:lnTo>
                            <a:pt x="215577" y="240330"/>
                          </a:lnTo>
                          <a:lnTo>
                            <a:pt x="219627" y="241230"/>
                          </a:lnTo>
                          <a:lnTo>
                            <a:pt x="224128" y="249781"/>
                          </a:lnTo>
                          <a:lnTo>
                            <a:pt x="225028" y="252482"/>
                          </a:lnTo>
                          <a:lnTo>
                            <a:pt x="225478" y="254282"/>
                          </a:lnTo>
                          <a:lnTo>
                            <a:pt x="225028" y="255632"/>
                          </a:lnTo>
                          <a:lnTo>
                            <a:pt x="223228" y="256982"/>
                          </a:lnTo>
                          <a:lnTo>
                            <a:pt x="217827" y="260133"/>
                          </a:lnTo>
                          <a:lnTo>
                            <a:pt x="216927" y="261033"/>
                          </a:lnTo>
                          <a:lnTo>
                            <a:pt x="216927" y="261483"/>
                          </a:lnTo>
                          <a:lnTo>
                            <a:pt x="219177" y="261933"/>
                          </a:lnTo>
                          <a:lnTo>
                            <a:pt x="220077" y="262833"/>
                          </a:lnTo>
                          <a:lnTo>
                            <a:pt x="221428" y="265983"/>
                          </a:lnTo>
                          <a:lnTo>
                            <a:pt x="223678" y="263733"/>
                          </a:lnTo>
                          <a:lnTo>
                            <a:pt x="228179" y="258782"/>
                          </a:lnTo>
                          <a:lnTo>
                            <a:pt x="231779" y="256532"/>
                          </a:lnTo>
                          <a:lnTo>
                            <a:pt x="234929" y="256082"/>
                          </a:lnTo>
                          <a:lnTo>
                            <a:pt x="238530" y="255632"/>
                          </a:lnTo>
                          <a:lnTo>
                            <a:pt x="239880" y="255632"/>
                          </a:lnTo>
                          <a:lnTo>
                            <a:pt x="240330" y="257432"/>
                          </a:lnTo>
                          <a:lnTo>
                            <a:pt x="242130" y="260583"/>
                          </a:lnTo>
                          <a:lnTo>
                            <a:pt x="243931" y="261483"/>
                          </a:lnTo>
                          <a:lnTo>
                            <a:pt x="247531" y="261933"/>
                          </a:lnTo>
                          <a:lnTo>
                            <a:pt x="250681" y="265983"/>
                          </a:lnTo>
                          <a:lnTo>
                            <a:pt x="252032" y="268684"/>
                          </a:lnTo>
                          <a:lnTo>
                            <a:pt x="252932" y="270484"/>
                          </a:lnTo>
                          <a:lnTo>
                            <a:pt x="252932" y="271384"/>
                          </a:lnTo>
                          <a:lnTo>
                            <a:pt x="252932" y="272284"/>
                          </a:lnTo>
                          <a:lnTo>
                            <a:pt x="253832" y="273634"/>
                          </a:lnTo>
                          <a:lnTo>
                            <a:pt x="254282" y="274984"/>
                          </a:lnTo>
                          <a:lnTo>
                            <a:pt x="254282" y="277685"/>
                          </a:lnTo>
                          <a:lnTo>
                            <a:pt x="252481" y="282635"/>
                          </a:lnTo>
                          <a:lnTo>
                            <a:pt x="253832" y="287136"/>
                          </a:lnTo>
                          <a:lnTo>
                            <a:pt x="253382" y="288936"/>
                          </a:lnTo>
                          <a:lnTo>
                            <a:pt x="252932" y="292087"/>
                          </a:lnTo>
                          <a:lnTo>
                            <a:pt x="254282" y="294337"/>
                          </a:lnTo>
                          <a:lnTo>
                            <a:pt x="254732" y="295687"/>
                          </a:lnTo>
                          <a:lnTo>
                            <a:pt x="253832" y="296587"/>
                          </a:lnTo>
                          <a:lnTo>
                            <a:pt x="247081" y="298387"/>
                          </a:lnTo>
                          <a:lnTo>
                            <a:pt x="244380" y="298387"/>
                          </a:lnTo>
                          <a:lnTo>
                            <a:pt x="243480" y="299287"/>
                          </a:lnTo>
                          <a:lnTo>
                            <a:pt x="245731" y="299738"/>
                          </a:lnTo>
                          <a:lnTo>
                            <a:pt x="249331" y="299738"/>
                          </a:lnTo>
                          <a:lnTo>
                            <a:pt x="253832" y="300638"/>
                          </a:lnTo>
                          <a:lnTo>
                            <a:pt x="255632" y="301988"/>
                          </a:lnTo>
                          <a:lnTo>
                            <a:pt x="256532" y="303788"/>
                          </a:lnTo>
                          <a:lnTo>
                            <a:pt x="256532" y="305138"/>
                          </a:lnTo>
                          <a:lnTo>
                            <a:pt x="255182" y="306038"/>
                          </a:lnTo>
                          <a:lnTo>
                            <a:pt x="252481" y="306038"/>
                          </a:lnTo>
                          <a:lnTo>
                            <a:pt x="250231" y="305138"/>
                          </a:lnTo>
                          <a:lnTo>
                            <a:pt x="250231" y="306038"/>
                          </a:lnTo>
                          <a:lnTo>
                            <a:pt x="253832" y="308289"/>
                          </a:lnTo>
                          <a:lnTo>
                            <a:pt x="254732" y="309189"/>
                          </a:lnTo>
                          <a:lnTo>
                            <a:pt x="256532" y="310539"/>
                          </a:lnTo>
                          <a:lnTo>
                            <a:pt x="256982" y="312339"/>
                          </a:lnTo>
                          <a:lnTo>
                            <a:pt x="256532" y="314139"/>
                          </a:lnTo>
                          <a:lnTo>
                            <a:pt x="249781" y="321340"/>
                          </a:lnTo>
                          <a:lnTo>
                            <a:pt x="243931" y="325841"/>
                          </a:lnTo>
                          <a:lnTo>
                            <a:pt x="238080" y="329891"/>
                          </a:lnTo>
                          <a:lnTo>
                            <a:pt x="229078" y="337542"/>
                          </a:lnTo>
                          <a:lnTo>
                            <a:pt x="228179" y="337992"/>
                          </a:lnTo>
                          <a:lnTo>
                            <a:pt x="226378" y="336192"/>
                          </a:lnTo>
                          <a:lnTo>
                            <a:pt x="226378" y="336192"/>
                          </a:lnTo>
                          <a:close/>
                          <a:moveTo>
                            <a:pt x="128266" y="112964"/>
                          </a:moveTo>
                          <a:lnTo>
                            <a:pt x="130066" y="114314"/>
                          </a:lnTo>
                          <a:lnTo>
                            <a:pt x="130516" y="118815"/>
                          </a:lnTo>
                          <a:lnTo>
                            <a:pt x="127366" y="118365"/>
                          </a:lnTo>
                          <a:lnTo>
                            <a:pt x="123315" y="115665"/>
                          </a:lnTo>
                          <a:lnTo>
                            <a:pt x="122415" y="113414"/>
                          </a:lnTo>
                          <a:lnTo>
                            <a:pt x="122415" y="112964"/>
                          </a:lnTo>
                          <a:lnTo>
                            <a:pt x="122865" y="112514"/>
                          </a:lnTo>
                          <a:lnTo>
                            <a:pt x="123765" y="112964"/>
                          </a:lnTo>
                          <a:lnTo>
                            <a:pt x="124666" y="112064"/>
                          </a:lnTo>
                          <a:lnTo>
                            <a:pt x="125566" y="111614"/>
                          </a:lnTo>
                          <a:lnTo>
                            <a:pt x="128266" y="112964"/>
                          </a:lnTo>
                          <a:close/>
                          <a:moveTo>
                            <a:pt x="144018" y="171922"/>
                          </a:moveTo>
                          <a:lnTo>
                            <a:pt x="144468" y="172822"/>
                          </a:lnTo>
                          <a:lnTo>
                            <a:pt x="141318" y="172372"/>
                          </a:lnTo>
                          <a:lnTo>
                            <a:pt x="139967" y="171922"/>
                          </a:lnTo>
                          <a:lnTo>
                            <a:pt x="139967" y="171471"/>
                          </a:lnTo>
                          <a:lnTo>
                            <a:pt x="139967" y="170571"/>
                          </a:lnTo>
                          <a:lnTo>
                            <a:pt x="140418" y="169671"/>
                          </a:lnTo>
                          <a:lnTo>
                            <a:pt x="141768" y="168771"/>
                          </a:lnTo>
                          <a:lnTo>
                            <a:pt x="142668" y="169221"/>
                          </a:lnTo>
                          <a:lnTo>
                            <a:pt x="144468" y="170571"/>
                          </a:lnTo>
                          <a:lnTo>
                            <a:pt x="144918" y="171471"/>
                          </a:lnTo>
                          <a:lnTo>
                            <a:pt x="144018" y="171922"/>
                          </a:lnTo>
                          <a:close/>
                          <a:moveTo>
                            <a:pt x="263283" y="321340"/>
                          </a:moveTo>
                          <a:lnTo>
                            <a:pt x="262383" y="321340"/>
                          </a:lnTo>
                          <a:lnTo>
                            <a:pt x="261933" y="320890"/>
                          </a:lnTo>
                          <a:lnTo>
                            <a:pt x="262383" y="319540"/>
                          </a:lnTo>
                          <a:lnTo>
                            <a:pt x="263733" y="318190"/>
                          </a:lnTo>
                          <a:lnTo>
                            <a:pt x="265083" y="317740"/>
                          </a:lnTo>
                          <a:lnTo>
                            <a:pt x="264633" y="319990"/>
                          </a:lnTo>
                          <a:lnTo>
                            <a:pt x="263283" y="321340"/>
                          </a:lnTo>
                          <a:close/>
                          <a:moveTo>
                            <a:pt x="261483" y="333042"/>
                          </a:moveTo>
                          <a:lnTo>
                            <a:pt x="260132" y="336642"/>
                          </a:lnTo>
                          <a:lnTo>
                            <a:pt x="259232" y="338442"/>
                          </a:lnTo>
                          <a:lnTo>
                            <a:pt x="258332" y="338893"/>
                          </a:lnTo>
                          <a:lnTo>
                            <a:pt x="256082" y="339342"/>
                          </a:lnTo>
                          <a:lnTo>
                            <a:pt x="251581" y="339793"/>
                          </a:lnTo>
                          <a:lnTo>
                            <a:pt x="249781" y="340243"/>
                          </a:lnTo>
                          <a:lnTo>
                            <a:pt x="249331" y="342493"/>
                          </a:lnTo>
                          <a:lnTo>
                            <a:pt x="249781" y="343843"/>
                          </a:lnTo>
                          <a:lnTo>
                            <a:pt x="250231" y="344743"/>
                          </a:lnTo>
                          <a:lnTo>
                            <a:pt x="251131" y="345193"/>
                          </a:lnTo>
                          <a:lnTo>
                            <a:pt x="252932" y="344743"/>
                          </a:lnTo>
                          <a:lnTo>
                            <a:pt x="253832" y="344743"/>
                          </a:lnTo>
                          <a:lnTo>
                            <a:pt x="254282" y="345193"/>
                          </a:lnTo>
                          <a:lnTo>
                            <a:pt x="254732" y="346093"/>
                          </a:lnTo>
                          <a:lnTo>
                            <a:pt x="254732" y="347444"/>
                          </a:lnTo>
                          <a:lnTo>
                            <a:pt x="254732" y="348794"/>
                          </a:lnTo>
                          <a:lnTo>
                            <a:pt x="254282" y="350594"/>
                          </a:lnTo>
                          <a:lnTo>
                            <a:pt x="252932" y="354644"/>
                          </a:lnTo>
                          <a:lnTo>
                            <a:pt x="251131" y="356895"/>
                          </a:lnTo>
                          <a:lnTo>
                            <a:pt x="248881" y="358695"/>
                          </a:lnTo>
                          <a:lnTo>
                            <a:pt x="248431" y="359595"/>
                          </a:lnTo>
                          <a:lnTo>
                            <a:pt x="247981" y="360495"/>
                          </a:lnTo>
                          <a:lnTo>
                            <a:pt x="247531" y="363196"/>
                          </a:lnTo>
                          <a:lnTo>
                            <a:pt x="246181" y="365446"/>
                          </a:lnTo>
                          <a:lnTo>
                            <a:pt x="242130" y="370846"/>
                          </a:lnTo>
                          <a:lnTo>
                            <a:pt x="240780" y="372197"/>
                          </a:lnTo>
                          <a:lnTo>
                            <a:pt x="240780" y="373097"/>
                          </a:lnTo>
                          <a:lnTo>
                            <a:pt x="240330" y="375797"/>
                          </a:lnTo>
                          <a:lnTo>
                            <a:pt x="238980" y="378047"/>
                          </a:lnTo>
                          <a:lnTo>
                            <a:pt x="235829" y="382998"/>
                          </a:lnTo>
                          <a:lnTo>
                            <a:pt x="234929" y="384798"/>
                          </a:lnTo>
                          <a:lnTo>
                            <a:pt x="234479" y="386148"/>
                          </a:lnTo>
                          <a:lnTo>
                            <a:pt x="234479" y="387948"/>
                          </a:lnTo>
                          <a:lnTo>
                            <a:pt x="234479" y="388849"/>
                          </a:lnTo>
                          <a:lnTo>
                            <a:pt x="233579" y="390649"/>
                          </a:lnTo>
                          <a:lnTo>
                            <a:pt x="232679" y="391999"/>
                          </a:lnTo>
                          <a:lnTo>
                            <a:pt x="232679" y="392899"/>
                          </a:lnTo>
                          <a:lnTo>
                            <a:pt x="233129" y="394249"/>
                          </a:lnTo>
                          <a:lnTo>
                            <a:pt x="233579" y="394699"/>
                          </a:lnTo>
                          <a:lnTo>
                            <a:pt x="233579" y="396050"/>
                          </a:lnTo>
                          <a:lnTo>
                            <a:pt x="233129" y="397850"/>
                          </a:lnTo>
                          <a:lnTo>
                            <a:pt x="234479" y="396500"/>
                          </a:lnTo>
                          <a:lnTo>
                            <a:pt x="237630" y="391999"/>
                          </a:lnTo>
                          <a:lnTo>
                            <a:pt x="239880" y="389299"/>
                          </a:lnTo>
                          <a:lnTo>
                            <a:pt x="241230" y="388399"/>
                          </a:lnTo>
                          <a:lnTo>
                            <a:pt x="242130" y="387049"/>
                          </a:lnTo>
                          <a:lnTo>
                            <a:pt x="243480" y="384348"/>
                          </a:lnTo>
                          <a:lnTo>
                            <a:pt x="245281" y="381648"/>
                          </a:lnTo>
                          <a:lnTo>
                            <a:pt x="246631" y="380748"/>
                          </a:lnTo>
                          <a:lnTo>
                            <a:pt x="247081" y="381198"/>
                          </a:lnTo>
                          <a:lnTo>
                            <a:pt x="247531" y="382548"/>
                          </a:lnTo>
                          <a:lnTo>
                            <a:pt x="247531" y="383898"/>
                          </a:lnTo>
                          <a:lnTo>
                            <a:pt x="246631" y="385698"/>
                          </a:lnTo>
                          <a:lnTo>
                            <a:pt x="246631" y="386148"/>
                          </a:lnTo>
                          <a:lnTo>
                            <a:pt x="248431" y="384798"/>
                          </a:lnTo>
                          <a:lnTo>
                            <a:pt x="251581" y="383448"/>
                          </a:lnTo>
                          <a:lnTo>
                            <a:pt x="252932" y="383448"/>
                          </a:lnTo>
                          <a:lnTo>
                            <a:pt x="255182" y="385248"/>
                          </a:lnTo>
                          <a:lnTo>
                            <a:pt x="256982" y="385248"/>
                          </a:lnTo>
                          <a:lnTo>
                            <a:pt x="260132" y="384348"/>
                          </a:lnTo>
                          <a:lnTo>
                            <a:pt x="260582" y="384798"/>
                          </a:lnTo>
                          <a:lnTo>
                            <a:pt x="260132" y="386148"/>
                          </a:lnTo>
                          <a:lnTo>
                            <a:pt x="258782" y="387499"/>
                          </a:lnTo>
                          <a:lnTo>
                            <a:pt x="256082" y="389749"/>
                          </a:lnTo>
                          <a:lnTo>
                            <a:pt x="249331" y="393799"/>
                          </a:lnTo>
                          <a:lnTo>
                            <a:pt x="247081" y="396500"/>
                          </a:lnTo>
                          <a:lnTo>
                            <a:pt x="247531" y="396500"/>
                          </a:lnTo>
                          <a:lnTo>
                            <a:pt x="248881" y="395150"/>
                          </a:lnTo>
                          <a:lnTo>
                            <a:pt x="250231" y="394699"/>
                          </a:lnTo>
                          <a:lnTo>
                            <a:pt x="252032" y="394699"/>
                          </a:lnTo>
                          <a:lnTo>
                            <a:pt x="252932" y="395150"/>
                          </a:lnTo>
                          <a:lnTo>
                            <a:pt x="252481" y="396050"/>
                          </a:lnTo>
                          <a:lnTo>
                            <a:pt x="252481" y="398300"/>
                          </a:lnTo>
                          <a:lnTo>
                            <a:pt x="248431" y="402350"/>
                          </a:lnTo>
                          <a:lnTo>
                            <a:pt x="249331" y="402350"/>
                          </a:lnTo>
                          <a:lnTo>
                            <a:pt x="254282" y="400550"/>
                          </a:lnTo>
                          <a:lnTo>
                            <a:pt x="256982" y="403251"/>
                          </a:lnTo>
                          <a:lnTo>
                            <a:pt x="261033" y="402350"/>
                          </a:lnTo>
                          <a:lnTo>
                            <a:pt x="263283" y="401450"/>
                          </a:lnTo>
                          <a:lnTo>
                            <a:pt x="263283" y="401900"/>
                          </a:lnTo>
                          <a:lnTo>
                            <a:pt x="263733" y="403251"/>
                          </a:lnTo>
                          <a:lnTo>
                            <a:pt x="263733" y="405051"/>
                          </a:lnTo>
                          <a:lnTo>
                            <a:pt x="264183" y="405501"/>
                          </a:lnTo>
                          <a:lnTo>
                            <a:pt x="265533" y="405051"/>
                          </a:lnTo>
                          <a:lnTo>
                            <a:pt x="265533" y="404151"/>
                          </a:lnTo>
                          <a:lnTo>
                            <a:pt x="265533" y="401000"/>
                          </a:lnTo>
                          <a:lnTo>
                            <a:pt x="265983" y="400550"/>
                          </a:lnTo>
                          <a:lnTo>
                            <a:pt x="266883" y="401000"/>
                          </a:lnTo>
                          <a:lnTo>
                            <a:pt x="267333" y="401900"/>
                          </a:lnTo>
                          <a:lnTo>
                            <a:pt x="267333" y="404151"/>
                          </a:lnTo>
                          <a:lnTo>
                            <a:pt x="266883" y="406401"/>
                          </a:lnTo>
                          <a:lnTo>
                            <a:pt x="265983" y="408651"/>
                          </a:lnTo>
                          <a:lnTo>
                            <a:pt x="264183" y="411802"/>
                          </a:lnTo>
                          <a:lnTo>
                            <a:pt x="264183" y="413152"/>
                          </a:lnTo>
                          <a:lnTo>
                            <a:pt x="263733" y="414502"/>
                          </a:lnTo>
                          <a:lnTo>
                            <a:pt x="264183" y="414502"/>
                          </a:lnTo>
                          <a:lnTo>
                            <a:pt x="265983" y="413152"/>
                          </a:lnTo>
                          <a:lnTo>
                            <a:pt x="265983" y="412702"/>
                          </a:lnTo>
                          <a:lnTo>
                            <a:pt x="265983" y="411351"/>
                          </a:lnTo>
                          <a:lnTo>
                            <a:pt x="265983" y="410902"/>
                          </a:lnTo>
                          <a:lnTo>
                            <a:pt x="267333" y="409551"/>
                          </a:lnTo>
                          <a:lnTo>
                            <a:pt x="269584" y="407751"/>
                          </a:lnTo>
                          <a:lnTo>
                            <a:pt x="270484" y="407301"/>
                          </a:lnTo>
                          <a:lnTo>
                            <a:pt x="270934" y="407751"/>
                          </a:lnTo>
                          <a:lnTo>
                            <a:pt x="270934" y="408651"/>
                          </a:lnTo>
                          <a:lnTo>
                            <a:pt x="271834" y="408201"/>
                          </a:lnTo>
                          <a:lnTo>
                            <a:pt x="273184" y="406851"/>
                          </a:lnTo>
                          <a:lnTo>
                            <a:pt x="274534" y="405951"/>
                          </a:lnTo>
                          <a:lnTo>
                            <a:pt x="275884" y="405501"/>
                          </a:lnTo>
                          <a:lnTo>
                            <a:pt x="277235" y="404601"/>
                          </a:lnTo>
                          <a:lnTo>
                            <a:pt x="278585" y="402801"/>
                          </a:lnTo>
                          <a:lnTo>
                            <a:pt x="279935" y="401450"/>
                          </a:lnTo>
                          <a:lnTo>
                            <a:pt x="281735" y="400100"/>
                          </a:lnTo>
                          <a:lnTo>
                            <a:pt x="282635" y="400100"/>
                          </a:lnTo>
                          <a:lnTo>
                            <a:pt x="282185" y="401900"/>
                          </a:lnTo>
                          <a:lnTo>
                            <a:pt x="282635" y="404151"/>
                          </a:lnTo>
                          <a:lnTo>
                            <a:pt x="282635" y="405951"/>
                          </a:lnTo>
                          <a:lnTo>
                            <a:pt x="283085" y="406401"/>
                          </a:lnTo>
                          <a:lnTo>
                            <a:pt x="284436" y="404151"/>
                          </a:lnTo>
                          <a:lnTo>
                            <a:pt x="285336" y="403251"/>
                          </a:lnTo>
                          <a:lnTo>
                            <a:pt x="286236" y="402801"/>
                          </a:lnTo>
                          <a:lnTo>
                            <a:pt x="287136" y="402801"/>
                          </a:lnTo>
                          <a:lnTo>
                            <a:pt x="293887" y="401900"/>
                          </a:lnTo>
                          <a:lnTo>
                            <a:pt x="295687" y="402350"/>
                          </a:lnTo>
                          <a:lnTo>
                            <a:pt x="297937" y="403700"/>
                          </a:lnTo>
                          <a:lnTo>
                            <a:pt x="300638" y="405951"/>
                          </a:lnTo>
                          <a:lnTo>
                            <a:pt x="301538" y="407751"/>
                          </a:lnTo>
                          <a:lnTo>
                            <a:pt x="301538" y="410001"/>
                          </a:lnTo>
                          <a:lnTo>
                            <a:pt x="301087" y="411802"/>
                          </a:lnTo>
                          <a:lnTo>
                            <a:pt x="298837" y="414052"/>
                          </a:lnTo>
                          <a:lnTo>
                            <a:pt x="297037" y="415402"/>
                          </a:lnTo>
                          <a:lnTo>
                            <a:pt x="296137" y="416752"/>
                          </a:lnTo>
                          <a:lnTo>
                            <a:pt x="295687" y="418102"/>
                          </a:lnTo>
                          <a:lnTo>
                            <a:pt x="295237" y="419002"/>
                          </a:lnTo>
                          <a:lnTo>
                            <a:pt x="293887" y="420353"/>
                          </a:lnTo>
                          <a:lnTo>
                            <a:pt x="288486" y="423503"/>
                          </a:lnTo>
                          <a:lnTo>
                            <a:pt x="289836" y="423503"/>
                          </a:lnTo>
                          <a:lnTo>
                            <a:pt x="292987" y="422603"/>
                          </a:lnTo>
                          <a:lnTo>
                            <a:pt x="295237" y="422603"/>
                          </a:lnTo>
                          <a:lnTo>
                            <a:pt x="295237" y="423053"/>
                          </a:lnTo>
                          <a:lnTo>
                            <a:pt x="294337" y="423953"/>
                          </a:lnTo>
                          <a:lnTo>
                            <a:pt x="292537" y="424853"/>
                          </a:lnTo>
                          <a:lnTo>
                            <a:pt x="292537" y="425303"/>
                          </a:lnTo>
                          <a:lnTo>
                            <a:pt x="292537" y="425753"/>
                          </a:lnTo>
                          <a:lnTo>
                            <a:pt x="294337" y="426653"/>
                          </a:lnTo>
                          <a:lnTo>
                            <a:pt x="296587" y="426203"/>
                          </a:lnTo>
                          <a:lnTo>
                            <a:pt x="298387" y="426653"/>
                          </a:lnTo>
                          <a:lnTo>
                            <a:pt x="298387" y="427554"/>
                          </a:lnTo>
                          <a:lnTo>
                            <a:pt x="297037" y="430254"/>
                          </a:lnTo>
                          <a:lnTo>
                            <a:pt x="296587" y="432054"/>
                          </a:lnTo>
                          <a:lnTo>
                            <a:pt x="294787" y="433404"/>
                          </a:lnTo>
                          <a:lnTo>
                            <a:pt x="290736" y="435655"/>
                          </a:lnTo>
                          <a:lnTo>
                            <a:pt x="289836" y="436555"/>
                          </a:lnTo>
                          <a:lnTo>
                            <a:pt x="289836" y="436555"/>
                          </a:lnTo>
                          <a:lnTo>
                            <a:pt x="293437" y="435204"/>
                          </a:lnTo>
                          <a:lnTo>
                            <a:pt x="295237" y="434754"/>
                          </a:lnTo>
                          <a:lnTo>
                            <a:pt x="296587" y="434754"/>
                          </a:lnTo>
                          <a:lnTo>
                            <a:pt x="297937" y="433404"/>
                          </a:lnTo>
                          <a:lnTo>
                            <a:pt x="299737" y="432954"/>
                          </a:lnTo>
                          <a:lnTo>
                            <a:pt x="301538" y="433854"/>
                          </a:lnTo>
                          <a:lnTo>
                            <a:pt x="304688" y="431154"/>
                          </a:lnTo>
                          <a:lnTo>
                            <a:pt x="305588" y="430704"/>
                          </a:lnTo>
                          <a:lnTo>
                            <a:pt x="307388" y="431154"/>
                          </a:lnTo>
                          <a:lnTo>
                            <a:pt x="308738" y="430704"/>
                          </a:lnTo>
                          <a:lnTo>
                            <a:pt x="310539" y="428904"/>
                          </a:lnTo>
                          <a:lnTo>
                            <a:pt x="311889" y="428004"/>
                          </a:lnTo>
                          <a:lnTo>
                            <a:pt x="312339" y="428004"/>
                          </a:lnTo>
                          <a:lnTo>
                            <a:pt x="312789" y="428904"/>
                          </a:lnTo>
                          <a:lnTo>
                            <a:pt x="312789" y="430704"/>
                          </a:lnTo>
                          <a:lnTo>
                            <a:pt x="312339" y="432504"/>
                          </a:lnTo>
                          <a:lnTo>
                            <a:pt x="311889" y="433854"/>
                          </a:lnTo>
                          <a:lnTo>
                            <a:pt x="310089" y="436555"/>
                          </a:lnTo>
                          <a:lnTo>
                            <a:pt x="309189" y="437455"/>
                          </a:lnTo>
                          <a:lnTo>
                            <a:pt x="308289" y="437905"/>
                          </a:lnTo>
                          <a:lnTo>
                            <a:pt x="306488" y="437905"/>
                          </a:lnTo>
                          <a:lnTo>
                            <a:pt x="305588" y="438355"/>
                          </a:lnTo>
                          <a:lnTo>
                            <a:pt x="304238" y="440155"/>
                          </a:lnTo>
                          <a:lnTo>
                            <a:pt x="301538" y="441955"/>
                          </a:lnTo>
                          <a:lnTo>
                            <a:pt x="299737" y="442855"/>
                          </a:lnTo>
                          <a:lnTo>
                            <a:pt x="300638" y="443756"/>
                          </a:lnTo>
                          <a:lnTo>
                            <a:pt x="301087" y="446006"/>
                          </a:lnTo>
                          <a:lnTo>
                            <a:pt x="300638" y="446456"/>
                          </a:lnTo>
                          <a:lnTo>
                            <a:pt x="297937" y="446906"/>
                          </a:lnTo>
                          <a:lnTo>
                            <a:pt x="297937" y="447356"/>
                          </a:lnTo>
                          <a:lnTo>
                            <a:pt x="297037" y="447806"/>
                          </a:lnTo>
                          <a:lnTo>
                            <a:pt x="294787" y="448706"/>
                          </a:lnTo>
                          <a:lnTo>
                            <a:pt x="296587" y="449156"/>
                          </a:lnTo>
                          <a:lnTo>
                            <a:pt x="299737" y="448706"/>
                          </a:lnTo>
                          <a:lnTo>
                            <a:pt x="300188" y="449156"/>
                          </a:lnTo>
                          <a:lnTo>
                            <a:pt x="299737" y="450506"/>
                          </a:lnTo>
                          <a:lnTo>
                            <a:pt x="298837" y="451857"/>
                          </a:lnTo>
                          <a:lnTo>
                            <a:pt x="295237" y="455907"/>
                          </a:lnTo>
                          <a:lnTo>
                            <a:pt x="295237" y="456357"/>
                          </a:lnTo>
                          <a:lnTo>
                            <a:pt x="295687" y="458157"/>
                          </a:lnTo>
                          <a:lnTo>
                            <a:pt x="296587" y="459508"/>
                          </a:lnTo>
                          <a:lnTo>
                            <a:pt x="297487" y="460408"/>
                          </a:lnTo>
                          <a:lnTo>
                            <a:pt x="299287" y="460408"/>
                          </a:lnTo>
                          <a:lnTo>
                            <a:pt x="300638" y="459957"/>
                          </a:lnTo>
                          <a:lnTo>
                            <a:pt x="302888" y="457257"/>
                          </a:lnTo>
                          <a:lnTo>
                            <a:pt x="307388" y="449156"/>
                          </a:lnTo>
                          <a:lnTo>
                            <a:pt x="311439" y="446906"/>
                          </a:lnTo>
                          <a:lnTo>
                            <a:pt x="315039" y="444206"/>
                          </a:lnTo>
                          <a:lnTo>
                            <a:pt x="315940" y="444656"/>
                          </a:lnTo>
                          <a:lnTo>
                            <a:pt x="316390" y="445106"/>
                          </a:lnTo>
                          <a:lnTo>
                            <a:pt x="316390" y="445556"/>
                          </a:lnTo>
                          <a:lnTo>
                            <a:pt x="314589" y="447806"/>
                          </a:lnTo>
                          <a:lnTo>
                            <a:pt x="313689" y="449606"/>
                          </a:lnTo>
                          <a:lnTo>
                            <a:pt x="311439" y="455007"/>
                          </a:lnTo>
                          <a:lnTo>
                            <a:pt x="310539" y="457257"/>
                          </a:lnTo>
                          <a:lnTo>
                            <a:pt x="310089" y="459957"/>
                          </a:lnTo>
                          <a:lnTo>
                            <a:pt x="310089" y="464458"/>
                          </a:lnTo>
                          <a:lnTo>
                            <a:pt x="310539" y="465358"/>
                          </a:lnTo>
                          <a:lnTo>
                            <a:pt x="311439" y="466258"/>
                          </a:lnTo>
                          <a:lnTo>
                            <a:pt x="312789" y="465358"/>
                          </a:lnTo>
                          <a:lnTo>
                            <a:pt x="315039" y="463108"/>
                          </a:lnTo>
                          <a:lnTo>
                            <a:pt x="316390" y="460858"/>
                          </a:lnTo>
                          <a:lnTo>
                            <a:pt x="317740" y="457257"/>
                          </a:lnTo>
                          <a:lnTo>
                            <a:pt x="318640" y="455907"/>
                          </a:lnTo>
                          <a:lnTo>
                            <a:pt x="319540" y="455907"/>
                          </a:lnTo>
                          <a:lnTo>
                            <a:pt x="320440" y="456807"/>
                          </a:lnTo>
                          <a:lnTo>
                            <a:pt x="320440" y="458607"/>
                          </a:lnTo>
                          <a:lnTo>
                            <a:pt x="320890" y="460858"/>
                          </a:lnTo>
                          <a:lnTo>
                            <a:pt x="321340" y="463108"/>
                          </a:lnTo>
                          <a:lnTo>
                            <a:pt x="320890" y="465808"/>
                          </a:lnTo>
                          <a:lnTo>
                            <a:pt x="320440" y="467159"/>
                          </a:lnTo>
                          <a:lnTo>
                            <a:pt x="315489" y="477060"/>
                          </a:lnTo>
                          <a:lnTo>
                            <a:pt x="315940" y="478860"/>
                          </a:lnTo>
                          <a:lnTo>
                            <a:pt x="315940" y="479760"/>
                          </a:lnTo>
                          <a:lnTo>
                            <a:pt x="315940" y="481110"/>
                          </a:lnTo>
                          <a:lnTo>
                            <a:pt x="314589" y="486061"/>
                          </a:lnTo>
                          <a:lnTo>
                            <a:pt x="313239" y="489211"/>
                          </a:lnTo>
                          <a:lnTo>
                            <a:pt x="312339" y="490562"/>
                          </a:lnTo>
                          <a:lnTo>
                            <a:pt x="311439" y="491461"/>
                          </a:lnTo>
                          <a:lnTo>
                            <a:pt x="310539" y="491912"/>
                          </a:lnTo>
                          <a:lnTo>
                            <a:pt x="309639" y="491461"/>
                          </a:lnTo>
                          <a:lnTo>
                            <a:pt x="308738" y="490111"/>
                          </a:lnTo>
                          <a:lnTo>
                            <a:pt x="307838" y="489661"/>
                          </a:lnTo>
                          <a:lnTo>
                            <a:pt x="307388" y="489661"/>
                          </a:lnTo>
                          <a:lnTo>
                            <a:pt x="306038" y="489661"/>
                          </a:lnTo>
                          <a:lnTo>
                            <a:pt x="302888" y="491912"/>
                          </a:lnTo>
                          <a:lnTo>
                            <a:pt x="302438" y="491912"/>
                          </a:lnTo>
                          <a:lnTo>
                            <a:pt x="301988" y="491461"/>
                          </a:lnTo>
                          <a:lnTo>
                            <a:pt x="301538" y="490111"/>
                          </a:lnTo>
                          <a:lnTo>
                            <a:pt x="301988" y="483811"/>
                          </a:lnTo>
                          <a:lnTo>
                            <a:pt x="302438" y="481560"/>
                          </a:lnTo>
                          <a:lnTo>
                            <a:pt x="300638" y="479760"/>
                          </a:lnTo>
                          <a:lnTo>
                            <a:pt x="301538" y="477060"/>
                          </a:lnTo>
                          <a:lnTo>
                            <a:pt x="301538" y="476160"/>
                          </a:lnTo>
                          <a:lnTo>
                            <a:pt x="301087" y="475709"/>
                          </a:lnTo>
                          <a:lnTo>
                            <a:pt x="300188" y="476160"/>
                          </a:lnTo>
                          <a:lnTo>
                            <a:pt x="298837" y="477510"/>
                          </a:lnTo>
                          <a:lnTo>
                            <a:pt x="297037" y="480210"/>
                          </a:lnTo>
                          <a:lnTo>
                            <a:pt x="295237" y="482460"/>
                          </a:lnTo>
                          <a:lnTo>
                            <a:pt x="292086" y="485611"/>
                          </a:lnTo>
                          <a:lnTo>
                            <a:pt x="290736" y="486061"/>
                          </a:lnTo>
                          <a:lnTo>
                            <a:pt x="290286" y="486061"/>
                          </a:lnTo>
                          <a:lnTo>
                            <a:pt x="289836" y="485611"/>
                          </a:lnTo>
                          <a:lnTo>
                            <a:pt x="288936" y="484261"/>
                          </a:lnTo>
                          <a:lnTo>
                            <a:pt x="288936" y="482911"/>
                          </a:lnTo>
                          <a:lnTo>
                            <a:pt x="289386" y="481560"/>
                          </a:lnTo>
                          <a:lnTo>
                            <a:pt x="290736" y="477960"/>
                          </a:lnTo>
                          <a:lnTo>
                            <a:pt x="293437" y="472559"/>
                          </a:lnTo>
                          <a:lnTo>
                            <a:pt x="295687" y="468509"/>
                          </a:lnTo>
                          <a:lnTo>
                            <a:pt x="296137" y="466708"/>
                          </a:lnTo>
                          <a:lnTo>
                            <a:pt x="295687" y="465808"/>
                          </a:lnTo>
                          <a:lnTo>
                            <a:pt x="295237" y="464458"/>
                          </a:lnTo>
                          <a:lnTo>
                            <a:pt x="294337" y="460408"/>
                          </a:lnTo>
                          <a:lnTo>
                            <a:pt x="293437" y="456807"/>
                          </a:lnTo>
                          <a:lnTo>
                            <a:pt x="292086" y="455457"/>
                          </a:lnTo>
                          <a:lnTo>
                            <a:pt x="288936" y="453657"/>
                          </a:lnTo>
                          <a:lnTo>
                            <a:pt x="288486" y="454107"/>
                          </a:lnTo>
                          <a:lnTo>
                            <a:pt x="288036" y="456357"/>
                          </a:lnTo>
                          <a:lnTo>
                            <a:pt x="284436" y="463108"/>
                          </a:lnTo>
                          <a:lnTo>
                            <a:pt x="283985" y="466258"/>
                          </a:lnTo>
                          <a:lnTo>
                            <a:pt x="283535" y="467159"/>
                          </a:lnTo>
                          <a:lnTo>
                            <a:pt x="282635" y="468059"/>
                          </a:lnTo>
                          <a:lnTo>
                            <a:pt x="280835" y="468959"/>
                          </a:lnTo>
                          <a:lnTo>
                            <a:pt x="281285" y="467609"/>
                          </a:lnTo>
                          <a:lnTo>
                            <a:pt x="283085" y="464008"/>
                          </a:lnTo>
                          <a:lnTo>
                            <a:pt x="282635" y="463558"/>
                          </a:lnTo>
                          <a:lnTo>
                            <a:pt x="280385" y="466258"/>
                          </a:lnTo>
                          <a:lnTo>
                            <a:pt x="278585" y="467609"/>
                          </a:lnTo>
                          <a:lnTo>
                            <a:pt x="276785" y="468059"/>
                          </a:lnTo>
                          <a:lnTo>
                            <a:pt x="275434" y="468059"/>
                          </a:lnTo>
                          <a:lnTo>
                            <a:pt x="274084" y="468509"/>
                          </a:lnTo>
                          <a:lnTo>
                            <a:pt x="269134" y="475260"/>
                          </a:lnTo>
                          <a:lnTo>
                            <a:pt x="269134" y="477510"/>
                          </a:lnTo>
                          <a:lnTo>
                            <a:pt x="268233" y="479310"/>
                          </a:lnTo>
                          <a:lnTo>
                            <a:pt x="265983" y="482460"/>
                          </a:lnTo>
                          <a:lnTo>
                            <a:pt x="264633" y="483360"/>
                          </a:lnTo>
                          <a:lnTo>
                            <a:pt x="262833" y="483360"/>
                          </a:lnTo>
                          <a:lnTo>
                            <a:pt x="261033" y="482911"/>
                          </a:lnTo>
                          <a:lnTo>
                            <a:pt x="260132" y="482911"/>
                          </a:lnTo>
                          <a:lnTo>
                            <a:pt x="257432" y="483811"/>
                          </a:lnTo>
                          <a:lnTo>
                            <a:pt x="254732" y="484261"/>
                          </a:lnTo>
                          <a:lnTo>
                            <a:pt x="253382" y="484261"/>
                          </a:lnTo>
                          <a:lnTo>
                            <a:pt x="252481" y="483811"/>
                          </a:lnTo>
                          <a:lnTo>
                            <a:pt x="251131" y="482460"/>
                          </a:lnTo>
                          <a:lnTo>
                            <a:pt x="251131" y="481560"/>
                          </a:lnTo>
                          <a:lnTo>
                            <a:pt x="251131" y="481110"/>
                          </a:lnTo>
                          <a:lnTo>
                            <a:pt x="252032" y="479760"/>
                          </a:lnTo>
                          <a:lnTo>
                            <a:pt x="253832" y="477960"/>
                          </a:lnTo>
                          <a:lnTo>
                            <a:pt x="255182" y="477510"/>
                          </a:lnTo>
                          <a:lnTo>
                            <a:pt x="258782" y="476610"/>
                          </a:lnTo>
                          <a:lnTo>
                            <a:pt x="261483" y="475260"/>
                          </a:lnTo>
                          <a:lnTo>
                            <a:pt x="263283" y="473459"/>
                          </a:lnTo>
                          <a:lnTo>
                            <a:pt x="264183" y="472109"/>
                          </a:lnTo>
                          <a:lnTo>
                            <a:pt x="267783" y="466258"/>
                          </a:lnTo>
                          <a:lnTo>
                            <a:pt x="272284" y="464008"/>
                          </a:lnTo>
                          <a:lnTo>
                            <a:pt x="274534" y="462208"/>
                          </a:lnTo>
                          <a:lnTo>
                            <a:pt x="276334" y="459957"/>
                          </a:lnTo>
                          <a:lnTo>
                            <a:pt x="276785" y="459058"/>
                          </a:lnTo>
                          <a:lnTo>
                            <a:pt x="274534" y="459957"/>
                          </a:lnTo>
                          <a:lnTo>
                            <a:pt x="273184" y="460408"/>
                          </a:lnTo>
                          <a:lnTo>
                            <a:pt x="271384" y="459957"/>
                          </a:lnTo>
                          <a:lnTo>
                            <a:pt x="270484" y="459058"/>
                          </a:lnTo>
                          <a:lnTo>
                            <a:pt x="267783" y="459508"/>
                          </a:lnTo>
                          <a:lnTo>
                            <a:pt x="264183" y="459058"/>
                          </a:lnTo>
                          <a:lnTo>
                            <a:pt x="263733" y="459508"/>
                          </a:lnTo>
                          <a:lnTo>
                            <a:pt x="263283" y="462208"/>
                          </a:lnTo>
                          <a:lnTo>
                            <a:pt x="262833" y="463558"/>
                          </a:lnTo>
                          <a:lnTo>
                            <a:pt x="262383" y="464008"/>
                          </a:lnTo>
                          <a:lnTo>
                            <a:pt x="261483" y="464458"/>
                          </a:lnTo>
                          <a:lnTo>
                            <a:pt x="259683" y="464908"/>
                          </a:lnTo>
                          <a:lnTo>
                            <a:pt x="255632" y="464008"/>
                          </a:lnTo>
                          <a:lnTo>
                            <a:pt x="254732" y="463558"/>
                          </a:lnTo>
                          <a:lnTo>
                            <a:pt x="253832" y="463108"/>
                          </a:lnTo>
                          <a:lnTo>
                            <a:pt x="249331" y="464008"/>
                          </a:lnTo>
                          <a:lnTo>
                            <a:pt x="248431" y="464008"/>
                          </a:lnTo>
                          <a:lnTo>
                            <a:pt x="249331" y="463108"/>
                          </a:lnTo>
                          <a:lnTo>
                            <a:pt x="253832" y="460858"/>
                          </a:lnTo>
                          <a:lnTo>
                            <a:pt x="254282" y="454557"/>
                          </a:lnTo>
                          <a:lnTo>
                            <a:pt x="253832" y="453657"/>
                          </a:lnTo>
                          <a:lnTo>
                            <a:pt x="252481" y="454557"/>
                          </a:lnTo>
                          <a:lnTo>
                            <a:pt x="250231" y="455457"/>
                          </a:lnTo>
                          <a:lnTo>
                            <a:pt x="248881" y="455007"/>
                          </a:lnTo>
                          <a:lnTo>
                            <a:pt x="247981" y="454557"/>
                          </a:lnTo>
                          <a:lnTo>
                            <a:pt x="247531" y="455007"/>
                          </a:lnTo>
                          <a:lnTo>
                            <a:pt x="246181" y="458157"/>
                          </a:lnTo>
                          <a:lnTo>
                            <a:pt x="245281" y="458607"/>
                          </a:lnTo>
                          <a:lnTo>
                            <a:pt x="243931" y="458607"/>
                          </a:lnTo>
                          <a:lnTo>
                            <a:pt x="241230" y="459957"/>
                          </a:lnTo>
                          <a:lnTo>
                            <a:pt x="235829" y="460858"/>
                          </a:lnTo>
                          <a:lnTo>
                            <a:pt x="234929" y="461758"/>
                          </a:lnTo>
                          <a:lnTo>
                            <a:pt x="231329" y="461308"/>
                          </a:lnTo>
                          <a:lnTo>
                            <a:pt x="220077" y="459508"/>
                          </a:lnTo>
                          <a:lnTo>
                            <a:pt x="216027" y="459508"/>
                          </a:lnTo>
                          <a:lnTo>
                            <a:pt x="211076" y="458607"/>
                          </a:lnTo>
                          <a:lnTo>
                            <a:pt x="210176" y="458157"/>
                          </a:lnTo>
                          <a:lnTo>
                            <a:pt x="203425" y="458157"/>
                          </a:lnTo>
                          <a:lnTo>
                            <a:pt x="201625" y="457707"/>
                          </a:lnTo>
                          <a:lnTo>
                            <a:pt x="201625" y="456357"/>
                          </a:lnTo>
                          <a:lnTo>
                            <a:pt x="201625" y="455907"/>
                          </a:lnTo>
                          <a:lnTo>
                            <a:pt x="199825" y="457257"/>
                          </a:lnTo>
                          <a:lnTo>
                            <a:pt x="198025" y="458157"/>
                          </a:lnTo>
                          <a:lnTo>
                            <a:pt x="195774" y="459058"/>
                          </a:lnTo>
                          <a:lnTo>
                            <a:pt x="189024" y="460408"/>
                          </a:lnTo>
                          <a:lnTo>
                            <a:pt x="185423" y="460858"/>
                          </a:lnTo>
                          <a:lnTo>
                            <a:pt x="183173" y="459957"/>
                          </a:lnTo>
                          <a:lnTo>
                            <a:pt x="182273" y="459058"/>
                          </a:lnTo>
                          <a:lnTo>
                            <a:pt x="180923" y="455907"/>
                          </a:lnTo>
                          <a:lnTo>
                            <a:pt x="180023" y="451857"/>
                          </a:lnTo>
                          <a:lnTo>
                            <a:pt x="180023" y="450956"/>
                          </a:lnTo>
                          <a:lnTo>
                            <a:pt x="180472" y="449606"/>
                          </a:lnTo>
                          <a:lnTo>
                            <a:pt x="181823" y="447806"/>
                          </a:lnTo>
                          <a:lnTo>
                            <a:pt x="188573" y="442405"/>
                          </a:lnTo>
                          <a:lnTo>
                            <a:pt x="193974" y="437005"/>
                          </a:lnTo>
                          <a:lnTo>
                            <a:pt x="196224" y="434304"/>
                          </a:lnTo>
                          <a:lnTo>
                            <a:pt x="198475" y="433404"/>
                          </a:lnTo>
                          <a:lnTo>
                            <a:pt x="202075" y="431154"/>
                          </a:lnTo>
                          <a:lnTo>
                            <a:pt x="202075" y="430704"/>
                          </a:lnTo>
                          <a:lnTo>
                            <a:pt x="198475" y="431154"/>
                          </a:lnTo>
                          <a:lnTo>
                            <a:pt x="196224" y="430704"/>
                          </a:lnTo>
                          <a:lnTo>
                            <a:pt x="193974" y="430254"/>
                          </a:lnTo>
                          <a:lnTo>
                            <a:pt x="189474" y="430704"/>
                          </a:lnTo>
                          <a:lnTo>
                            <a:pt x="184523" y="430704"/>
                          </a:lnTo>
                          <a:lnTo>
                            <a:pt x="184523" y="429354"/>
                          </a:lnTo>
                          <a:lnTo>
                            <a:pt x="186773" y="427103"/>
                          </a:lnTo>
                          <a:lnTo>
                            <a:pt x="191274" y="423503"/>
                          </a:lnTo>
                          <a:lnTo>
                            <a:pt x="191724" y="423503"/>
                          </a:lnTo>
                          <a:lnTo>
                            <a:pt x="190374" y="425303"/>
                          </a:lnTo>
                          <a:lnTo>
                            <a:pt x="189924" y="426653"/>
                          </a:lnTo>
                          <a:lnTo>
                            <a:pt x="190374" y="427554"/>
                          </a:lnTo>
                          <a:lnTo>
                            <a:pt x="191274" y="428004"/>
                          </a:lnTo>
                          <a:lnTo>
                            <a:pt x="193974" y="428454"/>
                          </a:lnTo>
                          <a:lnTo>
                            <a:pt x="194424" y="427554"/>
                          </a:lnTo>
                          <a:lnTo>
                            <a:pt x="195324" y="423503"/>
                          </a:lnTo>
                          <a:lnTo>
                            <a:pt x="197575" y="418553"/>
                          </a:lnTo>
                          <a:lnTo>
                            <a:pt x="198475" y="414952"/>
                          </a:lnTo>
                          <a:lnTo>
                            <a:pt x="200275" y="412252"/>
                          </a:lnTo>
                          <a:lnTo>
                            <a:pt x="201175" y="411802"/>
                          </a:lnTo>
                          <a:lnTo>
                            <a:pt x="202075" y="412252"/>
                          </a:lnTo>
                          <a:lnTo>
                            <a:pt x="204776" y="412702"/>
                          </a:lnTo>
                          <a:lnTo>
                            <a:pt x="207476" y="414952"/>
                          </a:lnTo>
                          <a:lnTo>
                            <a:pt x="208376" y="414952"/>
                          </a:lnTo>
                          <a:lnTo>
                            <a:pt x="208826" y="414952"/>
                          </a:lnTo>
                          <a:lnTo>
                            <a:pt x="207926" y="414052"/>
                          </a:lnTo>
                          <a:lnTo>
                            <a:pt x="207026" y="412702"/>
                          </a:lnTo>
                          <a:lnTo>
                            <a:pt x="206576" y="411802"/>
                          </a:lnTo>
                          <a:lnTo>
                            <a:pt x="207476" y="408651"/>
                          </a:lnTo>
                          <a:lnTo>
                            <a:pt x="208826" y="407751"/>
                          </a:lnTo>
                          <a:lnTo>
                            <a:pt x="208826" y="407301"/>
                          </a:lnTo>
                          <a:lnTo>
                            <a:pt x="206126" y="407301"/>
                          </a:lnTo>
                          <a:lnTo>
                            <a:pt x="204325" y="406401"/>
                          </a:lnTo>
                          <a:lnTo>
                            <a:pt x="203875" y="405051"/>
                          </a:lnTo>
                          <a:lnTo>
                            <a:pt x="203875" y="402350"/>
                          </a:lnTo>
                          <a:lnTo>
                            <a:pt x="204325" y="400550"/>
                          </a:lnTo>
                          <a:lnTo>
                            <a:pt x="206126" y="398300"/>
                          </a:lnTo>
                          <a:lnTo>
                            <a:pt x="207926" y="396950"/>
                          </a:lnTo>
                          <a:lnTo>
                            <a:pt x="209276" y="397400"/>
                          </a:lnTo>
                          <a:lnTo>
                            <a:pt x="211526" y="399200"/>
                          </a:lnTo>
                          <a:lnTo>
                            <a:pt x="212877" y="398750"/>
                          </a:lnTo>
                          <a:lnTo>
                            <a:pt x="212877" y="398300"/>
                          </a:lnTo>
                          <a:lnTo>
                            <a:pt x="210626" y="395150"/>
                          </a:lnTo>
                          <a:lnTo>
                            <a:pt x="210176" y="392899"/>
                          </a:lnTo>
                          <a:lnTo>
                            <a:pt x="210176" y="391999"/>
                          </a:lnTo>
                          <a:lnTo>
                            <a:pt x="214677" y="381198"/>
                          </a:lnTo>
                          <a:lnTo>
                            <a:pt x="216927" y="375347"/>
                          </a:lnTo>
                          <a:lnTo>
                            <a:pt x="220077" y="366796"/>
                          </a:lnTo>
                          <a:lnTo>
                            <a:pt x="220978" y="365446"/>
                          </a:lnTo>
                          <a:lnTo>
                            <a:pt x="222328" y="362745"/>
                          </a:lnTo>
                          <a:lnTo>
                            <a:pt x="222778" y="361845"/>
                          </a:lnTo>
                          <a:lnTo>
                            <a:pt x="224578" y="361845"/>
                          </a:lnTo>
                          <a:lnTo>
                            <a:pt x="225928" y="361395"/>
                          </a:lnTo>
                          <a:lnTo>
                            <a:pt x="224128" y="360045"/>
                          </a:lnTo>
                          <a:lnTo>
                            <a:pt x="223678" y="359145"/>
                          </a:lnTo>
                          <a:lnTo>
                            <a:pt x="223678" y="358245"/>
                          </a:lnTo>
                          <a:lnTo>
                            <a:pt x="224128" y="357345"/>
                          </a:lnTo>
                          <a:lnTo>
                            <a:pt x="225028" y="356895"/>
                          </a:lnTo>
                          <a:lnTo>
                            <a:pt x="227278" y="355545"/>
                          </a:lnTo>
                          <a:lnTo>
                            <a:pt x="229078" y="353294"/>
                          </a:lnTo>
                          <a:lnTo>
                            <a:pt x="229979" y="350594"/>
                          </a:lnTo>
                          <a:lnTo>
                            <a:pt x="229979" y="349694"/>
                          </a:lnTo>
                          <a:lnTo>
                            <a:pt x="229529" y="348794"/>
                          </a:lnTo>
                          <a:lnTo>
                            <a:pt x="229529" y="348344"/>
                          </a:lnTo>
                          <a:lnTo>
                            <a:pt x="230879" y="347894"/>
                          </a:lnTo>
                          <a:lnTo>
                            <a:pt x="234029" y="344743"/>
                          </a:lnTo>
                          <a:lnTo>
                            <a:pt x="234479" y="344293"/>
                          </a:lnTo>
                          <a:lnTo>
                            <a:pt x="235829" y="339793"/>
                          </a:lnTo>
                          <a:lnTo>
                            <a:pt x="237180" y="337992"/>
                          </a:lnTo>
                          <a:lnTo>
                            <a:pt x="238530" y="337092"/>
                          </a:lnTo>
                          <a:lnTo>
                            <a:pt x="240780" y="335742"/>
                          </a:lnTo>
                          <a:lnTo>
                            <a:pt x="247531" y="332592"/>
                          </a:lnTo>
                          <a:lnTo>
                            <a:pt x="251581" y="329891"/>
                          </a:lnTo>
                          <a:lnTo>
                            <a:pt x="254282" y="329891"/>
                          </a:lnTo>
                          <a:lnTo>
                            <a:pt x="255182" y="331692"/>
                          </a:lnTo>
                          <a:lnTo>
                            <a:pt x="258782" y="333042"/>
                          </a:lnTo>
                          <a:lnTo>
                            <a:pt x="259232" y="331692"/>
                          </a:lnTo>
                          <a:lnTo>
                            <a:pt x="258332" y="329891"/>
                          </a:lnTo>
                          <a:lnTo>
                            <a:pt x="259232" y="329441"/>
                          </a:lnTo>
                          <a:lnTo>
                            <a:pt x="262383" y="328991"/>
                          </a:lnTo>
                          <a:lnTo>
                            <a:pt x="262833" y="328991"/>
                          </a:lnTo>
                          <a:lnTo>
                            <a:pt x="263733" y="329891"/>
                          </a:lnTo>
                          <a:lnTo>
                            <a:pt x="261483" y="333042"/>
                          </a:lnTo>
                          <a:close/>
                          <a:moveTo>
                            <a:pt x="259683" y="360945"/>
                          </a:moveTo>
                          <a:lnTo>
                            <a:pt x="258782" y="361395"/>
                          </a:lnTo>
                          <a:lnTo>
                            <a:pt x="258332" y="361395"/>
                          </a:lnTo>
                          <a:lnTo>
                            <a:pt x="257882" y="360945"/>
                          </a:lnTo>
                          <a:lnTo>
                            <a:pt x="257882" y="360495"/>
                          </a:lnTo>
                          <a:lnTo>
                            <a:pt x="258332" y="359145"/>
                          </a:lnTo>
                          <a:lnTo>
                            <a:pt x="260132" y="358245"/>
                          </a:lnTo>
                          <a:lnTo>
                            <a:pt x="261483" y="358245"/>
                          </a:lnTo>
                          <a:lnTo>
                            <a:pt x="261483" y="359145"/>
                          </a:lnTo>
                          <a:lnTo>
                            <a:pt x="261033" y="360495"/>
                          </a:lnTo>
                          <a:lnTo>
                            <a:pt x="259683" y="360945"/>
                          </a:lnTo>
                          <a:close/>
                          <a:moveTo>
                            <a:pt x="290286" y="392899"/>
                          </a:moveTo>
                          <a:lnTo>
                            <a:pt x="291636" y="395150"/>
                          </a:lnTo>
                          <a:lnTo>
                            <a:pt x="292537" y="395599"/>
                          </a:lnTo>
                          <a:lnTo>
                            <a:pt x="287136" y="397850"/>
                          </a:lnTo>
                          <a:lnTo>
                            <a:pt x="286686" y="397850"/>
                          </a:lnTo>
                          <a:lnTo>
                            <a:pt x="286236" y="397400"/>
                          </a:lnTo>
                          <a:lnTo>
                            <a:pt x="286236" y="395150"/>
                          </a:lnTo>
                          <a:lnTo>
                            <a:pt x="286686" y="393349"/>
                          </a:lnTo>
                          <a:lnTo>
                            <a:pt x="287136" y="392899"/>
                          </a:lnTo>
                          <a:lnTo>
                            <a:pt x="288486" y="393799"/>
                          </a:lnTo>
                          <a:lnTo>
                            <a:pt x="289836" y="391549"/>
                          </a:lnTo>
                          <a:lnTo>
                            <a:pt x="290286" y="392899"/>
                          </a:lnTo>
                          <a:close/>
                          <a:moveTo>
                            <a:pt x="280385" y="397850"/>
                          </a:moveTo>
                          <a:lnTo>
                            <a:pt x="277235" y="399650"/>
                          </a:lnTo>
                          <a:lnTo>
                            <a:pt x="276334" y="400550"/>
                          </a:lnTo>
                          <a:lnTo>
                            <a:pt x="275434" y="401000"/>
                          </a:lnTo>
                          <a:lnTo>
                            <a:pt x="274534" y="400550"/>
                          </a:lnTo>
                          <a:lnTo>
                            <a:pt x="273634" y="398750"/>
                          </a:lnTo>
                          <a:lnTo>
                            <a:pt x="273634" y="398300"/>
                          </a:lnTo>
                          <a:lnTo>
                            <a:pt x="274534" y="398300"/>
                          </a:lnTo>
                          <a:lnTo>
                            <a:pt x="274984" y="398750"/>
                          </a:lnTo>
                          <a:lnTo>
                            <a:pt x="274984" y="399200"/>
                          </a:lnTo>
                          <a:lnTo>
                            <a:pt x="275434" y="399650"/>
                          </a:lnTo>
                          <a:lnTo>
                            <a:pt x="275884" y="399650"/>
                          </a:lnTo>
                          <a:lnTo>
                            <a:pt x="278135" y="397850"/>
                          </a:lnTo>
                          <a:lnTo>
                            <a:pt x="279485" y="397400"/>
                          </a:lnTo>
                          <a:lnTo>
                            <a:pt x="279935" y="397850"/>
                          </a:lnTo>
                          <a:lnTo>
                            <a:pt x="280385" y="397850"/>
                          </a:lnTo>
                          <a:close/>
                          <a:moveTo>
                            <a:pt x="287586" y="466708"/>
                          </a:moveTo>
                          <a:lnTo>
                            <a:pt x="286686" y="467609"/>
                          </a:lnTo>
                          <a:lnTo>
                            <a:pt x="285786" y="467609"/>
                          </a:lnTo>
                          <a:lnTo>
                            <a:pt x="285786" y="466708"/>
                          </a:lnTo>
                          <a:lnTo>
                            <a:pt x="287136" y="464908"/>
                          </a:lnTo>
                          <a:lnTo>
                            <a:pt x="287586" y="463558"/>
                          </a:lnTo>
                          <a:lnTo>
                            <a:pt x="287586" y="462658"/>
                          </a:lnTo>
                          <a:lnTo>
                            <a:pt x="288036" y="462208"/>
                          </a:lnTo>
                          <a:lnTo>
                            <a:pt x="288936" y="461308"/>
                          </a:lnTo>
                          <a:lnTo>
                            <a:pt x="289836" y="459957"/>
                          </a:lnTo>
                          <a:lnTo>
                            <a:pt x="289386" y="462208"/>
                          </a:lnTo>
                          <a:lnTo>
                            <a:pt x="287586" y="466708"/>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2" name="Freeform: Shape 1981">
                      <a:extLst>
                        <a:ext uri="{FF2B5EF4-FFF2-40B4-BE49-F238E27FC236}">
                          <a16:creationId xmlns:a16="http://schemas.microsoft.com/office/drawing/2014/main" id="{9CC1C248-DCBE-D939-C5E3-B81C6D8CB2DE}"/>
                        </a:ext>
                      </a:extLst>
                    </p:cNvPr>
                    <p:cNvSpPr/>
                    <p:nvPr/>
                  </p:nvSpPr>
                  <p:spPr>
                    <a:xfrm>
                      <a:off x="2304737" y="2496462"/>
                      <a:ext cx="140417" cy="106213"/>
                    </a:xfrm>
                    <a:custGeom>
                      <a:avLst/>
                      <a:gdLst>
                        <a:gd name="connsiteX0" fmla="*/ 110714 w 140417"/>
                        <a:gd name="connsiteY0" fmla="*/ 34204 h 106213"/>
                        <a:gd name="connsiteX1" fmla="*/ 111614 w 140417"/>
                        <a:gd name="connsiteY1" fmla="*/ 34654 h 106213"/>
                        <a:gd name="connsiteX2" fmla="*/ 114314 w 140417"/>
                        <a:gd name="connsiteY2" fmla="*/ 33304 h 106213"/>
                        <a:gd name="connsiteX3" fmla="*/ 115665 w 140417"/>
                        <a:gd name="connsiteY3" fmla="*/ 33304 h 106213"/>
                        <a:gd name="connsiteX4" fmla="*/ 115665 w 140417"/>
                        <a:gd name="connsiteY4" fmla="*/ 34204 h 106213"/>
                        <a:gd name="connsiteX5" fmla="*/ 113414 w 140417"/>
                        <a:gd name="connsiteY5" fmla="*/ 35554 h 106213"/>
                        <a:gd name="connsiteX6" fmla="*/ 112064 w 140417"/>
                        <a:gd name="connsiteY6" fmla="*/ 36454 h 106213"/>
                        <a:gd name="connsiteX7" fmla="*/ 113414 w 140417"/>
                        <a:gd name="connsiteY7" fmla="*/ 37355 h 106213"/>
                        <a:gd name="connsiteX8" fmla="*/ 113414 w 140417"/>
                        <a:gd name="connsiteY8" fmla="*/ 37805 h 106213"/>
                        <a:gd name="connsiteX9" fmla="*/ 111614 w 140417"/>
                        <a:gd name="connsiteY9" fmla="*/ 39155 h 106213"/>
                        <a:gd name="connsiteX10" fmla="*/ 110714 w 140417"/>
                        <a:gd name="connsiteY10" fmla="*/ 40505 h 106213"/>
                        <a:gd name="connsiteX11" fmla="*/ 111614 w 140417"/>
                        <a:gd name="connsiteY11" fmla="*/ 41855 h 106213"/>
                        <a:gd name="connsiteX12" fmla="*/ 114314 w 140417"/>
                        <a:gd name="connsiteY12" fmla="*/ 40505 h 106213"/>
                        <a:gd name="connsiteX13" fmla="*/ 115215 w 140417"/>
                        <a:gd name="connsiteY13" fmla="*/ 40505 h 106213"/>
                        <a:gd name="connsiteX14" fmla="*/ 116565 w 140417"/>
                        <a:gd name="connsiteY14" fmla="*/ 40955 h 106213"/>
                        <a:gd name="connsiteX15" fmla="*/ 117915 w 140417"/>
                        <a:gd name="connsiteY15" fmla="*/ 40505 h 106213"/>
                        <a:gd name="connsiteX16" fmla="*/ 118815 w 140417"/>
                        <a:gd name="connsiteY16" fmla="*/ 40055 h 106213"/>
                        <a:gd name="connsiteX17" fmla="*/ 123765 w 140417"/>
                        <a:gd name="connsiteY17" fmla="*/ 34654 h 106213"/>
                        <a:gd name="connsiteX18" fmla="*/ 124216 w 140417"/>
                        <a:gd name="connsiteY18" fmla="*/ 33754 h 106213"/>
                        <a:gd name="connsiteX19" fmla="*/ 118815 w 140417"/>
                        <a:gd name="connsiteY19" fmla="*/ 34654 h 106213"/>
                        <a:gd name="connsiteX20" fmla="*/ 118365 w 140417"/>
                        <a:gd name="connsiteY20" fmla="*/ 33754 h 106213"/>
                        <a:gd name="connsiteX21" fmla="*/ 121965 w 140417"/>
                        <a:gd name="connsiteY21" fmla="*/ 30604 h 106213"/>
                        <a:gd name="connsiteX22" fmla="*/ 121515 w 140417"/>
                        <a:gd name="connsiteY22" fmla="*/ 28803 h 106213"/>
                        <a:gd name="connsiteX23" fmla="*/ 123316 w 140417"/>
                        <a:gd name="connsiteY23" fmla="*/ 26103 h 106213"/>
                        <a:gd name="connsiteX24" fmla="*/ 124666 w 140417"/>
                        <a:gd name="connsiteY24" fmla="*/ 24303 h 106213"/>
                        <a:gd name="connsiteX25" fmla="*/ 126016 w 140417"/>
                        <a:gd name="connsiteY25" fmla="*/ 23403 h 106213"/>
                        <a:gd name="connsiteX26" fmla="*/ 127816 w 140417"/>
                        <a:gd name="connsiteY26" fmla="*/ 22503 h 106213"/>
                        <a:gd name="connsiteX27" fmla="*/ 129166 w 140417"/>
                        <a:gd name="connsiteY27" fmla="*/ 23853 h 106213"/>
                        <a:gd name="connsiteX28" fmla="*/ 129616 w 140417"/>
                        <a:gd name="connsiteY28" fmla="*/ 26103 h 106213"/>
                        <a:gd name="connsiteX29" fmla="*/ 132317 w 140417"/>
                        <a:gd name="connsiteY29" fmla="*/ 25653 h 106213"/>
                        <a:gd name="connsiteX30" fmla="*/ 135017 w 140417"/>
                        <a:gd name="connsiteY30" fmla="*/ 26103 h 106213"/>
                        <a:gd name="connsiteX31" fmla="*/ 137267 w 140417"/>
                        <a:gd name="connsiteY31" fmla="*/ 27003 h 106213"/>
                        <a:gd name="connsiteX32" fmla="*/ 137717 w 140417"/>
                        <a:gd name="connsiteY32" fmla="*/ 27453 h 106213"/>
                        <a:gd name="connsiteX33" fmla="*/ 137717 w 140417"/>
                        <a:gd name="connsiteY33" fmla="*/ 28353 h 106213"/>
                        <a:gd name="connsiteX34" fmla="*/ 136817 w 140417"/>
                        <a:gd name="connsiteY34" fmla="*/ 29704 h 106213"/>
                        <a:gd name="connsiteX35" fmla="*/ 135467 w 140417"/>
                        <a:gd name="connsiteY35" fmla="*/ 31054 h 106213"/>
                        <a:gd name="connsiteX36" fmla="*/ 137717 w 140417"/>
                        <a:gd name="connsiteY36" fmla="*/ 32854 h 106213"/>
                        <a:gd name="connsiteX37" fmla="*/ 137267 w 140417"/>
                        <a:gd name="connsiteY37" fmla="*/ 33754 h 106213"/>
                        <a:gd name="connsiteX38" fmla="*/ 133667 w 140417"/>
                        <a:gd name="connsiteY38" fmla="*/ 35554 h 106213"/>
                        <a:gd name="connsiteX39" fmla="*/ 131416 w 140417"/>
                        <a:gd name="connsiteY39" fmla="*/ 37355 h 106213"/>
                        <a:gd name="connsiteX40" fmla="*/ 129616 w 140417"/>
                        <a:gd name="connsiteY40" fmla="*/ 39605 h 106213"/>
                        <a:gd name="connsiteX41" fmla="*/ 125566 w 140417"/>
                        <a:gd name="connsiteY41" fmla="*/ 42305 h 106213"/>
                        <a:gd name="connsiteX42" fmla="*/ 119265 w 140417"/>
                        <a:gd name="connsiteY42" fmla="*/ 44105 h 106213"/>
                        <a:gd name="connsiteX43" fmla="*/ 117465 w 140417"/>
                        <a:gd name="connsiteY43" fmla="*/ 44105 h 106213"/>
                        <a:gd name="connsiteX44" fmla="*/ 115215 w 140417"/>
                        <a:gd name="connsiteY44" fmla="*/ 43656 h 106213"/>
                        <a:gd name="connsiteX45" fmla="*/ 112964 w 140417"/>
                        <a:gd name="connsiteY45" fmla="*/ 43656 h 106213"/>
                        <a:gd name="connsiteX46" fmla="*/ 110714 w 140417"/>
                        <a:gd name="connsiteY46" fmla="*/ 44555 h 106213"/>
                        <a:gd name="connsiteX47" fmla="*/ 108464 w 140417"/>
                        <a:gd name="connsiteY47" fmla="*/ 44555 h 106213"/>
                        <a:gd name="connsiteX48" fmla="*/ 107564 w 140417"/>
                        <a:gd name="connsiteY48" fmla="*/ 45006 h 106213"/>
                        <a:gd name="connsiteX49" fmla="*/ 106663 w 140417"/>
                        <a:gd name="connsiteY49" fmla="*/ 45006 h 106213"/>
                        <a:gd name="connsiteX50" fmla="*/ 105763 w 140417"/>
                        <a:gd name="connsiteY50" fmla="*/ 44105 h 106213"/>
                        <a:gd name="connsiteX51" fmla="*/ 103963 w 140417"/>
                        <a:gd name="connsiteY51" fmla="*/ 41855 h 106213"/>
                        <a:gd name="connsiteX52" fmla="*/ 103063 w 140417"/>
                        <a:gd name="connsiteY52" fmla="*/ 40505 h 106213"/>
                        <a:gd name="connsiteX53" fmla="*/ 102163 w 140417"/>
                        <a:gd name="connsiteY53" fmla="*/ 33754 h 106213"/>
                        <a:gd name="connsiteX54" fmla="*/ 102613 w 140417"/>
                        <a:gd name="connsiteY54" fmla="*/ 30154 h 106213"/>
                        <a:gd name="connsiteX55" fmla="*/ 103963 w 140417"/>
                        <a:gd name="connsiteY55" fmla="*/ 26553 h 106213"/>
                        <a:gd name="connsiteX56" fmla="*/ 106213 w 140417"/>
                        <a:gd name="connsiteY56" fmla="*/ 24303 h 106213"/>
                        <a:gd name="connsiteX57" fmla="*/ 107564 w 140417"/>
                        <a:gd name="connsiteY57" fmla="*/ 22503 h 106213"/>
                        <a:gd name="connsiteX58" fmla="*/ 112964 w 140417"/>
                        <a:gd name="connsiteY58" fmla="*/ 11701 h 106213"/>
                        <a:gd name="connsiteX59" fmla="*/ 113864 w 140417"/>
                        <a:gd name="connsiteY59" fmla="*/ 9451 h 106213"/>
                        <a:gd name="connsiteX60" fmla="*/ 115215 w 140417"/>
                        <a:gd name="connsiteY60" fmla="*/ 7201 h 106213"/>
                        <a:gd name="connsiteX61" fmla="*/ 117465 w 140417"/>
                        <a:gd name="connsiteY61" fmla="*/ 4951 h 106213"/>
                        <a:gd name="connsiteX62" fmla="*/ 120615 w 140417"/>
                        <a:gd name="connsiteY62" fmla="*/ 1350 h 106213"/>
                        <a:gd name="connsiteX63" fmla="*/ 121515 w 140417"/>
                        <a:gd name="connsiteY63" fmla="*/ 450 h 106213"/>
                        <a:gd name="connsiteX64" fmla="*/ 123316 w 140417"/>
                        <a:gd name="connsiteY64" fmla="*/ 0 h 106213"/>
                        <a:gd name="connsiteX65" fmla="*/ 125116 w 140417"/>
                        <a:gd name="connsiteY65" fmla="*/ 0 h 106213"/>
                        <a:gd name="connsiteX66" fmla="*/ 124666 w 140417"/>
                        <a:gd name="connsiteY66" fmla="*/ 1350 h 106213"/>
                        <a:gd name="connsiteX67" fmla="*/ 124666 w 140417"/>
                        <a:gd name="connsiteY67" fmla="*/ 2700 h 106213"/>
                        <a:gd name="connsiteX68" fmla="*/ 126466 w 140417"/>
                        <a:gd name="connsiteY68" fmla="*/ 7651 h 106213"/>
                        <a:gd name="connsiteX69" fmla="*/ 126466 w 140417"/>
                        <a:gd name="connsiteY69" fmla="*/ 8551 h 106213"/>
                        <a:gd name="connsiteX70" fmla="*/ 125566 w 140417"/>
                        <a:gd name="connsiteY70" fmla="*/ 12152 h 106213"/>
                        <a:gd name="connsiteX71" fmla="*/ 123316 w 140417"/>
                        <a:gd name="connsiteY71" fmla="*/ 18452 h 106213"/>
                        <a:gd name="connsiteX72" fmla="*/ 122866 w 140417"/>
                        <a:gd name="connsiteY72" fmla="*/ 22053 h 106213"/>
                        <a:gd name="connsiteX73" fmla="*/ 123316 w 140417"/>
                        <a:gd name="connsiteY73" fmla="*/ 22953 h 106213"/>
                        <a:gd name="connsiteX74" fmla="*/ 122415 w 140417"/>
                        <a:gd name="connsiteY74" fmla="*/ 24753 h 106213"/>
                        <a:gd name="connsiteX75" fmla="*/ 121515 w 140417"/>
                        <a:gd name="connsiteY75" fmla="*/ 26103 h 106213"/>
                        <a:gd name="connsiteX76" fmla="*/ 117915 w 140417"/>
                        <a:gd name="connsiteY76" fmla="*/ 28353 h 106213"/>
                        <a:gd name="connsiteX77" fmla="*/ 116115 w 140417"/>
                        <a:gd name="connsiteY77" fmla="*/ 28803 h 106213"/>
                        <a:gd name="connsiteX78" fmla="*/ 114314 w 140417"/>
                        <a:gd name="connsiteY78" fmla="*/ 29704 h 106213"/>
                        <a:gd name="connsiteX79" fmla="*/ 110714 w 140417"/>
                        <a:gd name="connsiteY79" fmla="*/ 34204 h 106213"/>
                        <a:gd name="connsiteX80" fmla="*/ 42305 w 140417"/>
                        <a:gd name="connsiteY80" fmla="*/ 37805 h 106213"/>
                        <a:gd name="connsiteX81" fmla="*/ 43206 w 140417"/>
                        <a:gd name="connsiteY81" fmla="*/ 37355 h 106213"/>
                        <a:gd name="connsiteX82" fmla="*/ 44556 w 140417"/>
                        <a:gd name="connsiteY82" fmla="*/ 36005 h 106213"/>
                        <a:gd name="connsiteX83" fmla="*/ 45906 w 140417"/>
                        <a:gd name="connsiteY83" fmla="*/ 34204 h 106213"/>
                        <a:gd name="connsiteX84" fmla="*/ 48156 w 140417"/>
                        <a:gd name="connsiteY84" fmla="*/ 33754 h 106213"/>
                        <a:gd name="connsiteX85" fmla="*/ 48606 w 140417"/>
                        <a:gd name="connsiteY85" fmla="*/ 32854 h 106213"/>
                        <a:gd name="connsiteX86" fmla="*/ 51756 w 140417"/>
                        <a:gd name="connsiteY86" fmla="*/ 34654 h 106213"/>
                        <a:gd name="connsiteX87" fmla="*/ 55357 w 140417"/>
                        <a:gd name="connsiteY87" fmla="*/ 37805 h 106213"/>
                        <a:gd name="connsiteX88" fmla="*/ 58057 w 140417"/>
                        <a:gd name="connsiteY88" fmla="*/ 37355 h 106213"/>
                        <a:gd name="connsiteX89" fmla="*/ 59407 w 140417"/>
                        <a:gd name="connsiteY89" fmla="*/ 37355 h 106213"/>
                        <a:gd name="connsiteX90" fmla="*/ 62558 w 140417"/>
                        <a:gd name="connsiteY90" fmla="*/ 39155 h 106213"/>
                        <a:gd name="connsiteX91" fmla="*/ 63458 w 140417"/>
                        <a:gd name="connsiteY91" fmla="*/ 40055 h 106213"/>
                        <a:gd name="connsiteX92" fmla="*/ 63908 w 140417"/>
                        <a:gd name="connsiteY92" fmla="*/ 40955 h 106213"/>
                        <a:gd name="connsiteX93" fmla="*/ 65708 w 140417"/>
                        <a:gd name="connsiteY93" fmla="*/ 40955 h 106213"/>
                        <a:gd name="connsiteX94" fmla="*/ 67959 w 140417"/>
                        <a:gd name="connsiteY94" fmla="*/ 40055 h 106213"/>
                        <a:gd name="connsiteX95" fmla="*/ 72009 w 140417"/>
                        <a:gd name="connsiteY95" fmla="*/ 40055 h 106213"/>
                        <a:gd name="connsiteX96" fmla="*/ 76510 w 140417"/>
                        <a:gd name="connsiteY96" fmla="*/ 40955 h 106213"/>
                        <a:gd name="connsiteX97" fmla="*/ 76060 w 140417"/>
                        <a:gd name="connsiteY97" fmla="*/ 42755 h 106213"/>
                        <a:gd name="connsiteX98" fmla="*/ 75159 w 140417"/>
                        <a:gd name="connsiteY98" fmla="*/ 44105 h 106213"/>
                        <a:gd name="connsiteX99" fmla="*/ 78760 w 140417"/>
                        <a:gd name="connsiteY99" fmla="*/ 43656 h 106213"/>
                        <a:gd name="connsiteX100" fmla="*/ 81010 w 140417"/>
                        <a:gd name="connsiteY100" fmla="*/ 45006 h 106213"/>
                        <a:gd name="connsiteX101" fmla="*/ 81910 w 140417"/>
                        <a:gd name="connsiteY101" fmla="*/ 44555 h 106213"/>
                        <a:gd name="connsiteX102" fmla="*/ 82361 w 140417"/>
                        <a:gd name="connsiteY102" fmla="*/ 43656 h 106213"/>
                        <a:gd name="connsiteX103" fmla="*/ 86861 w 140417"/>
                        <a:gd name="connsiteY103" fmla="*/ 41855 h 106213"/>
                        <a:gd name="connsiteX104" fmla="*/ 92262 w 140417"/>
                        <a:gd name="connsiteY104" fmla="*/ 37805 h 106213"/>
                        <a:gd name="connsiteX105" fmla="*/ 93162 w 140417"/>
                        <a:gd name="connsiteY105" fmla="*/ 38255 h 106213"/>
                        <a:gd name="connsiteX106" fmla="*/ 93612 w 140417"/>
                        <a:gd name="connsiteY106" fmla="*/ 40055 h 106213"/>
                        <a:gd name="connsiteX107" fmla="*/ 94512 w 140417"/>
                        <a:gd name="connsiteY107" fmla="*/ 42755 h 106213"/>
                        <a:gd name="connsiteX108" fmla="*/ 96762 w 140417"/>
                        <a:gd name="connsiteY108" fmla="*/ 44555 h 106213"/>
                        <a:gd name="connsiteX109" fmla="*/ 99463 w 140417"/>
                        <a:gd name="connsiteY109" fmla="*/ 45006 h 106213"/>
                        <a:gd name="connsiteX110" fmla="*/ 103063 w 140417"/>
                        <a:gd name="connsiteY110" fmla="*/ 43656 h 106213"/>
                        <a:gd name="connsiteX111" fmla="*/ 104413 w 140417"/>
                        <a:gd name="connsiteY111" fmla="*/ 45006 h 106213"/>
                        <a:gd name="connsiteX112" fmla="*/ 106213 w 140417"/>
                        <a:gd name="connsiteY112" fmla="*/ 47256 h 106213"/>
                        <a:gd name="connsiteX113" fmla="*/ 107564 w 140417"/>
                        <a:gd name="connsiteY113" fmla="*/ 50406 h 106213"/>
                        <a:gd name="connsiteX114" fmla="*/ 107564 w 140417"/>
                        <a:gd name="connsiteY114" fmla="*/ 51306 h 106213"/>
                        <a:gd name="connsiteX115" fmla="*/ 105763 w 140417"/>
                        <a:gd name="connsiteY115" fmla="*/ 52206 h 106213"/>
                        <a:gd name="connsiteX116" fmla="*/ 103963 w 140417"/>
                        <a:gd name="connsiteY116" fmla="*/ 53557 h 106213"/>
                        <a:gd name="connsiteX117" fmla="*/ 111614 w 140417"/>
                        <a:gd name="connsiteY117" fmla="*/ 54007 h 106213"/>
                        <a:gd name="connsiteX118" fmla="*/ 112514 w 140417"/>
                        <a:gd name="connsiteY118" fmla="*/ 54457 h 106213"/>
                        <a:gd name="connsiteX119" fmla="*/ 113414 w 140417"/>
                        <a:gd name="connsiteY119" fmla="*/ 55807 h 106213"/>
                        <a:gd name="connsiteX120" fmla="*/ 112514 w 140417"/>
                        <a:gd name="connsiteY120" fmla="*/ 57157 h 106213"/>
                        <a:gd name="connsiteX121" fmla="*/ 111614 w 140417"/>
                        <a:gd name="connsiteY121" fmla="*/ 57607 h 106213"/>
                        <a:gd name="connsiteX122" fmla="*/ 110264 w 140417"/>
                        <a:gd name="connsiteY122" fmla="*/ 56707 h 106213"/>
                        <a:gd name="connsiteX123" fmla="*/ 107564 w 140417"/>
                        <a:gd name="connsiteY123" fmla="*/ 57157 h 106213"/>
                        <a:gd name="connsiteX124" fmla="*/ 105313 w 140417"/>
                        <a:gd name="connsiteY124" fmla="*/ 58507 h 106213"/>
                        <a:gd name="connsiteX125" fmla="*/ 103063 w 140417"/>
                        <a:gd name="connsiteY125" fmla="*/ 59407 h 106213"/>
                        <a:gd name="connsiteX126" fmla="*/ 101713 w 140417"/>
                        <a:gd name="connsiteY126" fmla="*/ 59407 h 106213"/>
                        <a:gd name="connsiteX127" fmla="*/ 99913 w 140417"/>
                        <a:gd name="connsiteY127" fmla="*/ 60307 h 106213"/>
                        <a:gd name="connsiteX128" fmla="*/ 98562 w 140417"/>
                        <a:gd name="connsiteY128" fmla="*/ 61208 h 106213"/>
                        <a:gd name="connsiteX129" fmla="*/ 96762 w 140417"/>
                        <a:gd name="connsiteY129" fmla="*/ 61658 h 106213"/>
                        <a:gd name="connsiteX130" fmla="*/ 91812 w 140417"/>
                        <a:gd name="connsiteY130" fmla="*/ 64358 h 106213"/>
                        <a:gd name="connsiteX131" fmla="*/ 86861 w 140417"/>
                        <a:gd name="connsiteY131" fmla="*/ 66158 h 106213"/>
                        <a:gd name="connsiteX132" fmla="*/ 81460 w 140417"/>
                        <a:gd name="connsiteY132" fmla="*/ 68859 h 106213"/>
                        <a:gd name="connsiteX133" fmla="*/ 76060 w 140417"/>
                        <a:gd name="connsiteY133" fmla="*/ 70659 h 106213"/>
                        <a:gd name="connsiteX134" fmla="*/ 70659 w 140417"/>
                        <a:gd name="connsiteY134" fmla="*/ 72909 h 106213"/>
                        <a:gd name="connsiteX135" fmla="*/ 69309 w 140417"/>
                        <a:gd name="connsiteY135" fmla="*/ 72909 h 106213"/>
                        <a:gd name="connsiteX136" fmla="*/ 67959 w 140417"/>
                        <a:gd name="connsiteY136" fmla="*/ 72909 h 106213"/>
                        <a:gd name="connsiteX137" fmla="*/ 64808 w 140417"/>
                        <a:gd name="connsiteY137" fmla="*/ 75159 h 106213"/>
                        <a:gd name="connsiteX138" fmla="*/ 62558 w 140417"/>
                        <a:gd name="connsiteY138" fmla="*/ 73359 h 106213"/>
                        <a:gd name="connsiteX139" fmla="*/ 60758 w 140417"/>
                        <a:gd name="connsiteY139" fmla="*/ 73809 h 106213"/>
                        <a:gd name="connsiteX140" fmla="*/ 58958 w 140417"/>
                        <a:gd name="connsiteY140" fmla="*/ 73359 h 106213"/>
                        <a:gd name="connsiteX141" fmla="*/ 57607 w 140417"/>
                        <a:gd name="connsiteY141" fmla="*/ 72459 h 106213"/>
                        <a:gd name="connsiteX142" fmla="*/ 58507 w 140417"/>
                        <a:gd name="connsiteY142" fmla="*/ 74709 h 106213"/>
                        <a:gd name="connsiteX143" fmla="*/ 58958 w 140417"/>
                        <a:gd name="connsiteY143" fmla="*/ 76510 h 106213"/>
                        <a:gd name="connsiteX144" fmla="*/ 58507 w 140417"/>
                        <a:gd name="connsiteY144" fmla="*/ 77410 h 106213"/>
                        <a:gd name="connsiteX145" fmla="*/ 57607 w 140417"/>
                        <a:gd name="connsiteY145" fmla="*/ 78310 h 106213"/>
                        <a:gd name="connsiteX146" fmla="*/ 54457 w 140417"/>
                        <a:gd name="connsiteY146" fmla="*/ 78310 h 106213"/>
                        <a:gd name="connsiteX147" fmla="*/ 53107 w 140417"/>
                        <a:gd name="connsiteY147" fmla="*/ 77410 h 106213"/>
                        <a:gd name="connsiteX148" fmla="*/ 51756 w 140417"/>
                        <a:gd name="connsiteY148" fmla="*/ 76510 h 106213"/>
                        <a:gd name="connsiteX149" fmla="*/ 50857 w 140417"/>
                        <a:gd name="connsiteY149" fmla="*/ 74709 h 106213"/>
                        <a:gd name="connsiteX150" fmla="*/ 49056 w 140417"/>
                        <a:gd name="connsiteY150" fmla="*/ 73359 h 106213"/>
                        <a:gd name="connsiteX151" fmla="*/ 48156 w 140417"/>
                        <a:gd name="connsiteY151" fmla="*/ 75159 h 106213"/>
                        <a:gd name="connsiteX152" fmla="*/ 48156 w 140417"/>
                        <a:gd name="connsiteY152" fmla="*/ 76510 h 106213"/>
                        <a:gd name="connsiteX153" fmla="*/ 46806 w 140417"/>
                        <a:gd name="connsiteY153" fmla="*/ 78310 h 106213"/>
                        <a:gd name="connsiteX154" fmla="*/ 45456 w 140417"/>
                        <a:gd name="connsiteY154" fmla="*/ 75159 h 106213"/>
                        <a:gd name="connsiteX155" fmla="*/ 42755 w 140417"/>
                        <a:gd name="connsiteY155" fmla="*/ 76059 h 106213"/>
                        <a:gd name="connsiteX156" fmla="*/ 41855 w 140417"/>
                        <a:gd name="connsiteY156" fmla="*/ 79210 h 106213"/>
                        <a:gd name="connsiteX157" fmla="*/ 42305 w 140417"/>
                        <a:gd name="connsiteY157" fmla="*/ 80110 h 106213"/>
                        <a:gd name="connsiteX158" fmla="*/ 43206 w 140417"/>
                        <a:gd name="connsiteY158" fmla="*/ 82360 h 106213"/>
                        <a:gd name="connsiteX159" fmla="*/ 41855 w 140417"/>
                        <a:gd name="connsiteY159" fmla="*/ 83710 h 106213"/>
                        <a:gd name="connsiteX160" fmla="*/ 40955 w 140417"/>
                        <a:gd name="connsiteY160" fmla="*/ 83260 h 106213"/>
                        <a:gd name="connsiteX161" fmla="*/ 39155 w 140417"/>
                        <a:gd name="connsiteY161" fmla="*/ 86861 h 106213"/>
                        <a:gd name="connsiteX162" fmla="*/ 36905 w 140417"/>
                        <a:gd name="connsiteY162" fmla="*/ 88211 h 106213"/>
                        <a:gd name="connsiteX163" fmla="*/ 34654 w 140417"/>
                        <a:gd name="connsiteY163" fmla="*/ 91811 h 106213"/>
                        <a:gd name="connsiteX164" fmla="*/ 31954 w 140417"/>
                        <a:gd name="connsiteY164" fmla="*/ 94512 h 106213"/>
                        <a:gd name="connsiteX165" fmla="*/ 31054 w 140417"/>
                        <a:gd name="connsiteY165" fmla="*/ 96312 h 106213"/>
                        <a:gd name="connsiteX166" fmla="*/ 26103 w 140417"/>
                        <a:gd name="connsiteY166" fmla="*/ 100363 h 106213"/>
                        <a:gd name="connsiteX167" fmla="*/ 24303 w 140417"/>
                        <a:gd name="connsiteY167" fmla="*/ 100363 h 106213"/>
                        <a:gd name="connsiteX168" fmla="*/ 22953 w 140417"/>
                        <a:gd name="connsiteY168" fmla="*/ 100363 h 106213"/>
                        <a:gd name="connsiteX169" fmla="*/ 21153 w 140417"/>
                        <a:gd name="connsiteY169" fmla="*/ 102163 h 106213"/>
                        <a:gd name="connsiteX170" fmla="*/ 20703 w 140417"/>
                        <a:gd name="connsiteY170" fmla="*/ 105763 h 106213"/>
                        <a:gd name="connsiteX171" fmla="*/ 19803 w 140417"/>
                        <a:gd name="connsiteY171" fmla="*/ 105313 h 106213"/>
                        <a:gd name="connsiteX172" fmla="*/ 18902 w 140417"/>
                        <a:gd name="connsiteY172" fmla="*/ 105313 h 106213"/>
                        <a:gd name="connsiteX173" fmla="*/ 18452 w 140417"/>
                        <a:gd name="connsiteY173" fmla="*/ 106213 h 106213"/>
                        <a:gd name="connsiteX174" fmla="*/ 18002 w 140417"/>
                        <a:gd name="connsiteY174" fmla="*/ 106213 h 106213"/>
                        <a:gd name="connsiteX175" fmla="*/ 16202 w 140417"/>
                        <a:gd name="connsiteY175" fmla="*/ 105313 h 106213"/>
                        <a:gd name="connsiteX176" fmla="*/ 13952 w 140417"/>
                        <a:gd name="connsiteY176" fmla="*/ 105763 h 106213"/>
                        <a:gd name="connsiteX177" fmla="*/ 12152 w 140417"/>
                        <a:gd name="connsiteY177" fmla="*/ 104863 h 106213"/>
                        <a:gd name="connsiteX178" fmla="*/ 9901 w 140417"/>
                        <a:gd name="connsiteY178" fmla="*/ 99913 h 106213"/>
                        <a:gd name="connsiteX179" fmla="*/ 9001 w 140417"/>
                        <a:gd name="connsiteY179" fmla="*/ 98112 h 106213"/>
                        <a:gd name="connsiteX180" fmla="*/ 7201 w 140417"/>
                        <a:gd name="connsiteY180" fmla="*/ 97662 h 106213"/>
                        <a:gd name="connsiteX181" fmla="*/ 6751 w 140417"/>
                        <a:gd name="connsiteY181" fmla="*/ 98562 h 106213"/>
                        <a:gd name="connsiteX182" fmla="*/ 5851 w 140417"/>
                        <a:gd name="connsiteY182" fmla="*/ 99462 h 106213"/>
                        <a:gd name="connsiteX183" fmla="*/ 4051 w 140417"/>
                        <a:gd name="connsiteY183" fmla="*/ 97212 h 106213"/>
                        <a:gd name="connsiteX184" fmla="*/ 2701 w 140417"/>
                        <a:gd name="connsiteY184" fmla="*/ 89561 h 106213"/>
                        <a:gd name="connsiteX185" fmla="*/ 2701 w 140417"/>
                        <a:gd name="connsiteY185" fmla="*/ 87761 h 106213"/>
                        <a:gd name="connsiteX186" fmla="*/ 4501 w 140417"/>
                        <a:gd name="connsiteY186" fmla="*/ 81010 h 106213"/>
                        <a:gd name="connsiteX187" fmla="*/ 9451 w 140417"/>
                        <a:gd name="connsiteY187" fmla="*/ 75159 h 106213"/>
                        <a:gd name="connsiteX188" fmla="*/ 8101 w 140417"/>
                        <a:gd name="connsiteY188" fmla="*/ 75159 h 106213"/>
                        <a:gd name="connsiteX189" fmla="*/ 3601 w 140417"/>
                        <a:gd name="connsiteY189" fmla="*/ 79210 h 106213"/>
                        <a:gd name="connsiteX190" fmla="*/ 4051 w 140417"/>
                        <a:gd name="connsiteY190" fmla="*/ 78310 h 106213"/>
                        <a:gd name="connsiteX191" fmla="*/ 4951 w 140417"/>
                        <a:gd name="connsiteY191" fmla="*/ 77410 h 106213"/>
                        <a:gd name="connsiteX192" fmla="*/ 6301 w 140417"/>
                        <a:gd name="connsiteY192" fmla="*/ 75609 h 106213"/>
                        <a:gd name="connsiteX193" fmla="*/ 8551 w 140417"/>
                        <a:gd name="connsiteY193" fmla="*/ 73809 h 106213"/>
                        <a:gd name="connsiteX194" fmla="*/ 11702 w 140417"/>
                        <a:gd name="connsiteY194" fmla="*/ 72909 h 106213"/>
                        <a:gd name="connsiteX195" fmla="*/ 13952 w 140417"/>
                        <a:gd name="connsiteY195" fmla="*/ 72909 h 106213"/>
                        <a:gd name="connsiteX196" fmla="*/ 15302 w 140417"/>
                        <a:gd name="connsiteY196" fmla="*/ 72009 h 106213"/>
                        <a:gd name="connsiteX197" fmla="*/ 17552 w 140417"/>
                        <a:gd name="connsiteY197" fmla="*/ 70659 h 106213"/>
                        <a:gd name="connsiteX198" fmla="*/ 18002 w 140417"/>
                        <a:gd name="connsiteY198" fmla="*/ 69759 h 106213"/>
                        <a:gd name="connsiteX199" fmla="*/ 16202 w 140417"/>
                        <a:gd name="connsiteY199" fmla="*/ 70659 h 106213"/>
                        <a:gd name="connsiteX200" fmla="*/ 13052 w 140417"/>
                        <a:gd name="connsiteY200" fmla="*/ 71559 h 106213"/>
                        <a:gd name="connsiteX201" fmla="*/ 13952 w 140417"/>
                        <a:gd name="connsiteY201" fmla="*/ 70209 h 106213"/>
                        <a:gd name="connsiteX202" fmla="*/ 14852 w 140417"/>
                        <a:gd name="connsiteY202" fmla="*/ 69759 h 106213"/>
                        <a:gd name="connsiteX203" fmla="*/ 31054 w 140417"/>
                        <a:gd name="connsiteY203" fmla="*/ 58957 h 106213"/>
                        <a:gd name="connsiteX204" fmla="*/ 34204 w 140417"/>
                        <a:gd name="connsiteY204" fmla="*/ 57157 h 106213"/>
                        <a:gd name="connsiteX205" fmla="*/ 40505 w 140417"/>
                        <a:gd name="connsiteY205" fmla="*/ 54907 h 106213"/>
                        <a:gd name="connsiteX206" fmla="*/ 41405 w 140417"/>
                        <a:gd name="connsiteY206" fmla="*/ 53557 h 106213"/>
                        <a:gd name="connsiteX207" fmla="*/ 40505 w 140417"/>
                        <a:gd name="connsiteY207" fmla="*/ 52657 h 106213"/>
                        <a:gd name="connsiteX208" fmla="*/ 43206 w 140417"/>
                        <a:gd name="connsiteY208" fmla="*/ 53557 h 106213"/>
                        <a:gd name="connsiteX209" fmla="*/ 43206 w 140417"/>
                        <a:gd name="connsiteY209" fmla="*/ 54907 h 106213"/>
                        <a:gd name="connsiteX210" fmla="*/ 42755 w 140417"/>
                        <a:gd name="connsiteY210" fmla="*/ 55807 h 106213"/>
                        <a:gd name="connsiteX211" fmla="*/ 42755 w 140417"/>
                        <a:gd name="connsiteY211" fmla="*/ 57157 h 106213"/>
                        <a:gd name="connsiteX212" fmla="*/ 43206 w 140417"/>
                        <a:gd name="connsiteY212" fmla="*/ 58507 h 106213"/>
                        <a:gd name="connsiteX213" fmla="*/ 45906 w 140417"/>
                        <a:gd name="connsiteY213" fmla="*/ 59407 h 106213"/>
                        <a:gd name="connsiteX214" fmla="*/ 48156 w 140417"/>
                        <a:gd name="connsiteY214" fmla="*/ 62108 h 106213"/>
                        <a:gd name="connsiteX215" fmla="*/ 47256 w 140417"/>
                        <a:gd name="connsiteY215" fmla="*/ 58507 h 106213"/>
                        <a:gd name="connsiteX216" fmla="*/ 49056 w 140417"/>
                        <a:gd name="connsiteY216" fmla="*/ 56257 h 106213"/>
                        <a:gd name="connsiteX217" fmla="*/ 56257 w 140417"/>
                        <a:gd name="connsiteY217" fmla="*/ 53557 h 106213"/>
                        <a:gd name="connsiteX218" fmla="*/ 62558 w 140417"/>
                        <a:gd name="connsiteY218" fmla="*/ 53107 h 106213"/>
                        <a:gd name="connsiteX219" fmla="*/ 64358 w 140417"/>
                        <a:gd name="connsiteY219" fmla="*/ 51756 h 106213"/>
                        <a:gd name="connsiteX220" fmla="*/ 58958 w 140417"/>
                        <a:gd name="connsiteY220" fmla="*/ 50856 h 106213"/>
                        <a:gd name="connsiteX221" fmla="*/ 52657 w 140417"/>
                        <a:gd name="connsiteY221" fmla="*/ 51306 h 106213"/>
                        <a:gd name="connsiteX222" fmla="*/ 48606 w 140417"/>
                        <a:gd name="connsiteY222" fmla="*/ 50406 h 106213"/>
                        <a:gd name="connsiteX223" fmla="*/ 43206 w 140417"/>
                        <a:gd name="connsiteY223" fmla="*/ 50856 h 106213"/>
                        <a:gd name="connsiteX224" fmla="*/ 37805 w 140417"/>
                        <a:gd name="connsiteY224" fmla="*/ 50406 h 106213"/>
                        <a:gd name="connsiteX225" fmla="*/ 36005 w 140417"/>
                        <a:gd name="connsiteY225" fmla="*/ 51306 h 106213"/>
                        <a:gd name="connsiteX226" fmla="*/ 34654 w 140417"/>
                        <a:gd name="connsiteY226" fmla="*/ 53107 h 106213"/>
                        <a:gd name="connsiteX227" fmla="*/ 32854 w 140417"/>
                        <a:gd name="connsiteY227" fmla="*/ 52206 h 106213"/>
                        <a:gd name="connsiteX228" fmla="*/ 31954 w 140417"/>
                        <a:gd name="connsiteY228" fmla="*/ 52206 h 106213"/>
                        <a:gd name="connsiteX229" fmla="*/ 31054 w 140417"/>
                        <a:gd name="connsiteY229" fmla="*/ 51756 h 106213"/>
                        <a:gd name="connsiteX230" fmla="*/ 32854 w 140417"/>
                        <a:gd name="connsiteY230" fmla="*/ 48606 h 106213"/>
                        <a:gd name="connsiteX231" fmla="*/ 38705 w 140417"/>
                        <a:gd name="connsiteY231" fmla="*/ 44105 h 106213"/>
                        <a:gd name="connsiteX232" fmla="*/ 42305 w 140417"/>
                        <a:gd name="connsiteY232" fmla="*/ 40055 h 106213"/>
                        <a:gd name="connsiteX233" fmla="*/ 43206 w 140417"/>
                        <a:gd name="connsiteY233" fmla="*/ 39155 h 106213"/>
                        <a:gd name="connsiteX234" fmla="*/ 42305 w 140417"/>
                        <a:gd name="connsiteY234" fmla="*/ 37805 h 106213"/>
                        <a:gd name="connsiteX235" fmla="*/ 113414 w 140417"/>
                        <a:gd name="connsiteY235" fmla="*/ 48156 h 106213"/>
                        <a:gd name="connsiteX236" fmla="*/ 112514 w 140417"/>
                        <a:gd name="connsiteY236" fmla="*/ 48606 h 106213"/>
                        <a:gd name="connsiteX237" fmla="*/ 112514 w 140417"/>
                        <a:gd name="connsiteY237" fmla="*/ 48156 h 106213"/>
                        <a:gd name="connsiteX238" fmla="*/ 111164 w 140417"/>
                        <a:gd name="connsiteY238" fmla="*/ 46806 h 106213"/>
                        <a:gd name="connsiteX239" fmla="*/ 111164 w 140417"/>
                        <a:gd name="connsiteY239" fmla="*/ 46356 h 106213"/>
                        <a:gd name="connsiteX240" fmla="*/ 112514 w 140417"/>
                        <a:gd name="connsiteY240" fmla="*/ 45906 h 106213"/>
                        <a:gd name="connsiteX241" fmla="*/ 114764 w 140417"/>
                        <a:gd name="connsiteY241" fmla="*/ 46356 h 106213"/>
                        <a:gd name="connsiteX242" fmla="*/ 113864 w 140417"/>
                        <a:gd name="connsiteY242" fmla="*/ 47706 h 106213"/>
                        <a:gd name="connsiteX243" fmla="*/ 113414 w 140417"/>
                        <a:gd name="connsiteY243" fmla="*/ 48156 h 106213"/>
                        <a:gd name="connsiteX244" fmla="*/ 900 w 140417"/>
                        <a:gd name="connsiteY244" fmla="*/ 83710 h 106213"/>
                        <a:gd name="connsiteX245" fmla="*/ 0 w 140417"/>
                        <a:gd name="connsiteY245" fmla="*/ 84611 h 106213"/>
                        <a:gd name="connsiteX246" fmla="*/ 450 w 140417"/>
                        <a:gd name="connsiteY246" fmla="*/ 83710 h 106213"/>
                        <a:gd name="connsiteX247" fmla="*/ 1800 w 140417"/>
                        <a:gd name="connsiteY247" fmla="*/ 81010 h 106213"/>
                        <a:gd name="connsiteX248" fmla="*/ 2701 w 140417"/>
                        <a:gd name="connsiteY248" fmla="*/ 80560 h 106213"/>
                        <a:gd name="connsiteX249" fmla="*/ 900 w 140417"/>
                        <a:gd name="connsiteY249" fmla="*/ 83710 h 106213"/>
                        <a:gd name="connsiteX250" fmla="*/ 138618 w 140417"/>
                        <a:gd name="connsiteY250" fmla="*/ 94062 h 106213"/>
                        <a:gd name="connsiteX251" fmla="*/ 135917 w 140417"/>
                        <a:gd name="connsiteY251" fmla="*/ 94962 h 106213"/>
                        <a:gd name="connsiteX252" fmla="*/ 133667 w 140417"/>
                        <a:gd name="connsiteY252" fmla="*/ 94962 h 106213"/>
                        <a:gd name="connsiteX253" fmla="*/ 131867 w 140417"/>
                        <a:gd name="connsiteY253" fmla="*/ 94062 h 106213"/>
                        <a:gd name="connsiteX254" fmla="*/ 131867 w 140417"/>
                        <a:gd name="connsiteY254" fmla="*/ 93612 h 106213"/>
                        <a:gd name="connsiteX255" fmla="*/ 135917 w 140417"/>
                        <a:gd name="connsiteY255" fmla="*/ 94062 h 106213"/>
                        <a:gd name="connsiteX256" fmla="*/ 137267 w 140417"/>
                        <a:gd name="connsiteY256" fmla="*/ 94062 h 106213"/>
                        <a:gd name="connsiteX257" fmla="*/ 140418 w 140417"/>
                        <a:gd name="connsiteY257" fmla="*/ 92262 h 106213"/>
                        <a:gd name="connsiteX258" fmla="*/ 138618 w 140417"/>
                        <a:gd name="connsiteY258" fmla="*/ 94062 h 106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Lst>
                      <a:rect l="l" t="t" r="r" b="b"/>
                      <a:pathLst>
                        <a:path w="140417" h="106213">
                          <a:moveTo>
                            <a:pt x="110714" y="34204"/>
                          </a:moveTo>
                          <a:lnTo>
                            <a:pt x="111614" y="34654"/>
                          </a:lnTo>
                          <a:lnTo>
                            <a:pt x="114314" y="33304"/>
                          </a:lnTo>
                          <a:lnTo>
                            <a:pt x="115665" y="33304"/>
                          </a:lnTo>
                          <a:lnTo>
                            <a:pt x="115665" y="34204"/>
                          </a:lnTo>
                          <a:lnTo>
                            <a:pt x="113414" y="35554"/>
                          </a:lnTo>
                          <a:lnTo>
                            <a:pt x="112064" y="36454"/>
                          </a:lnTo>
                          <a:lnTo>
                            <a:pt x="113414" y="37355"/>
                          </a:lnTo>
                          <a:lnTo>
                            <a:pt x="113414" y="37805"/>
                          </a:lnTo>
                          <a:lnTo>
                            <a:pt x="111614" y="39155"/>
                          </a:lnTo>
                          <a:lnTo>
                            <a:pt x="110714" y="40505"/>
                          </a:lnTo>
                          <a:lnTo>
                            <a:pt x="111614" y="41855"/>
                          </a:lnTo>
                          <a:lnTo>
                            <a:pt x="114314" y="40505"/>
                          </a:lnTo>
                          <a:lnTo>
                            <a:pt x="115215" y="40505"/>
                          </a:lnTo>
                          <a:lnTo>
                            <a:pt x="116565" y="40955"/>
                          </a:lnTo>
                          <a:lnTo>
                            <a:pt x="117915" y="40505"/>
                          </a:lnTo>
                          <a:lnTo>
                            <a:pt x="118815" y="40055"/>
                          </a:lnTo>
                          <a:lnTo>
                            <a:pt x="123765" y="34654"/>
                          </a:lnTo>
                          <a:lnTo>
                            <a:pt x="124216" y="33754"/>
                          </a:lnTo>
                          <a:lnTo>
                            <a:pt x="118815" y="34654"/>
                          </a:lnTo>
                          <a:lnTo>
                            <a:pt x="118365" y="33754"/>
                          </a:lnTo>
                          <a:lnTo>
                            <a:pt x="121965" y="30604"/>
                          </a:lnTo>
                          <a:lnTo>
                            <a:pt x="121515" y="28803"/>
                          </a:lnTo>
                          <a:lnTo>
                            <a:pt x="123316" y="26103"/>
                          </a:lnTo>
                          <a:lnTo>
                            <a:pt x="124666" y="24303"/>
                          </a:lnTo>
                          <a:lnTo>
                            <a:pt x="126016" y="23403"/>
                          </a:lnTo>
                          <a:lnTo>
                            <a:pt x="127816" y="22503"/>
                          </a:lnTo>
                          <a:lnTo>
                            <a:pt x="129166" y="23853"/>
                          </a:lnTo>
                          <a:lnTo>
                            <a:pt x="129616" y="26103"/>
                          </a:lnTo>
                          <a:lnTo>
                            <a:pt x="132317" y="25653"/>
                          </a:lnTo>
                          <a:lnTo>
                            <a:pt x="135017" y="26103"/>
                          </a:lnTo>
                          <a:lnTo>
                            <a:pt x="137267" y="27003"/>
                          </a:lnTo>
                          <a:lnTo>
                            <a:pt x="137717" y="27453"/>
                          </a:lnTo>
                          <a:lnTo>
                            <a:pt x="137717" y="28353"/>
                          </a:lnTo>
                          <a:lnTo>
                            <a:pt x="136817" y="29704"/>
                          </a:lnTo>
                          <a:lnTo>
                            <a:pt x="135467" y="31054"/>
                          </a:lnTo>
                          <a:lnTo>
                            <a:pt x="137717" y="32854"/>
                          </a:lnTo>
                          <a:lnTo>
                            <a:pt x="137267" y="33754"/>
                          </a:lnTo>
                          <a:lnTo>
                            <a:pt x="133667" y="35554"/>
                          </a:lnTo>
                          <a:lnTo>
                            <a:pt x="131416" y="37355"/>
                          </a:lnTo>
                          <a:lnTo>
                            <a:pt x="129616" y="39605"/>
                          </a:lnTo>
                          <a:lnTo>
                            <a:pt x="125566" y="42305"/>
                          </a:lnTo>
                          <a:lnTo>
                            <a:pt x="119265" y="44105"/>
                          </a:lnTo>
                          <a:lnTo>
                            <a:pt x="117465" y="44105"/>
                          </a:lnTo>
                          <a:lnTo>
                            <a:pt x="115215" y="43656"/>
                          </a:lnTo>
                          <a:lnTo>
                            <a:pt x="112964" y="43656"/>
                          </a:lnTo>
                          <a:lnTo>
                            <a:pt x="110714" y="44555"/>
                          </a:lnTo>
                          <a:lnTo>
                            <a:pt x="108464" y="44555"/>
                          </a:lnTo>
                          <a:lnTo>
                            <a:pt x="107564" y="45006"/>
                          </a:lnTo>
                          <a:lnTo>
                            <a:pt x="106663" y="45006"/>
                          </a:lnTo>
                          <a:lnTo>
                            <a:pt x="105763" y="44105"/>
                          </a:lnTo>
                          <a:lnTo>
                            <a:pt x="103963" y="41855"/>
                          </a:lnTo>
                          <a:lnTo>
                            <a:pt x="103063" y="40505"/>
                          </a:lnTo>
                          <a:lnTo>
                            <a:pt x="102163" y="33754"/>
                          </a:lnTo>
                          <a:lnTo>
                            <a:pt x="102613" y="30154"/>
                          </a:lnTo>
                          <a:lnTo>
                            <a:pt x="103963" y="26553"/>
                          </a:lnTo>
                          <a:lnTo>
                            <a:pt x="106213" y="24303"/>
                          </a:lnTo>
                          <a:lnTo>
                            <a:pt x="107564" y="22503"/>
                          </a:lnTo>
                          <a:lnTo>
                            <a:pt x="112964" y="11701"/>
                          </a:lnTo>
                          <a:lnTo>
                            <a:pt x="113864" y="9451"/>
                          </a:lnTo>
                          <a:lnTo>
                            <a:pt x="115215" y="7201"/>
                          </a:lnTo>
                          <a:lnTo>
                            <a:pt x="117465" y="4951"/>
                          </a:lnTo>
                          <a:lnTo>
                            <a:pt x="120615" y="1350"/>
                          </a:lnTo>
                          <a:lnTo>
                            <a:pt x="121515" y="450"/>
                          </a:lnTo>
                          <a:lnTo>
                            <a:pt x="123316" y="0"/>
                          </a:lnTo>
                          <a:lnTo>
                            <a:pt x="125116" y="0"/>
                          </a:lnTo>
                          <a:lnTo>
                            <a:pt x="124666" y="1350"/>
                          </a:lnTo>
                          <a:lnTo>
                            <a:pt x="124666" y="2700"/>
                          </a:lnTo>
                          <a:lnTo>
                            <a:pt x="126466" y="7651"/>
                          </a:lnTo>
                          <a:lnTo>
                            <a:pt x="126466" y="8551"/>
                          </a:lnTo>
                          <a:lnTo>
                            <a:pt x="125566" y="12152"/>
                          </a:lnTo>
                          <a:lnTo>
                            <a:pt x="123316" y="18452"/>
                          </a:lnTo>
                          <a:lnTo>
                            <a:pt x="122866" y="22053"/>
                          </a:lnTo>
                          <a:lnTo>
                            <a:pt x="123316" y="22953"/>
                          </a:lnTo>
                          <a:lnTo>
                            <a:pt x="122415" y="24753"/>
                          </a:lnTo>
                          <a:lnTo>
                            <a:pt x="121515" y="26103"/>
                          </a:lnTo>
                          <a:lnTo>
                            <a:pt x="117915" y="28353"/>
                          </a:lnTo>
                          <a:lnTo>
                            <a:pt x="116115" y="28803"/>
                          </a:lnTo>
                          <a:lnTo>
                            <a:pt x="114314" y="29704"/>
                          </a:lnTo>
                          <a:lnTo>
                            <a:pt x="110714" y="34204"/>
                          </a:lnTo>
                          <a:close/>
                          <a:moveTo>
                            <a:pt x="42305" y="37805"/>
                          </a:moveTo>
                          <a:lnTo>
                            <a:pt x="43206" y="37355"/>
                          </a:lnTo>
                          <a:lnTo>
                            <a:pt x="44556" y="36005"/>
                          </a:lnTo>
                          <a:lnTo>
                            <a:pt x="45906" y="34204"/>
                          </a:lnTo>
                          <a:lnTo>
                            <a:pt x="48156" y="33754"/>
                          </a:lnTo>
                          <a:lnTo>
                            <a:pt x="48606" y="32854"/>
                          </a:lnTo>
                          <a:lnTo>
                            <a:pt x="51756" y="34654"/>
                          </a:lnTo>
                          <a:lnTo>
                            <a:pt x="55357" y="37805"/>
                          </a:lnTo>
                          <a:lnTo>
                            <a:pt x="58057" y="37355"/>
                          </a:lnTo>
                          <a:lnTo>
                            <a:pt x="59407" y="37355"/>
                          </a:lnTo>
                          <a:lnTo>
                            <a:pt x="62558" y="39155"/>
                          </a:lnTo>
                          <a:lnTo>
                            <a:pt x="63458" y="40055"/>
                          </a:lnTo>
                          <a:lnTo>
                            <a:pt x="63908" y="40955"/>
                          </a:lnTo>
                          <a:lnTo>
                            <a:pt x="65708" y="40955"/>
                          </a:lnTo>
                          <a:lnTo>
                            <a:pt x="67959" y="40055"/>
                          </a:lnTo>
                          <a:lnTo>
                            <a:pt x="72009" y="40055"/>
                          </a:lnTo>
                          <a:lnTo>
                            <a:pt x="76510" y="40955"/>
                          </a:lnTo>
                          <a:lnTo>
                            <a:pt x="76060" y="42755"/>
                          </a:lnTo>
                          <a:lnTo>
                            <a:pt x="75159" y="44105"/>
                          </a:lnTo>
                          <a:lnTo>
                            <a:pt x="78760" y="43656"/>
                          </a:lnTo>
                          <a:lnTo>
                            <a:pt x="81010" y="45006"/>
                          </a:lnTo>
                          <a:lnTo>
                            <a:pt x="81910" y="44555"/>
                          </a:lnTo>
                          <a:lnTo>
                            <a:pt x="82361" y="43656"/>
                          </a:lnTo>
                          <a:lnTo>
                            <a:pt x="86861" y="41855"/>
                          </a:lnTo>
                          <a:lnTo>
                            <a:pt x="92262" y="37805"/>
                          </a:lnTo>
                          <a:lnTo>
                            <a:pt x="93162" y="38255"/>
                          </a:lnTo>
                          <a:lnTo>
                            <a:pt x="93612" y="40055"/>
                          </a:lnTo>
                          <a:lnTo>
                            <a:pt x="94512" y="42755"/>
                          </a:lnTo>
                          <a:lnTo>
                            <a:pt x="96762" y="44555"/>
                          </a:lnTo>
                          <a:lnTo>
                            <a:pt x="99463" y="45006"/>
                          </a:lnTo>
                          <a:lnTo>
                            <a:pt x="103063" y="43656"/>
                          </a:lnTo>
                          <a:lnTo>
                            <a:pt x="104413" y="45006"/>
                          </a:lnTo>
                          <a:lnTo>
                            <a:pt x="106213" y="47256"/>
                          </a:lnTo>
                          <a:lnTo>
                            <a:pt x="107564" y="50406"/>
                          </a:lnTo>
                          <a:lnTo>
                            <a:pt x="107564" y="51306"/>
                          </a:lnTo>
                          <a:lnTo>
                            <a:pt x="105763" y="52206"/>
                          </a:lnTo>
                          <a:lnTo>
                            <a:pt x="103963" y="53557"/>
                          </a:lnTo>
                          <a:lnTo>
                            <a:pt x="111614" y="54007"/>
                          </a:lnTo>
                          <a:lnTo>
                            <a:pt x="112514" y="54457"/>
                          </a:lnTo>
                          <a:lnTo>
                            <a:pt x="113414" y="55807"/>
                          </a:lnTo>
                          <a:lnTo>
                            <a:pt x="112514" y="57157"/>
                          </a:lnTo>
                          <a:lnTo>
                            <a:pt x="111614" y="57607"/>
                          </a:lnTo>
                          <a:lnTo>
                            <a:pt x="110264" y="56707"/>
                          </a:lnTo>
                          <a:lnTo>
                            <a:pt x="107564" y="57157"/>
                          </a:lnTo>
                          <a:lnTo>
                            <a:pt x="105313" y="58507"/>
                          </a:lnTo>
                          <a:lnTo>
                            <a:pt x="103063" y="59407"/>
                          </a:lnTo>
                          <a:lnTo>
                            <a:pt x="101713" y="59407"/>
                          </a:lnTo>
                          <a:lnTo>
                            <a:pt x="99913" y="60307"/>
                          </a:lnTo>
                          <a:lnTo>
                            <a:pt x="98562" y="61208"/>
                          </a:lnTo>
                          <a:lnTo>
                            <a:pt x="96762" y="61658"/>
                          </a:lnTo>
                          <a:lnTo>
                            <a:pt x="91812" y="64358"/>
                          </a:lnTo>
                          <a:lnTo>
                            <a:pt x="86861" y="66158"/>
                          </a:lnTo>
                          <a:lnTo>
                            <a:pt x="81460" y="68859"/>
                          </a:lnTo>
                          <a:lnTo>
                            <a:pt x="76060" y="70659"/>
                          </a:lnTo>
                          <a:lnTo>
                            <a:pt x="70659" y="72909"/>
                          </a:lnTo>
                          <a:lnTo>
                            <a:pt x="69309" y="72909"/>
                          </a:lnTo>
                          <a:lnTo>
                            <a:pt x="67959" y="72909"/>
                          </a:lnTo>
                          <a:lnTo>
                            <a:pt x="64808" y="75159"/>
                          </a:lnTo>
                          <a:lnTo>
                            <a:pt x="62558" y="73359"/>
                          </a:lnTo>
                          <a:lnTo>
                            <a:pt x="60758" y="73809"/>
                          </a:lnTo>
                          <a:lnTo>
                            <a:pt x="58958" y="73359"/>
                          </a:lnTo>
                          <a:lnTo>
                            <a:pt x="57607" y="72459"/>
                          </a:lnTo>
                          <a:lnTo>
                            <a:pt x="58507" y="74709"/>
                          </a:lnTo>
                          <a:lnTo>
                            <a:pt x="58958" y="76510"/>
                          </a:lnTo>
                          <a:lnTo>
                            <a:pt x="58507" y="77410"/>
                          </a:lnTo>
                          <a:lnTo>
                            <a:pt x="57607" y="78310"/>
                          </a:lnTo>
                          <a:lnTo>
                            <a:pt x="54457" y="78310"/>
                          </a:lnTo>
                          <a:lnTo>
                            <a:pt x="53107" y="77410"/>
                          </a:lnTo>
                          <a:lnTo>
                            <a:pt x="51756" y="76510"/>
                          </a:lnTo>
                          <a:lnTo>
                            <a:pt x="50857" y="74709"/>
                          </a:lnTo>
                          <a:lnTo>
                            <a:pt x="49056" y="73359"/>
                          </a:lnTo>
                          <a:lnTo>
                            <a:pt x="48156" y="75159"/>
                          </a:lnTo>
                          <a:lnTo>
                            <a:pt x="48156" y="76510"/>
                          </a:lnTo>
                          <a:lnTo>
                            <a:pt x="46806" y="78310"/>
                          </a:lnTo>
                          <a:lnTo>
                            <a:pt x="45456" y="75159"/>
                          </a:lnTo>
                          <a:lnTo>
                            <a:pt x="42755" y="76059"/>
                          </a:lnTo>
                          <a:lnTo>
                            <a:pt x="41855" y="79210"/>
                          </a:lnTo>
                          <a:lnTo>
                            <a:pt x="42305" y="80110"/>
                          </a:lnTo>
                          <a:lnTo>
                            <a:pt x="43206" y="82360"/>
                          </a:lnTo>
                          <a:lnTo>
                            <a:pt x="41855" y="83710"/>
                          </a:lnTo>
                          <a:lnTo>
                            <a:pt x="40955" y="83260"/>
                          </a:lnTo>
                          <a:lnTo>
                            <a:pt x="39155" y="86861"/>
                          </a:lnTo>
                          <a:lnTo>
                            <a:pt x="36905" y="88211"/>
                          </a:lnTo>
                          <a:lnTo>
                            <a:pt x="34654" y="91811"/>
                          </a:lnTo>
                          <a:lnTo>
                            <a:pt x="31954" y="94512"/>
                          </a:lnTo>
                          <a:lnTo>
                            <a:pt x="31054" y="96312"/>
                          </a:lnTo>
                          <a:lnTo>
                            <a:pt x="26103" y="100363"/>
                          </a:lnTo>
                          <a:lnTo>
                            <a:pt x="24303" y="100363"/>
                          </a:lnTo>
                          <a:lnTo>
                            <a:pt x="22953" y="100363"/>
                          </a:lnTo>
                          <a:lnTo>
                            <a:pt x="21153" y="102163"/>
                          </a:lnTo>
                          <a:lnTo>
                            <a:pt x="20703" y="105763"/>
                          </a:lnTo>
                          <a:lnTo>
                            <a:pt x="19803" y="105313"/>
                          </a:lnTo>
                          <a:lnTo>
                            <a:pt x="18902" y="105313"/>
                          </a:lnTo>
                          <a:lnTo>
                            <a:pt x="18452" y="106213"/>
                          </a:lnTo>
                          <a:lnTo>
                            <a:pt x="18002" y="106213"/>
                          </a:lnTo>
                          <a:lnTo>
                            <a:pt x="16202" y="105313"/>
                          </a:lnTo>
                          <a:lnTo>
                            <a:pt x="13952" y="105763"/>
                          </a:lnTo>
                          <a:lnTo>
                            <a:pt x="12152" y="104863"/>
                          </a:lnTo>
                          <a:lnTo>
                            <a:pt x="9901" y="99913"/>
                          </a:lnTo>
                          <a:lnTo>
                            <a:pt x="9001" y="98112"/>
                          </a:lnTo>
                          <a:lnTo>
                            <a:pt x="7201" y="97662"/>
                          </a:lnTo>
                          <a:lnTo>
                            <a:pt x="6751" y="98562"/>
                          </a:lnTo>
                          <a:lnTo>
                            <a:pt x="5851" y="99462"/>
                          </a:lnTo>
                          <a:lnTo>
                            <a:pt x="4051" y="97212"/>
                          </a:lnTo>
                          <a:lnTo>
                            <a:pt x="2701" y="89561"/>
                          </a:lnTo>
                          <a:lnTo>
                            <a:pt x="2701" y="87761"/>
                          </a:lnTo>
                          <a:lnTo>
                            <a:pt x="4501" y="81010"/>
                          </a:lnTo>
                          <a:lnTo>
                            <a:pt x="9451" y="75159"/>
                          </a:lnTo>
                          <a:lnTo>
                            <a:pt x="8101" y="75159"/>
                          </a:lnTo>
                          <a:lnTo>
                            <a:pt x="3601" y="79210"/>
                          </a:lnTo>
                          <a:lnTo>
                            <a:pt x="4051" y="78310"/>
                          </a:lnTo>
                          <a:lnTo>
                            <a:pt x="4951" y="77410"/>
                          </a:lnTo>
                          <a:lnTo>
                            <a:pt x="6301" y="75609"/>
                          </a:lnTo>
                          <a:lnTo>
                            <a:pt x="8551" y="73809"/>
                          </a:lnTo>
                          <a:lnTo>
                            <a:pt x="11702" y="72909"/>
                          </a:lnTo>
                          <a:lnTo>
                            <a:pt x="13952" y="72909"/>
                          </a:lnTo>
                          <a:lnTo>
                            <a:pt x="15302" y="72009"/>
                          </a:lnTo>
                          <a:lnTo>
                            <a:pt x="17552" y="70659"/>
                          </a:lnTo>
                          <a:lnTo>
                            <a:pt x="18002" y="69759"/>
                          </a:lnTo>
                          <a:lnTo>
                            <a:pt x="16202" y="70659"/>
                          </a:lnTo>
                          <a:lnTo>
                            <a:pt x="13052" y="71559"/>
                          </a:lnTo>
                          <a:lnTo>
                            <a:pt x="13952" y="70209"/>
                          </a:lnTo>
                          <a:lnTo>
                            <a:pt x="14852" y="69759"/>
                          </a:lnTo>
                          <a:lnTo>
                            <a:pt x="31054" y="58957"/>
                          </a:lnTo>
                          <a:lnTo>
                            <a:pt x="34204" y="57157"/>
                          </a:lnTo>
                          <a:lnTo>
                            <a:pt x="40505" y="54907"/>
                          </a:lnTo>
                          <a:lnTo>
                            <a:pt x="41405" y="53557"/>
                          </a:lnTo>
                          <a:lnTo>
                            <a:pt x="40505" y="52657"/>
                          </a:lnTo>
                          <a:lnTo>
                            <a:pt x="43206" y="53557"/>
                          </a:lnTo>
                          <a:lnTo>
                            <a:pt x="43206" y="54907"/>
                          </a:lnTo>
                          <a:lnTo>
                            <a:pt x="42755" y="55807"/>
                          </a:lnTo>
                          <a:lnTo>
                            <a:pt x="42755" y="57157"/>
                          </a:lnTo>
                          <a:lnTo>
                            <a:pt x="43206" y="58507"/>
                          </a:lnTo>
                          <a:lnTo>
                            <a:pt x="45906" y="59407"/>
                          </a:lnTo>
                          <a:lnTo>
                            <a:pt x="48156" y="62108"/>
                          </a:lnTo>
                          <a:lnTo>
                            <a:pt x="47256" y="58507"/>
                          </a:lnTo>
                          <a:lnTo>
                            <a:pt x="49056" y="56257"/>
                          </a:lnTo>
                          <a:lnTo>
                            <a:pt x="56257" y="53557"/>
                          </a:lnTo>
                          <a:lnTo>
                            <a:pt x="62558" y="53107"/>
                          </a:lnTo>
                          <a:lnTo>
                            <a:pt x="64358" y="51756"/>
                          </a:lnTo>
                          <a:lnTo>
                            <a:pt x="58958" y="50856"/>
                          </a:lnTo>
                          <a:lnTo>
                            <a:pt x="52657" y="51306"/>
                          </a:lnTo>
                          <a:lnTo>
                            <a:pt x="48606" y="50406"/>
                          </a:lnTo>
                          <a:lnTo>
                            <a:pt x="43206" y="50856"/>
                          </a:lnTo>
                          <a:lnTo>
                            <a:pt x="37805" y="50406"/>
                          </a:lnTo>
                          <a:lnTo>
                            <a:pt x="36005" y="51306"/>
                          </a:lnTo>
                          <a:lnTo>
                            <a:pt x="34654" y="53107"/>
                          </a:lnTo>
                          <a:lnTo>
                            <a:pt x="32854" y="52206"/>
                          </a:lnTo>
                          <a:lnTo>
                            <a:pt x="31954" y="52206"/>
                          </a:lnTo>
                          <a:lnTo>
                            <a:pt x="31054" y="51756"/>
                          </a:lnTo>
                          <a:lnTo>
                            <a:pt x="32854" y="48606"/>
                          </a:lnTo>
                          <a:lnTo>
                            <a:pt x="38705" y="44105"/>
                          </a:lnTo>
                          <a:lnTo>
                            <a:pt x="42305" y="40055"/>
                          </a:lnTo>
                          <a:lnTo>
                            <a:pt x="43206" y="39155"/>
                          </a:lnTo>
                          <a:lnTo>
                            <a:pt x="42305" y="37805"/>
                          </a:lnTo>
                          <a:close/>
                          <a:moveTo>
                            <a:pt x="113414" y="48156"/>
                          </a:moveTo>
                          <a:lnTo>
                            <a:pt x="112514" y="48606"/>
                          </a:lnTo>
                          <a:lnTo>
                            <a:pt x="112514" y="48156"/>
                          </a:lnTo>
                          <a:lnTo>
                            <a:pt x="111164" y="46806"/>
                          </a:lnTo>
                          <a:lnTo>
                            <a:pt x="111164" y="46356"/>
                          </a:lnTo>
                          <a:lnTo>
                            <a:pt x="112514" y="45906"/>
                          </a:lnTo>
                          <a:lnTo>
                            <a:pt x="114764" y="46356"/>
                          </a:lnTo>
                          <a:lnTo>
                            <a:pt x="113864" y="47706"/>
                          </a:lnTo>
                          <a:lnTo>
                            <a:pt x="113414" y="48156"/>
                          </a:lnTo>
                          <a:close/>
                          <a:moveTo>
                            <a:pt x="900" y="83710"/>
                          </a:moveTo>
                          <a:lnTo>
                            <a:pt x="0" y="84611"/>
                          </a:lnTo>
                          <a:lnTo>
                            <a:pt x="450" y="83710"/>
                          </a:lnTo>
                          <a:lnTo>
                            <a:pt x="1800" y="81010"/>
                          </a:lnTo>
                          <a:lnTo>
                            <a:pt x="2701" y="80560"/>
                          </a:lnTo>
                          <a:lnTo>
                            <a:pt x="900" y="83710"/>
                          </a:lnTo>
                          <a:close/>
                          <a:moveTo>
                            <a:pt x="138618" y="94062"/>
                          </a:moveTo>
                          <a:lnTo>
                            <a:pt x="135917" y="94962"/>
                          </a:lnTo>
                          <a:lnTo>
                            <a:pt x="133667" y="94962"/>
                          </a:lnTo>
                          <a:lnTo>
                            <a:pt x="131867" y="94062"/>
                          </a:lnTo>
                          <a:lnTo>
                            <a:pt x="131867" y="93612"/>
                          </a:lnTo>
                          <a:lnTo>
                            <a:pt x="135917" y="94062"/>
                          </a:lnTo>
                          <a:lnTo>
                            <a:pt x="137267" y="94062"/>
                          </a:lnTo>
                          <a:lnTo>
                            <a:pt x="140418" y="92262"/>
                          </a:lnTo>
                          <a:lnTo>
                            <a:pt x="138618" y="94062"/>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3" name="Freeform: Shape 1982">
                      <a:extLst>
                        <a:ext uri="{FF2B5EF4-FFF2-40B4-BE49-F238E27FC236}">
                          <a16:creationId xmlns:a16="http://schemas.microsoft.com/office/drawing/2014/main" id="{2D729471-C71C-3F76-DC44-86C0D753E8C9}"/>
                        </a:ext>
                      </a:extLst>
                    </p:cNvPr>
                    <p:cNvSpPr/>
                    <p:nvPr/>
                  </p:nvSpPr>
                  <p:spPr>
                    <a:xfrm>
                      <a:off x="816402" y="815501"/>
                      <a:ext cx="736292" cy="1217852"/>
                    </a:xfrm>
                    <a:custGeom>
                      <a:avLst/>
                      <a:gdLst>
                        <a:gd name="connsiteX0" fmla="*/ 562120 w 736292"/>
                        <a:gd name="connsiteY0" fmla="*/ 7651 h 1217852"/>
                        <a:gd name="connsiteX1" fmla="*/ 562120 w 736292"/>
                        <a:gd name="connsiteY1" fmla="*/ 46356 h 1217852"/>
                        <a:gd name="connsiteX2" fmla="*/ 561670 w 736292"/>
                        <a:gd name="connsiteY2" fmla="*/ 46356 h 1217852"/>
                        <a:gd name="connsiteX3" fmla="*/ 555820 w 736292"/>
                        <a:gd name="connsiteY3" fmla="*/ 49056 h 1217852"/>
                        <a:gd name="connsiteX4" fmla="*/ 553119 w 736292"/>
                        <a:gd name="connsiteY4" fmla="*/ 49506 h 1217852"/>
                        <a:gd name="connsiteX5" fmla="*/ 545918 w 736292"/>
                        <a:gd name="connsiteY5" fmla="*/ 47706 h 1217852"/>
                        <a:gd name="connsiteX6" fmla="*/ 544118 w 736292"/>
                        <a:gd name="connsiteY6" fmla="*/ 46356 h 1217852"/>
                        <a:gd name="connsiteX7" fmla="*/ 540068 w 736292"/>
                        <a:gd name="connsiteY7" fmla="*/ 41405 h 1217852"/>
                        <a:gd name="connsiteX8" fmla="*/ 536917 w 736292"/>
                        <a:gd name="connsiteY8" fmla="*/ 39605 h 1217852"/>
                        <a:gd name="connsiteX9" fmla="*/ 535567 w 736292"/>
                        <a:gd name="connsiteY9" fmla="*/ 40505 h 1217852"/>
                        <a:gd name="connsiteX10" fmla="*/ 534217 w 736292"/>
                        <a:gd name="connsiteY10" fmla="*/ 44556 h 1217852"/>
                        <a:gd name="connsiteX11" fmla="*/ 531516 w 736292"/>
                        <a:gd name="connsiteY11" fmla="*/ 49506 h 1217852"/>
                        <a:gd name="connsiteX12" fmla="*/ 529716 w 736292"/>
                        <a:gd name="connsiteY12" fmla="*/ 50856 h 1217852"/>
                        <a:gd name="connsiteX13" fmla="*/ 524766 w 736292"/>
                        <a:gd name="connsiteY13" fmla="*/ 49956 h 1217852"/>
                        <a:gd name="connsiteX14" fmla="*/ 516665 w 736292"/>
                        <a:gd name="connsiteY14" fmla="*/ 41405 h 1217852"/>
                        <a:gd name="connsiteX15" fmla="*/ 507664 w 736292"/>
                        <a:gd name="connsiteY15" fmla="*/ 44106 h 1217852"/>
                        <a:gd name="connsiteX16" fmla="*/ 498212 w 736292"/>
                        <a:gd name="connsiteY16" fmla="*/ 49056 h 1217852"/>
                        <a:gd name="connsiteX17" fmla="*/ 494612 w 736292"/>
                        <a:gd name="connsiteY17" fmla="*/ 49956 h 1217852"/>
                        <a:gd name="connsiteX18" fmla="*/ 493712 w 736292"/>
                        <a:gd name="connsiteY18" fmla="*/ 48606 h 1217852"/>
                        <a:gd name="connsiteX19" fmla="*/ 492362 w 736292"/>
                        <a:gd name="connsiteY19" fmla="*/ 45006 h 1217852"/>
                        <a:gd name="connsiteX20" fmla="*/ 492812 w 736292"/>
                        <a:gd name="connsiteY20" fmla="*/ 43205 h 1217852"/>
                        <a:gd name="connsiteX21" fmla="*/ 495512 w 736292"/>
                        <a:gd name="connsiteY21" fmla="*/ 37355 h 1217852"/>
                        <a:gd name="connsiteX22" fmla="*/ 501813 w 736292"/>
                        <a:gd name="connsiteY22" fmla="*/ 31054 h 1217852"/>
                        <a:gd name="connsiteX23" fmla="*/ 506313 w 736292"/>
                        <a:gd name="connsiteY23" fmla="*/ 27453 h 1217852"/>
                        <a:gd name="connsiteX24" fmla="*/ 515314 w 736292"/>
                        <a:gd name="connsiteY24" fmla="*/ 22503 h 1217852"/>
                        <a:gd name="connsiteX25" fmla="*/ 526116 w 736292"/>
                        <a:gd name="connsiteY25" fmla="*/ 19803 h 1217852"/>
                        <a:gd name="connsiteX26" fmla="*/ 530166 w 736292"/>
                        <a:gd name="connsiteY26" fmla="*/ 16652 h 1217852"/>
                        <a:gd name="connsiteX27" fmla="*/ 532867 w 736292"/>
                        <a:gd name="connsiteY27" fmla="*/ 12152 h 1217852"/>
                        <a:gd name="connsiteX28" fmla="*/ 540068 w 736292"/>
                        <a:gd name="connsiteY28" fmla="*/ 5401 h 1217852"/>
                        <a:gd name="connsiteX29" fmla="*/ 544118 w 736292"/>
                        <a:gd name="connsiteY29" fmla="*/ 2700 h 1217852"/>
                        <a:gd name="connsiteX30" fmla="*/ 549519 w 736292"/>
                        <a:gd name="connsiteY30" fmla="*/ 0 h 1217852"/>
                        <a:gd name="connsiteX31" fmla="*/ 554019 w 736292"/>
                        <a:gd name="connsiteY31" fmla="*/ 0 h 1217852"/>
                        <a:gd name="connsiteX32" fmla="*/ 559870 w 736292"/>
                        <a:gd name="connsiteY32" fmla="*/ 5851 h 1217852"/>
                        <a:gd name="connsiteX33" fmla="*/ 562120 w 736292"/>
                        <a:gd name="connsiteY33" fmla="*/ 7651 h 1217852"/>
                        <a:gd name="connsiteX34" fmla="*/ 562120 w 736292"/>
                        <a:gd name="connsiteY34" fmla="*/ 70659 h 1217852"/>
                        <a:gd name="connsiteX35" fmla="*/ 562120 w 736292"/>
                        <a:gd name="connsiteY35" fmla="*/ 86861 h 1217852"/>
                        <a:gd name="connsiteX36" fmla="*/ 558070 w 736292"/>
                        <a:gd name="connsiteY36" fmla="*/ 89111 h 1217852"/>
                        <a:gd name="connsiteX37" fmla="*/ 546368 w 736292"/>
                        <a:gd name="connsiteY37" fmla="*/ 94062 h 1217852"/>
                        <a:gd name="connsiteX38" fmla="*/ 544118 w 736292"/>
                        <a:gd name="connsiteY38" fmla="*/ 96312 h 1217852"/>
                        <a:gd name="connsiteX39" fmla="*/ 544118 w 736292"/>
                        <a:gd name="connsiteY39" fmla="*/ 97662 h 1217852"/>
                        <a:gd name="connsiteX40" fmla="*/ 545018 w 736292"/>
                        <a:gd name="connsiteY40" fmla="*/ 99462 h 1217852"/>
                        <a:gd name="connsiteX41" fmla="*/ 546818 w 736292"/>
                        <a:gd name="connsiteY41" fmla="*/ 101713 h 1217852"/>
                        <a:gd name="connsiteX42" fmla="*/ 555820 w 736292"/>
                        <a:gd name="connsiteY42" fmla="*/ 101263 h 1217852"/>
                        <a:gd name="connsiteX43" fmla="*/ 558070 w 736292"/>
                        <a:gd name="connsiteY43" fmla="*/ 102163 h 1217852"/>
                        <a:gd name="connsiteX44" fmla="*/ 558970 w 736292"/>
                        <a:gd name="connsiteY44" fmla="*/ 103513 h 1217852"/>
                        <a:gd name="connsiteX45" fmla="*/ 559420 w 736292"/>
                        <a:gd name="connsiteY45" fmla="*/ 105763 h 1217852"/>
                        <a:gd name="connsiteX46" fmla="*/ 559870 w 736292"/>
                        <a:gd name="connsiteY46" fmla="*/ 108464 h 1217852"/>
                        <a:gd name="connsiteX47" fmla="*/ 559870 w 736292"/>
                        <a:gd name="connsiteY47" fmla="*/ 117465 h 1217852"/>
                        <a:gd name="connsiteX48" fmla="*/ 559420 w 736292"/>
                        <a:gd name="connsiteY48" fmla="*/ 122865 h 1217852"/>
                        <a:gd name="connsiteX49" fmla="*/ 558070 w 736292"/>
                        <a:gd name="connsiteY49" fmla="*/ 127366 h 1217852"/>
                        <a:gd name="connsiteX50" fmla="*/ 554469 w 736292"/>
                        <a:gd name="connsiteY50" fmla="*/ 130516 h 1217852"/>
                        <a:gd name="connsiteX51" fmla="*/ 547719 w 736292"/>
                        <a:gd name="connsiteY51" fmla="*/ 135017 h 1217852"/>
                        <a:gd name="connsiteX52" fmla="*/ 543218 w 736292"/>
                        <a:gd name="connsiteY52" fmla="*/ 136817 h 1217852"/>
                        <a:gd name="connsiteX53" fmla="*/ 539617 w 736292"/>
                        <a:gd name="connsiteY53" fmla="*/ 135917 h 1217852"/>
                        <a:gd name="connsiteX54" fmla="*/ 536017 w 736292"/>
                        <a:gd name="connsiteY54" fmla="*/ 136367 h 1217852"/>
                        <a:gd name="connsiteX55" fmla="*/ 520715 w 736292"/>
                        <a:gd name="connsiteY55" fmla="*/ 144468 h 1217852"/>
                        <a:gd name="connsiteX56" fmla="*/ 515765 w 736292"/>
                        <a:gd name="connsiteY56" fmla="*/ 144468 h 1217852"/>
                        <a:gd name="connsiteX57" fmla="*/ 511714 w 736292"/>
                        <a:gd name="connsiteY57" fmla="*/ 142668 h 1217852"/>
                        <a:gd name="connsiteX58" fmla="*/ 505863 w 736292"/>
                        <a:gd name="connsiteY58" fmla="*/ 135017 h 1217852"/>
                        <a:gd name="connsiteX59" fmla="*/ 500013 w 736292"/>
                        <a:gd name="connsiteY59" fmla="*/ 131867 h 1217852"/>
                        <a:gd name="connsiteX60" fmla="*/ 497312 w 736292"/>
                        <a:gd name="connsiteY60" fmla="*/ 128266 h 1217852"/>
                        <a:gd name="connsiteX61" fmla="*/ 494612 w 736292"/>
                        <a:gd name="connsiteY61" fmla="*/ 126466 h 1217852"/>
                        <a:gd name="connsiteX62" fmla="*/ 493712 w 736292"/>
                        <a:gd name="connsiteY62" fmla="*/ 123765 h 1217852"/>
                        <a:gd name="connsiteX63" fmla="*/ 493262 w 736292"/>
                        <a:gd name="connsiteY63" fmla="*/ 121515 h 1217852"/>
                        <a:gd name="connsiteX64" fmla="*/ 493712 w 736292"/>
                        <a:gd name="connsiteY64" fmla="*/ 119715 h 1217852"/>
                        <a:gd name="connsiteX65" fmla="*/ 494612 w 736292"/>
                        <a:gd name="connsiteY65" fmla="*/ 117915 h 1217852"/>
                        <a:gd name="connsiteX66" fmla="*/ 495062 w 736292"/>
                        <a:gd name="connsiteY66" fmla="*/ 116565 h 1217852"/>
                        <a:gd name="connsiteX67" fmla="*/ 494162 w 736292"/>
                        <a:gd name="connsiteY67" fmla="*/ 112064 h 1217852"/>
                        <a:gd name="connsiteX68" fmla="*/ 493712 w 736292"/>
                        <a:gd name="connsiteY68" fmla="*/ 108014 h 1217852"/>
                        <a:gd name="connsiteX69" fmla="*/ 491912 w 736292"/>
                        <a:gd name="connsiteY69" fmla="*/ 102163 h 1217852"/>
                        <a:gd name="connsiteX70" fmla="*/ 491461 w 736292"/>
                        <a:gd name="connsiteY70" fmla="*/ 98562 h 1217852"/>
                        <a:gd name="connsiteX71" fmla="*/ 491461 w 736292"/>
                        <a:gd name="connsiteY71" fmla="*/ 96312 h 1217852"/>
                        <a:gd name="connsiteX72" fmla="*/ 491912 w 736292"/>
                        <a:gd name="connsiteY72" fmla="*/ 94062 h 1217852"/>
                        <a:gd name="connsiteX73" fmla="*/ 493262 w 736292"/>
                        <a:gd name="connsiteY73" fmla="*/ 89561 h 1217852"/>
                        <a:gd name="connsiteX74" fmla="*/ 493712 w 736292"/>
                        <a:gd name="connsiteY74" fmla="*/ 88661 h 1217852"/>
                        <a:gd name="connsiteX75" fmla="*/ 497312 w 736292"/>
                        <a:gd name="connsiteY75" fmla="*/ 87761 h 1217852"/>
                        <a:gd name="connsiteX76" fmla="*/ 501813 w 736292"/>
                        <a:gd name="connsiteY76" fmla="*/ 85511 h 1217852"/>
                        <a:gd name="connsiteX77" fmla="*/ 512614 w 736292"/>
                        <a:gd name="connsiteY77" fmla="*/ 78760 h 1217852"/>
                        <a:gd name="connsiteX78" fmla="*/ 536017 w 736292"/>
                        <a:gd name="connsiteY78" fmla="*/ 70209 h 1217852"/>
                        <a:gd name="connsiteX79" fmla="*/ 543218 w 736292"/>
                        <a:gd name="connsiteY79" fmla="*/ 71109 h 1217852"/>
                        <a:gd name="connsiteX80" fmla="*/ 546368 w 736292"/>
                        <a:gd name="connsiteY80" fmla="*/ 69309 h 1217852"/>
                        <a:gd name="connsiteX81" fmla="*/ 552219 w 736292"/>
                        <a:gd name="connsiteY81" fmla="*/ 68409 h 1217852"/>
                        <a:gd name="connsiteX82" fmla="*/ 562120 w 736292"/>
                        <a:gd name="connsiteY82" fmla="*/ 70659 h 1217852"/>
                        <a:gd name="connsiteX83" fmla="*/ 480660 w 736292"/>
                        <a:gd name="connsiteY83" fmla="*/ 104413 h 1217852"/>
                        <a:gd name="connsiteX84" fmla="*/ 474809 w 736292"/>
                        <a:gd name="connsiteY84" fmla="*/ 108014 h 1217852"/>
                        <a:gd name="connsiteX85" fmla="*/ 470759 w 736292"/>
                        <a:gd name="connsiteY85" fmla="*/ 108014 h 1217852"/>
                        <a:gd name="connsiteX86" fmla="*/ 464008 w 736292"/>
                        <a:gd name="connsiteY86" fmla="*/ 103063 h 1217852"/>
                        <a:gd name="connsiteX87" fmla="*/ 455907 w 736292"/>
                        <a:gd name="connsiteY87" fmla="*/ 88211 h 1217852"/>
                        <a:gd name="connsiteX88" fmla="*/ 455007 w 736292"/>
                        <a:gd name="connsiteY88" fmla="*/ 82810 h 1217852"/>
                        <a:gd name="connsiteX89" fmla="*/ 458157 w 736292"/>
                        <a:gd name="connsiteY89" fmla="*/ 81910 h 1217852"/>
                        <a:gd name="connsiteX90" fmla="*/ 460408 w 736292"/>
                        <a:gd name="connsiteY90" fmla="*/ 80110 h 1217852"/>
                        <a:gd name="connsiteX91" fmla="*/ 461758 w 736292"/>
                        <a:gd name="connsiteY91" fmla="*/ 77860 h 1217852"/>
                        <a:gd name="connsiteX92" fmla="*/ 464458 w 736292"/>
                        <a:gd name="connsiteY92" fmla="*/ 75159 h 1217852"/>
                        <a:gd name="connsiteX93" fmla="*/ 470309 w 736292"/>
                        <a:gd name="connsiteY93" fmla="*/ 71559 h 1217852"/>
                        <a:gd name="connsiteX94" fmla="*/ 471209 w 736292"/>
                        <a:gd name="connsiteY94" fmla="*/ 72909 h 1217852"/>
                        <a:gd name="connsiteX95" fmla="*/ 471209 w 736292"/>
                        <a:gd name="connsiteY95" fmla="*/ 76060 h 1217852"/>
                        <a:gd name="connsiteX96" fmla="*/ 471659 w 736292"/>
                        <a:gd name="connsiteY96" fmla="*/ 78760 h 1217852"/>
                        <a:gd name="connsiteX97" fmla="*/ 473909 w 736292"/>
                        <a:gd name="connsiteY97" fmla="*/ 79210 h 1217852"/>
                        <a:gd name="connsiteX98" fmla="*/ 475710 w 736292"/>
                        <a:gd name="connsiteY98" fmla="*/ 81460 h 1217852"/>
                        <a:gd name="connsiteX99" fmla="*/ 479760 w 736292"/>
                        <a:gd name="connsiteY99" fmla="*/ 87761 h 1217852"/>
                        <a:gd name="connsiteX100" fmla="*/ 482460 w 736292"/>
                        <a:gd name="connsiteY100" fmla="*/ 89111 h 1217852"/>
                        <a:gd name="connsiteX101" fmla="*/ 483360 w 736292"/>
                        <a:gd name="connsiteY101" fmla="*/ 90461 h 1217852"/>
                        <a:gd name="connsiteX102" fmla="*/ 483810 w 736292"/>
                        <a:gd name="connsiteY102" fmla="*/ 92712 h 1217852"/>
                        <a:gd name="connsiteX103" fmla="*/ 485611 w 736292"/>
                        <a:gd name="connsiteY103" fmla="*/ 96312 h 1217852"/>
                        <a:gd name="connsiteX104" fmla="*/ 485611 w 736292"/>
                        <a:gd name="connsiteY104" fmla="*/ 98112 h 1217852"/>
                        <a:gd name="connsiteX105" fmla="*/ 483360 w 736292"/>
                        <a:gd name="connsiteY105" fmla="*/ 101713 h 1217852"/>
                        <a:gd name="connsiteX106" fmla="*/ 480660 w 736292"/>
                        <a:gd name="connsiteY106" fmla="*/ 104413 h 1217852"/>
                        <a:gd name="connsiteX107" fmla="*/ 444206 w 736292"/>
                        <a:gd name="connsiteY107" fmla="*/ 143118 h 1217852"/>
                        <a:gd name="connsiteX108" fmla="*/ 446006 w 736292"/>
                        <a:gd name="connsiteY108" fmla="*/ 146718 h 1217852"/>
                        <a:gd name="connsiteX109" fmla="*/ 446006 w 736292"/>
                        <a:gd name="connsiteY109" fmla="*/ 148069 h 1217852"/>
                        <a:gd name="connsiteX110" fmla="*/ 445106 w 736292"/>
                        <a:gd name="connsiteY110" fmla="*/ 149869 h 1217852"/>
                        <a:gd name="connsiteX111" fmla="*/ 442405 w 736292"/>
                        <a:gd name="connsiteY111" fmla="*/ 152569 h 1217852"/>
                        <a:gd name="connsiteX112" fmla="*/ 429804 w 736292"/>
                        <a:gd name="connsiteY112" fmla="*/ 161120 h 1217852"/>
                        <a:gd name="connsiteX113" fmla="*/ 427553 w 736292"/>
                        <a:gd name="connsiteY113" fmla="*/ 165171 h 1217852"/>
                        <a:gd name="connsiteX114" fmla="*/ 428454 w 736292"/>
                        <a:gd name="connsiteY114" fmla="*/ 168321 h 1217852"/>
                        <a:gd name="connsiteX115" fmla="*/ 432954 w 736292"/>
                        <a:gd name="connsiteY115" fmla="*/ 175072 h 1217852"/>
                        <a:gd name="connsiteX116" fmla="*/ 437455 w 736292"/>
                        <a:gd name="connsiteY116" fmla="*/ 180923 h 1217852"/>
                        <a:gd name="connsiteX117" fmla="*/ 438355 w 736292"/>
                        <a:gd name="connsiteY117" fmla="*/ 183623 h 1217852"/>
                        <a:gd name="connsiteX118" fmla="*/ 436104 w 736292"/>
                        <a:gd name="connsiteY118" fmla="*/ 186323 h 1217852"/>
                        <a:gd name="connsiteX119" fmla="*/ 432054 w 736292"/>
                        <a:gd name="connsiteY119" fmla="*/ 185423 h 1217852"/>
                        <a:gd name="connsiteX120" fmla="*/ 430704 w 736292"/>
                        <a:gd name="connsiteY120" fmla="*/ 185873 h 1217852"/>
                        <a:gd name="connsiteX121" fmla="*/ 429354 w 736292"/>
                        <a:gd name="connsiteY121" fmla="*/ 187223 h 1217852"/>
                        <a:gd name="connsiteX122" fmla="*/ 429804 w 736292"/>
                        <a:gd name="connsiteY122" fmla="*/ 189924 h 1217852"/>
                        <a:gd name="connsiteX123" fmla="*/ 434304 w 736292"/>
                        <a:gd name="connsiteY123" fmla="*/ 198475 h 1217852"/>
                        <a:gd name="connsiteX124" fmla="*/ 435655 w 736292"/>
                        <a:gd name="connsiteY124" fmla="*/ 202975 h 1217852"/>
                        <a:gd name="connsiteX125" fmla="*/ 435655 w 736292"/>
                        <a:gd name="connsiteY125" fmla="*/ 205226 h 1217852"/>
                        <a:gd name="connsiteX126" fmla="*/ 434754 w 736292"/>
                        <a:gd name="connsiteY126" fmla="*/ 207476 h 1217852"/>
                        <a:gd name="connsiteX127" fmla="*/ 432954 w 736292"/>
                        <a:gd name="connsiteY127" fmla="*/ 210626 h 1217852"/>
                        <a:gd name="connsiteX128" fmla="*/ 429804 w 736292"/>
                        <a:gd name="connsiteY128" fmla="*/ 214677 h 1217852"/>
                        <a:gd name="connsiteX129" fmla="*/ 424403 w 736292"/>
                        <a:gd name="connsiteY129" fmla="*/ 217827 h 1217852"/>
                        <a:gd name="connsiteX130" fmla="*/ 413152 w 736292"/>
                        <a:gd name="connsiteY130" fmla="*/ 221878 h 1217852"/>
                        <a:gd name="connsiteX131" fmla="*/ 412702 w 736292"/>
                        <a:gd name="connsiteY131" fmla="*/ 225028 h 1217852"/>
                        <a:gd name="connsiteX132" fmla="*/ 412702 w 736292"/>
                        <a:gd name="connsiteY132" fmla="*/ 227278 h 1217852"/>
                        <a:gd name="connsiteX133" fmla="*/ 412252 w 736292"/>
                        <a:gd name="connsiteY133" fmla="*/ 233129 h 1217852"/>
                        <a:gd name="connsiteX134" fmla="*/ 411801 w 736292"/>
                        <a:gd name="connsiteY134" fmla="*/ 235830 h 1217852"/>
                        <a:gd name="connsiteX135" fmla="*/ 410451 w 736292"/>
                        <a:gd name="connsiteY135" fmla="*/ 240330 h 1217852"/>
                        <a:gd name="connsiteX136" fmla="*/ 409551 w 736292"/>
                        <a:gd name="connsiteY136" fmla="*/ 242580 h 1217852"/>
                        <a:gd name="connsiteX137" fmla="*/ 407751 w 736292"/>
                        <a:gd name="connsiteY137" fmla="*/ 243931 h 1217852"/>
                        <a:gd name="connsiteX138" fmla="*/ 405501 w 736292"/>
                        <a:gd name="connsiteY138" fmla="*/ 244831 h 1217852"/>
                        <a:gd name="connsiteX139" fmla="*/ 403250 w 736292"/>
                        <a:gd name="connsiteY139" fmla="*/ 244831 h 1217852"/>
                        <a:gd name="connsiteX140" fmla="*/ 398300 w 736292"/>
                        <a:gd name="connsiteY140" fmla="*/ 240780 h 1217852"/>
                        <a:gd name="connsiteX141" fmla="*/ 396050 w 736292"/>
                        <a:gd name="connsiteY141" fmla="*/ 238080 h 1217852"/>
                        <a:gd name="connsiteX142" fmla="*/ 392899 w 736292"/>
                        <a:gd name="connsiteY142" fmla="*/ 232679 h 1217852"/>
                        <a:gd name="connsiteX143" fmla="*/ 392449 w 736292"/>
                        <a:gd name="connsiteY143" fmla="*/ 229079 h 1217852"/>
                        <a:gd name="connsiteX144" fmla="*/ 392899 w 736292"/>
                        <a:gd name="connsiteY144" fmla="*/ 224578 h 1217852"/>
                        <a:gd name="connsiteX145" fmla="*/ 393799 w 736292"/>
                        <a:gd name="connsiteY145" fmla="*/ 217377 h 1217852"/>
                        <a:gd name="connsiteX146" fmla="*/ 395149 w 736292"/>
                        <a:gd name="connsiteY146" fmla="*/ 210176 h 1217852"/>
                        <a:gd name="connsiteX147" fmla="*/ 396950 w 736292"/>
                        <a:gd name="connsiteY147" fmla="*/ 202525 h 1217852"/>
                        <a:gd name="connsiteX148" fmla="*/ 397400 w 736292"/>
                        <a:gd name="connsiteY148" fmla="*/ 198025 h 1217852"/>
                        <a:gd name="connsiteX149" fmla="*/ 396500 w 736292"/>
                        <a:gd name="connsiteY149" fmla="*/ 196225 h 1217852"/>
                        <a:gd name="connsiteX150" fmla="*/ 395149 w 736292"/>
                        <a:gd name="connsiteY150" fmla="*/ 196225 h 1217852"/>
                        <a:gd name="connsiteX151" fmla="*/ 391099 w 736292"/>
                        <a:gd name="connsiteY151" fmla="*/ 199375 h 1217852"/>
                        <a:gd name="connsiteX152" fmla="*/ 388399 w 736292"/>
                        <a:gd name="connsiteY152" fmla="*/ 200275 h 1217852"/>
                        <a:gd name="connsiteX153" fmla="*/ 386148 w 736292"/>
                        <a:gd name="connsiteY153" fmla="*/ 202525 h 1217852"/>
                        <a:gd name="connsiteX154" fmla="*/ 384798 w 736292"/>
                        <a:gd name="connsiteY154" fmla="*/ 205676 h 1217852"/>
                        <a:gd name="connsiteX155" fmla="*/ 383898 w 736292"/>
                        <a:gd name="connsiteY155" fmla="*/ 209276 h 1217852"/>
                        <a:gd name="connsiteX156" fmla="*/ 383448 w 736292"/>
                        <a:gd name="connsiteY156" fmla="*/ 216027 h 1217852"/>
                        <a:gd name="connsiteX157" fmla="*/ 382548 w 736292"/>
                        <a:gd name="connsiteY157" fmla="*/ 219628 h 1217852"/>
                        <a:gd name="connsiteX158" fmla="*/ 380298 w 736292"/>
                        <a:gd name="connsiteY158" fmla="*/ 221428 h 1217852"/>
                        <a:gd name="connsiteX159" fmla="*/ 377147 w 736292"/>
                        <a:gd name="connsiteY159" fmla="*/ 221428 h 1217852"/>
                        <a:gd name="connsiteX160" fmla="*/ 375797 w 736292"/>
                        <a:gd name="connsiteY160" fmla="*/ 222778 h 1217852"/>
                        <a:gd name="connsiteX161" fmla="*/ 375347 w 736292"/>
                        <a:gd name="connsiteY161" fmla="*/ 225028 h 1217852"/>
                        <a:gd name="connsiteX162" fmla="*/ 375797 w 736292"/>
                        <a:gd name="connsiteY162" fmla="*/ 226828 h 1217852"/>
                        <a:gd name="connsiteX163" fmla="*/ 378947 w 736292"/>
                        <a:gd name="connsiteY163" fmla="*/ 230879 h 1217852"/>
                        <a:gd name="connsiteX164" fmla="*/ 379398 w 736292"/>
                        <a:gd name="connsiteY164" fmla="*/ 235379 h 1217852"/>
                        <a:gd name="connsiteX165" fmla="*/ 378947 w 736292"/>
                        <a:gd name="connsiteY165" fmla="*/ 238080 h 1217852"/>
                        <a:gd name="connsiteX166" fmla="*/ 375347 w 736292"/>
                        <a:gd name="connsiteY166" fmla="*/ 243030 h 1217852"/>
                        <a:gd name="connsiteX167" fmla="*/ 374447 w 736292"/>
                        <a:gd name="connsiteY167" fmla="*/ 244831 h 1217852"/>
                        <a:gd name="connsiteX168" fmla="*/ 372197 w 736292"/>
                        <a:gd name="connsiteY168" fmla="*/ 252932 h 1217852"/>
                        <a:gd name="connsiteX169" fmla="*/ 371296 w 736292"/>
                        <a:gd name="connsiteY169" fmla="*/ 254732 h 1217852"/>
                        <a:gd name="connsiteX170" fmla="*/ 369496 w 736292"/>
                        <a:gd name="connsiteY170" fmla="*/ 256532 h 1217852"/>
                        <a:gd name="connsiteX171" fmla="*/ 367696 w 736292"/>
                        <a:gd name="connsiteY171" fmla="*/ 256532 h 1217852"/>
                        <a:gd name="connsiteX172" fmla="*/ 365896 w 736292"/>
                        <a:gd name="connsiteY172" fmla="*/ 253832 h 1217852"/>
                        <a:gd name="connsiteX173" fmla="*/ 363195 w 736292"/>
                        <a:gd name="connsiteY173" fmla="*/ 248431 h 1217852"/>
                        <a:gd name="connsiteX174" fmla="*/ 361395 w 736292"/>
                        <a:gd name="connsiteY174" fmla="*/ 243481 h 1217852"/>
                        <a:gd name="connsiteX175" fmla="*/ 360495 w 736292"/>
                        <a:gd name="connsiteY175" fmla="*/ 239430 h 1217852"/>
                        <a:gd name="connsiteX176" fmla="*/ 359595 w 736292"/>
                        <a:gd name="connsiteY176" fmla="*/ 237630 h 1217852"/>
                        <a:gd name="connsiteX177" fmla="*/ 358245 w 736292"/>
                        <a:gd name="connsiteY177" fmla="*/ 238980 h 1217852"/>
                        <a:gd name="connsiteX178" fmla="*/ 356895 w 736292"/>
                        <a:gd name="connsiteY178" fmla="*/ 243030 h 1217852"/>
                        <a:gd name="connsiteX179" fmla="*/ 356895 w 736292"/>
                        <a:gd name="connsiteY179" fmla="*/ 246181 h 1217852"/>
                        <a:gd name="connsiteX180" fmla="*/ 357345 w 736292"/>
                        <a:gd name="connsiteY180" fmla="*/ 251131 h 1217852"/>
                        <a:gd name="connsiteX181" fmla="*/ 357345 w 736292"/>
                        <a:gd name="connsiteY181" fmla="*/ 254282 h 1217852"/>
                        <a:gd name="connsiteX182" fmla="*/ 355094 w 736292"/>
                        <a:gd name="connsiteY182" fmla="*/ 257882 h 1217852"/>
                        <a:gd name="connsiteX183" fmla="*/ 355544 w 736292"/>
                        <a:gd name="connsiteY183" fmla="*/ 259232 h 1217852"/>
                        <a:gd name="connsiteX184" fmla="*/ 359145 w 736292"/>
                        <a:gd name="connsiteY184" fmla="*/ 263283 h 1217852"/>
                        <a:gd name="connsiteX185" fmla="*/ 359595 w 736292"/>
                        <a:gd name="connsiteY185" fmla="*/ 265083 h 1217852"/>
                        <a:gd name="connsiteX186" fmla="*/ 359595 w 736292"/>
                        <a:gd name="connsiteY186" fmla="*/ 268234 h 1217852"/>
                        <a:gd name="connsiteX187" fmla="*/ 359145 w 736292"/>
                        <a:gd name="connsiteY187" fmla="*/ 269584 h 1217852"/>
                        <a:gd name="connsiteX188" fmla="*/ 357795 w 736292"/>
                        <a:gd name="connsiteY188" fmla="*/ 269584 h 1217852"/>
                        <a:gd name="connsiteX189" fmla="*/ 356445 w 736292"/>
                        <a:gd name="connsiteY189" fmla="*/ 272734 h 1217852"/>
                        <a:gd name="connsiteX190" fmla="*/ 355094 w 736292"/>
                        <a:gd name="connsiteY190" fmla="*/ 275434 h 1217852"/>
                        <a:gd name="connsiteX191" fmla="*/ 351494 w 736292"/>
                        <a:gd name="connsiteY191" fmla="*/ 280385 h 1217852"/>
                        <a:gd name="connsiteX192" fmla="*/ 346093 w 736292"/>
                        <a:gd name="connsiteY192" fmla="*/ 280835 h 1217852"/>
                        <a:gd name="connsiteX193" fmla="*/ 341593 w 736292"/>
                        <a:gd name="connsiteY193" fmla="*/ 283085 h 1217852"/>
                        <a:gd name="connsiteX194" fmla="*/ 340693 w 736292"/>
                        <a:gd name="connsiteY194" fmla="*/ 283085 h 1217852"/>
                        <a:gd name="connsiteX195" fmla="*/ 339792 w 736292"/>
                        <a:gd name="connsiteY195" fmla="*/ 279035 h 1217852"/>
                        <a:gd name="connsiteX196" fmla="*/ 338442 w 736292"/>
                        <a:gd name="connsiteY196" fmla="*/ 271384 h 1217852"/>
                        <a:gd name="connsiteX197" fmla="*/ 337542 w 736292"/>
                        <a:gd name="connsiteY197" fmla="*/ 266883 h 1217852"/>
                        <a:gd name="connsiteX198" fmla="*/ 336192 w 736292"/>
                        <a:gd name="connsiteY198" fmla="*/ 264633 h 1217852"/>
                        <a:gd name="connsiteX199" fmla="*/ 334392 w 736292"/>
                        <a:gd name="connsiteY199" fmla="*/ 255632 h 1217852"/>
                        <a:gd name="connsiteX200" fmla="*/ 333492 w 736292"/>
                        <a:gd name="connsiteY200" fmla="*/ 252932 h 1217852"/>
                        <a:gd name="connsiteX201" fmla="*/ 332592 w 736292"/>
                        <a:gd name="connsiteY201" fmla="*/ 251582 h 1217852"/>
                        <a:gd name="connsiteX202" fmla="*/ 331692 w 736292"/>
                        <a:gd name="connsiteY202" fmla="*/ 251131 h 1217852"/>
                        <a:gd name="connsiteX203" fmla="*/ 330791 w 736292"/>
                        <a:gd name="connsiteY203" fmla="*/ 252932 h 1217852"/>
                        <a:gd name="connsiteX204" fmla="*/ 328091 w 736292"/>
                        <a:gd name="connsiteY204" fmla="*/ 265533 h 1217852"/>
                        <a:gd name="connsiteX205" fmla="*/ 324041 w 736292"/>
                        <a:gd name="connsiteY205" fmla="*/ 268684 h 1217852"/>
                        <a:gd name="connsiteX206" fmla="*/ 321790 w 736292"/>
                        <a:gd name="connsiteY206" fmla="*/ 269134 h 1217852"/>
                        <a:gd name="connsiteX207" fmla="*/ 319540 w 736292"/>
                        <a:gd name="connsiteY207" fmla="*/ 268684 h 1217852"/>
                        <a:gd name="connsiteX208" fmla="*/ 313689 w 736292"/>
                        <a:gd name="connsiteY208" fmla="*/ 265083 h 1217852"/>
                        <a:gd name="connsiteX209" fmla="*/ 309189 w 736292"/>
                        <a:gd name="connsiteY209" fmla="*/ 263733 h 1217852"/>
                        <a:gd name="connsiteX210" fmla="*/ 306038 w 736292"/>
                        <a:gd name="connsiteY210" fmla="*/ 265083 h 1217852"/>
                        <a:gd name="connsiteX211" fmla="*/ 300638 w 736292"/>
                        <a:gd name="connsiteY211" fmla="*/ 270034 h 1217852"/>
                        <a:gd name="connsiteX212" fmla="*/ 298387 w 736292"/>
                        <a:gd name="connsiteY212" fmla="*/ 271384 h 1217852"/>
                        <a:gd name="connsiteX213" fmla="*/ 295687 w 736292"/>
                        <a:gd name="connsiteY213" fmla="*/ 270934 h 1217852"/>
                        <a:gd name="connsiteX214" fmla="*/ 294337 w 736292"/>
                        <a:gd name="connsiteY214" fmla="*/ 269134 h 1217852"/>
                        <a:gd name="connsiteX215" fmla="*/ 293437 w 736292"/>
                        <a:gd name="connsiteY215" fmla="*/ 265983 h 1217852"/>
                        <a:gd name="connsiteX216" fmla="*/ 293437 w 736292"/>
                        <a:gd name="connsiteY216" fmla="*/ 264183 h 1217852"/>
                        <a:gd name="connsiteX217" fmla="*/ 294337 w 736292"/>
                        <a:gd name="connsiteY217" fmla="*/ 263283 h 1217852"/>
                        <a:gd name="connsiteX218" fmla="*/ 295687 w 736292"/>
                        <a:gd name="connsiteY218" fmla="*/ 259682 h 1217852"/>
                        <a:gd name="connsiteX219" fmla="*/ 295687 w 736292"/>
                        <a:gd name="connsiteY219" fmla="*/ 258332 h 1217852"/>
                        <a:gd name="connsiteX220" fmla="*/ 294337 w 736292"/>
                        <a:gd name="connsiteY220" fmla="*/ 256082 h 1217852"/>
                        <a:gd name="connsiteX221" fmla="*/ 294337 w 736292"/>
                        <a:gd name="connsiteY221" fmla="*/ 254282 h 1217852"/>
                        <a:gd name="connsiteX222" fmla="*/ 294787 w 736292"/>
                        <a:gd name="connsiteY222" fmla="*/ 252932 h 1217852"/>
                        <a:gd name="connsiteX223" fmla="*/ 294787 w 736292"/>
                        <a:gd name="connsiteY223" fmla="*/ 252032 h 1217852"/>
                        <a:gd name="connsiteX224" fmla="*/ 294337 w 736292"/>
                        <a:gd name="connsiteY224" fmla="*/ 251582 h 1217852"/>
                        <a:gd name="connsiteX225" fmla="*/ 292987 w 736292"/>
                        <a:gd name="connsiteY225" fmla="*/ 252032 h 1217852"/>
                        <a:gd name="connsiteX226" fmla="*/ 288486 w 736292"/>
                        <a:gd name="connsiteY226" fmla="*/ 254282 h 1217852"/>
                        <a:gd name="connsiteX227" fmla="*/ 288936 w 736292"/>
                        <a:gd name="connsiteY227" fmla="*/ 251582 h 1217852"/>
                        <a:gd name="connsiteX228" fmla="*/ 291186 w 736292"/>
                        <a:gd name="connsiteY228" fmla="*/ 246181 h 1217852"/>
                        <a:gd name="connsiteX229" fmla="*/ 296587 w 736292"/>
                        <a:gd name="connsiteY229" fmla="*/ 234929 h 1217852"/>
                        <a:gd name="connsiteX230" fmla="*/ 298837 w 736292"/>
                        <a:gd name="connsiteY230" fmla="*/ 231779 h 1217852"/>
                        <a:gd name="connsiteX231" fmla="*/ 300188 w 736292"/>
                        <a:gd name="connsiteY231" fmla="*/ 230879 h 1217852"/>
                        <a:gd name="connsiteX232" fmla="*/ 315940 w 736292"/>
                        <a:gd name="connsiteY232" fmla="*/ 227278 h 1217852"/>
                        <a:gd name="connsiteX233" fmla="*/ 316840 w 736292"/>
                        <a:gd name="connsiteY233" fmla="*/ 226378 h 1217852"/>
                        <a:gd name="connsiteX234" fmla="*/ 324491 w 736292"/>
                        <a:gd name="connsiteY234" fmla="*/ 211076 h 1217852"/>
                        <a:gd name="connsiteX235" fmla="*/ 326741 w 736292"/>
                        <a:gd name="connsiteY235" fmla="*/ 207476 h 1217852"/>
                        <a:gd name="connsiteX236" fmla="*/ 328991 w 736292"/>
                        <a:gd name="connsiteY236" fmla="*/ 204776 h 1217852"/>
                        <a:gd name="connsiteX237" fmla="*/ 339792 w 736292"/>
                        <a:gd name="connsiteY237" fmla="*/ 195324 h 1217852"/>
                        <a:gd name="connsiteX238" fmla="*/ 340693 w 736292"/>
                        <a:gd name="connsiteY238" fmla="*/ 193074 h 1217852"/>
                        <a:gd name="connsiteX239" fmla="*/ 342493 w 736292"/>
                        <a:gd name="connsiteY239" fmla="*/ 186323 h 1217852"/>
                        <a:gd name="connsiteX240" fmla="*/ 343393 w 736292"/>
                        <a:gd name="connsiteY240" fmla="*/ 184523 h 1217852"/>
                        <a:gd name="connsiteX241" fmla="*/ 345643 w 736292"/>
                        <a:gd name="connsiteY241" fmla="*/ 181823 h 1217852"/>
                        <a:gd name="connsiteX242" fmla="*/ 353294 w 736292"/>
                        <a:gd name="connsiteY242" fmla="*/ 168321 h 1217852"/>
                        <a:gd name="connsiteX243" fmla="*/ 360495 w 736292"/>
                        <a:gd name="connsiteY243" fmla="*/ 158420 h 1217852"/>
                        <a:gd name="connsiteX244" fmla="*/ 364095 w 736292"/>
                        <a:gd name="connsiteY244" fmla="*/ 152119 h 1217852"/>
                        <a:gd name="connsiteX245" fmla="*/ 369046 w 736292"/>
                        <a:gd name="connsiteY245" fmla="*/ 145818 h 1217852"/>
                        <a:gd name="connsiteX246" fmla="*/ 374897 w 736292"/>
                        <a:gd name="connsiteY246" fmla="*/ 143118 h 1217852"/>
                        <a:gd name="connsiteX247" fmla="*/ 391999 w 736292"/>
                        <a:gd name="connsiteY247" fmla="*/ 138617 h 1217852"/>
                        <a:gd name="connsiteX248" fmla="*/ 404601 w 736292"/>
                        <a:gd name="connsiteY248" fmla="*/ 144918 h 1217852"/>
                        <a:gd name="connsiteX249" fmla="*/ 407751 w 736292"/>
                        <a:gd name="connsiteY249" fmla="*/ 145368 h 1217852"/>
                        <a:gd name="connsiteX250" fmla="*/ 409101 w 736292"/>
                        <a:gd name="connsiteY250" fmla="*/ 143568 h 1217852"/>
                        <a:gd name="connsiteX251" fmla="*/ 410451 w 736292"/>
                        <a:gd name="connsiteY251" fmla="*/ 140868 h 1217852"/>
                        <a:gd name="connsiteX252" fmla="*/ 412252 w 736292"/>
                        <a:gd name="connsiteY252" fmla="*/ 142218 h 1217852"/>
                        <a:gd name="connsiteX253" fmla="*/ 416752 w 736292"/>
                        <a:gd name="connsiteY253" fmla="*/ 143118 h 1217852"/>
                        <a:gd name="connsiteX254" fmla="*/ 417652 w 736292"/>
                        <a:gd name="connsiteY254" fmla="*/ 142218 h 1217852"/>
                        <a:gd name="connsiteX255" fmla="*/ 419452 w 736292"/>
                        <a:gd name="connsiteY255" fmla="*/ 139067 h 1217852"/>
                        <a:gd name="connsiteX256" fmla="*/ 418102 w 736292"/>
                        <a:gd name="connsiteY256" fmla="*/ 137267 h 1217852"/>
                        <a:gd name="connsiteX257" fmla="*/ 412702 w 736292"/>
                        <a:gd name="connsiteY257" fmla="*/ 134117 h 1217852"/>
                        <a:gd name="connsiteX258" fmla="*/ 412252 w 736292"/>
                        <a:gd name="connsiteY258" fmla="*/ 132317 h 1217852"/>
                        <a:gd name="connsiteX259" fmla="*/ 412252 w 736292"/>
                        <a:gd name="connsiteY259" fmla="*/ 130516 h 1217852"/>
                        <a:gd name="connsiteX260" fmla="*/ 414052 w 736292"/>
                        <a:gd name="connsiteY260" fmla="*/ 126916 h 1217852"/>
                        <a:gd name="connsiteX261" fmla="*/ 416302 w 736292"/>
                        <a:gd name="connsiteY261" fmla="*/ 124666 h 1217852"/>
                        <a:gd name="connsiteX262" fmla="*/ 423053 w 736292"/>
                        <a:gd name="connsiteY262" fmla="*/ 122865 h 1217852"/>
                        <a:gd name="connsiteX263" fmla="*/ 426203 w 736292"/>
                        <a:gd name="connsiteY263" fmla="*/ 123315 h 1217852"/>
                        <a:gd name="connsiteX264" fmla="*/ 429354 w 736292"/>
                        <a:gd name="connsiteY264" fmla="*/ 126016 h 1217852"/>
                        <a:gd name="connsiteX265" fmla="*/ 433404 w 736292"/>
                        <a:gd name="connsiteY265" fmla="*/ 131416 h 1217852"/>
                        <a:gd name="connsiteX266" fmla="*/ 444206 w 736292"/>
                        <a:gd name="connsiteY266" fmla="*/ 143118 h 1217852"/>
                        <a:gd name="connsiteX267" fmla="*/ 486511 w 736292"/>
                        <a:gd name="connsiteY267" fmla="*/ 201625 h 1217852"/>
                        <a:gd name="connsiteX268" fmla="*/ 483360 w 736292"/>
                        <a:gd name="connsiteY268" fmla="*/ 204776 h 1217852"/>
                        <a:gd name="connsiteX269" fmla="*/ 461308 w 736292"/>
                        <a:gd name="connsiteY269" fmla="*/ 200275 h 1217852"/>
                        <a:gd name="connsiteX270" fmla="*/ 459958 w 736292"/>
                        <a:gd name="connsiteY270" fmla="*/ 198925 h 1217852"/>
                        <a:gd name="connsiteX271" fmla="*/ 459507 w 736292"/>
                        <a:gd name="connsiteY271" fmla="*/ 197125 h 1217852"/>
                        <a:gd name="connsiteX272" fmla="*/ 463558 w 736292"/>
                        <a:gd name="connsiteY272" fmla="*/ 191724 h 1217852"/>
                        <a:gd name="connsiteX273" fmla="*/ 468509 w 736292"/>
                        <a:gd name="connsiteY273" fmla="*/ 189474 h 1217852"/>
                        <a:gd name="connsiteX274" fmla="*/ 479760 w 736292"/>
                        <a:gd name="connsiteY274" fmla="*/ 187673 h 1217852"/>
                        <a:gd name="connsiteX275" fmla="*/ 483810 w 736292"/>
                        <a:gd name="connsiteY275" fmla="*/ 189924 h 1217852"/>
                        <a:gd name="connsiteX276" fmla="*/ 486511 w 736292"/>
                        <a:gd name="connsiteY276" fmla="*/ 192174 h 1217852"/>
                        <a:gd name="connsiteX277" fmla="*/ 487861 w 736292"/>
                        <a:gd name="connsiteY277" fmla="*/ 194424 h 1217852"/>
                        <a:gd name="connsiteX278" fmla="*/ 488311 w 736292"/>
                        <a:gd name="connsiteY278" fmla="*/ 198475 h 1217852"/>
                        <a:gd name="connsiteX279" fmla="*/ 486511 w 736292"/>
                        <a:gd name="connsiteY279" fmla="*/ 201625 h 1217852"/>
                        <a:gd name="connsiteX280" fmla="*/ 562120 w 736292"/>
                        <a:gd name="connsiteY280" fmla="*/ 308289 h 1217852"/>
                        <a:gd name="connsiteX281" fmla="*/ 562120 w 736292"/>
                        <a:gd name="connsiteY281" fmla="*/ 317290 h 1217852"/>
                        <a:gd name="connsiteX282" fmla="*/ 562120 w 736292"/>
                        <a:gd name="connsiteY282" fmla="*/ 362295 h 1217852"/>
                        <a:gd name="connsiteX283" fmla="*/ 562120 w 736292"/>
                        <a:gd name="connsiteY283" fmla="*/ 365446 h 1217852"/>
                        <a:gd name="connsiteX284" fmla="*/ 558520 w 736292"/>
                        <a:gd name="connsiteY284" fmla="*/ 366346 h 1217852"/>
                        <a:gd name="connsiteX285" fmla="*/ 554019 w 736292"/>
                        <a:gd name="connsiteY285" fmla="*/ 368596 h 1217852"/>
                        <a:gd name="connsiteX286" fmla="*/ 550869 w 736292"/>
                        <a:gd name="connsiteY286" fmla="*/ 371296 h 1217852"/>
                        <a:gd name="connsiteX287" fmla="*/ 549069 w 736292"/>
                        <a:gd name="connsiteY287" fmla="*/ 373547 h 1217852"/>
                        <a:gd name="connsiteX288" fmla="*/ 546368 w 736292"/>
                        <a:gd name="connsiteY288" fmla="*/ 378947 h 1217852"/>
                        <a:gd name="connsiteX289" fmla="*/ 542318 w 736292"/>
                        <a:gd name="connsiteY289" fmla="*/ 382998 h 1217852"/>
                        <a:gd name="connsiteX290" fmla="*/ 535117 w 736292"/>
                        <a:gd name="connsiteY290" fmla="*/ 387499 h 1217852"/>
                        <a:gd name="connsiteX291" fmla="*/ 525666 w 736292"/>
                        <a:gd name="connsiteY291" fmla="*/ 394249 h 1217852"/>
                        <a:gd name="connsiteX292" fmla="*/ 509014 w 736292"/>
                        <a:gd name="connsiteY292" fmla="*/ 401000 h 1217852"/>
                        <a:gd name="connsiteX293" fmla="*/ 498662 w 736292"/>
                        <a:gd name="connsiteY293" fmla="*/ 402350 h 1217852"/>
                        <a:gd name="connsiteX294" fmla="*/ 488311 w 736292"/>
                        <a:gd name="connsiteY294" fmla="*/ 400100 h 1217852"/>
                        <a:gd name="connsiteX295" fmla="*/ 485161 w 736292"/>
                        <a:gd name="connsiteY295" fmla="*/ 398300 h 1217852"/>
                        <a:gd name="connsiteX296" fmla="*/ 481560 w 736292"/>
                        <a:gd name="connsiteY296" fmla="*/ 395600 h 1217852"/>
                        <a:gd name="connsiteX297" fmla="*/ 474359 w 736292"/>
                        <a:gd name="connsiteY297" fmla="*/ 388849 h 1217852"/>
                        <a:gd name="connsiteX298" fmla="*/ 472559 w 736292"/>
                        <a:gd name="connsiteY298" fmla="*/ 386598 h 1217852"/>
                        <a:gd name="connsiteX299" fmla="*/ 470309 w 736292"/>
                        <a:gd name="connsiteY299" fmla="*/ 381198 h 1217852"/>
                        <a:gd name="connsiteX300" fmla="*/ 471659 w 736292"/>
                        <a:gd name="connsiteY300" fmla="*/ 377597 h 1217852"/>
                        <a:gd name="connsiteX301" fmla="*/ 475710 w 736292"/>
                        <a:gd name="connsiteY301" fmla="*/ 373547 h 1217852"/>
                        <a:gd name="connsiteX302" fmla="*/ 481560 w 736292"/>
                        <a:gd name="connsiteY302" fmla="*/ 369946 h 1217852"/>
                        <a:gd name="connsiteX303" fmla="*/ 492812 w 736292"/>
                        <a:gd name="connsiteY303" fmla="*/ 364996 h 1217852"/>
                        <a:gd name="connsiteX304" fmla="*/ 503163 w 736292"/>
                        <a:gd name="connsiteY304" fmla="*/ 356895 h 1217852"/>
                        <a:gd name="connsiteX305" fmla="*/ 506763 w 736292"/>
                        <a:gd name="connsiteY305" fmla="*/ 355545 h 1217852"/>
                        <a:gd name="connsiteX306" fmla="*/ 516665 w 736292"/>
                        <a:gd name="connsiteY306" fmla="*/ 354194 h 1217852"/>
                        <a:gd name="connsiteX307" fmla="*/ 521615 w 736292"/>
                        <a:gd name="connsiteY307" fmla="*/ 355094 h 1217852"/>
                        <a:gd name="connsiteX308" fmla="*/ 525216 w 736292"/>
                        <a:gd name="connsiteY308" fmla="*/ 354644 h 1217852"/>
                        <a:gd name="connsiteX309" fmla="*/ 527466 w 736292"/>
                        <a:gd name="connsiteY309" fmla="*/ 353294 h 1217852"/>
                        <a:gd name="connsiteX310" fmla="*/ 531066 w 736292"/>
                        <a:gd name="connsiteY310" fmla="*/ 350144 h 1217852"/>
                        <a:gd name="connsiteX311" fmla="*/ 536467 w 736292"/>
                        <a:gd name="connsiteY311" fmla="*/ 344293 h 1217852"/>
                        <a:gd name="connsiteX312" fmla="*/ 540068 w 736292"/>
                        <a:gd name="connsiteY312" fmla="*/ 338892 h 1217852"/>
                        <a:gd name="connsiteX313" fmla="*/ 540968 w 736292"/>
                        <a:gd name="connsiteY313" fmla="*/ 336192 h 1217852"/>
                        <a:gd name="connsiteX314" fmla="*/ 539617 w 736292"/>
                        <a:gd name="connsiteY314" fmla="*/ 333942 h 1217852"/>
                        <a:gd name="connsiteX315" fmla="*/ 537817 w 736292"/>
                        <a:gd name="connsiteY315" fmla="*/ 333492 h 1217852"/>
                        <a:gd name="connsiteX316" fmla="*/ 531516 w 736292"/>
                        <a:gd name="connsiteY316" fmla="*/ 339343 h 1217852"/>
                        <a:gd name="connsiteX317" fmla="*/ 528366 w 736292"/>
                        <a:gd name="connsiteY317" fmla="*/ 341143 h 1217852"/>
                        <a:gd name="connsiteX318" fmla="*/ 524766 w 736292"/>
                        <a:gd name="connsiteY318" fmla="*/ 341143 h 1217852"/>
                        <a:gd name="connsiteX319" fmla="*/ 520265 w 736292"/>
                        <a:gd name="connsiteY319" fmla="*/ 342943 h 1217852"/>
                        <a:gd name="connsiteX320" fmla="*/ 515765 w 736292"/>
                        <a:gd name="connsiteY320" fmla="*/ 343843 h 1217852"/>
                        <a:gd name="connsiteX321" fmla="*/ 514864 w 736292"/>
                        <a:gd name="connsiteY321" fmla="*/ 343843 h 1217852"/>
                        <a:gd name="connsiteX322" fmla="*/ 509914 w 736292"/>
                        <a:gd name="connsiteY322" fmla="*/ 338442 h 1217852"/>
                        <a:gd name="connsiteX323" fmla="*/ 507213 w 736292"/>
                        <a:gd name="connsiteY323" fmla="*/ 337542 h 1217852"/>
                        <a:gd name="connsiteX324" fmla="*/ 505863 w 736292"/>
                        <a:gd name="connsiteY324" fmla="*/ 337992 h 1217852"/>
                        <a:gd name="connsiteX325" fmla="*/ 504963 w 736292"/>
                        <a:gd name="connsiteY325" fmla="*/ 339343 h 1217852"/>
                        <a:gd name="connsiteX326" fmla="*/ 502713 w 736292"/>
                        <a:gd name="connsiteY326" fmla="*/ 343393 h 1217852"/>
                        <a:gd name="connsiteX327" fmla="*/ 501363 w 736292"/>
                        <a:gd name="connsiteY327" fmla="*/ 344743 h 1217852"/>
                        <a:gd name="connsiteX328" fmla="*/ 499112 w 736292"/>
                        <a:gd name="connsiteY328" fmla="*/ 345643 h 1217852"/>
                        <a:gd name="connsiteX329" fmla="*/ 491011 w 736292"/>
                        <a:gd name="connsiteY329" fmla="*/ 346993 h 1217852"/>
                        <a:gd name="connsiteX330" fmla="*/ 482910 w 736292"/>
                        <a:gd name="connsiteY330" fmla="*/ 349244 h 1217852"/>
                        <a:gd name="connsiteX331" fmla="*/ 481110 w 736292"/>
                        <a:gd name="connsiteY331" fmla="*/ 347894 h 1217852"/>
                        <a:gd name="connsiteX332" fmla="*/ 480210 w 736292"/>
                        <a:gd name="connsiteY332" fmla="*/ 345643 h 1217852"/>
                        <a:gd name="connsiteX333" fmla="*/ 480210 w 736292"/>
                        <a:gd name="connsiteY333" fmla="*/ 344293 h 1217852"/>
                        <a:gd name="connsiteX334" fmla="*/ 480210 w 736292"/>
                        <a:gd name="connsiteY334" fmla="*/ 339343 h 1217852"/>
                        <a:gd name="connsiteX335" fmla="*/ 479760 w 736292"/>
                        <a:gd name="connsiteY335" fmla="*/ 337542 h 1217852"/>
                        <a:gd name="connsiteX336" fmla="*/ 480660 w 736292"/>
                        <a:gd name="connsiteY336" fmla="*/ 333492 h 1217852"/>
                        <a:gd name="connsiteX337" fmla="*/ 481560 w 736292"/>
                        <a:gd name="connsiteY337" fmla="*/ 330341 h 1217852"/>
                        <a:gd name="connsiteX338" fmla="*/ 482460 w 736292"/>
                        <a:gd name="connsiteY338" fmla="*/ 328091 h 1217852"/>
                        <a:gd name="connsiteX339" fmla="*/ 487861 w 736292"/>
                        <a:gd name="connsiteY339" fmla="*/ 321790 h 1217852"/>
                        <a:gd name="connsiteX340" fmla="*/ 488761 w 736292"/>
                        <a:gd name="connsiteY340" fmla="*/ 319990 h 1217852"/>
                        <a:gd name="connsiteX341" fmla="*/ 486061 w 736292"/>
                        <a:gd name="connsiteY341" fmla="*/ 320440 h 1217852"/>
                        <a:gd name="connsiteX342" fmla="*/ 479760 w 736292"/>
                        <a:gd name="connsiteY342" fmla="*/ 323591 h 1217852"/>
                        <a:gd name="connsiteX343" fmla="*/ 478860 w 736292"/>
                        <a:gd name="connsiteY343" fmla="*/ 322690 h 1217852"/>
                        <a:gd name="connsiteX344" fmla="*/ 477510 w 736292"/>
                        <a:gd name="connsiteY344" fmla="*/ 319090 h 1217852"/>
                        <a:gd name="connsiteX345" fmla="*/ 476610 w 736292"/>
                        <a:gd name="connsiteY345" fmla="*/ 318640 h 1217852"/>
                        <a:gd name="connsiteX346" fmla="*/ 475710 w 736292"/>
                        <a:gd name="connsiteY346" fmla="*/ 319990 h 1217852"/>
                        <a:gd name="connsiteX347" fmla="*/ 475259 w 736292"/>
                        <a:gd name="connsiteY347" fmla="*/ 322240 h 1217852"/>
                        <a:gd name="connsiteX348" fmla="*/ 474359 w 736292"/>
                        <a:gd name="connsiteY348" fmla="*/ 330791 h 1217852"/>
                        <a:gd name="connsiteX349" fmla="*/ 473459 w 736292"/>
                        <a:gd name="connsiteY349" fmla="*/ 335292 h 1217852"/>
                        <a:gd name="connsiteX350" fmla="*/ 471209 w 736292"/>
                        <a:gd name="connsiteY350" fmla="*/ 334392 h 1217852"/>
                        <a:gd name="connsiteX351" fmla="*/ 468059 w 736292"/>
                        <a:gd name="connsiteY351" fmla="*/ 331692 h 1217852"/>
                        <a:gd name="connsiteX352" fmla="*/ 466708 w 736292"/>
                        <a:gd name="connsiteY352" fmla="*/ 331241 h 1217852"/>
                        <a:gd name="connsiteX353" fmla="*/ 466258 w 736292"/>
                        <a:gd name="connsiteY353" fmla="*/ 332142 h 1217852"/>
                        <a:gd name="connsiteX354" fmla="*/ 466258 w 736292"/>
                        <a:gd name="connsiteY354" fmla="*/ 333492 h 1217852"/>
                        <a:gd name="connsiteX355" fmla="*/ 469409 w 736292"/>
                        <a:gd name="connsiteY355" fmla="*/ 340693 h 1217852"/>
                        <a:gd name="connsiteX356" fmla="*/ 469409 w 736292"/>
                        <a:gd name="connsiteY356" fmla="*/ 343393 h 1217852"/>
                        <a:gd name="connsiteX357" fmla="*/ 467158 w 736292"/>
                        <a:gd name="connsiteY357" fmla="*/ 347894 h 1217852"/>
                        <a:gd name="connsiteX358" fmla="*/ 458607 w 736292"/>
                        <a:gd name="connsiteY358" fmla="*/ 355094 h 1217852"/>
                        <a:gd name="connsiteX359" fmla="*/ 455007 w 736292"/>
                        <a:gd name="connsiteY359" fmla="*/ 356895 h 1217852"/>
                        <a:gd name="connsiteX360" fmla="*/ 453657 w 736292"/>
                        <a:gd name="connsiteY360" fmla="*/ 355995 h 1217852"/>
                        <a:gd name="connsiteX361" fmla="*/ 452757 w 736292"/>
                        <a:gd name="connsiteY361" fmla="*/ 354194 h 1217852"/>
                        <a:gd name="connsiteX362" fmla="*/ 451856 w 736292"/>
                        <a:gd name="connsiteY362" fmla="*/ 351044 h 1217852"/>
                        <a:gd name="connsiteX363" fmla="*/ 449606 w 736292"/>
                        <a:gd name="connsiteY363" fmla="*/ 346543 h 1217852"/>
                        <a:gd name="connsiteX364" fmla="*/ 448256 w 736292"/>
                        <a:gd name="connsiteY364" fmla="*/ 345643 h 1217852"/>
                        <a:gd name="connsiteX365" fmla="*/ 446906 w 736292"/>
                        <a:gd name="connsiteY365" fmla="*/ 345643 h 1217852"/>
                        <a:gd name="connsiteX366" fmla="*/ 445556 w 736292"/>
                        <a:gd name="connsiteY366" fmla="*/ 346543 h 1217852"/>
                        <a:gd name="connsiteX367" fmla="*/ 444206 w 736292"/>
                        <a:gd name="connsiteY367" fmla="*/ 348344 h 1217852"/>
                        <a:gd name="connsiteX368" fmla="*/ 443305 w 736292"/>
                        <a:gd name="connsiteY368" fmla="*/ 350594 h 1217852"/>
                        <a:gd name="connsiteX369" fmla="*/ 442405 w 736292"/>
                        <a:gd name="connsiteY369" fmla="*/ 354194 h 1217852"/>
                        <a:gd name="connsiteX370" fmla="*/ 440605 w 736292"/>
                        <a:gd name="connsiteY370" fmla="*/ 356895 h 1217852"/>
                        <a:gd name="connsiteX371" fmla="*/ 439705 w 736292"/>
                        <a:gd name="connsiteY371" fmla="*/ 357345 h 1217852"/>
                        <a:gd name="connsiteX372" fmla="*/ 431154 w 736292"/>
                        <a:gd name="connsiteY372" fmla="*/ 351494 h 1217852"/>
                        <a:gd name="connsiteX373" fmla="*/ 423953 w 736292"/>
                        <a:gd name="connsiteY373" fmla="*/ 340693 h 1217852"/>
                        <a:gd name="connsiteX374" fmla="*/ 416302 w 736292"/>
                        <a:gd name="connsiteY374" fmla="*/ 342493 h 1217852"/>
                        <a:gd name="connsiteX375" fmla="*/ 412702 w 736292"/>
                        <a:gd name="connsiteY375" fmla="*/ 342043 h 1217852"/>
                        <a:gd name="connsiteX376" fmla="*/ 402350 w 736292"/>
                        <a:gd name="connsiteY376" fmla="*/ 337992 h 1217852"/>
                        <a:gd name="connsiteX377" fmla="*/ 401000 w 736292"/>
                        <a:gd name="connsiteY377" fmla="*/ 335742 h 1217852"/>
                        <a:gd name="connsiteX378" fmla="*/ 400100 w 736292"/>
                        <a:gd name="connsiteY378" fmla="*/ 332592 h 1217852"/>
                        <a:gd name="connsiteX379" fmla="*/ 400100 w 736292"/>
                        <a:gd name="connsiteY379" fmla="*/ 330791 h 1217852"/>
                        <a:gd name="connsiteX380" fmla="*/ 400550 w 736292"/>
                        <a:gd name="connsiteY380" fmla="*/ 328991 h 1217852"/>
                        <a:gd name="connsiteX381" fmla="*/ 401900 w 736292"/>
                        <a:gd name="connsiteY381" fmla="*/ 325391 h 1217852"/>
                        <a:gd name="connsiteX382" fmla="*/ 404601 w 736292"/>
                        <a:gd name="connsiteY382" fmla="*/ 319990 h 1217852"/>
                        <a:gd name="connsiteX383" fmla="*/ 405501 w 736292"/>
                        <a:gd name="connsiteY383" fmla="*/ 318190 h 1217852"/>
                        <a:gd name="connsiteX384" fmla="*/ 407301 w 736292"/>
                        <a:gd name="connsiteY384" fmla="*/ 316840 h 1217852"/>
                        <a:gd name="connsiteX385" fmla="*/ 409551 w 736292"/>
                        <a:gd name="connsiteY385" fmla="*/ 315490 h 1217852"/>
                        <a:gd name="connsiteX386" fmla="*/ 414952 w 736292"/>
                        <a:gd name="connsiteY386" fmla="*/ 315039 h 1217852"/>
                        <a:gd name="connsiteX387" fmla="*/ 429354 w 736292"/>
                        <a:gd name="connsiteY387" fmla="*/ 315039 h 1217852"/>
                        <a:gd name="connsiteX388" fmla="*/ 432054 w 736292"/>
                        <a:gd name="connsiteY388" fmla="*/ 314139 h 1217852"/>
                        <a:gd name="connsiteX389" fmla="*/ 447806 w 736292"/>
                        <a:gd name="connsiteY389" fmla="*/ 303338 h 1217852"/>
                        <a:gd name="connsiteX390" fmla="*/ 449606 w 736292"/>
                        <a:gd name="connsiteY390" fmla="*/ 301538 h 1217852"/>
                        <a:gd name="connsiteX391" fmla="*/ 451856 w 736292"/>
                        <a:gd name="connsiteY391" fmla="*/ 297937 h 1217852"/>
                        <a:gd name="connsiteX392" fmla="*/ 452307 w 736292"/>
                        <a:gd name="connsiteY392" fmla="*/ 296587 h 1217852"/>
                        <a:gd name="connsiteX393" fmla="*/ 452307 w 736292"/>
                        <a:gd name="connsiteY393" fmla="*/ 295687 h 1217852"/>
                        <a:gd name="connsiteX394" fmla="*/ 432954 w 736292"/>
                        <a:gd name="connsiteY394" fmla="*/ 304238 h 1217852"/>
                        <a:gd name="connsiteX395" fmla="*/ 424853 w 736292"/>
                        <a:gd name="connsiteY395" fmla="*/ 306038 h 1217852"/>
                        <a:gd name="connsiteX396" fmla="*/ 412252 w 736292"/>
                        <a:gd name="connsiteY396" fmla="*/ 304688 h 1217852"/>
                        <a:gd name="connsiteX397" fmla="*/ 410001 w 736292"/>
                        <a:gd name="connsiteY397" fmla="*/ 303338 h 1217852"/>
                        <a:gd name="connsiteX398" fmla="*/ 409551 w 736292"/>
                        <a:gd name="connsiteY398" fmla="*/ 301088 h 1217852"/>
                        <a:gd name="connsiteX399" fmla="*/ 412252 w 736292"/>
                        <a:gd name="connsiteY399" fmla="*/ 294787 h 1217852"/>
                        <a:gd name="connsiteX400" fmla="*/ 413602 w 736292"/>
                        <a:gd name="connsiteY400" fmla="*/ 292537 h 1217852"/>
                        <a:gd name="connsiteX401" fmla="*/ 417202 w 736292"/>
                        <a:gd name="connsiteY401" fmla="*/ 290286 h 1217852"/>
                        <a:gd name="connsiteX402" fmla="*/ 425753 w 736292"/>
                        <a:gd name="connsiteY402" fmla="*/ 287136 h 1217852"/>
                        <a:gd name="connsiteX403" fmla="*/ 437455 w 736292"/>
                        <a:gd name="connsiteY403" fmla="*/ 284436 h 1217852"/>
                        <a:gd name="connsiteX404" fmla="*/ 445106 w 736292"/>
                        <a:gd name="connsiteY404" fmla="*/ 284436 h 1217852"/>
                        <a:gd name="connsiteX405" fmla="*/ 451407 w 736292"/>
                        <a:gd name="connsiteY405" fmla="*/ 282185 h 1217852"/>
                        <a:gd name="connsiteX406" fmla="*/ 455457 w 736292"/>
                        <a:gd name="connsiteY406" fmla="*/ 279485 h 1217852"/>
                        <a:gd name="connsiteX407" fmla="*/ 442405 w 736292"/>
                        <a:gd name="connsiteY407" fmla="*/ 279485 h 1217852"/>
                        <a:gd name="connsiteX408" fmla="*/ 426653 w 736292"/>
                        <a:gd name="connsiteY408" fmla="*/ 280835 h 1217852"/>
                        <a:gd name="connsiteX409" fmla="*/ 424403 w 736292"/>
                        <a:gd name="connsiteY409" fmla="*/ 279935 h 1217852"/>
                        <a:gd name="connsiteX410" fmla="*/ 419903 w 736292"/>
                        <a:gd name="connsiteY410" fmla="*/ 276785 h 1217852"/>
                        <a:gd name="connsiteX411" fmla="*/ 419903 w 736292"/>
                        <a:gd name="connsiteY411" fmla="*/ 274534 h 1217852"/>
                        <a:gd name="connsiteX412" fmla="*/ 421703 w 736292"/>
                        <a:gd name="connsiteY412" fmla="*/ 271384 h 1217852"/>
                        <a:gd name="connsiteX413" fmla="*/ 422153 w 736292"/>
                        <a:gd name="connsiteY413" fmla="*/ 269134 h 1217852"/>
                        <a:gd name="connsiteX414" fmla="*/ 420803 w 736292"/>
                        <a:gd name="connsiteY414" fmla="*/ 264183 h 1217852"/>
                        <a:gd name="connsiteX415" fmla="*/ 421253 w 736292"/>
                        <a:gd name="connsiteY415" fmla="*/ 262383 h 1217852"/>
                        <a:gd name="connsiteX416" fmla="*/ 423953 w 736292"/>
                        <a:gd name="connsiteY416" fmla="*/ 258332 h 1217852"/>
                        <a:gd name="connsiteX417" fmla="*/ 429354 w 736292"/>
                        <a:gd name="connsiteY417" fmla="*/ 253832 h 1217852"/>
                        <a:gd name="connsiteX418" fmla="*/ 432504 w 736292"/>
                        <a:gd name="connsiteY418" fmla="*/ 253382 h 1217852"/>
                        <a:gd name="connsiteX419" fmla="*/ 438805 w 736292"/>
                        <a:gd name="connsiteY419" fmla="*/ 254732 h 1217852"/>
                        <a:gd name="connsiteX420" fmla="*/ 456357 w 736292"/>
                        <a:gd name="connsiteY420" fmla="*/ 256532 h 1217852"/>
                        <a:gd name="connsiteX421" fmla="*/ 459958 w 736292"/>
                        <a:gd name="connsiteY421" fmla="*/ 256082 h 1217852"/>
                        <a:gd name="connsiteX422" fmla="*/ 457707 w 736292"/>
                        <a:gd name="connsiteY422" fmla="*/ 254282 h 1217852"/>
                        <a:gd name="connsiteX423" fmla="*/ 454557 w 736292"/>
                        <a:gd name="connsiteY423" fmla="*/ 252932 h 1217852"/>
                        <a:gd name="connsiteX424" fmla="*/ 441055 w 736292"/>
                        <a:gd name="connsiteY424" fmla="*/ 250231 h 1217852"/>
                        <a:gd name="connsiteX425" fmla="*/ 438355 w 736292"/>
                        <a:gd name="connsiteY425" fmla="*/ 248881 h 1217852"/>
                        <a:gd name="connsiteX426" fmla="*/ 437905 w 736292"/>
                        <a:gd name="connsiteY426" fmla="*/ 247531 h 1217852"/>
                        <a:gd name="connsiteX427" fmla="*/ 437905 w 736292"/>
                        <a:gd name="connsiteY427" fmla="*/ 245281 h 1217852"/>
                        <a:gd name="connsiteX428" fmla="*/ 437905 w 736292"/>
                        <a:gd name="connsiteY428" fmla="*/ 242130 h 1217852"/>
                        <a:gd name="connsiteX429" fmla="*/ 438805 w 736292"/>
                        <a:gd name="connsiteY429" fmla="*/ 238980 h 1217852"/>
                        <a:gd name="connsiteX430" fmla="*/ 442855 w 736292"/>
                        <a:gd name="connsiteY430" fmla="*/ 232229 h 1217852"/>
                        <a:gd name="connsiteX431" fmla="*/ 455007 w 736292"/>
                        <a:gd name="connsiteY431" fmla="*/ 226828 h 1217852"/>
                        <a:gd name="connsiteX432" fmla="*/ 459958 w 736292"/>
                        <a:gd name="connsiteY432" fmla="*/ 225928 h 1217852"/>
                        <a:gd name="connsiteX433" fmla="*/ 464908 w 736292"/>
                        <a:gd name="connsiteY433" fmla="*/ 226378 h 1217852"/>
                        <a:gd name="connsiteX434" fmla="*/ 469859 w 736292"/>
                        <a:gd name="connsiteY434" fmla="*/ 228629 h 1217852"/>
                        <a:gd name="connsiteX435" fmla="*/ 472109 w 736292"/>
                        <a:gd name="connsiteY435" fmla="*/ 230879 h 1217852"/>
                        <a:gd name="connsiteX436" fmla="*/ 473009 w 736292"/>
                        <a:gd name="connsiteY436" fmla="*/ 233579 h 1217852"/>
                        <a:gd name="connsiteX437" fmla="*/ 473459 w 736292"/>
                        <a:gd name="connsiteY437" fmla="*/ 235830 h 1217852"/>
                        <a:gd name="connsiteX438" fmla="*/ 473459 w 736292"/>
                        <a:gd name="connsiteY438" fmla="*/ 239880 h 1217852"/>
                        <a:gd name="connsiteX439" fmla="*/ 473909 w 736292"/>
                        <a:gd name="connsiteY439" fmla="*/ 241680 h 1217852"/>
                        <a:gd name="connsiteX440" fmla="*/ 474809 w 736292"/>
                        <a:gd name="connsiteY440" fmla="*/ 244381 h 1217852"/>
                        <a:gd name="connsiteX441" fmla="*/ 477510 w 736292"/>
                        <a:gd name="connsiteY441" fmla="*/ 250681 h 1217852"/>
                        <a:gd name="connsiteX442" fmla="*/ 479760 w 736292"/>
                        <a:gd name="connsiteY442" fmla="*/ 252482 h 1217852"/>
                        <a:gd name="connsiteX443" fmla="*/ 489661 w 736292"/>
                        <a:gd name="connsiteY443" fmla="*/ 248881 h 1217852"/>
                        <a:gd name="connsiteX444" fmla="*/ 493712 w 736292"/>
                        <a:gd name="connsiteY444" fmla="*/ 247981 h 1217852"/>
                        <a:gd name="connsiteX445" fmla="*/ 497762 w 736292"/>
                        <a:gd name="connsiteY445" fmla="*/ 249331 h 1217852"/>
                        <a:gd name="connsiteX446" fmla="*/ 503613 w 736292"/>
                        <a:gd name="connsiteY446" fmla="*/ 253382 h 1217852"/>
                        <a:gd name="connsiteX447" fmla="*/ 511264 w 736292"/>
                        <a:gd name="connsiteY447" fmla="*/ 264633 h 1217852"/>
                        <a:gd name="connsiteX448" fmla="*/ 521165 w 736292"/>
                        <a:gd name="connsiteY448" fmla="*/ 276335 h 1217852"/>
                        <a:gd name="connsiteX449" fmla="*/ 521165 w 736292"/>
                        <a:gd name="connsiteY449" fmla="*/ 279035 h 1217852"/>
                        <a:gd name="connsiteX450" fmla="*/ 517565 w 736292"/>
                        <a:gd name="connsiteY450" fmla="*/ 283085 h 1217852"/>
                        <a:gd name="connsiteX451" fmla="*/ 516665 w 736292"/>
                        <a:gd name="connsiteY451" fmla="*/ 284886 h 1217852"/>
                        <a:gd name="connsiteX452" fmla="*/ 517115 w 736292"/>
                        <a:gd name="connsiteY452" fmla="*/ 286236 h 1217852"/>
                        <a:gd name="connsiteX453" fmla="*/ 520715 w 736292"/>
                        <a:gd name="connsiteY453" fmla="*/ 287136 h 1217852"/>
                        <a:gd name="connsiteX454" fmla="*/ 524316 w 736292"/>
                        <a:gd name="connsiteY454" fmla="*/ 286686 h 1217852"/>
                        <a:gd name="connsiteX455" fmla="*/ 527916 w 736292"/>
                        <a:gd name="connsiteY455" fmla="*/ 287586 h 1217852"/>
                        <a:gd name="connsiteX456" fmla="*/ 528816 w 736292"/>
                        <a:gd name="connsiteY456" fmla="*/ 288486 h 1217852"/>
                        <a:gd name="connsiteX457" fmla="*/ 530166 w 736292"/>
                        <a:gd name="connsiteY457" fmla="*/ 292537 h 1217852"/>
                        <a:gd name="connsiteX458" fmla="*/ 531967 w 736292"/>
                        <a:gd name="connsiteY458" fmla="*/ 299738 h 1217852"/>
                        <a:gd name="connsiteX459" fmla="*/ 534217 w 736292"/>
                        <a:gd name="connsiteY459" fmla="*/ 305138 h 1217852"/>
                        <a:gd name="connsiteX460" fmla="*/ 536467 w 736292"/>
                        <a:gd name="connsiteY460" fmla="*/ 308739 h 1217852"/>
                        <a:gd name="connsiteX461" fmla="*/ 538717 w 736292"/>
                        <a:gd name="connsiteY461" fmla="*/ 310539 h 1217852"/>
                        <a:gd name="connsiteX462" fmla="*/ 542318 w 736292"/>
                        <a:gd name="connsiteY462" fmla="*/ 310539 h 1217852"/>
                        <a:gd name="connsiteX463" fmla="*/ 545918 w 736292"/>
                        <a:gd name="connsiteY463" fmla="*/ 309639 h 1217852"/>
                        <a:gd name="connsiteX464" fmla="*/ 551769 w 736292"/>
                        <a:gd name="connsiteY464" fmla="*/ 310089 h 1217852"/>
                        <a:gd name="connsiteX465" fmla="*/ 562120 w 736292"/>
                        <a:gd name="connsiteY465" fmla="*/ 308289 h 1217852"/>
                        <a:gd name="connsiteX466" fmla="*/ 562120 w 736292"/>
                        <a:gd name="connsiteY466" fmla="*/ 308289 h 1217852"/>
                        <a:gd name="connsiteX467" fmla="*/ 562120 w 736292"/>
                        <a:gd name="connsiteY467" fmla="*/ 247081 h 1217852"/>
                        <a:gd name="connsiteX468" fmla="*/ 558070 w 736292"/>
                        <a:gd name="connsiteY468" fmla="*/ 243030 h 1217852"/>
                        <a:gd name="connsiteX469" fmla="*/ 557170 w 736292"/>
                        <a:gd name="connsiteY469" fmla="*/ 241680 h 1217852"/>
                        <a:gd name="connsiteX470" fmla="*/ 556270 w 736292"/>
                        <a:gd name="connsiteY470" fmla="*/ 239430 h 1217852"/>
                        <a:gd name="connsiteX471" fmla="*/ 555820 w 736292"/>
                        <a:gd name="connsiteY471" fmla="*/ 236280 h 1217852"/>
                        <a:gd name="connsiteX472" fmla="*/ 555820 w 736292"/>
                        <a:gd name="connsiteY472" fmla="*/ 233579 h 1217852"/>
                        <a:gd name="connsiteX473" fmla="*/ 556720 w 736292"/>
                        <a:gd name="connsiteY473" fmla="*/ 231779 h 1217852"/>
                        <a:gd name="connsiteX474" fmla="*/ 562570 w 736292"/>
                        <a:gd name="connsiteY474" fmla="*/ 225928 h 1217852"/>
                        <a:gd name="connsiteX475" fmla="*/ 562120 w 736292"/>
                        <a:gd name="connsiteY475" fmla="*/ 247081 h 1217852"/>
                        <a:gd name="connsiteX476" fmla="*/ 385698 w 736292"/>
                        <a:gd name="connsiteY476" fmla="*/ 304688 h 1217852"/>
                        <a:gd name="connsiteX477" fmla="*/ 379847 w 736292"/>
                        <a:gd name="connsiteY477" fmla="*/ 310089 h 1217852"/>
                        <a:gd name="connsiteX478" fmla="*/ 375347 w 736292"/>
                        <a:gd name="connsiteY478" fmla="*/ 309639 h 1217852"/>
                        <a:gd name="connsiteX479" fmla="*/ 369496 w 736292"/>
                        <a:gd name="connsiteY479" fmla="*/ 305588 h 1217852"/>
                        <a:gd name="connsiteX480" fmla="*/ 364996 w 736292"/>
                        <a:gd name="connsiteY480" fmla="*/ 304238 h 1217852"/>
                        <a:gd name="connsiteX481" fmla="*/ 363195 w 736292"/>
                        <a:gd name="connsiteY481" fmla="*/ 302888 h 1217852"/>
                        <a:gd name="connsiteX482" fmla="*/ 362745 w 736292"/>
                        <a:gd name="connsiteY482" fmla="*/ 301538 h 1217852"/>
                        <a:gd name="connsiteX483" fmla="*/ 364546 w 736292"/>
                        <a:gd name="connsiteY483" fmla="*/ 297487 h 1217852"/>
                        <a:gd name="connsiteX484" fmla="*/ 366346 w 736292"/>
                        <a:gd name="connsiteY484" fmla="*/ 294337 h 1217852"/>
                        <a:gd name="connsiteX485" fmla="*/ 371296 w 736292"/>
                        <a:gd name="connsiteY485" fmla="*/ 288036 h 1217852"/>
                        <a:gd name="connsiteX486" fmla="*/ 379398 w 736292"/>
                        <a:gd name="connsiteY486" fmla="*/ 276335 h 1217852"/>
                        <a:gd name="connsiteX487" fmla="*/ 384798 w 736292"/>
                        <a:gd name="connsiteY487" fmla="*/ 271834 h 1217852"/>
                        <a:gd name="connsiteX488" fmla="*/ 389749 w 736292"/>
                        <a:gd name="connsiteY488" fmla="*/ 268684 h 1217852"/>
                        <a:gd name="connsiteX489" fmla="*/ 395149 w 736292"/>
                        <a:gd name="connsiteY489" fmla="*/ 261483 h 1217852"/>
                        <a:gd name="connsiteX490" fmla="*/ 397850 w 736292"/>
                        <a:gd name="connsiteY490" fmla="*/ 258332 h 1217852"/>
                        <a:gd name="connsiteX491" fmla="*/ 400550 w 736292"/>
                        <a:gd name="connsiteY491" fmla="*/ 257882 h 1217852"/>
                        <a:gd name="connsiteX492" fmla="*/ 403250 w 736292"/>
                        <a:gd name="connsiteY492" fmla="*/ 259232 h 1217852"/>
                        <a:gd name="connsiteX493" fmla="*/ 403701 w 736292"/>
                        <a:gd name="connsiteY493" fmla="*/ 261033 h 1217852"/>
                        <a:gd name="connsiteX494" fmla="*/ 401000 w 736292"/>
                        <a:gd name="connsiteY494" fmla="*/ 270934 h 1217852"/>
                        <a:gd name="connsiteX495" fmla="*/ 399200 w 736292"/>
                        <a:gd name="connsiteY495" fmla="*/ 274984 h 1217852"/>
                        <a:gd name="connsiteX496" fmla="*/ 395599 w 736292"/>
                        <a:gd name="connsiteY496" fmla="*/ 284886 h 1217852"/>
                        <a:gd name="connsiteX497" fmla="*/ 388399 w 736292"/>
                        <a:gd name="connsiteY497" fmla="*/ 301538 h 1217852"/>
                        <a:gd name="connsiteX498" fmla="*/ 385698 w 736292"/>
                        <a:gd name="connsiteY498" fmla="*/ 304688 h 1217852"/>
                        <a:gd name="connsiteX499" fmla="*/ 327191 w 736292"/>
                        <a:gd name="connsiteY499" fmla="*/ 290736 h 1217852"/>
                        <a:gd name="connsiteX500" fmla="*/ 325391 w 736292"/>
                        <a:gd name="connsiteY500" fmla="*/ 291186 h 1217852"/>
                        <a:gd name="connsiteX501" fmla="*/ 323591 w 736292"/>
                        <a:gd name="connsiteY501" fmla="*/ 290286 h 1217852"/>
                        <a:gd name="connsiteX502" fmla="*/ 324041 w 736292"/>
                        <a:gd name="connsiteY502" fmla="*/ 288036 h 1217852"/>
                        <a:gd name="connsiteX503" fmla="*/ 328091 w 736292"/>
                        <a:gd name="connsiteY503" fmla="*/ 282185 h 1217852"/>
                        <a:gd name="connsiteX504" fmla="*/ 328541 w 736292"/>
                        <a:gd name="connsiteY504" fmla="*/ 280385 h 1217852"/>
                        <a:gd name="connsiteX505" fmla="*/ 328541 w 736292"/>
                        <a:gd name="connsiteY505" fmla="*/ 279035 h 1217852"/>
                        <a:gd name="connsiteX506" fmla="*/ 328091 w 736292"/>
                        <a:gd name="connsiteY506" fmla="*/ 277235 h 1217852"/>
                        <a:gd name="connsiteX507" fmla="*/ 328991 w 736292"/>
                        <a:gd name="connsiteY507" fmla="*/ 274984 h 1217852"/>
                        <a:gd name="connsiteX508" fmla="*/ 330791 w 736292"/>
                        <a:gd name="connsiteY508" fmla="*/ 274084 h 1217852"/>
                        <a:gd name="connsiteX509" fmla="*/ 331241 w 736292"/>
                        <a:gd name="connsiteY509" fmla="*/ 274984 h 1217852"/>
                        <a:gd name="connsiteX510" fmla="*/ 331241 w 736292"/>
                        <a:gd name="connsiteY510" fmla="*/ 276785 h 1217852"/>
                        <a:gd name="connsiteX511" fmla="*/ 330791 w 736292"/>
                        <a:gd name="connsiteY511" fmla="*/ 282185 h 1217852"/>
                        <a:gd name="connsiteX512" fmla="*/ 330341 w 736292"/>
                        <a:gd name="connsiteY512" fmla="*/ 284886 h 1217852"/>
                        <a:gd name="connsiteX513" fmla="*/ 329441 w 736292"/>
                        <a:gd name="connsiteY513" fmla="*/ 287136 h 1217852"/>
                        <a:gd name="connsiteX514" fmla="*/ 328541 w 736292"/>
                        <a:gd name="connsiteY514" fmla="*/ 288936 h 1217852"/>
                        <a:gd name="connsiteX515" fmla="*/ 327191 w 736292"/>
                        <a:gd name="connsiteY515" fmla="*/ 290736 h 1217852"/>
                        <a:gd name="connsiteX516" fmla="*/ 355544 w 736292"/>
                        <a:gd name="connsiteY516" fmla="*/ 423953 h 1217852"/>
                        <a:gd name="connsiteX517" fmla="*/ 355544 w 736292"/>
                        <a:gd name="connsiteY517" fmla="*/ 423953 h 1217852"/>
                        <a:gd name="connsiteX518" fmla="*/ 361395 w 736292"/>
                        <a:gd name="connsiteY518" fmla="*/ 417202 h 1217852"/>
                        <a:gd name="connsiteX519" fmla="*/ 364546 w 736292"/>
                        <a:gd name="connsiteY519" fmla="*/ 416752 h 1217852"/>
                        <a:gd name="connsiteX520" fmla="*/ 366796 w 736292"/>
                        <a:gd name="connsiteY520" fmla="*/ 417202 h 1217852"/>
                        <a:gd name="connsiteX521" fmla="*/ 367696 w 736292"/>
                        <a:gd name="connsiteY521" fmla="*/ 418102 h 1217852"/>
                        <a:gd name="connsiteX522" fmla="*/ 368146 w 736292"/>
                        <a:gd name="connsiteY522" fmla="*/ 419452 h 1217852"/>
                        <a:gd name="connsiteX523" fmla="*/ 368596 w 736292"/>
                        <a:gd name="connsiteY523" fmla="*/ 422603 h 1217852"/>
                        <a:gd name="connsiteX524" fmla="*/ 368596 w 736292"/>
                        <a:gd name="connsiteY524" fmla="*/ 430254 h 1217852"/>
                        <a:gd name="connsiteX525" fmla="*/ 369046 w 736292"/>
                        <a:gd name="connsiteY525" fmla="*/ 431154 h 1217852"/>
                        <a:gd name="connsiteX526" fmla="*/ 369946 w 736292"/>
                        <a:gd name="connsiteY526" fmla="*/ 430704 h 1217852"/>
                        <a:gd name="connsiteX527" fmla="*/ 371296 w 736292"/>
                        <a:gd name="connsiteY527" fmla="*/ 428904 h 1217852"/>
                        <a:gd name="connsiteX528" fmla="*/ 377147 w 736292"/>
                        <a:gd name="connsiteY528" fmla="*/ 417652 h 1217852"/>
                        <a:gd name="connsiteX529" fmla="*/ 379847 w 736292"/>
                        <a:gd name="connsiteY529" fmla="*/ 414502 h 1217852"/>
                        <a:gd name="connsiteX530" fmla="*/ 381648 w 736292"/>
                        <a:gd name="connsiteY530" fmla="*/ 413602 h 1217852"/>
                        <a:gd name="connsiteX531" fmla="*/ 388849 w 736292"/>
                        <a:gd name="connsiteY531" fmla="*/ 411802 h 1217852"/>
                        <a:gd name="connsiteX532" fmla="*/ 393799 w 736292"/>
                        <a:gd name="connsiteY532" fmla="*/ 411802 h 1217852"/>
                        <a:gd name="connsiteX533" fmla="*/ 399200 w 736292"/>
                        <a:gd name="connsiteY533" fmla="*/ 412702 h 1217852"/>
                        <a:gd name="connsiteX534" fmla="*/ 403250 w 736292"/>
                        <a:gd name="connsiteY534" fmla="*/ 414502 h 1217852"/>
                        <a:gd name="connsiteX535" fmla="*/ 410001 w 736292"/>
                        <a:gd name="connsiteY535" fmla="*/ 419002 h 1217852"/>
                        <a:gd name="connsiteX536" fmla="*/ 415402 w 736292"/>
                        <a:gd name="connsiteY536" fmla="*/ 424403 h 1217852"/>
                        <a:gd name="connsiteX537" fmla="*/ 420353 w 736292"/>
                        <a:gd name="connsiteY537" fmla="*/ 430254 h 1217852"/>
                        <a:gd name="connsiteX538" fmla="*/ 436555 w 736292"/>
                        <a:gd name="connsiteY538" fmla="*/ 451407 h 1217852"/>
                        <a:gd name="connsiteX539" fmla="*/ 443305 w 736292"/>
                        <a:gd name="connsiteY539" fmla="*/ 457707 h 1217852"/>
                        <a:gd name="connsiteX540" fmla="*/ 446006 w 736292"/>
                        <a:gd name="connsiteY540" fmla="*/ 461308 h 1217852"/>
                        <a:gd name="connsiteX541" fmla="*/ 447356 w 736292"/>
                        <a:gd name="connsiteY541" fmla="*/ 464008 h 1217852"/>
                        <a:gd name="connsiteX542" fmla="*/ 448256 w 736292"/>
                        <a:gd name="connsiteY542" fmla="*/ 467158 h 1217852"/>
                        <a:gd name="connsiteX543" fmla="*/ 448706 w 736292"/>
                        <a:gd name="connsiteY543" fmla="*/ 470309 h 1217852"/>
                        <a:gd name="connsiteX544" fmla="*/ 448256 w 736292"/>
                        <a:gd name="connsiteY544" fmla="*/ 473009 h 1217852"/>
                        <a:gd name="connsiteX545" fmla="*/ 447356 w 736292"/>
                        <a:gd name="connsiteY545" fmla="*/ 474809 h 1217852"/>
                        <a:gd name="connsiteX546" fmla="*/ 445556 w 736292"/>
                        <a:gd name="connsiteY546" fmla="*/ 476610 h 1217852"/>
                        <a:gd name="connsiteX547" fmla="*/ 435655 w 736292"/>
                        <a:gd name="connsiteY547" fmla="*/ 483361 h 1217852"/>
                        <a:gd name="connsiteX548" fmla="*/ 430254 w 736292"/>
                        <a:gd name="connsiteY548" fmla="*/ 485611 h 1217852"/>
                        <a:gd name="connsiteX549" fmla="*/ 424853 w 736292"/>
                        <a:gd name="connsiteY549" fmla="*/ 488761 h 1217852"/>
                        <a:gd name="connsiteX550" fmla="*/ 412702 w 736292"/>
                        <a:gd name="connsiteY550" fmla="*/ 499563 h 1217852"/>
                        <a:gd name="connsiteX551" fmla="*/ 404151 w 736292"/>
                        <a:gd name="connsiteY551" fmla="*/ 504513 h 1217852"/>
                        <a:gd name="connsiteX552" fmla="*/ 393349 w 736292"/>
                        <a:gd name="connsiteY552" fmla="*/ 514414 h 1217852"/>
                        <a:gd name="connsiteX553" fmla="*/ 372647 w 736292"/>
                        <a:gd name="connsiteY553" fmla="*/ 530166 h 1217852"/>
                        <a:gd name="connsiteX554" fmla="*/ 370396 w 736292"/>
                        <a:gd name="connsiteY554" fmla="*/ 533317 h 1217852"/>
                        <a:gd name="connsiteX555" fmla="*/ 369046 w 736292"/>
                        <a:gd name="connsiteY555" fmla="*/ 535567 h 1217852"/>
                        <a:gd name="connsiteX556" fmla="*/ 362745 w 736292"/>
                        <a:gd name="connsiteY556" fmla="*/ 552669 h 1217852"/>
                        <a:gd name="connsiteX557" fmla="*/ 360495 w 736292"/>
                        <a:gd name="connsiteY557" fmla="*/ 556720 h 1217852"/>
                        <a:gd name="connsiteX558" fmla="*/ 355094 w 736292"/>
                        <a:gd name="connsiteY558" fmla="*/ 560770 h 1217852"/>
                        <a:gd name="connsiteX559" fmla="*/ 348344 w 736292"/>
                        <a:gd name="connsiteY559" fmla="*/ 561670 h 1217852"/>
                        <a:gd name="connsiteX560" fmla="*/ 346543 w 736292"/>
                        <a:gd name="connsiteY560" fmla="*/ 563020 h 1217852"/>
                        <a:gd name="connsiteX561" fmla="*/ 346093 w 736292"/>
                        <a:gd name="connsiteY561" fmla="*/ 568871 h 1217852"/>
                        <a:gd name="connsiteX562" fmla="*/ 343843 w 736292"/>
                        <a:gd name="connsiteY562" fmla="*/ 578772 h 1217852"/>
                        <a:gd name="connsiteX563" fmla="*/ 342493 w 736292"/>
                        <a:gd name="connsiteY563" fmla="*/ 585523 h 1217852"/>
                        <a:gd name="connsiteX564" fmla="*/ 340693 w 736292"/>
                        <a:gd name="connsiteY564" fmla="*/ 603076 h 1217852"/>
                        <a:gd name="connsiteX565" fmla="*/ 340243 w 736292"/>
                        <a:gd name="connsiteY565" fmla="*/ 604876 h 1217852"/>
                        <a:gd name="connsiteX566" fmla="*/ 338892 w 736292"/>
                        <a:gd name="connsiteY566" fmla="*/ 608026 h 1217852"/>
                        <a:gd name="connsiteX567" fmla="*/ 336642 w 736292"/>
                        <a:gd name="connsiteY567" fmla="*/ 611627 h 1217852"/>
                        <a:gd name="connsiteX568" fmla="*/ 329891 w 736292"/>
                        <a:gd name="connsiteY568" fmla="*/ 615677 h 1217852"/>
                        <a:gd name="connsiteX569" fmla="*/ 324941 w 736292"/>
                        <a:gd name="connsiteY569" fmla="*/ 617927 h 1217852"/>
                        <a:gd name="connsiteX570" fmla="*/ 318190 w 736292"/>
                        <a:gd name="connsiteY570" fmla="*/ 619728 h 1217852"/>
                        <a:gd name="connsiteX571" fmla="*/ 316390 w 736292"/>
                        <a:gd name="connsiteY571" fmla="*/ 618377 h 1217852"/>
                        <a:gd name="connsiteX572" fmla="*/ 314589 w 736292"/>
                        <a:gd name="connsiteY572" fmla="*/ 615677 h 1217852"/>
                        <a:gd name="connsiteX573" fmla="*/ 312789 w 736292"/>
                        <a:gd name="connsiteY573" fmla="*/ 615227 h 1217852"/>
                        <a:gd name="connsiteX574" fmla="*/ 311889 w 736292"/>
                        <a:gd name="connsiteY574" fmla="*/ 615677 h 1217852"/>
                        <a:gd name="connsiteX575" fmla="*/ 303338 w 736292"/>
                        <a:gd name="connsiteY575" fmla="*/ 627379 h 1217852"/>
                        <a:gd name="connsiteX576" fmla="*/ 294787 w 736292"/>
                        <a:gd name="connsiteY576" fmla="*/ 632329 h 1217852"/>
                        <a:gd name="connsiteX577" fmla="*/ 291186 w 736292"/>
                        <a:gd name="connsiteY577" fmla="*/ 636830 h 1217852"/>
                        <a:gd name="connsiteX578" fmla="*/ 288486 w 736292"/>
                        <a:gd name="connsiteY578" fmla="*/ 638630 h 1217852"/>
                        <a:gd name="connsiteX579" fmla="*/ 286236 w 736292"/>
                        <a:gd name="connsiteY579" fmla="*/ 639080 h 1217852"/>
                        <a:gd name="connsiteX580" fmla="*/ 282635 w 736292"/>
                        <a:gd name="connsiteY580" fmla="*/ 638630 h 1217852"/>
                        <a:gd name="connsiteX581" fmla="*/ 280385 w 736292"/>
                        <a:gd name="connsiteY581" fmla="*/ 636830 h 1217852"/>
                        <a:gd name="connsiteX582" fmla="*/ 278135 w 736292"/>
                        <a:gd name="connsiteY582" fmla="*/ 633679 h 1217852"/>
                        <a:gd name="connsiteX583" fmla="*/ 276335 w 736292"/>
                        <a:gd name="connsiteY583" fmla="*/ 630529 h 1217852"/>
                        <a:gd name="connsiteX584" fmla="*/ 271834 w 736292"/>
                        <a:gd name="connsiteY584" fmla="*/ 617027 h 1217852"/>
                        <a:gd name="connsiteX585" fmla="*/ 270034 w 736292"/>
                        <a:gd name="connsiteY585" fmla="*/ 612527 h 1217852"/>
                        <a:gd name="connsiteX586" fmla="*/ 268684 w 736292"/>
                        <a:gd name="connsiteY586" fmla="*/ 610276 h 1217852"/>
                        <a:gd name="connsiteX587" fmla="*/ 264633 w 736292"/>
                        <a:gd name="connsiteY587" fmla="*/ 601725 h 1217852"/>
                        <a:gd name="connsiteX588" fmla="*/ 263283 w 736292"/>
                        <a:gd name="connsiteY588" fmla="*/ 599925 h 1217852"/>
                        <a:gd name="connsiteX589" fmla="*/ 247531 w 736292"/>
                        <a:gd name="connsiteY589" fmla="*/ 589124 h 1217852"/>
                        <a:gd name="connsiteX590" fmla="*/ 239880 w 736292"/>
                        <a:gd name="connsiteY590" fmla="*/ 583273 h 1217852"/>
                        <a:gd name="connsiteX591" fmla="*/ 238080 w 736292"/>
                        <a:gd name="connsiteY591" fmla="*/ 581023 h 1217852"/>
                        <a:gd name="connsiteX592" fmla="*/ 236280 w 736292"/>
                        <a:gd name="connsiteY592" fmla="*/ 579673 h 1217852"/>
                        <a:gd name="connsiteX593" fmla="*/ 226378 w 736292"/>
                        <a:gd name="connsiteY593" fmla="*/ 580573 h 1217852"/>
                        <a:gd name="connsiteX594" fmla="*/ 225028 w 736292"/>
                        <a:gd name="connsiteY594" fmla="*/ 580123 h 1217852"/>
                        <a:gd name="connsiteX595" fmla="*/ 224578 w 736292"/>
                        <a:gd name="connsiteY595" fmla="*/ 579222 h 1217852"/>
                        <a:gd name="connsiteX596" fmla="*/ 225928 w 736292"/>
                        <a:gd name="connsiteY596" fmla="*/ 576072 h 1217852"/>
                        <a:gd name="connsiteX597" fmla="*/ 226378 w 736292"/>
                        <a:gd name="connsiteY597" fmla="*/ 574272 h 1217852"/>
                        <a:gd name="connsiteX598" fmla="*/ 226378 w 736292"/>
                        <a:gd name="connsiteY598" fmla="*/ 572472 h 1217852"/>
                        <a:gd name="connsiteX599" fmla="*/ 226378 w 736292"/>
                        <a:gd name="connsiteY599" fmla="*/ 569321 h 1217852"/>
                        <a:gd name="connsiteX600" fmla="*/ 226378 w 736292"/>
                        <a:gd name="connsiteY600" fmla="*/ 568871 h 1217852"/>
                        <a:gd name="connsiteX601" fmla="*/ 229979 w 736292"/>
                        <a:gd name="connsiteY601" fmla="*/ 565721 h 1217852"/>
                        <a:gd name="connsiteX602" fmla="*/ 229529 w 736292"/>
                        <a:gd name="connsiteY602" fmla="*/ 565271 h 1217852"/>
                        <a:gd name="connsiteX603" fmla="*/ 229079 w 736292"/>
                        <a:gd name="connsiteY603" fmla="*/ 563921 h 1217852"/>
                        <a:gd name="connsiteX604" fmla="*/ 228629 w 736292"/>
                        <a:gd name="connsiteY604" fmla="*/ 562120 h 1217852"/>
                        <a:gd name="connsiteX605" fmla="*/ 229079 w 736292"/>
                        <a:gd name="connsiteY605" fmla="*/ 560770 h 1217852"/>
                        <a:gd name="connsiteX606" fmla="*/ 229979 w 736292"/>
                        <a:gd name="connsiteY606" fmla="*/ 559870 h 1217852"/>
                        <a:gd name="connsiteX607" fmla="*/ 231329 w 736292"/>
                        <a:gd name="connsiteY607" fmla="*/ 556720 h 1217852"/>
                        <a:gd name="connsiteX608" fmla="*/ 233129 w 736292"/>
                        <a:gd name="connsiteY608" fmla="*/ 551319 h 1217852"/>
                        <a:gd name="connsiteX609" fmla="*/ 234479 w 736292"/>
                        <a:gd name="connsiteY609" fmla="*/ 548169 h 1217852"/>
                        <a:gd name="connsiteX610" fmla="*/ 236280 w 736292"/>
                        <a:gd name="connsiteY610" fmla="*/ 546368 h 1217852"/>
                        <a:gd name="connsiteX611" fmla="*/ 238980 w 736292"/>
                        <a:gd name="connsiteY611" fmla="*/ 541418 h 1217852"/>
                        <a:gd name="connsiteX612" fmla="*/ 241230 w 736292"/>
                        <a:gd name="connsiteY612" fmla="*/ 539168 h 1217852"/>
                        <a:gd name="connsiteX613" fmla="*/ 243030 w 736292"/>
                        <a:gd name="connsiteY613" fmla="*/ 536467 h 1217852"/>
                        <a:gd name="connsiteX614" fmla="*/ 243030 w 736292"/>
                        <a:gd name="connsiteY614" fmla="*/ 535117 h 1217852"/>
                        <a:gd name="connsiteX615" fmla="*/ 242130 w 736292"/>
                        <a:gd name="connsiteY615" fmla="*/ 534217 h 1217852"/>
                        <a:gd name="connsiteX616" fmla="*/ 241680 w 736292"/>
                        <a:gd name="connsiteY616" fmla="*/ 532417 h 1217852"/>
                        <a:gd name="connsiteX617" fmla="*/ 242130 w 736292"/>
                        <a:gd name="connsiteY617" fmla="*/ 526116 h 1217852"/>
                        <a:gd name="connsiteX618" fmla="*/ 242130 w 736292"/>
                        <a:gd name="connsiteY618" fmla="*/ 522965 h 1217852"/>
                        <a:gd name="connsiteX619" fmla="*/ 242580 w 736292"/>
                        <a:gd name="connsiteY619" fmla="*/ 520265 h 1217852"/>
                        <a:gd name="connsiteX620" fmla="*/ 243030 w 736292"/>
                        <a:gd name="connsiteY620" fmla="*/ 518015 h 1217852"/>
                        <a:gd name="connsiteX621" fmla="*/ 243931 w 736292"/>
                        <a:gd name="connsiteY621" fmla="*/ 516665 h 1217852"/>
                        <a:gd name="connsiteX622" fmla="*/ 251131 w 736292"/>
                        <a:gd name="connsiteY622" fmla="*/ 512164 h 1217852"/>
                        <a:gd name="connsiteX623" fmla="*/ 251581 w 736292"/>
                        <a:gd name="connsiteY623" fmla="*/ 510814 h 1217852"/>
                        <a:gd name="connsiteX624" fmla="*/ 251581 w 736292"/>
                        <a:gd name="connsiteY624" fmla="*/ 509464 h 1217852"/>
                        <a:gd name="connsiteX625" fmla="*/ 251581 w 736292"/>
                        <a:gd name="connsiteY625" fmla="*/ 507664 h 1217852"/>
                        <a:gd name="connsiteX626" fmla="*/ 251131 w 736292"/>
                        <a:gd name="connsiteY626" fmla="*/ 506313 h 1217852"/>
                        <a:gd name="connsiteX627" fmla="*/ 249781 w 736292"/>
                        <a:gd name="connsiteY627" fmla="*/ 505413 h 1217852"/>
                        <a:gd name="connsiteX628" fmla="*/ 247981 w 736292"/>
                        <a:gd name="connsiteY628" fmla="*/ 504963 h 1217852"/>
                        <a:gd name="connsiteX629" fmla="*/ 246181 w 736292"/>
                        <a:gd name="connsiteY629" fmla="*/ 502263 h 1217852"/>
                        <a:gd name="connsiteX630" fmla="*/ 245731 w 736292"/>
                        <a:gd name="connsiteY630" fmla="*/ 500913 h 1217852"/>
                        <a:gd name="connsiteX631" fmla="*/ 246631 w 736292"/>
                        <a:gd name="connsiteY631" fmla="*/ 497312 h 1217852"/>
                        <a:gd name="connsiteX632" fmla="*/ 249781 w 736292"/>
                        <a:gd name="connsiteY632" fmla="*/ 491461 h 1217852"/>
                        <a:gd name="connsiteX633" fmla="*/ 250681 w 736292"/>
                        <a:gd name="connsiteY633" fmla="*/ 488761 h 1217852"/>
                        <a:gd name="connsiteX634" fmla="*/ 254282 w 736292"/>
                        <a:gd name="connsiteY634" fmla="*/ 475710 h 1217852"/>
                        <a:gd name="connsiteX635" fmla="*/ 261033 w 736292"/>
                        <a:gd name="connsiteY635" fmla="*/ 467609 h 1217852"/>
                        <a:gd name="connsiteX636" fmla="*/ 262833 w 736292"/>
                        <a:gd name="connsiteY636" fmla="*/ 459058 h 1217852"/>
                        <a:gd name="connsiteX637" fmla="*/ 267783 w 736292"/>
                        <a:gd name="connsiteY637" fmla="*/ 449606 h 1217852"/>
                        <a:gd name="connsiteX638" fmla="*/ 267783 w 736292"/>
                        <a:gd name="connsiteY638" fmla="*/ 448256 h 1217852"/>
                        <a:gd name="connsiteX639" fmla="*/ 265983 w 736292"/>
                        <a:gd name="connsiteY639" fmla="*/ 445106 h 1217852"/>
                        <a:gd name="connsiteX640" fmla="*/ 261483 w 736292"/>
                        <a:gd name="connsiteY640" fmla="*/ 442855 h 1217852"/>
                        <a:gd name="connsiteX641" fmla="*/ 259232 w 736292"/>
                        <a:gd name="connsiteY641" fmla="*/ 439255 h 1217852"/>
                        <a:gd name="connsiteX642" fmla="*/ 257882 w 736292"/>
                        <a:gd name="connsiteY642" fmla="*/ 435204 h 1217852"/>
                        <a:gd name="connsiteX643" fmla="*/ 251131 w 736292"/>
                        <a:gd name="connsiteY643" fmla="*/ 412252 h 1217852"/>
                        <a:gd name="connsiteX644" fmla="*/ 249781 w 736292"/>
                        <a:gd name="connsiteY644" fmla="*/ 410451 h 1217852"/>
                        <a:gd name="connsiteX645" fmla="*/ 249331 w 736292"/>
                        <a:gd name="connsiteY645" fmla="*/ 407751 h 1217852"/>
                        <a:gd name="connsiteX646" fmla="*/ 247981 w 736292"/>
                        <a:gd name="connsiteY646" fmla="*/ 405951 h 1217852"/>
                        <a:gd name="connsiteX647" fmla="*/ 248431 w 736292"/>
                        <a:gd name="connsiteY647" fmla="*/ 404151 h 1217852"/>
                        <a:gd name="connsiteX648" fmla="*/ 274534 w 736292"/>
                        <a:gd name="connsiteY648" fmla="*/ 397400 h 1217852"/>
                        <a:gd name="connsiteX649" fmla="*/ 292537 w 736292"/>
                        <a:gd name="connsiteY649" fmla="*/ 395149 h 1217852"/>
                        <a:gd name="connsiteX650" fmla="*/ 310989 w 736292"/>
                        <a:gd name="connsiteY650" fmla="*/ 388849 h 1217852"/>
                        <a:gd name="connsiteX651" fmla="*/ 316390 w 736292"/>
                        <a:gd name="connsiteY651" fmla="*/ 388399 h 1217852"/>
                        <a:gd name="connsiteX652" fmla="*/ 320440 w 736292"/>
                        <a:gd name="connsiteY652" fmla="*/ 389749 h 1217852"/>
                        <a:gd name="connsiteX653" fmla="*/ 324491 w 736292"/>
                        <a:gd name="connsiteY653" fmla="*/ 392899 h 1217852"/>
                        <a:gd name="connsiteX654" fmla="*/ 329891 w 736292"/>
                        <a:gd name="connsiteY654" fmla="*/ 398300 h 1217852"/>
                        <a:gd name="connsiteX655" fmla="*/ 336642 w 736292"/>
                        <a:gd name="connsiteY655" fmla="*/ 403701 h 1217852"/>
                        <a:gd name="connsiteX656" fmla="*/ 349694 w 736292"/>
                        <a:gd name="connsiteY656" fmla="*/ 411352 h 1217852"/>
                        <a:gd name="connsiteX657" fmla="*/ 357795 w 736292"/>
                        <a:gd name="connsiteY657" fmla="*/ 413152 h 1217852"/>
                        <a:gd name="connsiteX658" fmla="*/ 354644 w 736292"/>
                        <a:gd name="connsiteY658" fmla="*/ 419452 h 1217852"/>
                        <a:gd name="connsiteX659" fmla="*/ 354194 w 736292"/>
                        <a:gd name="connsiteY659" fmla="*/ 421253 h 1217852"/>
                        <a:gd name="connsiteX660" fmla="*/ 355544 w 736292"/>
                        <a:gd name="connsiteY660" fmla="*/ 423953 h 1217852"/>
                        <a:gd name="connsiteX661" fmla="*/ 562120 w 736292"/>
                        <a:gd name="connsiteY661" fmla="*/ 508564 h 1217852"/>
                        <a:gd name="connsiteX662" fmla="*/ 562120 w 736292"/>
                        <a:gd name="connsiteY662" fmla="*/ 527466 h 1217852"/>
                        <a:gd name="connsiteX663" fmla="*/ 562120 w 736292"/>
                        <a:gd name="connsiteY663" fmla="*/ 565721 h 1217852"/>
                        <a:gd name="connsiteX664" fmla="*/ 562120 w 736292"/>
                        <a:gd name="connsiteY664" fmla="*/ 602625 h 1217852"/>
                        <a:gd name="connsiteX665" fmla="*/ 562120 w 736292"/>
                        <a:gd name="connsiteY665" fmla="*/ 638630 h 1217852"/>
                        <a:gd name="connsiteX666" fmla="*/ 562120 w 736292"/>
                        <a:gd name="connsiteY666" fmla="*/ 673734 h 1217852"/>
                        <a:gd name="connsiteX667" fmla="*/ 562120 w 736292"/>
                        <a:gd name="connsiteY667" fmla="*/ 707939 h 1217852"/>
                        <a:gd name="connsiteX668" fmla="*/ 555369 w 736292"/>
                        <a:gd name="connsiteY668" fmla="*/ 707939 h 1217852"/>
                        <a:gd name="connsiteX669" fmla="*/ 548619 w 736292"/>
                        <a:gd name="connsiteY669" fmla="*/ 707939 h 1217852"/>
                        <a:gd name="connsiteX670" fmla="*/ 541868 w 736292"/>
                        <a:gd name="connsiteY670" fmla="*/ 707939 h 1217852"/>
                        <a:gd name="connsiteX671" fmla="*/ 535117 w 736292"/>
                        <a:gd name="connsiteY671" fmla="*/ 707939 h 1217852"/>
                        <a:gd name="connsiteX672" fmla="*/ 528366 w 736292"/>
                        <a:gd name="connsiteY672" fmla="*/ 707939 h 1217852"/>
                        <a:gd name="connsiteX673" fmla="*/ 521615 w 736292"/>
                        <a:gd name="connsiteY673" fmla="*/ 707939 h 1217852"/>
                        <a:gd name="connsiteX674" fmla="*/ 515765 w 736292"/>
                        <a:gd name="connsiteY674" fmla="*/ 707939 h 1217852"/>
                        <a:gd name="connsiteX675" fmla="*/ 509014 w 736292"/>
                        <a:gd name="connsiteY675" fmla="*/ 707939 h 1217852"/>
                        <a:gd name="connsiteX676" fmla="*/ 509014 w 736292"/>
                        <a:gd name="connsiteY676" fmla="*/ 713339 h 1217852"/>
                        <a:gd name="connsiteX677" fmla="*/ 505863 w 736292"/>
                        <a:gd name="connsiteY677" fmla="*/ 718290 h 1217852"/>
                        <a:gd name="connsiteX678" fmla="*/ 503613 w 736292"/>
                        <a:gd name="connsiteY678" fmla="*/ 718290 h 1217852"/>
                        <a:gd name="connsiteX679" fmla="*/ 501363 w 736292"/>
                        <a:gd name="connsiteY679" fmla="*/ 718290 h 1217852"/>
                        <a:gd name="connsiteX680" fmla="*/ 501363 w 736292"/>
                        <a:gd name="connsiteY680" fmla="*/ 713339 h 1217852"/>
                        <a:gd name="connsiteX681" fmla="*/ 501363 w 736292"/>
                        <a:gd name="connsiteY681" fmla="*/ 707939 h 1217852"/>
                        <a:gd name="connsiteX682" fmla="*/ 489661 w 736292"/>
                        <a:gd name="connsiteY682" fmla="*/ 707939 h 1217852"/>
                        <a:gd name="connsiteX683" fmla="*/ 478410 w 736292"/>
                        <a:gd name="connsiteY683" fmla="*/ 707939 h 1217852"/>
                        <a:gd name="connsiteX684" fmla="*/ 467158 w 736292"/>
                        <a:gd name="connsiteY684" fmla="*/ 707939 h 1217852"/>
                        <a:gd name="connsiteX685" fmla="*/ 455907 w 736292"/>
                        <a:gd name="connsiteY685" fmla="*/ 707939 h 1217852"/>
                        <a:gd name="connsiteX686" fmla="*/ 444656 w 736292"/>
                        <a:gd name="connsiteY686" fmla="*/ 707939 h 1217852"/>
                        <a:gd name="connsiteX687" fmla="*/ 433404 w 736292"/>
                        <a:gd name="connsiteY687" fmla="*/ 707939 h 1217852"/>
                        <a:gd name="connsiteX688" fmla="*/ 422153 w 736292"/>
                        <a:gd name="connsiteY688" fmla="*/ 707939 h 1217852"/>
                        <a:gd name="connsiteX689" fmla="*/ 412252 w 736292"/>
                        <a:gd name="connsiteY689" fmla="*/ 707939 h 1217852"/>
                        <a:gd name="connsiteX690" fmla="*/ 411801 w 736292"/>
                        <a:gd name="connsiteY690" fmla="*/ 715140 h 1217852"/>
                        <a:gd name="connsiteX691" fmla="*/ 414502 w 736292"/>
                        <a:gd name="connsiteY691" fmla="*/ 719190 h 1217852"/>
                        <a:gd name="connsiteX692" fmla="*/ 417202 w 736292"/>
                        <a:gd name="connsiteY692" fmla="*/ 723241 h 1217852"/>
                        <a:gd name="connsiteX693" fmla="*/ 419903 w 736292"/>
                        <a:gd name="connsiteY693" fmla="*/ 727291 h 1217852"/>
                        <a:gd name="connsiteX694" fmla="*/ 420803 w 736292"/>
                        <a:gd name="connsiteY694" fmla="*/ 729991 h 1217852"/>
                        <a:gd name="connsiteX695" fmla="*/ 416302 w 736292"/>
                        <a:gd name="connsiteY695" fmla="*/ 729991 h 1217852"/>
                        <a:gd name="connsiteX696" fmla="*/ 413602 w 736292"/>
                        <a:gd name="connsiteY696" fmla="*/ 725941 h 1217852"/>
                        <a:gd name="connsiteX697" fmla="*/ 411351 w 736292"/>
                        <a:gd name="connsiteY697" fmla="*/ 720540 h 1217852"/>
                        <a:gd name="connsiteX698" fmla="*/ 410901 w 736292"/>
                        <a:gd name="connsiteY698" fmla="*/ 719190 h 1217852"/>
                        <a:gd name="connsiteX699" fmla="*/ 410451 w 736292"/>
                        <a:gd name="connsiteY699" fmla="*/ 715140 h 1217852"/>
                        <a:gd name="connsiteX700" fmla="*/ 409551 w 736292"/>
                        <a:gd name="connsiteY700" fmla="*/ 708839 h 1217852"/>
                        <a:gd name="connsiteX701" fmla="*/ 409101 w 736292"/>
                        <a:gd name="connsiteY701" fmla="*/ 704788 h 1217852"/>
                        <a:gd name="connsiteX702" fmla="*/ 410001 w 736292"/>
                        <a:gd name="connsiteY702" fmla="*/ 702538 h 1217852"/>
                        <a:gd name="connsiteX703" fmla="*/ 410451 w 736292"/>
                        <a:gd name="connsiteY703" fmla="*/ 702088 h 1217852"/>
                        <a:gd name="connsiteX704" fmla="*/ 422603 w 736292"/>
                        <a:gd name="connsiteY704" fmla="*/ 697587 h 1217852"/>
                        <a:gd name="connsiteX705" fmla="*/ 444206 w 736292"/>
                        <a:gd name="connsiteY705" fmla="*/ 692637 h 1217852"/>
                        <a:gd name="connsiteX706" fmla="*/ 464008 w 736292"/>
                        <a:gd name="connsiteY706" fmla="*/ 689036 h 1217852"/>
                        <a:gd name="connsiteX707" fmla="*/ 473009 w 736292"/>
                        <a:gd name="connsiteY707" fmla="*/ 689486 h 1217852"/>
                        <a:gd name="connsiteX708" fmla="*/ 478410 w 736292"/>
                        <a:gd name="connsiteY708" fmla="*/ 691286 h 1217852"/>
                        <a:gd name="connsiteX709" fmla="*/ 483810 w 736292"/>
                        <a:gd name="connsiteY709" fmla="*/ 692187 h 1217852"/>
                        <a:gd name="connsiteX710" fmla="*/ 493262 w 736292"/>
                        <a:gd name="connsiteY710" fmla="*/ 692637 h 1217852"/>
                        <a:gd name="connsiteX711" fmla="*/ 505413 w 736292"/>
                        <a:gd name="connsiteY711" fmla="*/ 694887 h 1217852"/>
                        <a:gd name="connsiteX712" fmla="*/ 507664 w 736292"/>
                        <a:gd name="connsiteY712" fmla="*/ 694887 h 1217852"/>
                        <a:gd name="connsiteX713" fmla="*/ 513064 w 736292"/>
                        <a:gd name="connsiteY713" fmla="*/ 693087 h 1217852"/>
                        <a:gd name="connsiteX714" fmla="*/ 514864 w 736292"/>
                        <a:gd name="connsiteY714" fmla="*/ 691737 h 1217852"/>
                        <a:gd name="connsiteX715" fmla="*/ 523416 w 736292"/>
                        <a:gd name="connsiteY715" fmla="*/ 691737 h 1217852"/>
                        <a:gd name="connsiteX716" fmla="*/ 525216 w 736292"/>
                        <a:gd name="connsiteY716" fmla="*/ 690837 h 1217852"/>
                        <a:gd name="connsiteX717" fmla="*/ 526566 w 736292"/>
                        <a:gd name="connsiteY717" fmla="*/ 689486 h 1217852"/>
                        <a:gd name="connsiteX718" fmla="*/ 524766 w 736292"/>
                        <a:gd name="connsiteY718" fmla="*/ 686786 h 1217852"/>
                        <a:gd name="connsiteX719" fmla="*/ 516665 w 736292"/>
                        <a:gd name="connsiteY719" fmla="*/ 680935 h 1217852"/>
                        <a:gd name="connsiteX720" fmla="*/ 494612 w 736292"/>
                        <a:gd name="connsiteY720" fmla="*/ 670134 h 1217852"/>
                        <a:gd name="connsiteX721" fmla="*/ 489211 w 736292"/>
                        <a:gd name="connsiteY721" fmla="*/ 667884 h 1217852"/>
                        <a:gd name="connsiteX722" fmla="*/ 481560 w 736292"/>
                        <a:gd name="connsiteY722" fmla="*/ 665633 h 1217852"/>
                        <a:gd name="connsiteX723" fmla="*/ 477060 w 736292"/>
                        <a:gd name="connsiteY723" fmla="*/ 665183 h 1217852"/>
                        <a:gd name="connsiteX724" fmla="*/ 471209 w 736292"/>
                        <a:gd name="connsiteY724" fmla="*/ 666533 h 1217852"/>
                        <a:gd name="connsiteX725" fmla="*/ 468959 w 736292"/>
                        <a:gd name="connsiteY725" fmla="*/ 666533 h 1217852"/>
                        <a:gd name="connsiteX726" fmla="*/ 463558 w 736292"/>
                        <a:gd name="connsiteY726" fmla="*/ 668784 h 1217852"/>
                        <a:gd name="connsiteX727" fmla="*/ 458157 w 736292"/>
                        <a:gd name="connsiteY727" fmla="*/ 670134 h 1217852"/>
                        <a:gd name="connsiteX728" fmla="*/ 448256 w 736292"/>
                        <a:gd name="connsiteY728" fmla="*/ 671484 h 1217852"/>
                        <a:gd name="connsiteX729" fmla="*/ 433854 w 736292"/>
                        <a:gd name="connsiteY729" fmla="*/ 672384 h 1217852"/>
                        <a:gd name="connsiteX730" fmla="*/ 432054 w 736292"/>
                        <a:gd name="connsiteY730" fmla="*/ 671934 h 1217852"/>
                        <a:gd name="connsiteX731" fmla="*/ 428904 w 736292"/>
                        <a:gd name="connsiteY731" fmla="*/ 670134 h 1217852"/>
                        <a:gd name="connsiteX732" fmla="*/ 426653 w 736292"/>
                        <a:gd name="connsiteY732" fmla="*/ 669684 h 1217852"/>
                        <a:gd name="connsiteX733" fmla="*/ 412702 w 736292"/>
                        <a:gd name="connsiteY733" fmla="*/ 671034 h 1217852"/>
                        <a:gd name="connsiteX734" fmla="*/ 400100 w 736292"/>
                        <a:gd name="connsiteY734" fmla="*/ 669234 h 1217852"/>
                        <a:gd name="connsiteX735" fmla="*/ 385698 w 736292"/>
                        <a:gd name="connsiteY735" fmla="*/ 652582 h 1217852"/>
                        <a:gd name="connsiteX736" fmla="*/ 383448 w 736292"/>
                        <a:gd name="connsiteY736" fmla="*/ 647631 h 1217852"/>
                        <a:gd name="connsiteX737" fmla="*/ 383898 w 736292"/>
                        <a:gd name="connsiteY737" fmla="*/ 645381 h 1217852"/>
                        <a:gd name="connsiteX738" fmla="*/ 385698 w 736292"/>
                        <a:gd name="connsiteY738" fmla="*/ 643131 h 1217852"/>
                        <a:gd name="connsiteX739" fmla="*/ 392899 w 736292"/>
                        <a:gd name="connsiteY739" fmla="*/ 636380 h 1217852"/>
                        <a:gd name="connsiteX740" fmla="*/ 395599 w 736292"/>
                        <a:gd name="connsiteY740" fmla="*/ 635029 h 1217852"/>
                        <a:gd name="connsiteX741" fmla="*/ 406401 w 736292"/>
                        <a:gd name="connsiteY741" fmla="*/ 631429 h 1217852"/>
                        <a:gd name="connsiteX742" fmla="*/ 416752 w 736292"/>
                        <a:gd name="connsiteY742" fmla="*/ 626928 h 1217852"/>
                        <a:gd name="connsiteX743" fmla="*/ 425303 w 736292"/>
                        <a:gd name="connsiteY743" fmla="*/ 622878 h 1217852"/>
                        <a:gd name="connsiteX744" fmla="*/ 429354 w 736292"/>
                        <a:gd name="connsiteY744" fmla="*/ 621528 h 1217852"/>
                        <a:gd name="connsiteX745" fmla="*/ 433404 w 736292"/>
                        <a:gd name="connsiteY745" fmla="*/ 621528 h 1217852"/>
                        <a:gd name="connsiteX746" fmla="*/ 436555 w 736292"/>
                        <a:gd name="connsiteY746" fmla="*/ 620178 h 1217852"/>
                        <a:gd name="connsiteX747" fmla="*/ 436104 w 736292"/>
                        <a:gd name="connsiteY747" fmla="*/ 618828 h 1217852"/>
                        <a:gd name="connsiteX748" fmla="*/ 433404 w 736292"/>
                        <a:gd name="connsiteY748" fmla="*/ 617477 h 1217852"/>
                        <a:gd name="connsiteX749" fmla="*/ 433404 w 736292"/>
                        <a:gd name="connsiteY749" fmla="*/ 615227 h 1217852"/>
                        <a:gd name="connsiteX750" fmla="*/ 434754 w 736292"/>
                        <a:gd name="connsiteY750" fmla="*/ 614327 h 1217852"/>
                        <a:gd name="connsiteX751" fmla="*/ 440155 w 736292"/>
                        <a:gd name="connsiteY751" fmla="*/ 613427 h 1217852"/>
                        <a:gd name="connsiteX752" fmla="*/ 445556 w 736292"/>
                        <a:gd name="connsiteY752" fmla="*/ 614777 h 1217852"/>
                        <a:gd name="connsiteX753" fmla="*/ 448256 w 736292"/>
                        <a:gd name="connsiteY753" fmla="*/ 614327 h 1217852"/>
                        <a:gd name="connsiteX754" fmla="*/ 449156 w 736292"/>
                        <a:gd name="connsiteY754" fmla="*/ 612977 h 1217852"/>
                        <a:gd name="connsiteX755" fmla="*/ 448256 w 736292"/>
                        <a:gd name="connsiteY755" fmla="*/ 611627 h 1217852"/>
                        <a:gd name="connsiteX756" fmla="*/ 442855 w 736292"/>
                        <a:gd name="connsiteY756" fmla="*/ 609376 h 1217852"/>
                        <a:gd name="connsiteX757" fmla="*/ 417652 w 736292"/>
                        <a:gd name="connsiteY757" fmla="*/ 616127 h 1217852"/>
                        <a:gd name="connsiteX758" fmla="*/ 405951 w 736292"/>
                        <a:gd name="connsiteY758" fmla="*/ 616577 h 1217852"/>
                        <a:gd name="connsiteX759" fmla="*/ 397850 w 736292"/>
                        <a:gd name="connsiteY759" fmla="*/ 619277 h 1217852"/>
                        <a:gd name="connsiteX760" fmla="*/ 393349 w 736292"/>
                        <a:gd name="connsiteY760" fmla="*/ 619277 h 1217852"/>
                        <a:gd name="connsiteX761" fmla="*/ 387949 w 736292"/>
                        <a:gd name="connsiteY761" fmla="*/ 616577 h 1217852"/>
                        <a:gd name="connsiteX762" fmla="*/ 387048 w 736292"/>
                        <a:gd name="connsiteY762" fmla="*/ 615677 h 1217852"/>
                        <a:gd name="connsiteX763" fmla="*/ 387048 w 736292"/>
                        <a:gd name="connsiteY763" fmla="*/ 614327 h 1217852"/>
                        <a:gd name="connsiteX764" fmla="*/ 388849 w 736292"/>
                        <a:gd name="connsiteY764" fmla="*/ 610276 h 1217852"/>
                        <a:gd name="connsiteX765" fmla="*/ 394699 w 736292"/>
                        <a:gd name="connsiteY765" fmla="*/ 608026 h 1217852"/>
                        <a:gd name="connsiteX766" fmla="*/ 397400 w 736292"/>
                        <a:gd name="connsiteY766" fmla="*/ 601275 h 1217852"/>
                        <a:gd name="connsiteX767" fmla="*/ 394249 w 736292"/>
                        <a:gd name="connsiteY767" fmla="*/ 601275 h 1217852"/>
                        <a:gd name="connsiteX768" fmla="*/ 383898 w 736292"/>
                        <a:gd name="connsiteY768" fmla="*/ 602625 h 1217852"/>
                        <a:gd name="connsiteX769" fmla="*/ 379398 w 736292"/>
                        <a:gd name="connsiteY769" fmla="*/ 602175 h 1217852"/>
                        <a:gd name="connsiteX770" fmla="*/ 373547 w 736292"/>
                        <a:gd name="connsiteY770" fmla="*/ 599475 h 1217852"/>
                        <a:gd name="connsiteX771" fmla="*/ 371747 w 736292"/>
                        <a:gd name="connsiteY771" fmla="*/ 596325 h 1217852"/>
                        <a:gd name="connsiteX772" fmla="*/ 370846 w 736292"/>
                        <a:gd name="connsiteY772" fmla="*/ 594074 h 1217852"/>
                        <a:gd name="connsiteX773" fmla="*/ 370846 w 736292"/>
                        <a:gd name="connsiteY773" fmla="*/ 591374 h 1217852"/>
                        <a:gd name="connsiteX774" fmla="*/ 370846 w 736292"/>
                        <a:gd name="connsiteY774" fmla="*/ 583723 h 1217852"/>
                        <a:gd name="connsiteX775" fmla="*/ 371296 w 736292"/>
                        <a:gd name="connsiteY775" fmla="*/ 579673 h 1217852"/>
                        <a:gd name="connsiteX776" fmla="*/ 371747 w 736292"/>
                        <a:gd name="connsiteY776" fmla="*/ 578772 h 1217852"/>
                        <a:gd name="connsiteX777" fmla="*/ 379398 w 736292"/>
                        <a:gd name="connsiteY777" fmla="*/ 566171 h 1217852"/>
                        <a:gd name="connsiteX778" fmla="*/ 383898 w 736292"/>
                        <a:gd name="connsiteY778" fmla="*/ 563471 h 1217852"/>
                        <a:gd name="connsiteX779" fmla="*/ 387048 w 736292"/>
                        <a:gd name="connsiteY779" fmla="*/ 559420 h 1217852"/>
                        <a:gd name="connsiteX780" fmla="*/ 387048 w 736292"/>
                        <a:gd name="connsiteY780" fmla="*/ 557620 h 1217852"/>
                        <a:gd name="connsiteX781" fmla="*/ 386148 w 736292"/>
                        <a:gd name="connsiteY781" fmla="*/ 555820 h 1217852"/>
                        <a:gd name="connsiteX782" fmla="*/ 382998 w 736292"/>
                        <a:gd name="connsiteY782" fmla="*/ 551769 h 1217852"/>
                        <a:gd name="connsiteX783" fmla="*/ 381648 w 736292"/>
                        <a:gd name="connsiteY783" fmla="*/ 549519 h 1217852"/>
                        <a:gd name="connsiteX784" fmla="*/ 380748 w 736292"/>
                        <a:gd name="connsiteY784" fmla="*/ 547719 h 1217852"/>
                        <a:gd name="connsiteX785" fmla="*/ 381198 w 736292"/>
                        <a:gd name="connsiteY785" fmla="*/ 544568 h 1217852"/>
                        <a:gd name="connsiteX786" fmla="*/ 382998 w 736292"/>
                        <a:gd name="connsiteY786" fmla="*/ 540068 h 1217852"/>
                        <a:gd name="connsiteX787" fmla="*/ 387949 w 736292"/>
                        <a:gd name="connsiteY787" fmla="*/ 532867 h 1217852"/>
                        <a:gd name="connsiteX788" fmla="*/ 400100 w 736292"/>
                        <a:gd name="connsiteY788" fmla="*/ 518915 h 1217852"/>
                        <a:gd name="connsiteX789" fmla="*/ 406401 w 736292"/>
                        <a:gd name="connsiteY789" fmla="*/ 513064 h 1217852"/>
                        <a:gd name="connsiteX790" fmla="*/ 412252 w 736292"/>
                        <a:gd name="connsiteY790" fmla="*/ 509914 h 1217852"/>
                        <a:gd name="connsiteX791" fmla="*/ 420803 w 736292"/>
                        <a:gd name="connsiteY791" fmla="*/ 503163 h 1217852"/>
                        <a:gd name="connsiteX792" fmla="*/ 442405 w 736292"/>
                        <a:gd name="connsiteY792" fmla="*/ 491461 h 1217852"/>
                        <a:gd name="connsiteX793" fmla="*/ 461758 w 736292"/>
                        <a:gd name="connsiteY793" fmla="*/ 479760 h 1217852"/>
                        <a:gd name="connsiteX794" fmla="*/ 468959 w 736292"/>
                        <a:gd name="connsiteY794" fmla="*/ 482910 h 1217852"/>
                        <a:gd name="connsiteX795" fmla="*/ 471209 w 736292"/>
                        <a:gd name="connsiteY795" fmla="*/ 485161 h 1217852"/>
                        <a:gd name="connsiteX796" fmla="*/ 472109 w 736292"/>
                        <a:gd name="connsiteY796" fmla="*/ 487411 h 1217852"/>
                        <a:gd name="connsiteX797" fmla="*/ 473009 w 736292"/>
                        <a:gd name="connsiteY797" fmla="*/ 490111 h 1217852"/>
                        <a:gd name="connsiteX798" fmla="*/ 473459 w 736292"/>
                        <a:gd name="connsiteY798" fmla="*/ 493712 h 1217852"/>
                        <a:gd name="connsiteX799" fmla="*/ 474359 w 736292"/>
                        <a:gd name="connsiteY799" fmla="*/ 501813 h 1217852"/>
                        <a:gd name="connsiteX800" fmla="*/ 474359 w 736292"/>
                        <a:gd name="connsiteY800" fmla="*/ 505863 h 1217852"/>
                        <a:gd name="connsiteX801" fmla="*/ 474359 w 736292"/>
                        <a:gd name="connsiteY801" fmla="*/ 509914 h 1217852"/>
                        <a:gd name="connsiteX802" fmla="*/ 473909 w 736292"/>
                        <a:gd name="connsiteY802" fmla="*/ 513514 h 1217852"/>
                        <a:gd name="connsiteX803" fmla="*/ 473009 w 736292"/>
                        <a:gd name="connsiteY803" fmla="*/ 516665 h 1217852"/>
                        <a:gd name="connsiteX804" fmla="*/ 471659 w 736292"/>
                        <a:gd name="connsiteY804" fmla="*/ 520715 h 1217852"/>
                        <a:gd name="connsiteX805" fmla="*/ 469409 w 736292"/>
                        <a:gd name="connsiteY805" fmla="*/ 525666 h 1217852"/>
                        <a:gd name="connsiteX806" fmla="*/ 464908 w 736292"/>
                        <a:gd name="connsiteY806" fmla="*/ 533767 h 1217852"/>
                        <a:gd name="connsiteX807" fmla="*/ 464458 w 736292"/>
                        <a:gd name="connsiteY807" fmla="*/ 536017 h 1217852"/>
                        <a:gd name="connsiteX808" fmla="*/ 465808 w 736292"/>
                        <a:gd name="connsiteY808" fmla="*/ 536917 h 1217852"/>
                        <a:gd name="connsiteX809" fmla="*/ 468059 w 736292"/>
                        <a:gd name="connsiteY809" fmla="*/ 536017 h 1217852"/>
                        <a:gd name="connsiteX810" fmla="*/ 471659 w 736292"/>
                        <a:gd name="connsiteY810" fmla="*/ 533767 h 1217852"/>
                        <a:gd name="connsiteX811" fmla="*/ 476160 w 736292"/>
                        <a:gd name="connsiteY811" fmla="*/ 531967 h 1217852"/>
                        <a:gd name="connsiteX812" fmla="*/ 482010 w 736292"/>
                        <a:gd name="connsiteY812" fmla="*/ 530616 h 1217852"/>
                        <a:gd name="connsiteX813" fmla="*/ 483360 w 736292"/>
                        <a:gd name="connsiteY813" fmla="*/ 532417 h 1217852"/>
                        <a:gd name="connsiteX814" fmla="*/ 484261 w 736292"/>
                        <a:gd name="connsiteY814" fmla="*/ 531967 h 1217852"/>
                        <a:gd name="connsiteX815" fmla="*/ 486061 w 736292"/>
                        <a:gd name="connsiteY815" fmla="*/ 528816 h 1217852"/>
                        <a:gd name="connsiteX816" fmla="*/ 486511 w 736292"/>
                        <a:gd name="connsiteY816" fmla="*/ 527016 h 1217852"/>
                        <a:gd name="connsiteX817" fmla="*/ 486511 w 736292"/>
                        <a:gd name="connsiteY817" fmla="*/ 524766 h 1217852"/>
                        <a:gd name="connsiteX818" fmla="*/ 486511 w 736292"/>
                        <a:gd name="connsiteY818" fmla="*/ 519815 h 1217852"/>
                        <a:gd name="connsiteX819" fmla="*/ 487411 w 736292"/>
                        <a:gd name="connsiteY819" fmla="*/ 516665 h 1217852"/>
                        <a:gd name="connsiteX820" fmla="*/ 490561 w 736292"/>
                        <a:gd name="connsiteY820" fmla="*/ 510364 h 1217852"/>
                        <a:gd name="connsiteX821" fmla="*/ 492362 w 736292"/>
                        <a:gd name="connsiteY821" fmla="*/ 508114 h 1217852"/>
                        <a:gd name="connsiteX822" fmla="*/ 495062 w 736292"/>
                        <a:gd name="connsiteY822" fmla="*/ 507213 h 1217852"/>
                        <a:gd name="connsiteX823" fmla="*/ 501813 w 736292"/>
                        <a:gd name="connsiteY823" fmla="*/ 507664 h 1217852"/>
                        <a:gd name="connsiteX824" fmla="*/ 508113 w 736292"/>
                        <a:gd name="connsiteY824" fmla="*/ 511264 h 1217852"/>
                        <a:gd name="connsiteX825" fmla="*/ 516665 w 736292"/>
                        <a:gd name="connsiteY825" fmla="*/ 514864 h 1217852"/>
                        <a:gd name="connsiteX826" fmla="*/ 529266 w 736292"/>
                        <a:gd name="connsiteY826" fmla="*/ 523416 h 1217852"/>
                        <a:gd name="connsiteX827" fmla="*/ 533317 w 736292"/>
                        <a:gd name="connsiteY827" fmla="*/ 527016 h 1217852"/>
                        <a:gd name="connsiteX828" fmla="*/ 533767 w 736292"/>
                        <a:gd name="connsiteY828" fmla="*/ 530166 h 1217852"/>
                        <a:gd name="connsiteX829" fmla="*/ 531516 w 736292"/>
                        <a:gd name="connsiteY829" fmla="*/ 536917 h 1217852"/>
                        <a:gd name="connsiteX830" fmla="*/ 526116 w 736292"/>
                        <a:gd name="connsiteY830" fmla="*/ 546368 h 1217852"/>
                        <a:gd name="connsiteX831" fmla="*/ 521615 w 736292"/>
                        <a:gd name="connsiteY831" fmla="*/ 549969 h 1217852"/>
                        <a:gd name="connsiteX832" fmla="*/ 519815 w 736292"/>
                        <a:gd name="connsiteY832" fmla="*/ 552219 h 1217852"/>
                        <a:gd name="connsiteX833" fmla="*/ 522515 w 736292"/>
                        <a:gd name="connsiteY833" fmla="*/ 553569 h 1217852"/>
                        <a:gd name="connsiteX834" fmla="*/ 524316 w 736292"/>
                        <a:gd name="connsiteY834" fmla="*/ 555820 h 1217852"/>
                        <a:gd name="connsiteX835" fmla="*/ 527016 w 736292"/>
                        <a:gd name="connsiteY835" fmla="*/ 552219 h 1217852"/>
                        <a:gd name="connsiteX836" fmla="*/ 529266 w 736292"/>
                        <a:gd name="connsiteY836" fmla="*/ 548169 h 1217852"/>
                        <a:gd name="connsiteX837" fmla="*/ 531967 w 736292"/>
                        <a:gd name="connsiteY837" fmla="*/ 545018 h 1217852"/>
                        <a:gd name="connsiteX838" fmla="*/ 532867 w 736292"/>
                        <a:gd name="connsiteY838" fmla="*/ 544568 h 1217852"/>
                        <a:gd name="connsiteX839" fmla="*/ 533317 w 736292"/>
                        <a:gd name="connsiteY839" fmla="*/ 545468 h 1217852"/>
                        <a:gd name="connsiteX840" fmla="*/ 532867 w 736292"/>
                        <a:gd name="connsiteY840" fmla="*/ 547268 h 1217852"/>
                        <a:gd name="connsiteX841" fmla="*/ 532867 w 736292"/>
                        <a:gd name="connsiteY841" fmla="*/ 549069 h 1217852"/>
                        <a:gd name="connsiteX842" fmla="*/ 532867 w 736292"/>
                        <a:gd name="connsiteY842" fmla="*/ 550869 h 1217852"/>
                        <a:gd name="connsiteX843" fmla="*/ 533317 w 736292"/>
                        <a:gd name="connsiteY843" fmla="*/ 551769 h 1217852"/>
                        <a:gd name="connsiteX844" fmla="*/ 535117 w 736292"/>
                        <a:gd name="connsiteY844" fmla="*/ 552219 h 1217852"/>
                        <a:gd name="connsiteX845" fmla="*/ 536017 w 736292"/>
                        <a:gd name="connsiteY845" fmla="*/ 551769 h 1217852"/>
                        <a:gd name="connsiteX846" fmla="*/ 540068 w 736292"/>
                        <a:gd name="connsiteY846" fmla="*/ 547268 h 1217852"/>
                        <a:gd name="connsiteX847" fmla="*/ 543668 w 736292"/>
                        <a:gd name="connsiteY847" fmla="*/ 540068 h 1217852"/>
                        <a:gd name="connsiteX848" fmla="*/ 549519 w 736292"/>
                        <a:gd name="connsiteY848" fmla="*/ 535567 h 1217852"/>
                        <a:gd name="connsiteX849" fmla="*/ 550869 w 736292"/>
                        <a:gd name="connsiteY849" fmla="*/ 533317 h 1217852"/>
                        <a:gd name="connsiteX850" fmla="*/ 555820 w 736292"/>
                        <a:gd name="connsiteY850" fmla="*/ 531516 h 1217852"/>
                        <a:gd name="connsiteX851" fmla="*/ 555820 w 736292"/>
                        <a:gd name="connsiteY851" fmla="*/ 530166 h 1217852"/>
                        <a:gd name="connsiteX852" fmla="*/ 556270 w 736292"/>
                        <a:gd name="connsiteY852" fmla="*/ 524766 h 1217852"/>
                        <a:gd name="connsiteX853" fmla="*/ 554469 w 736292"/>
                        <a:gd name="connsiteY853" fmla="*/ 522515 h 1217852"/>
                        <a:gd name="connsiteX854" fmla="*/ 548619 w 736292"/>
                        <a:gd name="connsiteY854" fmla="*/ 517565 h 1217852"/>
                        <a:gd name="connsiteX855" fmla="*/ 545918 w 736292"/>
                        <a:gd name="connsiteY855" fmla="*/ 511714 h 1217852"/>
                        <a:gd name="connsiteX856" fmla="*/ 546368 w 736292"/>
                        <a:gd name="connsiteY856" fmla="*/ 507213 h 1217852"/>
                        <a:gd name="connsiteX857" fmla="*/ 549519 w 736292"/>
                        <a:gd name="connsiteY857" fmla="*/ 507664 h 1217852"/>
                        <a:gd name="connsiteX858" fmla="*/ 558520 w 736292"/>
                        <a:gd name="connsiteY858" fmla="*/ 508114 h 1217852"/>
                        <a:gd name="connsiteX859" fmla="*/ 562120 w 736292"/>
                        <a:gd name="connsiteY859" fmla="*/ 508564 h 1217852"/>
                        <a:gd name="connsiteX860" fmla="*/ 562120 w 736292"/>
                        <a:gd name="connsiteY860" fmla="*/ 508564 h 1217852"/>
                        <a:gd name="connsiteX861" fmla="*/ 335742 w 736292"/>
                        <a:gd name="connsiteY861" fmla="*/ 734492 h 1217852"/>
                        <a:gd name="connsiteX862" fmla="*/ 335742 w 736292"/>
                        <a:gd name="connsiteY862" fmla="*/ 754294 h 1217852"/>
                        <a:gd name="connsiteX863" fmla="*/ 335742 w 736292"/>
                        <a:gd name="connsiteY863" fmla="*/ 766446 h 1217852"/>
                        <a:gd name="connsiteX864" fmla="*/ 335742 w 736292"/>
                        <a:gd name="connsiteY864" fmla="*/ 778598 h 1217852"/>
                        <a:gd name="connsiteX865" fmla="*/ 335742 w 736292"/>
                        <a:gd name="connsiteY865" fmla="*/ 790749 h 1217852"/>
                        <a:gd name="connsiteX866" fmla="*/ 335742 w 736292"/>
                        <a:gd name="connsiteY866" fmla="*/ 802450 h 1217852"/>
                        <a:gd name="connsiteX867" fmla="*/ 335742 w 736292"/>
                        <a:gd name="connsiteY867" fmla="*/ 814152 h 1217852"/>
                        <a:gd name="connsiteX868" fmla="*/ 335742 w 736292"/>
                        <a:gd name="connsiteY868" fmla="*/ 825853 h 1217852"/>
                        <a:gd name="connsiteX869" fmla="*/ 341143 w 736292"/>
                        <a:gd name="connsiteY869" fmla="*/ 830354 h 1217852"/>
                        <a:gd name="connsiteX870" fmla="*/ 346543 w 736292"/>
                        <a:gd name="connsiteY870" fmla="*/ 834855 h 1217852"/>
                        <a:gd name="connsiteX871" fmla="*/ 351944 w 736292"/>
                        <a:gd name="connsiteY871" fmla="*/ 839355 h 1217852"/>
                        <a:gd name="connsiteX872" fmla="*/ 357345 w 736292"/>
                        <a:gd name="connsiteY872" fmla="*/ 843856 h 1217852"/>
                        <a:gd name="connsiteX873" fmla="*/ 362745 w 736292"/>
                        <a:gd name="connsiteY873" fmla="*/ 848356 h 1217852"/>
                        <a:gd name="connsiteX874" fmla="*/ 368146 w 736292"/>
                        <a:gd name="connsiteY874" fmla="*/ 852857 h 1217852"/>
                        <a:gd name="connsiteX875" fmla="*/ 373547 w 736292"/>
                        <a:gd name="connsiteY875" fmla="*/ 857357 h 1217852"/>
                        <a:gd name="connsiteX876" fmla="*/ 378947 w 736292"/>
                        <a:gd name="connsiteY876" fmla="*/ 861858 h 1217852"/>
                        <a:gd name="connsiteX877" fmla="*/ 384348 w 736292"/>
                        <a:gd name="connsiteY877" fmla="*/ 866359 h 1217852"/>
                        <a:gd name="connsiteX878" fmla="*/ 389749 w 736292"/>
                        <a:gd name="connsiteY878" fmla="*/ 870859 h 1217852"/>
                        <a:gd name="connsiteX879" fmla="*/ 395149 w 736292"/>
                        <a:gd name="connsiteY879" fmla="*/ 874910 h 1217852"/>
                        <a:gd name="connsiteX880" fmla="*/ 400550 w 736292"/>
                        <a:gd name="connsiteY880" fmla="*/ 878960 h 1217852"/>
                        <a:gd name="connsiteX881" fmla="*/ 405951 w 736292"/>
                        <a:gd name="connsiteY881" fmla="*/ 883011 h 1217852"/>
                        <a:gd name="connsiteX882" fmla="*/ 411351 w 736292"/>
                        <a:gd name="connsiteY882" fmla="*/ 887061 h 1217852"/>
                        <a:gd name="connsiteX883" fmla="*/ 416752 w 736292"/>
                        <a:gd name="connsiteY883" fmla="*/ 891112 h 1217852"/>
                        <a:gd name="connsiteX884" fmla="*/ 422153 w 736292"/>
                        <a:gd name="connsiteY884" fmla="*/ 895162 h 1217852"/>
                        <a:gd name="connsiteX885" fmla="*/ 427553 w 736292"/>
                        <a:gd name="connsiteY885" fmla="*/ 899213 h 1217852"/>
                        <a:gd name="connsiteX886" fmla="*/ 432954 w 736292"/>
                        <a:gd name="connsiteY886" fmla="*/ 903263 h 1217852"/>
                        <a:gd name="connsiteX887" fmla="*/ 438355 w 736292"/>
                        <a:gd name="connsiteY887" fmla="*/ 907314 h 1217852"/>
                        <a:gd name="connsiteX888" fmla="*/ 443756 w 736292"/>
                        <a:gd name="connsiteY888" fmla="*/ 911364 h 1217852"/>
                        <a:gd name="connsiteX889" fmla="*/ 449156 w 736292"/>
                        <a:gd name="connsiteY889" fmla="*/ 915415 h 1217852"/>
                        <a:gd name="connsiteX890" fmla="*/ 454557 w 736292"/>
                        <a:gd name="connsiteY890" fmla="*/ 919465 h 1217852"/>
                        <a:gd name="connsiteX891" fmla="*/ 459958 w 736292"/>
                        <a:gd name="connsiteY891" fmla="*/ 923516 h 1217852"/>
                        <a:gd name="connsiteX892" fmla="*/ 465358 w 736292"/>
                        <a:gd name="connsiteY892" fmla="*/ 927566 h 1217852"/>
                        <a:gd name="connsiteX893" fmla="*/ 470759 w 736292"/>
                        <a:gd name="connsiteY893" fmla="*/ 931617 h 1217852"/>
                        <a:gd name="connsiteX894" fmla="*/ 476160 w 736292"/>
                        <a:gd name="connsiteY894" fmla="*/ 935667 h 1217852"/>
                        <a:gd name="connsiteX895" fmla="*/ 481560 w 736292"/>
                        <a:gd name="connsiteY895" fmla="*/ 939718 h 1217852"/>
                        <a:gd name="connsiteX896" fmla="*/ 486961 w 736292"/>
                        <a:gd name="connsiteY896" fmla="*/ 943768 h 1217852"/>
                        <a:gd name="connsiteX897" fmla="*/ 492362 w 736292"/>
                        <a:gd name="connsiteY897" fmla="*/ 947819 h 1217852"/>
                        <a:gd name="connsiteX898" fmla="*/ 497762 w 736292"/>
                        <a:gd name="connsiteY898" fmla="*/ 951869 h 1217852"/>
                        <a:gd name="connsiteX899" fmla="*/ 503163 w 736292"/>
                        <a:gd name="connsiteY899" fmla="*/ 955920 h 1217852"/>
                        <a:gd name="connsiteX900" fmla="*/ 508564 w 736292"/>
                        <a:gd name="connsiteY900" fmla="*/ 959970 h 1217852"/>
                        <a:gd name="connsiteX901" fmla="*/ 518465 w 736292"/>
                        <a:gd name="connsiteY901" fmla="*/ 959970 h 1217852"/>
                        <a:gd name="connsiteX902" fmla="*/ 528366 w 736292"/>
                        <a:gd name="connsiteY902" fmla="*/ 959970 h 1217852"/>
                        <a:gd name="connsiteX903" fmla="*/ 538267 w 736292"/>
                        <a:gd name="connsiteY903" fmla="*/ 959970 h 1217852"/>
                        <a:gd name="connsiteX904" fmla="*/ 548169 w 736292"/>
                        <a:gd name="connsiteY904" fmla="*/ 959970 h 1217852"/>
                        <a:gd name="connsiteX905" fmla="*/ 554469 w 736292"/>
                        <a:gd name="connsiteY905" fmla="*/ 967621 h 1217852"/>
                        <a:gd name="connsiteX906" fmla="*/ 560770 w 736292"/>
                        <a:gd name="connsiteY906" fmla="*/ 975272 h 1217852"/>
                        <a:gd name="connsiteX907" fmla="*/ 567071 w 736292"/>
                        <a:gd name="connsiteY907" fmla="*/ 982923 h 1217852"/>
                        <a:gd name="connsiteX908" fmla="*/ 573372 w 736292"/>
                        <a:gd name="connsiteY908" fmla="*/ 990574 h 1217852"/>
                        <a:gd name="connsiteX909" fmla="*/ 579673 w 736292"/>
                        <a:gd name="connsiteY909" fmla="*/ 995075 h 1217852"/>
                        <a:gd name="connsiteX910" fmla="*/ 584623 w 736292"/>
                        <a:gd name="connsiteY910" fmla="*/ 996875 h 1217852"/>
                        <a:gd name="connsiteX911" fmla="*/ 594074 w 736292"/>
                        <a:gd name="connsiteY911" fmla="*/ 998675 h 1217852"/>
                        <a:gd name="connsiteX912" fmla="*/ 603525 w 736292"/>
                        <a:gd name="connsiteY912" fmla="*/ 1000475 h 1217852"/>
                        <a:gd name="connsiteX913" fmla="*/ 612977 w 736292"/>
                        <a:gd name="connsiteY913" fmla="*/ 1002275 h 1217852"/>
                        <a:gd name="connsiteX914" fmla="*/ 622428 w 736292"/>
                        <a:gd name="connsiteY914" fmla="*/ 1004076 h 1217852"/>
                        <a:gd name="connsiteX915" fmla="*/ 631879 w 736292"/>
                        <a:gd name="connsiteY915" fmla="*/ 1005876 h 1217852"/>
                        <a:gd name="connsiteX916" fmla="*/ 641330 w 736292"/>
                        <a:gd name="connsiteY916" fmla="*/ 1007676 h 1217852"/>
                        <a:gd name="connsiteX917" fmla="*/ 650781 w 736292"/>
                        <a:gd name="connsiteY917" fmla="*/ 1009476 h 1217852"/>
                        <a:gd name="connsiteX918" fmla="*/ 660233 w 736292"/>
                        <a:gd name="connsiteY918" fmla="*/ 1011277 h 1217852"/>
                        <a:gd name="connsiteX919" fmla="*/ 669684 w 736292"/>
                        <a:gd name="connsiteY919" fmla="*/ 1013077 h 1217852"/>
                        <a:gd name="connsiteX920" fmla="*/ 679135 w 736292"/>
                        <a:gd name="connsiteY920" fmla="*/ 1014877 h 1217852"/>
                        <a:gd name="connsiteX921" fmla="*/ 688586 w 736292"/>
                        <a:gd name="connsiteY921" fmla="*/ 1016677 h 1217852"/>
                        <a:gd name="connsiteX922" fmla="*/ 698037 w 736292"/>
                        <a:gd name="connsiteY922" fmla="*/ 1018477 h 1217852"/>
                        <a:gd name="connsiteX923" fmla="*/ 707489 w 736292"/>
                        <a:gd name="connsiteY923" fmla="*/ 1020278 h 1217852"/>
                        <a:gd name="connsiteX924" fmla="*/ 716940 w 736292"/>
                        <a:gd name="connsiteY924" fmla="*/ 1022078 h 1217852"/>
                        <a:gd name="connsiteX925" fmla="*/ 726391 w 736292"/>
                        <a:gd name="connsiteY925" fmla="*/ 1023878 h 1217852"/>
                        <a:gd name="connsiteX926" fmla="*/ 735842 w 736292"/>
                        <a:gd name="connsiteY926" fmla="*/ 1025678 h 1217852"/>
                        <a:gd name="connsiteX927" fmla="*/ 736292 w 736292"/>
                        <a:gd name="connsiteY927" fmla="*/ 1032879 h 1217852"/>
                        <a:gd name="connsiteX928" fmla="*/ 735842 w 736292"/>
                        <a:gd name="connsiteY928" fmla="*/ 1044131 h 1217852"/>
                        <a:gd name="connsiteX929" fmla="*/ 735842 w 736292"/>
                        <a:gd name="connsiteY929" fmla="*/ 1055832 h 1217852"/>
                        <a:gd name="connsiteX930" fmla="*/ 735842 w 736292"/>
                        <a:gd name="connsiteY930" fmla="*/ 1067084 h 1217852"/>
                        <a:gd name="connsiteX931" fmla="*/ 735842 w 736292"/>
                        <a:gd name="connsiteY931" fmla="*/ 1078335 h 1217852"/>
                        <a:gd name="connsiteX932" fmla="*/ 735842 w 736292"/>
                        <a:gd name="connsiteY932" fmla="*/ 1089586 h 1217852"/>
                        <a:gd name="connsiteX933" fmla="*/ 735842 w 736292"/>
                        <a:gd name="connsiteY933" fmla="*/ 1100838 h 1217852"/>
                        <a:gd name="connsiteX934" fmla="*/ 735842 w 736292"/>
                        <a:gd name="connsiteY934" fmla="*/ 1112089 h 1217852"/>
                        <a:gd name="connsiteX935" fmla="*/ 735842 w 736292"/>
                        <a:gd name="connsiteY935" fmla="*/ 1122891 h 1217852"/>
                        <a:gd name="connsiteX936" fmla="*/ 735842 w 736292"/>
                        <a:gd name="connsiteY936" fmla="*/ 1133692 h 1217852"/>
                        <a:gd name="connsiteX937" fmla="*/ 735842 w 736292"/>
                        <a:gd name="connsiteY937" fmla="*/ 1144493 h 1217852"/>
                        <a:gd name="connsiteX938" fmla="*/ 735842 w 736292"/>
                        <a:gd name="connsiteY938" fmla="*/ 1155295 h 1217852"/>
                        <a:gd name="connsiteX939" fmla="*/ 735842 w 736292"/>
                        <a:gd name="connsiteY939" fmla="*/ 1166096 h 1217852"/>
                        <a:gd name="connsiteX940" fmla="*/ 735842 w 736292"/>
                        <a:gd name="connsiteY940" fmla="*/ 1176447 h 1217852"/>
                        <a:gd name="connsiteX941" fmla="*/ 735842 w 736292"/>
                        <a:gd name="connsiteY941" fmla="*/ 1186799 h 1217852"/>
                        <a:gd name="connsiteX942" fmla="*/ 735842 w 736292"/>
                        <a:gd name="connsiteY942" fmla="*/ 1197150 h 1217852"/>
                        <a:gd name="connsiteX943" fmla="*/ 735842 w 736292"/>
                        <a:gd name="connsiteY943" fmla="*/ 1207501 h 1217852"/>
                        <a:gd name="connsiteX944" fmla="*/ 735842 w 736292"/>
                        <a:gd name="connsiteY944" fmla="*/ 1217852 h 1217852"/>
                        <a:gd name="connsiteX945" fmla="*/ 725041 w 736292"/>
                        <a:gd name="connsiteY945" fmla="*/ 1217852 h 1217852"/>
                        <a:gd name="connsiteX946" fmla="*/ 714239 w 736292"/>
                        <a:gd name="connsiteY946" fmla="*/ 1217852 h 1217852"/>
                        <a:gd name="connsiteX947" fmla="*/ 703438 w 736292"/>
                        <a:gd name="connsiteY947" fmla="*/ 1217852 h 1217852"/>
                        <a:gd name="connsiteX948" fmla="*/ 692637 w 736292"/>
                        <a:gd name="connsiteY948" fmla="*/ 1217852 h 1217852"/>
                        <a:gd name="connsiteX949" fmla="*/ 681835 w 736292"/>
                        <a:gd name="connsiteY949" fmla="*/ 1217852 h 1217852"/>
                        <a:gd name="connsiteX950" fmla="*/ 671034 w 736292"/>
                        <a:gd name="connsiteY950" fmla="*/ 1217852 h 1217852"/>
                        <a:gd name="connsiteX951" fmla="*/ 660233 w 736292"/>
                        <a:gd name="connsiteY951" fmla="*/ 1217852 h 1217852"/>
                        <a:gd name="connsiteX952" fmla="*/ 649431 w 736292"/>
                        <a:gd name="connsiteY952" fmla="*/ 1217852 h 1217852"/>
                        <a:gd name="connsiteX953" fmla="*/ 638630 w 736292"/>
                        <a:gd name="connsiteY953" fmla="*/ 1217852 h 1217852"/>
                        <a:gd name="connsiteX954" fmla="*/ 627829 w 736292"/>
                        <a:gd name="connsiteY954" fmla="*/ 1217852 h 1217852"/>
                        <a:gd name="connsiteX955" fmla="*/ 617027 w 736292"/>
                        <a:gd name="connsiteY955" fmla="*/ 1217852 h 1217852"/>
                        <a:gd name="connsiteX956" fmla="*/ 606226 w 736292"/>
                        <a:gd name="connsiteY956" fmla="*/ 1217852 h 1217852"/>
                        <a:gd name="connsiteX957" fmla="*/ 595425 w 736292"/>
                        <a:gd name="connsiteY957" fmla="*/ 1217852 h 1217852"/>
                        <a:gd name="connsiteX958" fmla="*/ 583273 w 736292"/>
                        <a:gd name="connsiteY958" fmla="*/ 1217852 h 1217852"/>
                        <a:gd name="connsiteX959" fmla="*/ 572472 w 736292"/>
                        <a:gd name="connsiteY959" fmla="*/ 1217852 h 1217852"/>
                        <a:gd name="connsiteX960" fmla="*/ 561670 w 736292"/>
                        <a:gd name="connsiteY960" fmla="*/ 1217852 h 1217852"/>
                        <a:gd name="connsiteX961" fmla="*/ 548619 w 736292"/>
                        <a:gd name="connsiteY961" fmla="*/ 1217852 h 1217852"/>
                        <a:gd name="connsiteX962" fmla="*/ 535567 w 736292"/>
                        <a:gd name="connsiteY962" fmla="*/ 1217852 h 1217852"/>
                        <a:gd name="connsiteX963" fmla="*/ 522515 w 736292"/>
                        <a:gd name="connsiteY963" fmla="*/ 1217852 h 1217852"/>
                        <a:gd name="connsiteX964" fmla="*/ 509464 w 736292"/>
                        <a:gd name="connsiteY964" fmla="*/ 1217852 h 1217852"/>
                        <a:gd name="connsiteX965" fmla="*/ 496412 w 736292"/>
                        <a:gd name="connsiteY965" fmla="*/ 1217852 h 1217852"/>
                        <a:gd name="connsiteX966" fmla="*/ 483360 w 736292"/>
                        <a:gd name="connsiteY966" fmla="*/ 1217852 h 1217852"/>
                        <a:gd name="connsiteX967" fmla="*/ 470309 w 736292"/>
                        <a:gd name="connsiteY967" fmla="*/ 1217852 h 1217852"/>
                        <a:gd name="connsiteX968" fmla="*/ 457257 w 736292"/>
                        <a:gd name="connsiteY968" fmla="*/ 1217852 h 1217852"/>
                        <a:gd name="connsiteX969" fmla="*/ 444206 w 736292"/>
                        <a:gd name="connsiteY969" fmla="*/ 1217852 h 1217852"/>
                        <a:gd name="connsiteX970" fmla="*/ 431154 w 736292"/>
                        <a:gd name="connsiteY970" fmla="*/ 1217852 h 1217852"/>
                        <a:gd name="connsiteX971" fmla="*/ 418102 w 736292"/>
                        <a:gd name="connsiteY971" fmla="*/ 1217852 h 1217852"/>
                        <a:gd name="connsiteX972" fmla="*/ 403250 w 736292"/>
                        <a:gd name="connsiteY972" fmla="*/ 1217852 h 1217852"/>
                        <a:gd name="connsiteX973" fmla="*/ 389749 w 736292"/>
                        <a:gd name="connsiteY973" fmla="*/ 1217852 h 1217852"/>
                        <a:gd name="connsiteX974" fmla="*/ 376697 w 736292"/>
                        <a:gd name="connsiteY974" fmla="*/ 1217852 h 1217852"/>
                        <a:gd name="connsiteX975" fmla="*/ 363646 w 736292"/>
                        <a:gd name="connsiteY975" fmla="*/ 1217852 h 1217852"/>
                        <a:gd name="connsiteX976" fmla="*/ 350594 w 736292"/>
                        <a:gd name="connsiteY976" fmla="*/ 1217852 h 1217852"/>
                        <a:gd name="connsiteX977" fmla="*/ 340693 w 736292"/>
                        <a:gd name="connsiteY977" fmla="*/ 1217852 h 1217852"/>
                        <a:gd name="connsiteX978" fmla="*/ 330791 w 736292"/>
                        <a:gd name="connsiteY978" fmla="*/ 1217852 h 1217852"/>
                        <a:gd name="connsiteX979" fmla="*/ 320890 w 736292"/>
                        <a:gd name="connsiteY979" fmla="*/ 1217852 h 1217852"/>
                        <a:gd name="connsiteX980" fmla="*/ 310989 w 736292"/>
                        <a:gd name="connsiteY980" fmla="*/ 1217852 h 1217852"/>
                        <a:gd name="connsiteX981" fmla="*/ 301088 w 736292"/>
                        <a:gd name="connsiteY981" fmla="*/ 1217852 h 1217852"/>
                        <a:gd name="connsiteX982" fmla="*/ 291186 w 736292"/>
                        <a:gd name="connsiteY982" fmla="*/ 1217852 h 1217852"/>
                        <a:gd name="connsiteX983" fmla="*/ 281285 w 736292"/>
                        <a:gd name="connsiteY983" fmla="*/ 1217852 h 1217852"/>
                        <a:gd name="connsiteX984" fmla="*/ 271384 w 736292"/>
                        <a:gd name="connsiteY984" fmla="*/ 1217852 h 1217852"/>
                        <a:gd name="connsiteX985" fmla="*/ 270934 w 736292"/>
                        <a:gd name="connsiteY985" fmla="*/ 1216952 h 1217852"/>
                        <a:gd name="connsiteX986" fmla="*/ 270034 w 736292"/>
                        <a:gd name="connsiteY986" fmla="*/ 1216052 h 1217852"/>
                        <a:gd name="connsiteX987" fmla="*/ 267783 w 736292"/>
                        <a:gd name="connsiteY987" fmla="*/ 1216052 h 1217852"/>
                        <a:gd name="connsiteX988" fmla="*/ 267333 w 736292"/>
                        <a:gd name="connsiteY988" fmla="*/ 1215602 h 1217852"/>
                        <a:gd name="connsiteX989" fmla="*/ 267333 w 736292"/>
                        <a:gd name="connsiteY989" fmla="*/ 1215152 h 1217852"/>
                        <a:gd name="connsiteX990" fmla="*/ 267783 w 736292"/>
                        <a:gd name="connsiteY990" fmla="*/ 1213352 h 1217852"/>
                        <a:gd name="connsiteX991" fmla="*/ 267783 w 736292"/>
                        <a:gd name="connsiteY991" fmla="*/ 1212002 h 1217852"/>
                        <a:gd name="connsiteX992" fmla="*/ 265533 w 736292"/>
                        <a:gd name="connsiteY992" fmla="*/ 1207951 h 1217852"/>
                        <a:gd name="connsiteX993" fmla="*/ 263733 w 736292"/>
                        <a:gd name="connsiteY993" fmla="*/ 1203901 h 1217852"/>
                        <a:gd name="connsiteX994" fmla="*/ 263283 w 736292"/>
                        <a:gd name="connsiteY994" fmla="*/ 1202551 h 1217852"/>
                        <a:gd name="connsiteX995" fmla="*/ 262833 w 736292"/>
                        <a:gd name="connsiteY995" fmla="*/ 1198050 h 1217852"/>
                        <a:gd name="connsiteX996" fmla="*/ 262383 w 736292"/>
                        <a:gd name="connsiteY996" fmla="*/ 1197150 h 1217852"/>
                        <a:gd name="connsiteX997" fmla="*/ 259232 w 736292"/>
                        <a:gd name="connsiteY997" fmla="*/ 1196250 h 1217852"/>
                        <a:gd name="connsiteX998" fmla="*/ 257882 w 736292"/>
                        <a:gd name="connsiteY998" fmla="*/ 1193099 h 1217852"/>
                        <a:gd name="connsiteX999" fmla="*/ 255182 w 736292"/>
                        <a:gd name="connsiteY999" fmla="*/ 1189049 h 1217852"/>
                        <a:gd name="connsiteX1000" fmla="*/ 254732 w 736292"/>
                        <a:gd name="connsiteY1000" fmla="*/ 1188149 h 1217852"/>
                        <a:gd name="connsiteX1001" fmla="*/ 254732 w 736292"/>
                        <a:gd name="connsiteY1001" fmla="*/ 1187249 h 1217852"/>
                        <a:gd name="connsiteX1002" fmla="*/ 256982 w 736292"/>
                        <a:gd name="connsiteY1002" fmla="*/ 1183648 h 1217852"/>
                        <a:gd name="connsiteX1003" fmla="*/ 256982 w 736292"/>
                        <a:gd name="connsiteY1003" fmla="*/ 1182298 h 1217852"/>
                        <a:gd name="connsiteX1004" fmla="*/ 255182 w 736292"/>
                        <a:gd name="connsiteY1004" fmla="*/ 1176447 h 1217852"/>
                        <a:gd name="connsiteX1005" fmla="*/ 254282 w 736292"/>
                        <a:gd name="connsiteY1005" fmla="*/ 1175997 h 1217852"/>
                        <a:gd name="connsiteX1006" fmla="*/ 250231 w 736292"/>
                        <a:gd name="connsiteY1006" fmla="*/ 1175997 h 1217852"/>
                        <a:gd name="connsiteX1007" fmla="*/ 249781 w 736292"/>
                        <a:gd name="connsiteY1007" fmla="*/ 1176447 h 1217852"/>
                        <a:gd name="connsiteX1008" fmla="*/ 249331 w 736292"/>
                        <a:gd name="connsiteY1008" fmla="*/ 1177347 h 1217852"/>
                        <a:gd name="connsiteX1009" fmla="*/ 248881 w 736292"/>
                        <a:gd name="connsiteY1009" fmla="*/ 1180048 h 1217852"/>
                        <a:gd name="connsiteX1010" fmla="*/ 243030 w 736292"/>
                        <a:gd name="connsiteY1010" fmla="*/ 1180948 h 1217852"/>
                        <a:gd name="connsiteX1011" fmla="*/ 241230 w 736292"/>
                        <a:gd name="connsiteY1011" fmla="*/ 1181848 h 1217852"/>
                        <a:gd name="connsiteX1012" fmla="*/ 239430 w 736292"/>
                        <a:gd name="connsiteY1012" fmla="*/ 1183198 h 1217852"/>
                        <a:gd name="connsiteX1013" fmla="*/ 238080 w 736292"/>
                        <a:gd name="connsiteY1013" fmla="*/ 1183198 h 1217852"/>
                        <a:gd name="connsiteX1014" fmla="*/ 231329 w 736292"/>
                        <a:gd name="connsiteY1014" fmla="*/ 1180948 h 1217852"/>
                        <a:gd name="connsiteX1015" fmla="*/ 228179 w 736292"/>
                        <a:gd name="connsiteY1015" fmla="*/ 1178698 h 1217852"/>
                        <a:gd name="connsiteX1016" fmla="*/ 227278 w 736292"/>
                        <a:gd name="connsiteY1016" fmla="*/ 1178698 h 1217852"/>
                        <a:gd name="connsiteX1017" fmla="*/ 226378 w 736292"/>
                        <a:gd name="connsiteY1017" fmla="*/ 1179148 h 1217852"/>
                        <a:gd name="connsiteX1018" fmla="*/ 225928 w 736292"/>
                        <a:gd name="connsiteY1018" fmla="*/ 1180048 h 1217852"/>
                        <a:gd name="connsiteX1019" fmla="*/ 225028 w 736292"/>
                        <a:gd name="connsiteY1019" fmla="*/ 1182298 h 1217852"/>
                        <a:gd name="connsiteX1020" fmla="*/ 223678 w 736292"/>
                        <a:gd name="connsiteY1020" fmla="*/ 1181848 h 1217852"/>
                        <a:gd name="connsiteX1021" fmla="*/ 222778 w 736292"/>
                        <a:gd name="connsiteY1021" fmla="*/ 1181398 h 1217852"/>
                        <a:gd name="connsiteX1022" fmla="*/ 222328 w 736292"/>
                        <a:gd name="connsiteY1022" fmla="*/ 1180048 h 1217852"/>
                        <a:gd name="connsiteX1023" fmla="*/ 221428 w 736292"/>
                        <a:gd name="connsiteY1023" fmla="*/ 1180048 h 1217852"/>
                        <a:gd name="connsiteX1024" fmla="*/ 220078 w 736292"/>
                        <a:gd name="connsiteY1024" fmla="*/ 1180498 h 1217852"/>
                        <a:gd name="connsiteX1025" fmla="*/ 219627 w 736292"/>
                        <a:gd name="connsiteY1025" fmla="*/ 1180948 h 1217852"/>
                        <a:gd name="connsiteX1026" fmla="*/ 219627 w 736292"/>
                        <a:gd name="connsiteY1026" fmla="*/ 1182298 h 1217852"/>
                        <a:gd name="connsiteX1027" fmla="*/ 219177 w 736292"/>
                        <a:gd name="connsiteY1027" fmla="*/ 1182748 h 1217852"/>
                        <a:gd name="connsiteX1028" fmla="*/ 218277 w 736292"/>
                        <a:gd name="connsiteY1028" fmla="*/ 1183198 h 1217852"/>
                        <a:gd name="connsiteX1029" fmla="*/ 216927 w 736292"/>
                        <a:gd name="connsiteY1029" fmla="*/ 1183198 h 1217852"/>
                        <a:gd name="connsiteX1030" fmla="*/ 213327 w 736292"/>
                        <a:gd name="connsiteY1030" fmla="*/ 1182298 h 1217852"/>
                        <a:gd name="connsiteX1031" fmla="*/ 210176 w 736292"/>
                        <a:gd name="connsiteY1031" fmla="*/ 1184098 h 1217852"/>
                        <a:gd name="connsiteX1032" fmla="*/ 207926 w 736292"/>
                        <a:gd name="connsiteY1032" fmla="*/ 1183648 h 1217852"/>
                        <a:gd name="connsiteX1033" fmla="*/ 206576 w 736292"/>
                        <a:gd name="connsiteY1033" fmla="*/ 1184098 h 1217852"/>
                        <a:gd name="connsiteX1034" fmla="*/ 206126 w 736292"/>
                        <a:gd name="connsiteY1034" fmla="*/ 1183648 h 1217852"/>
                        <a:gd name="connsiteX1035" fmla="*/ 205676 w 736292"/>
                        <a:gd name="connsiteY1035" fmla="*/ 1182298 h 1217852"/>
                        <a:gd name="connsiteX1036" fmla="*/ 205676 w 736292"/>
                        <a:gd name="connsiteY1036" fmla="*/ 1180498 h 1217852"/>
                        <a:gd name="connsiteX1037" fmla="*/ 205226 w 736292"/>
                        <a:gd name="connsiteY1037" fmla="*/ 1179148 h 1217852"/>
                        <a:gd name="connsiteX1038" fmla="*/ 205226 w 736292"/>
                        <a:gd name="connsiteY1038" fmla="*/ 1178248 h 1217852"/>
                        <a:gd name="connsiteX1039" fmla="*/ 205226 w 736292"/>
                        <a:gd name="connsiteY1039" fmla="*/ 1175547 h 1217852"/>
                        <a:gd name="connsiteX1040" fmla="*/ 204326 w 736292"/>
                        <a:gd name="connsiteY1040" fmla="*/ 1171047 h 1217852"/>
                        <a:gd name="connsiteX1041" fmla="*/ 203876 w 736292"/>
                        <a:gd name="connsiteY1041" fmla="*/ 1170596 h 1217852"/>
                        <a:gd name="connsiteX1042" fmla="*/ 202075 w 736292"/>
                        <a:gd name="connsiteY1042" fmla="*/ 1171047 h 1217852"/>
                        <a:gd name="connsiteX1043" fmla="*/ 201175 w 736292"/>
                        <a:gd name="connsiteY1043" fmla="*/ 1170147 h 1217852"/>
                        <a:gd name="connsiteX1044" fmla="*/ 201175 w 736292"/>
                        <a:gd name="connsiteY1044" fmla="*/ 1169696 h 1217852"/>
                        <a:gd name="connsiteX1045" fmla="*/ 201625 w 736292"/>
                        <a:gd name="connsiteY1045" fmla="*/ 1169246 h 1217852"/>
                        <a:gd name="connsiteX1046" fmla="*/ 202975 w 736292"/>
                        <a:gd name="connsiteY1046" fmla="*/ 1167896 h 1217852"/>
                        <a:gd name="connsiteX1047" fmla="*/ 203425 w 736292"/>
                        <a:gd name="connsiteY1047" fmla="*/ 1164746 h 1217852"/>
                        <a:gd name="connsiteX1048" fmla="*/ 203425 w 736292"/>
                        <a:gd name="connsiteY1048" fmla="*/ 1162946 h 1217852"/>
                        <a:gd name="connsiteX1049" fmla="*/ 202525 w 736292"/>
                        <a:gd name="connsiteY1049" fmla="*/ 1157095 h 1217852"/>
                        <a:gd name="connsiteX1050" fmla="*/ 201625 w 736292"/>
                        <a:gd name="connsiteY1050" fmla="*/ 1155745 h 1217852"/>
                        <a:gd name="connsiteX1051" fmla="*/ 200725 w 736292"/>
                        <a:gd name="connsiteY1051" fmla="*/ 1153044 h 1217852"/>
                        <a:gd name="connsiteX1052" fmla="*/ 199375 w 736292"/>
                        <a:gd name="connsiteY1052" fmla="*/ 1151694 h 1217852"/>
                        <a:gd name="connsiteX1053" fmla="*/ 198025 w 736292"/>
                        <a:gd name="connsiteY1053" fmla="*/ 1150794 h 1217852"/>
                        <a:gd name="connsiteX1054" fmla="*/ 194424 w 736292"/>
                        <a:gd name="connsiteY1054" fmla="*/ 1150794 h 1217852"/>
                        <a:gd name="connsiteX1055" fmla="*/ 191274 w 736292"/>
                        <a:gd name="connsiteY1055" fmla="*/ 1149894 h 1217852"/>
                        <a:gd name="connsiteX1056" fmla="*/ 190374 w 736292"/>
                        <a:gd name="connsiteY1056" fmla="*/ 1148994 h 1217852"/>
                        <a:gd name="connsiteX1057" fmla="*/ 189024 w 736292"/>
                        <a:gd name="connsiteY1057" fmla="*/ 1147194 h 1217852"/>
                        <a:gd name="connsiteX1058" fmla="*/ 187223 w 736292"/>
                        <a:gd name="connsiteY1058" fmla="*/ 1145843 h 1217852"/>
                        <a:gd name="connsiteX1059" fmla="*/ 183173 w 736292"/>
                        <a:gd name="connsiteY1059" fmla="*/ 1141793 h 1217852"/>
                        <a:gd name="connsiteX1060" fmla="*/ 182723 w 736292"/>
                        <a:gd name="connsiteY1060" fmla="*/ 1138643 h 1217852"/>
                        <a:gd name="connsiteX1061" fmla="*/ 182273 w 736292"/>
                        <a:gd name="connsiteY1061" fmla="*/ 1137292 h 1217852"/>
                        <a:gd name="connsiteX1062" fmla="*/ 181373 w 736292"/>
                        <a:gd name="connsiteY1062" fmla="*/ 1135942 h 1217852"/>
                        <a:gd name="connsiteX1063" fmla="*/ 179122 w 736292"/>
                        <a:gd name="connsiteY1063" fmla="*/ 1135042 h 1217852"/>
                        <a:gd name="connsiteX1064" fmla="*/ 178672 w 736292"/>
                        <a:gd name="connsiteY1064" fmla="*/ 1134142 h 1217852"/>
                        <a:gd name="connsiteX1065" fmla="*/ 178222 w 736292"/>
                        <a:gd name="connsiteY1065" fmla="*/ 1132342 h 1217852"/>
                        <a:gd name="connsiteX1066" fmla="*/ 175972 w 736292"/>
                        <a:gd name="connsiteY1066" fmla="*/ 1129641 h 1217852"/>
                        <a:gd name="connsiteX1067" fmla="*/ 175072 w 736292"/>
                        <a:gd name="connsiteY1067" fmla="*/ 1127841 h 1217852"/>
                        <a:gd name="connsiteX1068" fmla="*/ 171471 w 736292"/>
                        <a:gd name="connsiteY1068" fmla="*/ 1124241 h 1217852"/>
                        <a:gd name="connsiteX1069" fmla="*/ 170121 w 736292"/>
                        <a:gd name="connsiteY1069" fmla="*/ 1123791 h 1217852"/>
                        <a:gd name="connsiteX1070" fmla="*/ 168771 w 736292"/>
                        <a:gd name="connsiteY1070" fmla="*/ 1124241 h 1217852"/>
                        <a:gd name="connsiteX1071" fmla="*/ 166521 w 736292"/>
                        <a:gd name="connsiteY1071" fmla="*/ 1126041 h 1217852"/>
                        <a:gd name="connsiteX1072" fmla="*/ 165621 w 736292"/>
                        <a:gd name="connsiteY1072" fmla="*/ 1126491 h 1217852"/>
                        <a:gd name="connsiteX1073" fmla="*/ 165171 w 736292"/>
                        <a:gd name="connsiteY1073" fmla="*/ 1126041 h 1217852"/>
                        <a:gd name="connsiteX1074" fmla="*/ 164271 w 736292"/>
                        <a:gd name="connsiteY1074" fmla="*/ 1124241 h 1217852"/>
                        <a:gd name="connsiteX1075" fmla="*/ 163821 w 736292"/>
                        <a:gd name="connsiteY1075" fmla="*/ 1123791 h 1217852"/>
                        <a:gd name="connsiteX1076" fmla="*/ 161570 w 736292"/>
                        <a:gd name="connsiteY1076" fmla="*/ 1123341 h 1217852"/>
                        <a:gd name="connsiteX1077" fmla="*/ 158870 w 736292"/>
                        <a:gd name="connsiteY1077" fmla="*/ 1123791 h 1217852"/>
                        <a:gd name="connsiteX1078" fmla="*/ 157520 w 736292"/>
                        <a:gd name="connsiteY1078" fmla="*/ 1123341 h 1217852"/>
                        <a:gd name="connsiteX1079" fmla="*/ 156620 w 736292"/>
                        <a:gd name="connsiteY1079" fmla="*/ 1122441 h 1217852"/>
                        <a:gd name="connsiteX1080" fmla="*/ 156170 w 736292"/>
                        <a:gd name="connsiteY1080" fmla="*/ 1121990 h 1217852"/>
                        <a:gd name="connsiteX1081" fmla="*/ 156170 w 736292"/>
                        <a:gd name="connsiteY1081" fmla="*/ 1121090 h 1217852"/>
                        <a:gd name="connsiteX1082" fmla="*/ 156620 w 736292"/>
                        <a:gd name="connsiteY1082" fmla="*/ 1120190 h 1217852"/>
                        <a:gd name="connsiteX1083" fmla="*/ 156620 w 736292"/>
                        <a:gd name="connsiteY1083" fmla="*/ 1119290 h 1217852"/>
                        <a:gd name="connsiteX1084" fmla="*/ 156170 w 736292"/>
                        <a:gd name="connsiteY1084" fmla="*/ 1118390 h 1217852"/>
                        <a:gd name="connsiteX1085" fmla="*/ 155269 w 736292"/>
                        <a:gd name="connsiteY1085" fmla="*/ 1115690 h 1217852"/>
                        <a:gd name="connsiteX1086" fmla="*/ 155269 w 736292"/>
                        <a:gd name="connsiteY1086" fmla="*/ 1114339 h 1217852"/>
                        <a:gd name="connsiteX1087" fmla="*/ 156170 w 736292"/>
                        <a:gd name="connsiteY1087" fmla="*/ 1112089 h 1217852"/>
                        <a:gd name="connsiteX1088" fmla="*/ 156170 w 736292"/>
                        <a:gd name="connsiteY1088" fmla="*/ 1111189 h 1217852"/>
                        <a:gd name="connsiteX1089" fmla="*/ 155269 w 736292"/>
                        <a:gd name="connsiteY1089" fmla="*/ 1110289 h 1217852"/>
                        <a:gd name="connsiteX1090" fmla="*/ 155269 w 736292"/>
                        <a:gd name="connsiteY1090" fmla="*/ 1109839 h 1217852"/>
                        <a:gd name="connsiteX1091" fmla="*/ 155269 w 736292"/>
                        <a:gd name="connsiteY1091" fmla="*/ 1108939 h 1217852"/>
                        <a:gd name="connsiteX1092" fmla="*/ 157070 w 736292"/>
                        <a:gd name="connsiteY1092" fmla="*/ 1107589 h 1217852"/>
                        <a:gd name="connsiteX1093" fmla="*/ 157070 w 736292"/>
                        <a:gd name="connsiteY1093" fmla="*/ 1106689 h 1217852"/>
                        <a:gd name="connsiteX1094" fmla="*/ 156620 w 736292"/>
                        <a:gd name="connsiteY1094" fmla="*/ 1105788 h 1217852"/>
                        <a:gd name="connsiteX1095" fmla="*/ 151669 w 736292"/>
                        <a:gd name="connsiteY1095" fmla="*/ 1102638 h 1217852"/>
                        <a:gd name="connsiteX1096" fmla="*/ 150769 w 736292"/>
                        <a:gd name="connsiteY1096" fmla="*/ 1101738 h 1217852"/>
                        <a:gd name="connsiteX1097" fmla="*/ 150769 w 736292"/>
                        <a:gd name="connsiteY1097" fmla="*/ 1100838 h 1217852"/>
                        <a:gd name="connsiteX1098" fmla="*/ 150319 w 736292"/>
                        <a:gd name="connsiteY1098" fmla="*/ 1098138 h 1217852"/>
                        <a:gd name="connsiteX1099" fmla="*/ 149869 w 736292"/>
                        <a:gd name="connsiteY1099" fmla="*/ 1097687 h 1217852"/>
                        <a:gd name="connsiteX1100" fmla="*/ 148069 w 736292"/>
                        <a:gd name="connsiteY1100" fmla="*/ 1096787 h 1217852"/>
                        <a:gd name="connsiteX1101" fmla="*/ 147618 w 736292"/>
                        <a:gd name="connsiteY1101" fmla="*/ 1095887 h 1217852"/>
                        <a:gd name="connsiteX1102" fmla="*/ 147618 w 736292"/>
                        <a:gd name="connsiteY1102" fmla="*/ 1094537 h 1217852"/>
                        <a:gd name="connsiteX1103" fmla="*/ 147168 w 736292"/>
                        <a:gd name="connsiteY1103" fmla="*/ 1093637 h 1217852"/>
                        <a:gd name="connsiteX1104" fmla="*/ 145818 w 736292"/>
                        <a:gd name="connsiteY1104" fmla="*/ 1090937 h 1217852"/>
                        <a:gd name="connsiteX1105" fmla="*/ 145818 w 736292"/>
                        <a:gd name="connsiteY1105" fmla="*/ 1089586 h 1217852"/>
                        <a:gd name="connsiteX1106" fmla="*/ 146268 w 736292"/>
                        <a:gd name="connsiteY1106" fmla="*/ 1088236 h 1217852"/>
                        <a:gd name="connsiteX1107" fmla="*/ 146268 w 736292"/>
                        <a:gd name="connsiteY1107" fmla="*/ 1086436 h 1217852"/>
                        <a:gd name="connsiteX1108" fmla="*/ 148519 w 736292"/>
                        <a:gd name="connsiteY1108" fmla="*/ 1081485 h 1217852"/>
                        <a:gd name="connsiteX1109" fmla="*/ 148519 w 736292"/>
                        <a:gd name="connsiteY1109" fmla="*/ 1080585 h 1217852"/>
                        <a:gd name="connsiteX1110" fmla="*/ 148069 w 736292"/>
                        <a:gd name="connsiteY1110" fmla="*/ 1080135 h 1217852"/>
                        <a:gd name="connsiteX1111" fmla="*/ 145818 w 736292"/>
                        <a:gd name="connsiteY1111" fmla="*/ 1080135 h 1217852"/>
                        <a:gd name="connsiteX1112" fmla="*/ 144018 w 736292"/>
                        <a:gd name="connsiteY1112" fmla="*/ 1079235 h 1217852"/>
                        <a:gd name="connsiteX1113" fmla="*/ 143118 w 736292"/>
                        <a:gd name="connsiteY1113" fmla="*/ 1076085 h 1217852"/>
                        <a:gd name="connsiteX1114" fmla="*/ 142218 w 736292"/>
                        <a:gd name="connsiteY1114" fmla="*/ 1074735 h 1217852"/>
                        <a:gd name="connsiteX1115" fmla="*/ 140868 w 736292"/>
                        <a:gd name="connsiteY1115" fmla="*/ 1073384 h 1217852"/>
                        <a:gd name="connsiteX1116" fmla="*/ 139067 w 736292"/>
                        <a:gd name="connsiteY1116" fmla="*/ 1071134 h 1217852"/>
                        <a:gd name="connsiteX1117" fmla="*/ 137717 w 736292"/>
                        <a:gd name="connsiteY1117" fmla="*/ 1070234 h 1217852"/>
                        <a:gd name="connsiteX1118" fmla="*/ 137717 w 736292"/>
                        <a:gd name="connsiteY1118" fmla="*/ 1069334 h 1217852"/>
                        <a:gd name="connsiteX1119" fmla="*/ 138617 w 736292"/>
                        <a:gd name="connsiteY1119" fmla="*/ 1067984 h 1217852"/>
                        <a:gd name="connsiteX1120" fmla="*/ 141768 w 736292"/>
                        <a:gd name="connsiteY1120" fmla="*/ 1065283 h 1217852"/>
                        <a:gd name="connsiteX1121" fmla="*/ 142668 w 736292"/>
                        <a:gd name="connsiteY1121" fmla="*/ 1063933 h 1217852"/>
                        <a:gd name="connsiteX1122" fmla="*/ 144018 w 736292"/>
                        <a:gd name="connsiteY1122" fmla="*/ 1060333 h 1217852"/>
                        <a:gd name="connsiteX1123" fmla="*/ 144018 w 736292"/>
                        <a:gd name="connsiteY1123" fmla="*/ 1058533 h 1217852"/>
                        <a:gd name="connsiteX1124" fmla="*/ 143118 w 736292"/>
                        <a:gd name="connsiteY1124" fmla="*/ 1056732 h 1217852"/>
                        <a:gd name="connsiteX1125" fmla="*/ 141768 w 736292"/>
                        <a:gd name="connsiteY1125" fmla="*/ 1055382 h 1217852"/>
                        <a:gd name="connsiteX1126" fmla="*/ 141318 w 736292"/>
                        <a:gd name="connsiteY1126" fmla="*/ 1054032 h 1217852"/>
                        <a:gd name="connsiteX1127" fmla="*/ 139517 w 736292"/>
                        <a:gd name="connsiteY1127" fmla="*/ 1053132 h 1217852"/>
                        <a:gd name="connsiteX1128" fmla="*/ 139067 w 736292"/>
                        <a:gd name="connsiteY1128" fmla="*/ 1052232 h 1217852"/>
                        <a:gd name="connsiteX1129" fmla="*/ 138617 w 736292"/>
                        <a:gd name="connsiteY1129" fmla="*/ 1050882 h 1217852"/>
                        <a:gd name="connsiteX1130" fmla="*/ 138167 w 736292"/>
                        <a:gd name="connsiteY1130" fmla="*/ 1049981 h 1217852"/>
                        <a:gd name="connsiteX1131" fmla="*/ 137717 w 736292"/>
                        <a:gd name="connsiteY1131" fmla="*/ 1049981 h 1217852"/>
                        <a:gd name="connsiteX1132" fmla="*/ 135467 w 736292"/>
                        <a:gd name="connsiteY1132" fmla="*/ 1050882 h 1217852"/>
                        <a:gd name="connsiteX1133" fmla="*/ 134567 w 736292"/>
                        <a:gd name="connsiteY1133" fmla="*/ 1050432 h 1217852"/>
                        <a:gd name="connsiteX1134" fmla="*/ 134117 w 736292"/>
                        <a:gd name="connsiteY1134" fmla="*/ 1049531 h 1217852"/>
                        <a:gd name="connsiteX1135" fmla="*/ 134117 w 736292"/>
                        <a:gd name="connsiteY1135" fmla="*/ 1048631 h 1217852"/>
                        <a:gd name="connsiteX1136" fmla="*/ 135017 w 736292"/>
                        <a:gd name="connsiteY1136" fmla="*/ 1047731 h 1217852"/>
                        <a:gd name="connsiteX1137" fmla="*/ 137267 w 736292"/>
                        <a:gd name="connsiteY1137" fmla="*/ 1046381 h 1217852"/>
                        <a:gd name="connsiteX1138" fmla="*/ 137717 w 736292"/>
                        <a:gd name="connsiteY1138" fmla="*/ 1045931 h 1217852"/>
                        <a:gd name="connsiteX1139" fmla="*/ 137717 w 736292"/>
                        <a:gd name="connsiteY1139" fmla="*/ 1045031 h 1217852"/>
                        <a:gd name="connsiteX1140" fmla="*/ 137267 w 736292"/>
                        <a:gd name="connsiteY1140" fmla="*/ 1044131 h 1217852"/>
                        <a:gd name="connsiteX1141" fmla="*/ 134117 w 736292"/>
                        <a:gd name="connsiteY1141" fmla="*/ 1043231 h 1217852"/>
                        <a:gd name="connsiteX1142" fmla="*/ 132317 w 736292"/>
                        <a:gd name="connsiteY1142" fmla="*/ 1041880 h 1217852"/>
                        <a:gd name="connsiteX1143" fmla="*/ 129166 w 736292"/>
                        <a:gd name="connsiteY1143" fmla="*/ 1038730 h 1217852"/>
                        <a:gd name="connsiteX1144" fmla="*/ 126016 w 736292"/>
                        <a:gd name="connsiteY1144" fmla="*/ 1037380 h 1217852"/>
                        <a:gd name="connsiteX1145" fmla="*/ 123765 w 736292"/>
                        <a:gd name="connsiteY1145" fmla="*/ 1035130 h 1217852"/>
                        <a:gd name="connsiteX1146" fmla="*/ 122865 w 736292"/>
                        <a:gd name="connsiteY1146" fmla="*/ 1033329 h 1217852"/>
                        <a:gd name="connsiteX1147" fmla="*/ 121515 w 736292"/>
                        <a:gd name="connsiteY1147" fmla="*/ 1032429 h 1217852"/>
                        <a:gd name="connsiteX1148" fmla="*/ 121065 w 736292"/>
                        <a:gd name="connsiteY1148" fmla="*/ 1031079 h 1217852"/>
                        <a:gd name="connsiteX1149" fmla="*/ 119715 w 736292"/>
                        <a:gd name="connsiteY1149" fmla="*/ 1028829 h 1217852"/>
                        <a:gd name="connsiteX1150" fmla="*/ 119265 w 736292"/>
                        <a:gd name="connsiteY1150" fmla="*/ 1027929 h 1217852"/>
                        <a:gd name="connsiteX1151" fmla="*/ 119715 w 736292"/>
                        <a:gd name="connsiteY1151" fmla="*/ 1026578 h 1217852"/>
                        <a:gd name="connsiteX1152" fmla="*/ 119715 w 736292"/>
                        <a:gd name="connsiteY1152" fmla="*/ 1025228 h 1217852"/>
                        <a:gd name="connsiteX1153" fmla="*/ 119265 w 736292"/>
                        <a:gd name="connsiteY1153" fmla="*/ 1023878 h 1217852"/>
                        <a:gd name="connsiteX1154" fmla="*/ 118365 w 736292"/>
                        <a:gd name="connsiteY1154" fmla="*/ 1022078 h 1217852"/>
                        <a:gd name="connsiteX1155" fmla="*/ 117915 w 736292"/>
                        <a:gd name="connsiteY1155" fmla="*/ 1021628 h 1217852"/>
                        <a:gd name="connsiteX1156" fmla="*/ 117465 w 736292"/>
                        <a:gd name="connsiteY1156" fmla="*/ 1020278 h 1217852"/>
                        <a:gd name="connsiteX1157" fmla="*/ 117465 w 736292"/>
                        <a:gd name="connsiteY1157" fmla="*/ 1018928 h 1217852"/>
                        <a:gd name="connsiteX1158" fmla="*/ 115665 w 736292"/>
                        <a:gd name="connsiteY1158" fmla="*/ 1015327 h 1217852"/>
                        <a:gd name="connsiteX1159" fmla="*/ 112514 w 736292"/>
                        <a:gd name="connsiteY1159" fmla="*/ 1013077 h 1217852"/>
                        <a:gd name="connsiteX1160" fmla="*/ 110714 w 736292"/>
                        <a:gd name="connsiteY1160" fmla="*/ 1012627 h 1217852"/>
                        <a:gd name="connsiteX1161" fmla="*/ 109814 w 736292"/>
                        <a:gd name="connsiteY1161" fmla="*/ 1013077 h 1217852"/>
                        <a:gd name="connsiteX1162" fmla="*/ 108914 w 736292"/>
                        <a:gd name="connsiteY1162" fmla="*/ 1014877 h 1217852"/>
                        <a:gd name="connsiteX1163" fmla="*/ 106213 w 736292"/>
                        <a:gd name="connsiteY1163" fmla="*/ 1016227 h 1217852"/>
                        <a:gd name="connsiteX1164" fmla="*/ 104863 w 736292"/>
                        <a:gd name="connsiteY1164" fmla="*/ 1016677 h 1217852"/>
                        <a:gd name="connsiteX1165" fmla="*/ 101263 w 736292"/>
                        <a:gd name="connsiteY1165" fmla="*/ 1016677 h 1217852"/>
                        <a:gd name="connsiteX1166" fmla="*/ 100363 w 736292"/>
                        <a:gd name="connsiteY1166" fmla="*/ 1016227 h 1217852"/>
                        <a:gd name="connsiteX1167" fmla="*/ 100363 w 736292"/>
                        <a:gd name="connsiteY1167" fmla="*/ 1015327 h 1217852"/>
                        <a:gd name="connsiteX1168" fmla="*/ 100813 w 736292"/>
                        <a:gd name="connsiteY1168" fmla="*/ 1014427 h 1217852"/>
                        <a:gd name="connsiteX1169" fmla="*/ 102163 w 736292"/>
                        <a:gd name="connsiteY1169" fmla="*/ 1011277 h 1217852"/>
                        <a:gd name="connsiteX1170" fmla="*/ 102613 w 736292"/>
                        <a:gd name="connsiteY1170" fmla="*/ 1009926 h 1217852"/>
                        <a:gd name="connsiteX1171" fmla="*/ 102163 w 736292"/>
                        <a:gd name="connsiteY1171" fmla="*/ 1009026 h 1217852"/>
                        <a:gd name="connsiteX1172" fmla="*/ 101713 w 736292"/>
                        <a:gd name="connsiteY1172" fmla="*/ 1008576 h 1217852"/>
                        <a:gd name="connsiteX1173" fmla="*/ 98562 w 736292"/>
                        <a:gd name="connsiteY1173" fmla="*/ 1006776 h 1217852"/>
                        <a:gd name="connsiteX1174" fmla="*/ 94962 w 736292"/>
                        <a:gd name="connsiteY1174" fmla="*/ 1001375 h 1217852"/>
                        <a:gd name="connsiteX1175" fmla="*/ 93612 w 736292"/>
                        <a:gd name="connsiteY1175" fmla="*/ 1000475 h 1217852"/>
                        <a:gd name="connsiteX1176" fmla="*/ 89111 w 736292"/>
                        <a:gd name="connsiteY1176" fmla="*/ 997325 h 1217852"/>
                        <a:gd name="connsiteX1177" fmla="*/ 87311 w 736292"/>
                        <a:gd name="connsiteY1177" fmla="*/ 996425 h 1217852"/>
                        <a:gd name="connsiteX1178" fmla="*/ 84161 w 736292"/>
                        <a:gd name="connsiteY1178" fmla="*/ 996425 h 1217852"/>
                        <a:gd name="connsiteX1179" fmla="*/ 83260 w 736292"/>
                        <a:gd name="connsiteY1179" fmla="*/ 995525 h 1217852"/>
                        <a:gd name="connsiteX1180" fmla="*/ 82810 w 736292"/>
                        <a:gd name="connsiteY1180" fmla="*/ 994625 h 1217852"/>
                        <a:gd name="connsiteX1181" fmla="*/ 82810 w 736292"/>
                        <a:gd name="connsiteY1181" fmla="*/ 993724 h 1217852"/>
                        <a:gd name="connsiteX1182" fmla="*/ 83260 w 736292"/>
                        <a:gd name="connsiteY1182" fmla="*/ 992824 h 1217852"/>
                        <a:gd name="connsiteX1183" fmla="*/ 85061 w 736292"/>
                        <a:gd name="connsiteY1183" fmla="*/ 990574 h 1217852"/>
                        <a:gd name="connsiteX1184" fmla="*/ 85061 w 736292"/>
                        <a:gd name="connsiteY1184" fmla="*/ 989224 h 1217852"/>
                        <a:gd name="connsiteX1185" fmla="*/ 85061 w 736292"/>
                        <a:gd name="connsiteY1185" fmla="*/ 986974 h 1217852"/>
                        <a:gd name="connsiteX1186" fmla="*/ 85511 w 736292"/>
                        <a:gd name="connsiteY1186" fmla="*/ 986523 h 1217852"/>
                        <a:gd name="connsiteX1187" fmla="*/ 87761 w 736292"/>
                        <a:gd name="connsiteY1187" fmla="*/ 983823 h 1217852"/>
                        <a:gd name="connsiteX1188" fmla="*/ 88211 w 736292"/>
                        <a:gd name="connsiteY1188" fmla="*/ 982923 h 1217852"/>
                        <a:gd name="connsiteX1189" fmla="*/ 88211 w 736292"/>
                        <a:gd name="connsiteY1189" fmla="*/ 982023 h 1217852"/>
                        <a:gd name="connsiteX1190" fmla="*/ 87761 w 736292"/>
                        <a:gd name="connsiteY1190" fmla="*/ 981123 h 1217852"/>
                        <a:gd name="connsiteX1191" fmla="*/ 85061 w 736292"/>
                        <a:gd name="connsiteY1191" fmla="*/ 980223 h 1217852"/>
                        <a:gd name="connsiteX1192" fmla="*/ 84611 w 736292"/>
                        <a:gd name="connsiteY1192" fmla="*/ 979323 h 1217852"/>
                        <a:gd name="connsiteX1193" fmla="*/ 84611 w 736292"/>
                        <a:gd name="connsiteY1193" fmla="*/ 976172 h 1217852"/>
                        <a:gd name="connsiteX1194" fmla="*/ 83710 w 736292"/>
                        <a:gd name="connsiteY1194" fmla="*/ 975272 h 1217852"/>
                        <a:gd name="connsiteX1195" fmla="*/ 83260 w 736292"/>
                        <a:gd name="connsiteY1195" fmla="*/ 975272 h 1217852"/>
                        <a:gd name="connsiteX1196" fmla="*/ 81010 w 736292"/>
                        <a:gd name="connsiteY1196" fmla="*/ 976172 h 1217852"/>
                        <a:gd name="connsiteX1197" fmla="*/ 80110 w 736292"/>
                        <a:gd name="connsiteY1197" fmla="*/ 975722 h 1217852"/>
                        <a:gd name="connsiteX1198" fmla="*/ 79660 w 736292"/>
                        <a:gd name="connsiteY1198" fmla="*/ 975272 h 1217852"/>
                        <a:gd name="connsiteX1199" fmla="*/ 79660 w 736292"/>
                        <a:gd name="connsiteY1199" fmla="*/ 974372 h 1217852"/>
                        <a:gd name="connsiteX1200" fmla="*/ 80110 w 736292"/>
                        <a:gd name="connsiteY1200" fmla="*/ 973472 h 1217852"/>
                        <a:gd name="connsiteX1201" fmla="*/ 83710 w 736292"/>
                        <a:gd name="connsiteY1201" fmla="*/ 970771 h 1217852"/>
                        <a:gd name="connsiteX1202" fmla="*/ 84161 w 736292"/>
                        <a:gd name="connsiteY1202" fmla="*/ 969871 h 1217852"/>
                        <a:gd name="connsiteX1203" fmla="*/ 84611 w 736292"/>
                        <a:gd name="connsiteY1203" fmla="*/ 967621 h 1217852"/>
                        <a:gd name="connsiteX1204" fmla="*/ 88661 w 736292"/>
                        <a:gd name="connsiteY1204" fmla="*/ 962220 h 1217852"/>
                        <a:gd name="connsiteX1205" fmla="*/ 90461 w 736292"/>
                        <a:gd name="connsiteY1205" fmla="*/ 957270 h 1217852"/>
                        <a:gd name="connsiteX1206" fmla="*/ 91812 w 736292"/>
                        <a:gd name="connsiteY1206" fmla="*/ 954119 h 1217852"/>
                        <a:gd name="connsiteX1207" fmla="*/ 91812 w 736292"/>
                        <a:gd name="connsiteY1207" fmla="*/ 952769 h 1217852"/>
                        <a:gd name="connsiteX1208" fmla="*/ 89561 w 736292"/>
                        <a:gd name="connsiteY1208" fmla="*/ 948269 h 1217852"/>
                        <a:gd name="connsiteX1209" fmla="*/ 87761 w 736292"/>
                        <a:gd name="connsiteY1209" fmla="*/ 945568 h 1217852"/>
                        <a:gd name="connsiteX1210" fmla="*/ 85511 w 736292"/>
                        <a:gd name="connsiteY1210" fmla="*/ 942868 h 1217852"/>
                        <a:gd name="connsiteX1211" fmla="*/ 84611 w 736292"/>
                        <a:gd name="connsiteY1211" fmla="*/ 941968 h 1217852"/>
                        <a:gd name="connsiteX1212" fmla="*/ 84161 w 736292"/>
                        <a:gd name="connsiteY1212" fmla="*/ 940618 h 1217852"/>
                        <a:gd name="connsiteX1213" fmla="*/ 84611 w 736292"/>
                        <a:gd name="connsiteY1213" fmla="*/ 939268 h 1217852"/>
                        <a:gd name="connsiteX1214" fmla="*/ 88661 w 736292"/>
                        <a:gd name="connsiteY1214" fmla="*/ 935667 h 1217852"/>
                        <a:gd name="connsiteX1215" fmla="*/ 88661 w 736292"/>
                        <a:gd name="connsiteY1215" fmla="*/ 934317 h 1217852"/>
                        <a:gd name="connsiteX1216" fmla="*/ 88211 w 736292"/>
                        <a:gd name="connsiteY1216" fmla="*/ 933417 h 1217852"/>
                        <a:gd name="connsiteX1217" fmla="*/ 85961 w 736292"/>
                        <a:gd name="connsiteY1217" fmla="*/ 933867 h 1217852"/>
                        <a:gd name="connsiteX1218" fmla="*/ 84161 w 736292"/>
                        <a:gd name="connsiteY1218" fmla="*/ 932067 h 1217852"/>
                        <a:gd name="connsiteX1219" fmla="*/ 83260 w 736292"/>
                        <a:gd name="connsiteY1219" fmla="*/ 931617 h 1217852"/>
                        <a:gd name="connsiteX1220" fmla="*/ 81010 w 736292"/>
                        <a:gd name="connsiteY1220" fmla="*/ 933417 h 1217852"/>
                        <a:gd name="connsiteX1221" fmla="*/ 80110 w 736292"/>
                        <a:gd name="connsiteY1221" fmla="*/ 934767 h 1217852"/>
                        <a:gd name="connsiteX1222" fmla="*/ 78760 w 736292"/>
                        <a:gd name="connsiteY1222" fmla="*/ 937017 h 1217852"/>
                        <a:gd name="connsiteX1223" fmla="*/ 76960 w 736292"/>
                        <a:gd name="connsiteY1223" fmla="*/ 937917 h 1217852"/>
                        <a:gd name="connsiteX1224" fmla="*/ 76060 w 736292"/>
                        <a:gd name="connsiteY1224" fmla="*/ 937917 h 1217852"/>
                        <a:gd name="connsiteX1225" fmla="*/ 75609 w 736292"/>
                        <a:gd name="connsiteY1225" fmla="*/ 937017 h 1217852"/>
                        <a:gd name="connsiteX1226" fmla="*/ 76060 w 736292"/>
                        <a:gd name="connsiteY1226" fmla="*/ 934767 h 1217852"/>
                        <a:gd name="connsiteX1227" fmla="*/ 76510 w 736292"/>
                        <a:gd name="connsiteY1227" fmla="*/ 933417 h 1217852"/>
                        <a:gd name="connsiteX1228" fmla="*/ 76510 w 736292"/>
                        <a:gd name="connsiteY1228" fmla="*/ 932517 h 1217852"/>
                        <a:gd name="connsiteX1229" fmla="*/ 76060 w 736292"/>
                        <a:gd name="connsiteY1229" fmla="*/ 932067 h 1217852"/>
                        <a:gd name="connsiteX1230" fmla="*/ 73809 w 736292"/>
                        <a:gd name="connsiteY1230" fmla="*/ 932067 h 1217852"/>
                        <a:gd name="connsiteX1231" fmla="*/ 69759 w 736292"/>
                        <a:gd name="connsiteY1231" fmla="*/ 932967 h 1217852"/>
                        <a:gd name="connsiteX1232" fmla="*/ 65708 w 736292"/>
                        <a:gd name="connsiteY1232" fmla="*/ 935667 h 1217852"/>
                        <a:gd name="connsiteX1233" fmla="*/ 63908 w 736292"/>
                        <a:gd name="connsiteY1233" fmla="*/ 935667 h 1217852"/>
                        <a:gd name="connsiteX1234" fmla="*/ 62108 w 736292"/>
                        <a:gd name="connsiteY1234" fmla="*/ 935217 h 1217852"/>
                        <a:gd name="connsiteX1235" fmla="*/ 61208 w 736292"/>
                        <a:gd name="connsiteY1235" fmla="*/ 934767 h 1217852"/>
                        <a:gd name="connsiteX1236" fmla="*/ 61208 w 736292"/>
                        <a:gd name="connsiteY1236" fmla="*/ 932967 h 1217852"/>
                        <a:gd name="connsiteX1237" fmla="*/ 60758 w 736292"/>
                        <a:gd name="connsiteY1237" fmla="*/ 930717 h 1217852"/>
                        <a:gd name="connsiteX1238" fmla="*/ 60308 w 736292"/>
                        <a:gd name="connsiteY1238" fmla="*/ 929366 h 1217852"/>
                        <a:gd name="connsiteX1239" fmla="*/ 60308 w 736292"/>
                        <a:gd name="connsiteY1239" fmla="*/ 928016 h 1217852"/>
                        <a:gd name="connsiteX1240" fmla="*/ 60758 w 736292"/>
                        <a:gd name="connsiteY1240" fmla="*/ 927116 h 1217852"/>
                        <a:gd name="connsiteX1241" fmla="*/ 62108 w 736292"/>
                        <a:gd name="connsiteY1241" fmla="*/ 925316 h 1217852"/>
                        <a:gd name="connsiteX1242" fmla="*/ 62558 w 736292"/>
                        <a:gd name="connsiteY1242" fmla="*/ 923966 h 1217852"/>
                        <a:gd name="connsiteX1243" fmla="*/ 62558 w 736292"/>
                        <a:gd name="connsiteY1243" fmla="*/ 922165 h 1217852"/>
                        <a:gd name="connsiteX1244" fmla="*/ 62558 w 736292"/>
                        <a:gd name="connsiteY1244" fmla="*/ 919915 h 1217852"/>
                        <a:gd name="connsiteX1245" fmla="*/ 62108 w 736292"/>
                        <a:gd name="connsiteY1245" fmla="*/ 918115 h 1217852"/>
                        <a:gd name="connsiteX1246" fmla="*/ 61658 w 736292"/>
                        <a:gd name="connsiteY1246" fmla="*/ 917665 h 1217852"/>
                        <a:gd name="connsiteX1247" fmla="*/ 60758 w 736292"/>
                        <a:gd name="connsiteY1247" fmla="*/ 917215 h 1217852"/>
                        <a:gd name="connsiteX1248" fmla="*/ 58507 w 736292"/>
                        <a:gd name="connsiteY1248" fmla="*/ 917215 h 1217852"/>
                        <a:gd name="connsiteX1249" fmla="*/ 58057 w 736292"/>
                        <a:gd name="connsiteY1249" fmla="*/ 917215 h 1217852"/>
                        <a:gd name="connsiteX1250" fmla="*/ 58057 w 736292"/>
                        <a:gd name="connsiteY1250" fmla="*/ 916315 h 1217852"/>
                        <a:gd name="connsiteX1251" fmla="*/ 58057 w 736292"/>
                        <a:gd name="connsiteY1251" fmla="*/ 914965 h 1217852"/>
                        <a:gd name="connsiteX1252" fmla="*/ 58507 w 736292"/>
                        <a:gd name="connsiteY1252" fmla="*/ 911364 h 1217852"/>
                        <a:gd name="connsiteX1253" fmla="*/ 58957 w 736292"/>
                        <a:gd name="connsiteY1253" fmla="*/ 910014 h 1217852"/>
                        <a:gd name="connsiteX1254" fmla="*/ 59857 w 736292"/>
                        <a:gd name="connsiteY1254" fmla="*/ 909564 h 1217852"/>
                        <a:gd name="connsiteX1255" fmla="*/ 60308 w 736292"/>
                        <a:gd name="connsiteY1255" fmla="*/ 909564 h 1217852"/>
                        <a:gd name="connsiteX1256" fmla="*/ 60758 w 736292"/>
                        <a:gd name="connsiteY1256" fmla="*/ 909114 h 1217852"/>
                        <a:gd name="connsiteX1257" fmla="*/ 60758 w 736292"/>
                        <a:gd name="connsiteY1257" fmla="*/ 908214 h 1217852"/>
                        <a:gd name="connsiteX1258" fmla="*/ 60758 w 736292"/>
                        <a:gd name="connsiteY1258" fmla="*/ 906413 h 1217852"/>
                        <a:gd name="connsiteX1259" fmla="*/ 60758 w 736292"/>
                        <a:gd name="connsiteY1259" fmla="*/ 905063 h 1217852"/>
                        <a:gd name="connsiteX1260" fmla="*/ 61208 w 736292"/>
                        <a:gd name="connsiteY1260" fmla="*/ 903713 h 1217852"/>
                        <a:gd name="connsiteX1261" fmla="*/ 60758 w 736292"/>
                        <a:gd name="connsiteY1261" fmla="*/ 902813 h 1217852"/>
                        <a:gd name="connsiteX1262" fmla="*/ 59407 w 736292"/>
                        <a:gd name="connsiteY1262" fmla="*/ 900563 h 1217852"/>
                        <a:gd name="connsiteX1263" fmla="*/ 58507 w 736292"/>
                        <a:gd name="connsiteY1263" fmla="*/ 899663 h 1217852"/>
                        <a:gd name="connsiteX1264" fmla="*/ 58507 w 736292"/>
                        <a:gd name="connsiteY1264" fmla="*/ 898762 h 1217852"/>
                        <a:gd name="connsiteX1265" fmla="*/ 58507 w 736292"/>
                        <a:gd name="connsiteY1265" fmla="*/ 897862 h 1217852"/>
                        <a:gd name="connsiteX1266" fmla="*/ 58057 w 736292"/>
                        <a:gd name="connsiteY1266" fmla="*/ 896512 h 1217852"/>
                        <a:gd name="connsiteX1267" fmla="*/ 58057 w 736292"/>
                        <a:gd name="connsiteY1267" fmla="*/ 895162 h 1217852"/>
                        <a:gd name="connsiteX1268" fmla="*/ 58057 w 736292"/>
                        <a:gd name="connsiteY1268" fmla="*/ 894262 h 1217852"/>
                        <a:gd name="connsiteX1269" fmla="*/ 58507 w 736292"/>
                        <a:gd name="connsiteY1269" fmla="*/ 892462 h 1217852"/>
                        <a:gd name="connsiteX1270" fmla="*/ 58057 w 736292"/>
                        <a:gd name="connsiteY1270" fmla="*/ 890662 h 1217852"/>
                        <a:gd name="connsiteX1271" fmla="*/ 56707 w 736292"/>
                        <a:gd name="connsiteY1271" fmla="*/ 888411 h 1217852"/>
                        <a:gd name="connsiteX1272" fmla="*/ 54907 w 736292"/>
                        <a:gd name="connsiteY1272" fmla="*/ 886161 h 1217852"/>
                        <a:gd name="connsiteX1273" fmla="*/ 52657 w 736292"/>
                        <a:gd name="connsiteY1273" fmla="*/ 883911 h 1217852"/>
                        <a:gd name="connsiteX1274" fmla="*/ 52207 w 736292"/>
                        <a:gd name="connsiteY1274" fmla="*/ 882560 h 1217852"/>
                        <a:gd name="connsiteX1275" fmla="*/ 52207 w 736292"/>
                        <a:gd name="connsiteY1275" fmla="*/ 880760 h 1217852"/>
                        <a:gd name="connsiteX1276" fmla="*/ 50856 w 736292"/>
                        <a:gd name="connsiteY1276" fmla="*/ 880760 h 1217852"/>
                        <a:gd name="connsiteX1277" fmla="*/ 44556 w 736292"/>
                        <a:gd name="connsiteY1277" fmla="*/ 880760 h 1217852"/>
                        <a:gd name="connsiteX1278" fmla="*/ 38705 w 736292"/>
                        <a:gd name="connsiteY1278" fmla="*/ 880760 h 1217852"/>
                        <a:gd name="connsiteX1279" fmla="*/ 32404 w 736292"/>
                        <a:gd name="connsiteY1279" fmla="*/ 880760 h 1217852"/>
                        <a:gd name="connsiteX1280" fmla="*/ 26103 w 736292"/>
                        <a:gd name="connsiteY1280" fmla="*/ 880760 h 1217852"/>
                        <a:gd name="connsiteX1281" fmla="*/ 19803 w 736292"/>
                        <a:gd name="connsiteY1281" fmla="*/ 880760 h 1217852"/>
                        <a:gd name="connsiteX1282" fmla="*/ 13502 w 736292"/>
                        <a:gd name="connsiteY1282" fmla="*/ 880760 h 1217852"/>
                        <a:gd name="connsiteX1283" fmla="*/ 7201 w 736292"/>
                        <a:gd name="connsiteY1283" fmla="*/ 880760 h 1217852"/>
                        <a:gd name="connsiteX1284" fmla="*/ 6301 w 736292"/>
                        <a:gd name="connsiteY1284" fmla="*/ 880310 h 1217852"/>
                        <a:gd name="connsiteX1285" fmla="*/ 5851 w 736292"/>
                        <a:gd name="connsiteY1285" fmla="*/ 878960 h 1217852"/>
                        <a:gd name="connsiteX1286" fmla="*/ 5401 w 736292"/>
                        <a:gd name="connsiteY1286" fmla="*/ 876260 h 1217852"/>
                        <a:gd name="connsiteX1287" fmla="*/ 5401 w 736292"/>
                        <a:gd name="connsiteY1287" fmla="*/ 873559 h 1217852"/>
                        <a:gd name="connsiteX1288" fmla="*/ 5401 w 736292"/>
                        <a:gd name="connsiteY1288" fmla="*/ 872209 h 1217852"/>
                        <a:gd name="connsiteX1289" fmla="*/ 5401 w 736292"/>
                        <a:gd name="connsiteY1289" fmla="*/ 871309 h 1217852"/>
                        <a:gd name="connsiteX1290" fmla="*/ 6751 w 736292"/>
                        <a:gd name="connsiteY1290" fmla="*/ 869059 h 1217852"/>
                        <a:gd name="connsiteX1291" fmla="*/ 7651 w 736292"/>
                        <a:gd name="connsiteY1291" fmla="*/ 865908 h 1217852"/>
                        <a:gd name="connsiteX1292" fmla="*/ 7651 w 736292"/>
                        <a:gd name="connsiteY1292" fmla="*/ 865008 h 1217852"/>
                        <a:gd name="connsiteX1293" fmla="*/ 7201 w 736292"/>
                        <a:gd name="connsiteY1293" fmla="*/ 862308 h 1217852"/>
                        <a:gd name="connsiteX1294" fmla="*/ 6751 w 736292"/>
                        <a:gd name="connsiteY1294" fmla="*/ 860958 h 1217852"/>
                        <a:gd name="connsiteX1295" fmla="*/ 6301 w 736292"/>
                        <a:gd name="connsiteY1295" fmla="*/ 860058 h 1217852"/>
                        <a:gd name="connsiteX1296" fmla="*/ 5851 w 736292"/>
                        <a:gd name="connsiteY1296" fmla="*/ 858257 h 1217852"/>
                        <a:gd name="connsiteX1297" fmla="*/ 5851 w 736292"/>
                        <a:gd name="connsiteY1297" fmla="*/ 856907 h 1217852"/>
                        <a:gd name="connsiteX1298" fmla="*/ 5851 w 736292"/>
                        <a:gd name="connsiteY1298" fmla="*/ 853307 h 1217852"/>
                        <a:gd name="connsiteX1299" fmla="*/ 4951 w 736292"/>
                        <a:gd name="connsiteY1299" fmla="*/ 849706 h 1217852"/>
                        <a:gd name="connsiteX1300" fmla="*/ 4501 w 736292"/>
                        <a:gd name="connsiteY1300" fmla="*/ 848356 h 1217852"/>
                        <a:gd name="connsiteX1301" fmla="*/ 4051 w 736292"/>
                        <a:gd name="connsiteY1301" fmla="*/ 847456 h 1217852"/>
                        <a:gd name="connsiteX1302" fmla="*/ 1350 w 736292"/>
                        <a:gd name="connsiteY1302" fmla="*/ 844756 h 1217852"/>
                        <a:gd name="connsiteX1303" fmla="*/ 450 w 736292"/>
                        <a:gd name="connsiteY1303" fmla="*/ 842505 h 1217852"/>
                        <a:gd name="connsiteX1304" fmla="*/ 0 w 736292"/>
                        <a:gd name="connsiteY1304" fmla="*/ 840255 h 1217852"/>
                        <a:gd name="connsiteX1305" fmla="*/ 0 w 736292"/>
                        <a:gd name="connsiteY1305" fmla="*/ 824053 h 1217852"/>
                        <a:gd name="connsiteX1306" fmla="*/ 0 w 736292"/>
                        <a:gd name="connsiteY1306" fmla="*/ 807401 h 1217852"/>
                        <a:gd name="connsiteX1307" fmla="*/ 0 w 736292"/>
                        <a:gd name="connsiteY1307" fmla="*/ 790749 h 1217852"/>
                        <a:gd name="connsiteX1308" fmla="*/ 0 w 736292"/>
                        <a:gd name="connsiteY1308" fmla="*/ 774547 h 1217852"/>
                        <a:gd name="connsiteX1309" fmla="*/ 6751 w 736292"/>
                        <a:gd name="connsiteY1309" fmla="*/ 775447 h 1217852"/>
                        <a:gd name="connsiteX1310" fmla="*/ 12152 w 736292"/>
                        <a:gd name="connsiteY1310" fmla="*/ 778147 h 1217852"/>
                        <a:gd name="connsiteX1311" fmla="*/ 22953 w 736292"/>
                        <a:gd name="connsiteY1311" fmla="*/ 786248 h 1217852"/>
                        <a:gd name="connsiteX1312" fmla="*/ 25203 w 736292"/>
                        <a:gd name="connsiteY1312" fmla="*/ 787149 h 1217852"/>
                        <a:gd name="connsiteX1313" fmla="*/ 25653 w 736292"/>
                        <a:gd name="connsiteY1313" fmla="*/ 786698 h 1217852"/>
                        <a:gd name="connsiteX1314" fmla="*/ 22053 w 736292"/>
                        <a:gd name="connsiteY1314" fmla="*/ 778598 h 1217852"/>
                        <a:gd name="connsiteX1315" fmla="*/ 21603 w 736292"/>
                        <a:gd name="connsiteY1315" fmla="*/ 777697 h 1217852"/>
                        <a:gd name="connsiteX1316" fmla="*/ 17102 w 736292"/>
                        <a:gd name="connsiteY1316" fmla="*/ 774547 h 1217852"/>
                        <a:gd name="connsiteX1317" fmla="*/ 12152 w 736292"/>
                        <a:gd name="connsiteY1317" fmla="*/ 773197 h 1217852"/>
                        <a:gd name="connsiteX1318" fmla="*/ 11701 w 736292"/>
                        <a:gd name="connsiteY1318" fmla="*/ 772747 h 1217852"/>
                        <a:gd name="connsiteX1319" fmla="*/ 10801 w 736292"/>
                        <a:gd name="connsiteY1319" fmla="*/ 770046 h 1217852"/>
                        <a:gd name="connsiteX1320" fmla="*/ 11251 w 736292"/>
                        <a:gd name="connsiteY1320" fmla="*/ 769146 h 1217852"/>
                        <a:gd name="connsiteX1321" fmla="*/ 12152 w 736292"/>
                        <a:gd name="connsiteY1321" fmla="*/ 768696 h 1217852"/>
                        <a:gd name="connsiteX1322" fmla="*/ 15752 w 736292"/>
                        <a:gd name="connsiteY1322" fmla="*/ 768696 h 1217852"/>
                        <a:gd name="connsiteX1323" fmla="*/ 18002 w 736292"/>
                        <a:gd name="connsiteY1323" fmla="*/ 768246 h 1217852"/>
                        <a:gd name="connsiteX1324" fmla="*/ 18452 w 736292"/>
                        <a:gd name="connsiteY1324" fmla="*/ 767346 h 1217852"/>
                        <a:gd name="connsiteX1325" fmla="*/ 16652 w 736292"/>
                        <a:gd name="connsiteY1325" fmla="*/ 766896 h 1217852"/>
                        <a:gd name="connsiteX1326" fmla="*/ 14852 w 736292"/>
                        <a:gd name="connsiteY1326" fmla="*/ 765996 h 1217852"/>
                        <a:gd name="connsiteX1327" fmla="*/ 12602 w 736292"/>
                        <a:gd name="connsiteY1327" fmla="*/ 764196 h 1217852"/>
                        <a:gd name="connsiteX1328" fmla="*/ 11251 w 736292"/>
                        <a:gd name="connsiteY1328" fmla="*/ 762395 h 1217852"/>
                        <a:gd name="connsiteX1329" fmla="*/ 15752 w 736292"/>
                        <a:gd name="connsiteY1329" fmla="*/ 750694 h 1217852"/>
                        <a:gd name="connsiteX1330" fmla="*/ 17552 w 736292"/>
                        <a:gd name="connsiteY1330" fmla="*/ 752044 h 1217852"/>
                        <a:gd name="connsiteX1331" fmla="*/ 19803 w 736292"/>
                        <a:gd name="connsiteY1331" fmla="*/ 749344 h 1217852"/>
                        <a:gd name="connsiteX1332" fmla="*/ 24303 w 736292"/>
                        <a:gd name="connsiteY1332" fmla="*/ 751144 h 1217852"/>
                        <a:gd name="connsiteX1333" fmla="*/ 25203 w 736292"/>
                        <a:gd name="connsiteY1333" fmla="*/ 750244 h 1217852"/>
                        <a:gd name="connsiteX1334" fmla="*/ 25653 w 736292"/>
                        <a:gd name="connsiteY1334" fmla="*/ 743943 h 1217852"/>
                        <a:gd name="connsiteX1335" fmla="*/ 26103 w 736292"/>
                        <a:gd name="connsiteY1335" fmla="*/ 742593 h 1217852"/>
                        <a:gd name="connsiteX1336" fmla="*/ 27453 w 736292"/>
                        <a:gd name="connsiteY1336" fmla="*/ 741693 h 1217852"/>
                        <a:gd name="connsiteX1337" fmla="*/ 33754 w 736292"/>
                        <a:gd name="connsiteY1337" fmla="*/ 740793 h 1217852"/>
                        <a:gd name="connsiteX1338" fmla="*/ 41405 w 736292"/>
                        <a:gd name="connsiteY1338" fmla="*/ 741693 h 1217852"/>
                        <a:gd name="connsiteX1339" fmla="*/ 42305 w 736292"/>
                        <a:gd name="connsiteY1339" fmla="*/ 741243 h 1217852"/>
                        <a:gd name="connsiteX1340" fmla="*/ 41405 w 736292"/>
                        <a:gd name="connsiteY1340" fmla="*/ 737192 h 1217852"/>
                        <a:gd name="connsiteX1341" fmla="*/ 41405 w 736292"/>
                        <a:gd name="connsiteY1341" fmla="*/ 735392 h 1217852"/>
                        <a:gd name="connsiteX1342" fmla="*/ 41855 w 736292"/>
                        <a:gd name="connsiteY1342" fmla="*/ 731792 h 1217852"/>
                        <a:gd name="connsiteX1343" fmla="*/ 42305 w 736292"/>
                        <a:gd name="connsiteY1343" fmla="*/ 729991 h 1217852"/>
                        <a:gd name="connsiteX1344" fmla="*/ 43205 w 736292"/>
                        <a:gd name="connsiteY1344" fmla="*/ 729091 h 1217852"/>
                        <a:gd name="connsiteX1345" fmla="*/ 46806 w 736292"/>
                        <a:gd name="connsiteY1345" fmla="*/ 729991 h 1217852"/>
                        <a:gd name="connsiteX1346" fmla="*/ 47706 w 736292"/>
                        <a:gd name="connsiteY1346" fmla="*/ 731792 h 1217852"/>
                        <a:gd name="connsiteX1347" fmla="*/ 49056 w 736292"/>
                        <a:gd name="connsiteY1347" fmla="*/ 734942 h 1217852"/>
                        <a:gd name="connsiteX1348" fmla="*/ 50406 w 736292"/>
                        <a:gd name="connsiteY1348" fmla="*/ 736742 h 1217852"/>
                        <a:gd name="connsiteX1349" fmla="*/ 54007 w 736292"/>
                        <a:gd name="connsiteY1349" fmla="*/ 738542 h 1217852"/>
                        <a:gd name="connsiteX1350" fmla="*/ 54457 w 736292"/>
                        <a:gd name="connsiteY1350" fmla="*/ 739893 h 1217852"/>
                        <a:gd name="connsiteX1351" fmla="*/ 53107 w 736292"/>
                        <a:gd name="connsiteY1351" fmla="*/ 744843 h 1217852"/>
                        <a:gd name="connsiteX1352" fmla="*/ 51756 w 736292"/>
                        <a:gd name="connsiteY1352" fmla="*/ 747094 h 1217852"/>
                        <a:gd name="connsiteX1353" fmla="*/ 48606 w 736292"/>
                        <a:gd name="connsiteY1353" fmla="*/ 753394 h 1217852"/>
                        <a:gd name="connsiteX1354" fmla="*/ 48606 w 736292"/>
                        <a:gd name="connsiteY1354" fmla="*/ 755195 h 1217852"/>
                        <a:gd name="connsiteX1355" fmla="*/ 53557 w 736292"/>
                        <a:gd name="connsiteY1355" fmla="*/ 752494 h 1217852"/>
                        <a:gd name="connsiteX1356" fmla="*/ 58957 w 736292"/>
                        <a:gd name="connsiteY1356" fmla="*/ 748444 h 1217852"/>
                        <a:gd name="connsiteX1357" fmla="*/ 63458 w 736292"/>
                        <a:gd name="connsiteY1357" fmla="*/ 746193 h 1217852"/>
                        <a:gd name="connsiteX1358" fmla="*/ 67508 w 736292"/>
                        <a:gd name="connsiteY1358" fmla="*/ 745743 h 1217852"/>
                        <a:gd name="connsiteX1359" fmla="*/ 70209 w 736292"/>
                        <a:gd name="connsiteY1359" fmla="*/ 744393 h 1217852"/>
                        <a:gd name="connsiteX1360" fmla="*/ 72009 w 736292"/>
                        <a:gd name="connsiteY1360" fmla="*/ 742143 h 1217852"/>
                        <a:gd name="connsiteX1361" fmla="*/ 73359 w 736292"/>
                        <a:gd name="connsiteY1361" fmla="*/ 739893 h 1217852"/>
                        <a:gd name="connsiteX1362" fmla="*/ 75609 w 736292"/>
                        <a:gd name="connsiteY1362" fmla="*/ 732692 h 1217852"/>
                        <a:gd name="connsiteX1363" fmla="*/ 77410 w 736292"/>
                        <a:gd name="connsiteY1363" fmla="*/ 731342 h 1217852"/>
                        <a:gd name="connsiteX1364" fmla="*/ 84161 w 736292"/>
                        <a:gd name="connsiteY1364" fmla="*/ 731792 h 1217852"/>
                        <a:gd name="connsiteX1365" fmla="*/ 85961 w 736292"/>
                        <a:gd name="connsiteY1365" fmla="*/ 731792 h 1217852"/>
                        <a:gd name="connsiteX1366" fmla="*/ 86861 w 736292"/>
                        <a:gd name="connsiteY1366" fmla="*/ 730892 h 1217852"/>
                        <a:gd name="connsiteX1367" fmla="*/ 86861 w 736292"/>
                        <a:gd name="connsiteY1367" fmla="*/ 729991 h 1217852"/>
                        <a:gd name="connsiteX1368" fmla="*/ 85511 w 736292"/>
                        <a:gd name="connsiteY1368" fmla="*/ 728641 h 1217852"/>
                        <a:gd name="connsiteX1369" fmla="*/ 83710 w 736292"/>
                        <a:gd name="connsiteY1369" fmla="*/ 728191 h 1217852"/>
                        <a:gd name="connsiteX1370" fmla="*/ 83710 w 736292"/>
                        <a:gd name="connsiteY1370" fmla="*/ 727741 h 1217852"/>
                        <a:gd name="connsiteX1371" fmla="*/ 84611 w 736292"/>
                        <a:gd name="connsiteY1371" fmla="*/ 726391 h 1217852"/>
                        <a:gd name="connsiteX1372" fmla="*/ 85511 w 736292"/>
                        <a:gd name="connsiteY1372" fmla="*/ 725491 h 1217852"/>
                        <a:gd name="connsiteX1373" fmla="*/ 88661 w 736292"/>
                        <a:gd name="connsiteY1373" fmla="*/ 724591 h 1217852"/>
                        <a:gd name="connsiteX1374" fmla="*/ 90911 w 736292"/>
                        <a:gd name="connsiteY1374" fmla="*/ 727291 h 1217852"/>
                        <a:gd name="connsiteX1375" fmla="*/ 92262 w 736292"/>
                        <a:gd name="connsiteY1375" fmla="*/ 727291 h 1217852"/>
                        <a:gd name="connsiteX1376" fmla="*/ 97212 w 736292"/>
                        <a:gd name="connsiteY1376" fmla="*/ 724141 h 1217852"/>
                        <a:gd name="connsiteX1377" fmla="*/ 104863 w 736292"/>
                        <a:gd name="connsiteY1377" fmla="*/ 716040 h 1217852"/>
                        <a:gd name="connsiteX1378" fmla="*/ 108014 w 736292"/>
                        <a:gd name="connsiteY1378" fmla="*/ 713789 h 1217852"/>
                        <a:gd name="connsiteX1379" fmla="*/ 110714 w 736292"/>
                        <a:gd name="connsiteY1379" fmla="*/ 713339 h 1217852"/>
                        <a:gd name="connsiteX1380" fmla="*/ 112964 w 736292"/>
                        <a:gd name="connsiteY1380" fmla="*/ 714689 h 1217852"/>
                        <a:gd name="connsiteX1381" fmla="*/ 114764 w 736292"/>
                        <a:gd name="connsiteY1381" fmla="*/ 714239 h 1217852"/>
                        <a:gd name="connsiteX1382" fmla="*/ 117015 w 736292"/>
                        <a:gd name="connsiteY1382" fmla="*/ 709739 h 1217852"/>
                        <a:gd name="connsiteX1383" fmla="*/ 117915 w 736292"/>
                        <a:gd name="connsiteY1383" fmla="*/ 707489 h 1217852"/>
                        <a:gd name="connsiteX1384" fmla="*/ 119265 w 736292"/>
                        <a:gd name="connsiteY1384" fmla="*/ 705238 h 1217852"/>
                        <a:gd name="connsiteX1385" fmla="*/ 124666 w 736292"/>
                        <a:gd name="connsiteY1385" fmla="*/ 700738 h 1217852"/>
                        <a:gd name="connsiteX1386" fmla="*/ 128266 w 736292"/>
                        <a:gd name="connsiteY1386" fmla="*/ 699838 h 1217852"/>
                        <a:gd name="connsiteX1387" fmla="*/ 130516 w 736292"/>
                        <a:gd name="connsiteY1387" fmla="*/ 700738 h 1217852"/>
                        <a:gd name="connsiteX1388" fmla="*/ 133217 w 736292"/>
                        <a:gd name="connsiteY1388" fmla="*/ 702538 h 1217852"/>
                        <a:gd name="connsiteX1389" fmla="*/ 135467 w 736292"/>
                        <a:gd name="connsiteY1389" fmla="*/ 703438 h 1217852"/>
                        <a:gd name="connsiteX1390" fmla="*/ 138167 w 736292"/>
                        <a:gd name="connsiteY1390" fmla="*/ 702988 h 1217852"/>
                        <a:gd name="connsiteX1391" fmla="*/ 140418 w 736292"/>
                        <a:gd name="connsiteY1391" fmla="*/ 703438 h 1217852"/>
                        <a:gd name="connsiteX1392" fmla="*/ 141318 w 736292"/>
                        <a:gd name="connsiteY1392" fmla="*/ 702538 h 1217852"/>
                        <a:gd name="connsiteX1393" fmla="*/ 144918 w 736292"/>
                        <a:gd name="connsiteY1393" fmla="*/ 697137 h 1217852"/>
                        <a:gd name="connsiteX1394" fmla="*/ 146268 w 736292"/>
                        <a:gd name="connsiteY1394" fmla="*/ 697137 h 1217852"/>
                        <a:gd name="connsiteX1395" fmla="*/ 147168 w 736292"/>
                        <a:gd name="connsiteY1395" fmla="*/ 698938 h 1217852"/>
                        <a:gd name="connsiteX1396" fmla="*/ 148969 w 736292"/>
                        <a:gd name="connsiteY1396" fmla="*/ 702988 h 1217852"/>
                        <a:gd name="connsiteX1397" fmla="*/ 148969 w 736292"/>
                        <a:gd name="connsiteY1397" fmla="*/ 704788 h 1217852"/>
                        <a:gd name="connsiteX1398" fmla="*/ 146718 w 736292"/>
                        <a:gd name="connsiteY1398" fmla="*/ 709739 h 1217852"/>
                        <a:gd name="connsiteX1399" fmla="*/ 129616 w 736292"/>
                        <a:gd name="connsiteY1399" fmla="*/ 723241 h 1217852"/>
                        <a:gd name="connsiteX1400" fmla="*/ 124216 w 736292"/>
                        <a:gd name="connsiteY1400" fmla="*/ 729091 h 1217852"/>
                        <a:gd name="connsiteX1401" fmla="*/ 121515 w 736292"/>
                        <a:gd name="connsiteY1401" fmla="*/ 731342 h 1217852"/>
                        <a:gd name="connsiteX1402" fmla="*/ 118815 w 736292"/>
                        <a:gd name="connsiteY1402" fmla="*/ 732692 h 1217852"/>
                        <a:gd name="connsiteX1403" fmla="*/ 113414 w 736292"/>
                        <a:gd name="connsiteY1403" fmla="*/ 733592 h 1217852"/>
                        <a:gd name="connsiteX1404" fmla="*/ 111164 w 736292"/>
                        <a:gd name="connsiteY1404" fmla="*/ 734942 h 1217852"/>
                        <a:gd name="connsiteX1405" fmla="*/ 107563 w 736292"/>
                        <a:gd name="connsiteY1405" fmla="*/ 735842 h 1217852"/>
                        <a:gd name="connsiteX1406" fmla="*/ 99462 w 736292"/>
                        <a:gd name="connsiteY1406" fmla="*/ 737642 h 1217852"/>
                        <a:gd name="connsiteX1407" fmla="*/ 97662 w 736292"/>
                        <a:gd name="connsiteY1407" fmla="*/ 738542 h 1217852"/>
                        <a:gd name="connsiteX1408" fmla="*/ 96762 w 736292"/>
                        <a:gd name="connsiteY1408" fmla="*/ 739443 h 1217852"/>
                        <a:gd name="connsiteX1409" fmla="*/ 93612 w 736292"/>
                        <a:gd name="connsiteY1409" fmla="*/ 746193 h 1217852"/>
                        <a:gd name="connsiteX1410" fmla="*/ 92262 w 736292"/>
                        <a:gd name="connsiteY1410" fmla="*/ 748444 h 1217852"/>
                        <a:gd name="connsiteX1411" fmla="*/ 89561 w 736292"/>
                        <a:gd name="connsiteY1411" fmla="*/ 752044 h 1217852"/>
                        <a:gd name="connsiteX1412" fmla="*/ 86411 w 736292"/>
                        <a:gd name="connsiteY1412" fmla="*/ 754294 h 1217852"/>
                        <a:gd name="connsiteX1413" fmla="*/ 81910 w 736292"/>
                        <a:gd name="connsiteY1413" fmla="*/ 755195 h 1217852"/>
                        <a:gd name="connsiteX1414" fmla="*/ 79210 w 736292"/>
                        <a:gd name="connsiteY1414" fmla="*/ 758345 h 1217852"/>
                        <a:gd name="connsiteX1415" fmla="*/ 76060 w 736292"/>
                        <a:gd name="connsiteY1415" fmla="*/ 764646 h 1217852"/>
                        <a:gd name="connsiteX1416" fmla="*/ 73359 w 736292"/>
                        <a:gd name="connsiteY1416" fmla="*/ 769146 h 1217852"/>
                        <a:gd name="connsiteX1417" fmla="*/ 70209 w 736292"/>
                        <a:gd name="connsiteY1417" fmla="*/ 772747 h 1217852"/>
                        <a:gd name="connsiteX1418" fmla="*/ 67058 w 736292"/>
                        <a:gd name="connsiteY1418" fmla="*/ 777697 h 1217852"/>
                        <a:gd name="connsiteX1419" fmla="*/ 65708 w 736292"/>
                        <a:gd name="connsiteY1419" fmla="*/ 777697 h 1217852"/>
                        <a:gd name="connsiteX1420" fmla="*/ 66608 w 736292"/>
                        <a:gd name="connsiteY1420" fmla="*/ 780848 h 1217852"/>
                        <a:gd name="connsiteX1421" fmla="*/ 67058 w 736292"/>
                        <a:gd name="connsiteY1421" fmla="*/ 781748 h 1217852"/>
                        <a:gd name="connsiteX1422" fmla="*/ 70209 w 736292"/>
                        <a:gd name="connsiteY1422" fmla="*/ 783548 h 1217852"/>
                        <a:gd name="connsiteX1423" fmla="*/ 71559 w 736292"/>
                        <a:gd name="connsiteY1423" fmla="*/ 783098 h 1217852"/>
                        <a:gd name="connsiteX1424" fmla="*/ 70209 w 736292"/>
                        <a:gd name="connsiteY1424" fmla="*/ 781298 h 1217852"/>
                        <a:gd name="connsiteX1425" fmla="*/ 67508 w 736292"/>
                        <a:gd name="connsiteY1425" fmla="*/ 778598 h 1217852"/>
                        <a:gd name="connsiteX1426" fmla="*/ 67058 w 736292"/>
                        <a:gd name="connsiteY1426" fmla="*/ 777697 h 1217852"/>
                        <a:gd name="connsiteX1427" fmla="*/ 67959 w 736292"/>
                        <a:gd name="connsiteY1427" fmla="*/ 776797 h 1217852"/>
                        <a:gd name="connsiteX1428" fmla="*/ 80560 w 736292"/>
                        <a:gd name="connsiteY1428" fmla="*/ 778598 h 1217852"/>
                        <a:gd name="connsiteX1429" fmla="*/ 83260 w 736292"/>
                        <a:gd name="connsiteY1429" fmla="*/ 776797 h 1217852"/>
                        <a:gd name="connsiteX1430" fmla="*/ 84161 w 736292"/>
                        <a:gd name="connsiteY1430" fmla="*/ 774997 h 1217852"/>
                        <a:gd name="connsiteX1431" fmla="*/ 84161 w 736292"/>
                        <a:gd name="connsiteY1431" fmla="*/ 774097 h 1217852"/>
                        <a:gd name="connsiteX1432" fmla="*/ 80560 w 736292"/>
                        <a:gd name="connsiteY1432" fmla="*/ 773647 h 1217852"/>
                        <a:gd name="connsiteX1433" fmla="*/ 79660 w 736292"/>
                        <a:gd name="connsiteY1433" fmla="*/ 772297 h 1217852"/>
                        <a:gd name="connsiteX1434" fmla="*/ 79210 w 736292"/>
                        <a:gd name="connsiteY1434" fmla="*/ 769146 h 1217852"/>
                        <a:gd name="connsiteX1435" fmla="*/ 79210 w 736292"/>
                        <a:gd name="connsiteY1435" fmla="*/ 766896 h 1217852"/>
                        <a:gd name="connsiteX1436" fmla="*/ 79660 w 736292"/>
                        <a:gd name="connsiteY1436" fmla="*/ 765096 h 1217852"/>
                        <a:gd name="connsiteX1437" fmla="*/ 80560 w 736292"/>
                        <a:gd name="connsiteY1437" fmla="*/ 762846 h 1217852"/>
                        <a:gd name="connsiteX1438" fmla="*/ 84161 w 736292"/>
                        <a:gd name="connsiteY1438" fmla="*/ 759245 h 1217852"/>
                        <a:gd name="connsiteX1439" fmla="*/ 88211 w 736292"/>
                        <a:gd name="connsiteY1439" fmla="*/ 757895 h 1217852"/>
                        <a:gd name="connsiteX1440" fmla="*/ 91361 w 736292"/>
                        <a:gd name="connsiteY1440" fmla="*/ 755645 h 1217852"/>
                        <a:gd name="connsiteX1441" fmla="*/ 93162 w 736292"/>
                        <a:gd name="connsiteY1441" fmla="*/ 753844 h 1217852"/>
                        <a:gd name="connsiteX1442" fmla="*/ 97662 w 736292"/>
                        <a:gd name="connsiteY1442" fmla="*/ 750694 h 1217852"/>
                        <a:gd name="connsiteX1443" fmla="*/ 99462 w 736292"/>
                        <a:gd name="connsiteY1443" fmla="*/ 747994 h 1217852"/>
                        <a:gd name="connsiteX1444" fmla="*/ 100363 w 736292"/>
                        <a:gd name="connsiteY1444" fmla="*/ 745743 h 1217852"/>
                        <a:gd name="connsiteX1445" fmla="*/ 100363 w 736292"/>
                        <a:gd name="connsiteY1445" fmla="*/ 744843 h 1217852"/>
                        <a:gd name="connsiteX1446" fmla="*/ 99462 w 736292"/>
                        <a:gd name="connsiteY1446" fmla="*/ 743943 h 1217852"/>
                        <a:gd name="connsiteX1447" fmla="*/ 99913 w 736292"/>
                        <a:gd name="connsiteY1447" fmla="*/ 742143 h 1217852"/>
                        <a:gd name="connsiteX1448" fmla="*/ 103063 w 736292"/>
                        <a:gd name="connsiteY1448" fmla="*/ 740343 h 1217852"/>
                        <a:gd name="connsiteX1449" fmla="*/ 104413 w 736292"/>
                        <a:gd name="connsiteY1449" fmla="*/ 740343 h 1217852"/>
                        <a:gd name="connsiteX1450" fmla="*/ 108914 w 736292"/>
                        <a:gd name="connsiteY1450" fmla="*/ 741693 h 1217852"/>
                        <a:gd name="connsiteX1451" fmla="*/ 109814 w 736292"/>
                        <a:gd name="connsiteY1451" fmla="*/ 743043 h 1217852"/>
                        <a:gd name="connsiteX1452" fmla="*/ 109364 w 736292"/>
                        <a:gd name="connsiteY1452" fmla="*/ 746193 h 1217852"/>
                        <a:gd name="connsiteX1453" fmla="*/ 109814 w 736292"/>
                        <a:gd name="connsiteY1453" fmla="*/ 746193 h 1217852"/>
                        <a:gd name="connsiteX1454" fmla="*/ 111614 w 736292"/>
                        <a:gd name="connsiteY1454" fmla="*/ 742143 h 1217852"/>
                        <a:gd name="connsiteX1455" fmla="*/ 112514 w 736292"/>
                        <a:gd name="connsiteY1455" fmla="*/ 740793 h 1217852"/>
                        <a:gd name="connsiteX1456" fmla="*/ 113414 w 736292"/>
                        <a:gd name="connsiteY1456" fmla="*/ 740343 h 1217852"/>
                        <a:gd name="connsiteX1457" fmla="*/ 114314 w 736292"/>
                        <a:gd name="connsiteY1457" fmla="*/ 740793 h 1217852"/>
                        <a:gd name="connsiteX1458" fmla="*/ 115214 w 736292"/>
                        <a:gd name="connsiteY1458" fmla="*/ 742143 h 1217852"/>
                        <a:gd name="connsiteX1459" fmla="*/ 115665 w 736292"/>
                        <a:gd name="connsiteY1459" fmla="*/ 746193 h 1217852"/>
                        <a:gd name="connsiteX1460" fmla="*/ 115665 w 736292"/>
                        <a:gd name="connsiteY1460" fmla="*/ 752944 h 1217852"/>
                        <a:gd name="connsiteX1461" fmla="*/ 116115 w 736292"/>
                        <a:gd name="connsiteY1461" fmla="*/ 755645 h 1217852"/>
                        <a:gd name="connsiteX1462" fmla="*/ 117465 w 736292"/>
                        <a:gd name="connsiteY1462" fmla="*/ 751144 h 1217852"/>
                        <a:gd name="connsiteX1463" fmla="*/ 118365 w 736292"/>
                        <a:gd name="connsiteY1463" fmla="*/ 748894 h 1217852"/>
                        <a:gd name="connsiteX1464" fmla="*/ 122865 w 736292"/>
                        <a:gd name="connsiteY1464" fmla="*/ 738992 h 1217852"/>
                        <a:gd name="connsiteX1465" fmla="*/ 126016 w 736292"/>
                        <a:gd name="connsiteY1465" fmla="*/ 733592 h 1217852"/>
                        <a:gd name="connsiteX1466" fmla="*/ 129616 w 736292"/>
                        <a:gd name="connsiteY1466" fmla="*/ 728191 h 1217852"/>
                        <a:gd name="connsiteX1467" fmla="*/ 134567 w 736292"/>
                        <a:gd name="connsiteY1467" fmla="*/ 724141 h 1217852"/>
                        <a:gd name="connsiteX1468" fmla="*/ 146268 w 736292"/>
                        <a:gd name="connsiteY1468" fmla="*/ 717390 h 1217852"/>
                        <a:gd name="connsiteX1469" fmla="*/ 152569 w 736292"/>
                        <a:gd name="connsiteY1469" fmla="*/ 715590 h 1217852"/>
                        <a:gd name="connsiteX1470" fmla="*/ 155719 w 736292"/>
                        <a:gd name="connsiteY1470" fmla="*/ 713789 h 1217852"/>
                        <a:gd name="connsiteX1471" fmla="*/ 157520 w 736292"/>
                        <a:gd name="connsiteY1471" fmla="*/ 712439 h 1217852"/>
                        <a:gd name="connsiteX1472" fmla="*/ 158420 w 736292"/>
                        <a:gd name="connsiteY1472" fmla="*/ 710639 h 1217852"/>
                        <a:gd name="connsiteX1473" fmla="*/ 160220 w 736292"/>
                        <a:gd name="connsiteY1473" fmla="*/ 708839 h 1217852"/>
                        <a:gd name="connsiteX1474" fmla="*/ 160670 w 736292"/>
                        <a:gd name="connsiteY1474" fmla="*/ 708839 h 1217852"/>
                        <a:gd name="connsiteX1475" fmla="*/ 159770 w 736292"/>
                        <a:gd name="connsiteY1475" fmla="*/ 712889 h 1217852"/>
                        <a:gd name="connsiteX1476" fmla="*/ 159320 w 736292"/>
                        <a:gd name="connsiteY1476" fmla="*/ 714239 h 1217852"/>
                        <a:gd name="connsiteX1477" fmla="*/ 155269 w 736292"/>
                        <a:gd name="connsiteY1477" fmla="*/ 716940 h 1217852"/>
                        <a:gd name="connsiteX1478" fmla="*/ 154819 w 736292"/>
                        <a:gd name="connsiteY1478" fmla="*/ 718740 h 1217852"/>
                        <a:gd name="connsiteX1479" fmla="*/ 155269 w 736292"/>
                        <a:gd name="connsiteY1479" fmla="*/ 721890 h 1217852"/>
                        <a:gd name="connsiteX1480" fmla="*/ 156170 w 736292"/>
                        <a:gd name="connsiteY1480" fmla="*/ 723691 h 1217852"/>
                        <a:gd name="connsiteX1481" fmla="*/ 157070 w 736292"/>
                        <a:gd name="connsiteY1481" fmla="*/ 724591 h 1217852"/>
                        <a:gd name="connsiteX1482" fmla="*/ 158870 w 736292"/>
                        <a:gd name="connsiteY1482" fmla="*/ 723691 h 1217852"/>
                        <a:gd name="connsiteX1483" fmla="*/ 161570 w 736292"/>
                        <a:gd name="connsiteY1483" fmla="*/ 721440 h 1217852"/>
                        <a:gd name="connsiteX1484" fmla="*/ 164721 w 736292"/>
                        <a:gd name="connsiteY1484" fmla="*/ 717840 h 1217852"/>
                        <a:gd name="connsiteX1485" fmla="*/ 171471 w 736292"/>
                        <a:gd name="connsiteY1485" fmla="*/ 708389 h 1217852"/>
                        <a:gd name="connsiteX1486" fmla="*/ 171922 w 736292"/>
                        <a:gd name="connsiteY1486" fmla="*/ 706589 h 1217852"/>
                        <a:gd name="connsiteX1487" fmla="*/ 173722 w 736292"/>
                        <a:gd name="connsiteY1487" fmla="*/ 698938 h 1217852"/>
                        <a:gd name="connsiteX1488" fmla="*/ 177772 w 736292"/>
                        <a:gd name="connsiteY1488" fmla="*/ 695787 h 1217852"/>
                        <a:gd name="connsiteX1489" fmla="*/ 184973 w 736292"/>
                        <a:gd name="connsiteY1489" fmla="*/ 692187 h 1217852"/>
                        <a:gd name="connsiteX1490" fmla="*/ 186773 w 736292"/>
                        <a:gd name="connsiteY1490" fmla="*/ 689936 h 1217852"/>
                        <a:gd name="connsiteX1491" fmla="*/ 180473 w 736292"/>
                        <a:gd name="connsiteY1491" fmla="*/ 687686 h 1217852"/>
                        <a:gd name="connsiteX1492" fmla="*/ 179122 w 736292"/>
                        <a:gd name="connsiteY1492" fmla="*/ 686336 h 1217852"/>
                        <a:gd name="connsiteX1493" fmla="*/ 179122 w 736292"/>
                        <a:gd name="connsiteY1493" fmla="*/ 685436 h 1217852"/>
                        <a:gd name="connsiteX1494" fmla="*/ 180473 w 736292"/>
                        <a:gd name="connsiteY1494" fmla="*/ 683186 h 1217852"/>
                        <a:gd name="connsiteX1495" fmla="*/ 177772 w 736292"/>
                        <a:gd name="connsiteY1495" fmla="*/ 680935 h 1217852"/>
                        <a:gd name="connsiteX1496" fmla="*/ 176872 w 736292"/>
                        <a:gd name="connsiteY1496" fmla="*/ 679585 h 1217852"/>
                        <a:gd name="connsiteX1497" fmla="*/ 176872 w 736292"/>
                        <a:gd name="connsiteY1497" fmla="*/ 675535 h 1217852"/>
                        <a:gd name="connsiteX1498" fmla="*/ 177772 w 736292"/>
                        <a:gd name="connsiteY1498" fmla="*/ 672834 h 1217852"/>
                        <a:gd name="connsiteX1499" fmla="*/ 179572 w 736292"/>
                        <a:gd name="connsiteY1499" fmla="*/ 670134 h 1217852"/>
                        <a:gd name="connsiteX1500" fmla="*/ 180473 w 736292"/>
                        <a:gd name="connsiteY1500" fmla="*/ 669684 h 1217852"/>
                        <a:gd name="connsiteX1501" fmla="*/ 183173 w 736292"/>
                        <a:gd name="connsiteY1501" fmla="*/ 671484 h 1217852"/>
                        <a:gd name="connsiteX1502" fmla="*/ 185423 w 736292"/>
                        <a:gd name="connsiteY1502" fmla="*/ 673734 h 1217852"/>
                        <a:gd name="connsiteX1503" fmla="*/ 193524 w 736292"/>
                        <a:gd name="connsiteY1503" fmla="*/ 683186 h 1217852"/>
                        <a:gd name="connsiteX1504" fmla="*/ 196675 w 736292"/>
                        <a:gd name="connsiteY1504" fmla="*/ 687686 h 1217852"/>
                        <a:gd name="connsiteX1505" fmla="*/ 198475 w 736292"/>
                        <a:gd name="connsiteY1505" fmla="*/ 691286 h 1217852"/>
                        <a:gd name="connsiteX1506" fmla="*/ 202975 w 736292"/>
                        <a:gd name="connsiteY1506" fmla="*/ 702538 h 1217852"/>
                        <a:gd name="connsiteX1507" fmla="*/ 204776 w 736292"/>
                        <a:gd name="connsiteY1507" fmla="*/ 708839 h 1217852"/>
                        <a:gd name="connsiteX1508" fmla="*/ 206576 w 736292"/>
                        <a:gd name="connsiteY1508" fmla="*/ 715590 h 1217852"/>
                        <a:gd name="connsiteX1509" fmla="*/ 207926 w 736292"/>
                        <a:gd name="connsiteY1509" fmla="*/ 720090 h 1217852"/>
                        <a:gd name="connsiteX1510" fmla="*/ 209276 w 736292"/>
                        <a:gd name="connsiteY1510" fmla="*/ 722790 h 1217852"/>
                        <a:gd name="connsiteX1511" fmla="*/ 216927 w 736292"/>
                        <a:gd name="connsiteY1511" fmla="*/ 734042 h 1217852"/>
                        <a:gd name="connsiteX1512" fmla="*/ 220978 w 736292"/>
                        <a:gd name="connsiteY1512" fmla="*/ 738992 h 1217852"/>
                        <a:gd name="connsiteX1513" fmla="*/ 224128 w 736292"/>
                        <a:gd name="connsiteY1513" fmla="*/ 742143 h 1217852"/>
                        <a:gd name="connsiteX1514" fmla="*/ 227728 w 736292"/>
                        <a:gd name="connsiteY1514" fmla="*/ 744393 h 1217852"/>
                        <a:gd name="connsiteX1515" fmla="*/ 232229 w 736292"/>
                        <a:gd name="connsiteY1515" fmla="*/ 746193 h 1217852"/>
                        <a:gd name="connsiteX1516" fmla="*/ 235379 w 736292"/>
                        <a:gd name="connsiteY1516" fmla="*/ 746193 h 1217852"/>
                        <a:gd name="connsiteX1517" fmla="*/ 239880 w 736292"/>
                        <a:gd name="connsiteY1517" fmla="*/ 741243 h 1217852"/>
                        <a:gd name="connsiteX1518" fmla="*/ 239880 w 736292"/>
                        <a:gd name="connsiteY1518" fmla="*/ 738092 h 1217852"/>
                        <a:gd name="connsiteX1519" fmla="*/ 238080 w 736292"/>
                        <a:gd name="connsiteY1519" fmla="*/ 732692 h 1217852"/>
                        <a:gd name="connsiteX1520" fmla="*/ 236280 w 736292"/>
                        <a:gd name="connsiteY1520" fmla="*/ 729091 h 1217852"/>
                        <a:gd name="connsiteX1521" fmla="*/ 236730 w 736292"/>
                        <a:gd name="connsiteY1521" fmla="*/ 726841 h 1217852"/>
                        <a:gd name="connsiteX1522" fmla="*/ 239430 w 736292"/>
                        <a:gd name="connsiteY1522" fmla="*/ 722340 h 1217852"/>
                        <a:gd name="connsiteX1523" fmla="*/ 239430 w 736292"/>
                        <a:gd name="connsiteY1523" fmla="*/ 720990 h 1217852"/>
                        <a:gd name="connsiteX1524" fmla="*/ 239880 w 736292"/>
                        <a:gd name="connsiteY1524" fmla="*/ 716490 h 1217852"/>
                        <a:gd name="connsiteX1525" fmla="*/ 241680 w 736292"/>
                        <a:gd name="connsiteY1525" fmla="*/ 717390 h 1217852"/>
                        <a:gd name="connsiteX1526" fmla="*/ 242580 w 736292"/>
                        <a:gd name="connsiteY1526" fmla="*/ 717390 h 1217852"/>
                        <a:gd name="connsiteX1527" fmla="*/ 243480 w 736292"/>
                        <a:gd name="connsiteY1527" fmla="*/ 715590 h 1217852"/>
                        <a:gd name="connsiteX1528" fmla="*/ 244831 w 736292"/>
                        <a:gd name="connsiteY1528" fmla="*/ 712439 h 1217852"/>
                        <a:gd name="connsiteX1529" fmla="*/ 246631 w 736292"/>
                        <a:gd name="connsiteY1529" fmla="*/ 709739 h 1217852"/>
                        <a:gd name="connsiteX1530" fmla="*/ 248881 w 736292"/>
                        <a:gd name="connsiteY1530" fmla="*/ 707489 h 1217852"/>
                        <a:gd name="connsiteX1531" fmla="*/ 249331 w 736292"/>
                        <a:gd name="connsiteY1531" fmla="*/ 706138 h 1217852"/>
                        <a:gd name="connsiteX1532" fmla="*/ 247531 w 736292"/>
                        <a:gd name="connsiteY1532" fmla="*/ 705238 h 1217852"/>
                        <a:gd name="connsiteX1533" fmla="*/ 245731 w 736292"/>
                        <a:gd name="connsiteY1533" fmla="*/ 705238 h 1217852"/>
                        <a:gd name="connsiteX1534" fmla="*/ 244831 w 736292"/>
                        <a:gd name="connsiteY1534" fmla="*/ 704788 h 1217852"/>
                        <a:gd name="connsiteX1535" fmla="*/ 244381 w 736292"/>
                        <a:gd name="connsiteY1535" fmla="*/ 703888 h 1217852"/>
                        <a:gd name="connsiteX1536" fmla="*/ 245281 w 736292"/>
                        <a:gd name="connsiteY1536" fmla="*/ 702988 h 1217852"/>
                        <a:gd name="connsiteX1537" fmla="*/ 249781 w 736292"/>
                        <a:gd name="connsiteY1537" fmla="*/ 700738 h 1217852"/>
                        <a:gd name="connsiteX1538" fmla="*/ 250681 w 736292"/>
                        <a:gd name="connsiteY1538" fmla="*/ 698487 h 1217852"/>
                        <a:gd name="connsiteX1539" fmla="*/ 252032 w 736292"/>
                        <a:gd name="connsiteY1539" fmla="*/ 697137 h 1217852"/>
                        <a:gd name="connsiteX1540" fmla="*/ 253832 w 736292"/>
                        <a:gd name="connsiteY1540" fmla="*/ 696687 h 1217852"/>
                        <a:gd name="connsiteX1541" fmla="*/ 254732 w 736292"/>
                        <a:gd name="connsiteY1541" fmla="*/ 697137 h 1217852"/>
                        <a:gd name="connsiteX1542" fmla="*/ 256082 w 736292"/>
                        <a:gd name="connsiteY1542" fmla="*/ 698938 h 1217852"/>
                        <a:gd name="connsiteX1543" fmla="*/ 256082 w 736292"/>
                        <a:gd name="connsiteY1543" fmla="*/ 702088 h 1217852"/>
                        <a:gd name="connsiteX1544" fmla="*/ 255632 w 736292"/>
                        <a:gd name="connsiteY1544" fmla="*/ 707038 h 1217852"/>
                        <a:gd name="connsiteX1545" fmla="*/ 255632 w 736292"/>
                        <a:gd name="connsiteY1545" fmla="*/ 711089 h 1217852"/>
                        <a:gd name="connsiteX1546" fmla="*/ 256982 w 736292"/>
                        <a:gd name="connsiteY1546" fmla="*/ 720540 h 1217852"/>
                        <a:gd name="connsiteX1547" fmla="*/ 258332 w 736292"/>
                        <a:gd name="connsiteY1547" fmla="*/ 722340 h 1217852"/>
                        <a:gd name="connsiteX1548" fmla="*/ 263283 w 736292"/>
                        <a:gd name="connsiteY1548" fmla="*/ 725041 h 1217852"/>
                        <a:gd name="connsiteX1549" fmla="*/ 262833 w 736292"/>
                        <a:gd name="connsiteY1549" fmla="*/ 727291 h 1217852"/>
                        <a:gd name="connsiteX1550" fmla="*/ 257432 w 736292"/>
                        <a:gd name="connsiteY1550" fmla="*/ 736742 h 1217852"/>
                        <a:gd name="connsiteX1551" fmla="*/ 256082 w 736292"/>
                        <a:gd name="connsiteY1551" fmla="*/ 738992 h 1217852"/>
                        <a:gd name="connsiteX1552" fmla="*/ 255632 w 736292"/>
                        <a:gd name="connsiteY1552" fmla="*/ 740793 h 1217852"/>
                        <a:gd name="connsiteX1553" fmla="*/ 255632 w 736292"/>
                        <a:gd name="connsiteY1553" fmla="*/ 742143 h 1217852"/>
                        <a:gd name="connsiteX1554" fmla="*/ 256532 w 736292"/>
                        <a:gd name="connsiteY1554" fmla="*/ 743493 h 1217852"/>
                        <a:gd name="connsiteX1555" fmla="*/ 258332 w 736292"/>
                        <a:gd name="connsiteY1555" fmla="*/ 744393 h 1217852"/>
                        <a:gd name="connsiteX1556" fmla="*/ 263283 w 736292"/>
                        <a:gd name="connsiteY1556" fmla="*/ 744843 h 1217852"/>
                        <a:gd name="connsiteX1557" fmla="*/ 264633 w 736292"/>
                        <a:gd name="connsiteY1557" fmla="*/ 743943 h 1217852"/>
                        <a:gd name="connsiteX1558" fmla="*/ 274084 w 736292"/>
                        <a:gd name="connsiteY1558" fmla="*/ 743493 h 1217852"/>
                        <a:gd name="connsiteX1559" fmla="*/ 275885 w 736292"/>
                        <a:gd name="connsiteY1559" fmla="*/ 742593 h 1217852"/>
                        <a:gd name="connsiteX1560" fmla="*/ 277235 w 736292"/>
                        <a:gd name="connsiteY1560" fmla="*/ 740793 h 1217852"/>
                        <a:gd name="connsiteX1561" fmla="*/ 279485 w 736292"/>
                        <a:gd name="connsiteY1561" fmla="*/ 736292 h 1217852"/>
                        <a:gd name="connsiteX1562" fmla="*/ 281735 w 736292"/>
                        <a:gd name="connsiteY1562" fmla="*/ 734942 h 1217852"/>
                        <a:gd name="connsiteX1563" fmla="*/ 282635 w 736292"/>
                        <a:gd name="connsiteY1563" fmla="*/ 733592 h 1217852"/>
                        <a:gd name="connsiteX1564" fmla="*/ 283986 w 736292"/>
                        <a:gd name="connsiteY1564" fmla="*/ 728191 h 1217852"/>
                        <a:gd name="connsiteX1565" fmla="*/ 284886 w 736292"/>
                        <a:gd name="connsiteY1565" fmla="*/ 721890 h 1217852"/>
                        <a:gd name="connsiteX1566" fmla="*/ 285786 w 736292"/>
                        <a:gd name="connsiteY1566" fmla="*/ 719190 h 1217852"/>
                        <a:gd name="connsiteX1567" fmla="*/ 286686 w 736292"/>
                        <a:gd name="connsiteY1567" fmla="*/ 717390 h 1217852"/>
                        <a:gd name="connsiteX1568" fmla="*/ 288036 w 736292"/>
                        <a:gd name="connsiteY1568" fmla="*/ 716940 h 1217852"/>
                        <a:gd name="connsiteX1569" fmla="*/ 291636 w 736292"/>
                        <a:gd name="connsiteY1569" fmla="*/ 717390 h 1217852"/>
                        <a:gd name="connsiteX1570" fmla="*/ 293437 w 736292"/>
                        <a:gd name="connsiteY1570" fmla="*/ 716940 h 1217852"/>
                        <a:gd name="connsiteX1571" fmla="*/ 300188 w 736292"/>
                        <a:gd name="connsiteY1571" fmla="*/ 717390 h 1217852"/>
                        <a:gd name="connsiteX1572" fmla="*/ 306938 w 736292"/>
                        <a:gd name="connsiteY1572" fmla="*/ 716940 h 1217852"/>
                        <a:gd name="connsiteX1573" fmla="*/ 313689 w 736292"/>
                        <a:gd name="connsiteY1573" fmla="*/ 718290 h 1217852"/>
                        <a:gd name="connsiteX1574" fmla="*/ 318190 w 736292"/>
                        <a:gd name="connsiteY1574" fmla="*/ 719640 h 1217852"/>
                        <a:gd name="connsiteX1575" fmla="*/ 322240 w 736292"/>
                        <a:gd name="connsiteY1575" fmla="*/ 721890 h 1217852"/>
                        <a:gd name="connsiteX1576" fmla="*/ 330341 w 736292"/>
                        <a:gd name="connsiteY1576" fmla="*/ 726841 h 1217852"/>
                        <a:gd name="connsiteX1577" fmla="*/ 333492 w 736292"/>
                        <a:gd name="connsiteY1577" fmla="*/ 729541 h 1217852"/>
                        <a:gd name="connsiteX1578" fmla="*/ 335742 w 736292"/>
                        <a:gd name="connsiteY1578" fmla="*/ 734492 h 12178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Lst>
                      <a:rect l="l" t="t" r="r" b="b"/>
                      <a:pathLst>
                        <a:path w="736292" h="1217852">
                          <a:moveTo>
                            <a:pt x="562120" y="7651"/>
                          </a:moveTo>
                          <a:lnTo>
                            <a:pt x="562120" y="46356"/>
                          </a:lnTo>
                          <a:lnTo>
                            <a:pt x="561670" y="46356"/>
                          </a:lnTo>
                          <a:lnTo>
                            <a:pt x="555820" y="49056"/>
                          </a:lnTo>
                          <a:lnTo>
                            <a:pt x="553119" y="49506"/>
                          </a:lnTo>
                          <a:lnTo>
                            <a:pt x="545918" y="47706"/>
                          </a:lnTo>
                          <a:lnTo>
                            <a:pt x="544118" y="46356"/>
                          </a:lnTo>
                          <a:lnTo>
                            <a:pt x="540068" y="41405"/>
                          </a:lnTo>
                          <a:lnTo>
                            <a:pt x="536917" y="39605"/>
                          </a:lnTo>
                          <a:lnTo>
                            <a:pt x="535567" y="40505"/>
                          </a:lnTo>
                          <a:lnTo>
                            <a:pt x="534217" y="44556"/>
                          </a:lnTo>
                          <a:lnTo>
                            <a:pt x="531516" y="49506"/>
                          </a:lnTo>
                          <a:lnTo>
                            <a:pt x="529716" y="50856"/>
                          </a:lnTo>
                          <a:lnTo>
                            <a:pt x="524766" y="49956"/>
                          </a:lnTo>
                          <a:lnTo>
                            <a:pt x="516665" y="41405"/>
                          </a:lnTo>
                          <a:lnTo>
                            <a:pt x="507664" y="44106"/>
                          </a:lnTo>
                          <a:lnTo>
                            <a:pt x="498212" y="49056"/>
                          </a:lnTo>
                          <a:lnTo>
                            <a:pt x="494612" y="49956"/>
                          </a:lnTo>
                          <a:lnTo>
                            <a:pt x="493712" y="48606"/>
                          </a:lnTo>
                          <a:lnTo>
                            <a:pt x="492362" y="45006"/>
                          </a:lnTo>
                          <a:lnTo>
                            <a:pt x="492812" y="43205"/>
                          </a:lnTo>
                          <a:lnTo>
                            <a:pt x="495512" y="37355"/>
                          </a:lnTo>
                          <a:lnTo>
                            <a:pt x="501813" y="31054"/>
                          </a:lnTo>
                          <a:lnTo>
                            <a:pt x="506313" y="27453"/>
                          </a:lnTo>
                          <a:lnTo>
                            <a:pt x="515314" y="22503"/>
                          </a:lnTo>
                          <a:lnTo>
                            <a:pt x="526116" y="19803"/>
                          </a:lnTo>
                          <a:lnTo>
                            <a:pt x="530166" y="16652"/>
                          </a:lnTo>
                          <a:lnTo>
                            <a:pt x="532867" y="12152"/>
                          </a:lnTo>
                          <a:lnTo>
                            <a:pt x="540068" y="5401"/>
                          </a:lnTo>
                          <a:lnTo>
                            <a:pt x="544118" y="2700"/>
                          </a:lnTo>
                          <a:lnTo>
                            <a:pt x="549519" y="0"/>
                          </a:lnTo>
                          <a:lnTo>
                            <a:pt x="554019" y="0"/>
                          </a:lnTo>
                          <a:lnTo>
                            <a:pt x="559870" y="5851"/>
                          </a:lnTo>
                          <a:lnTo>
                            <a:pt x="562120" y="7651"/>
                          </a:lnTo>
                          <a:close/>
                          <a:moveTo>
                            <a:pt x="562120" y="70659"/>
                          </a:moveTo>
                          <a:lnTo>
                            <a:pt x="562120" y="86861"/>
                          </a:lnTo>
                          <a:lnTo>
                            <a:pt x="558070" y="89111"/>
                          </a:lnTo>
                          <a:lnTo>
                            <a:pt x="546368" y="94062"/>
                          </a:lnTo>
                          <a:lnTo>
                            <a:pt x="544118" y="96312"/>
                          </a:lnTo>
                          <a:lnTo>
                            <a:pt x="544118" y="97662"/>
                          </a:lnTo>
                          <a:lnTo>
                            <a:pt x="545018" y="99462"/>
                          </a:lnTo>
                          <a:lnTo>
                            <a:pt x="546818" y="101713"/>
                          </a:lnTo>
                          <a:lnTo>
                            <a:pt x="555820" y="101263"/>
                          </a:lnTo>
                          <a:lnTo>
                            <a:pt x="558070" y="102163"/>
                          </a:lnTo>
                          <a:lnTo>
                            <a:pt x="558970" y="103513"/>
                          </a:lnTo>
                          <a:lnTo>
                            <a:pt x="559420" y="105763"/>
                          </a:lnTo>
                          <a:lnTo>
                            <a:pt x="559870" y="108464"/>
                          </a:lnTo>
                          <a:lnTo>
                            <a:pt x="559870" y="117465"/>
                          </a:lnTo>
                          <a:lnTo>
                            <a:pt x="559420" y="122865"/>
                          </a:lnTo>
                          <a:lnTo>
                            <a:pt x="558070" y="127366"/>
                          </a:lnTo>
                          <a:lnTo>
                            <a:pt x="554469" y="130516"/>
                          </a:lnTo>
                          <a:lnTo>
                            <a:pt x="547719" y="135017"/>
                          </a:lnTo>
                          <a:lnTo>
                            <a:pt x="543218" y="136817"/>
                          </a:lnTo>
                          <a:lnTo>
                            <a:pt x="539617" y="135917"/>
                          </a:lnTo>
                          <a:lnTo>
                            <a:pt x="536017" y="136367"/>
                          </a:lnTo>
                          <a:lnTo>
                            <a:pt x="520715" y="144468"/>
                          </a:lnTo>
                          <a:lnTo>
                            <a:pt x="515765" y="144468"/>
                          </a:lnTo>
                          <a:lnTo>
                            <a:pt x="511714" y="142668"/>
                          </a:lnTo>
                          <a:lnTo>
                            <a:pt x="505863" y="135017"/>
                          </a:lnTo>
                          <a:lnTo>
                            <a:pt x="500013" y="131867"/>
                          </a:lnTo>
                          <a:lnTo>
                            <a:pt x="497312" y="128266"/>
                          </a:lnTo>
                          <a:lnTo>
                            <a:pt x="494612" y="126466"/>
                          </a:lnTo>
                          <a:lnTo>
                            <a:pt x="493712" y="123765"/>
                          </a:lnTo>
                          <a:lnTo>
                            <a:pt x="493262" y="121515"/>
                          </a:lnTo>
                          <a:lnTo>
                            <a:pt x="493712" y="119715"/>
                          </a:lnTo>
                          <a:lnTo>
                            <a:pt x="494612" y="117915"/>
                          </a:lnTo>
                          <a:lnTo>
                            <a:pt x="495062" y="116565"/>
                          </a:lnTo>
                          <a:lnTo>
                            <a:pt x="494162" y="112064"/>
                          </a:lnTo>
                          <a:lnTo>
                            <a:pt x="493712" y="108014"/>
                          </a:lnTo>
                          <a:lnTo>
                            <a:pt x="491912" y="102163"/>
                          </a:lnTo>
                          <a:lnTo>
                            <a:pt x="491461" y="98562"/>
                          </a:lnTo>
                          <a:lnTo>
                            <a:pt x="491461" y="96312"/>
                          </a:lnTo>
                          <a:lnTo>
                            <a:pt x="491912" y="94062"/>
                          </a:lnTo>
                          <a:lnTo>
                            <a:pt x="493262" y="89561"/>
                          </a:lnTo>
                          <a:lnTo>
                            <a:pt x="493712" y="88661"/>
                          </a:lnTo>
                          <a:lnTo>
                            <a:pt x="497312" y="87761"/>
                          </a:lnTo>
                          <a:lnTo>
                            <a:pt x="501813" y="85511"/>
                          </a:lnTo>
                          <a:lnTo>
                            <a:pt x="512614" y="78760"/>
                          </a:lnTo>
                          <a:lnTo>
                            <a:pt x="536017" y="70209"/>
                          </a:lnTo>
                          <a:lnTo>
                            <a:pt x="543218" y="71109"/>
                          </a:lnTo>
                          <a:lnTo>
                            <a:pt x="546368" y="69309"/>
                          </a:lnTo>
                          <a:lnTo>
                            <a:pt x="552219" y="68409"/>
                          </a:lnTo>
                          <a:lnTo>
                            <a:pt x="562120" y="70659"/>
                          </a:lnTo>
                          <a:close/>
                          <a:moveTo>
                            <a:pt x="480660" y="104413"/>
                          </a:moveTo>
                          <a:lnTo>
                            <a:pt x="474809" y="108014"/>
                          </a:lnTo>
                          <a:lnTo>
                            <a:pt x="470759" y="108014"/>
                          </a:lnTo>
                          <a:lnTo>
                            <a:pt x="464008" y="103063"/>
                          </a:lnTo>
                          <a:lnTo>
                            <a:pt x="455907" y="88211"/>
                          </a:lnTo>
                          <a:lnTo>
                            <a:pt x="455007" y="82810"/>
                          </a:lnTo>
                          <a:lnTo>
                            <a:pt x="458157" y="81910"/>
                          </a:lnTo>
                          <a:lnTo>
                            <a:pt x="460408" y="80110"/>
                          </a:lnTo>
                          <a:lnTo>
                            <a:pt x="461758" y="77860"/>
                          </a:lnTo>
                          <a:lnTo>
                            <a:pt x="464458" y="75159"/>
                          </a:lnTo>
                          <a:lnTo>
                            <a:pt x="470309" y="71559"/>
                          </a:lnTo>
                          <a:lnTo>
                            <a:pt x="471209" y="72909"/>
                          </a:lnTo>
                          <a:lnTo>
                            <a:pt x="471209" y="76060"/>
                          </a:lnTo>
                          <a:lnTo>
                            <a:pt x="471659" y="78760"/>
                          </a:lnTo>
                          <a:lnTo>
                            <a:pt x="473909" y="79210"/>
                          </a:lnTo>
                          <a:lnTo>
                            <a:pt x="475710" y="81460"/>
                          </a:lnTo>
                          <a:lnTo>
                            <a:pt x="479760" y="87761"/>
                          </a:lnTo>
                          <a:lnTo>
                            <a:pt x="482460" y="89111"/>
                          </a:lnTo>
                          <a:lnTo>
                            <a:pt x="483360" y="90461"/>
                          </a:lnTo>
                          <a:lnTo>
                            <a:pt x="483810" y="92712"/>
                          </a:lnTo>
                          <a:lnTo>
                            <a:pt x="485611" y="96312"/>
                          </a:lnTo>
                          <a:lnTo>
                            <a:pt x="485611" y="98112"/>
                          </a:lnTo>
                          <a:lnTo>
                            <a:pt x="483360" y="101713"/>
                          </a:lnTo>
                          <a:lnTo>
                            <a:pt x="480660" y="104413"/>
                          </a:lnTo>
                          <a:close/>
                          <a:moveTo>
                            <a:pt x="444206" y="143118"/>
                          </a:moveTo>
                          <a:lnTo>
                            <a:pt x="446006" y="146718"/>
                          </a:lnTo>
                          <a:lnTo>
                            <a:pt x="446006" y="148069"/>
                          </a:lnTo>
                          <a:lnTo>
                            <a:pt x="445106" y="149869"/>
                          </a:lnTo>
                          <a:lnTo>
                            <a:pt x="442405" y="152569"/>
                          </a:lnTo>
                          <a:lnTo>
                            <a:pt x="429804" y="161120"/>
                          </a:lnTo>
                          <a:lnTo>
                            <a:pt x="427553" y="165171"/>
                          </a:lnTo>
                          <a:lnTo>
                            <a:pt x="428454" y="168321"/>
                          </a:lnTo>
                          <a:lnTo>
                            <a:pt x="432954" y="175072"/>
                          </a:lnTo>
                          <a:lnTo>
                            <a:pt x="437455" y="180923"/>
                          </a:lnTo>
                          <a:lnTo>
                            <a:pt x="438355" y="183623"/>
                          </a:lnTo>
                          <a:lnTo>
                            <a:pt x="436104" y="186323"/>
                          </a:lnTo>
                          <a:lnTo>
                            <a:pt x="432054" y="185423"/>
                          </a:lnTo>
                          <a:lnTo>
                            <a:pt x="430704" y="185873"/>
                          </a:lnTo>
                          <a:lnTo>
                            <a:pt x="429354" y="187223"/>
                          </a:lnTo>
                          <a:lnTo>
                            <a:pt x="429804" y="189924"/>
                          </a:lnTo>
                          <a:lnTo>
                            <a:pt x="434304" y="198475"/>
                          </a:lnTo>
                          <a:lnTo>
                            <a:pt x="435655" y="202975"/>
                          </a:lnTo>
                          <a:lnTo>
                            <a:pt x="435655" y="205226"/>
                          </a:lnTo>
                          <a:lnTo>
                            <a:pt x="434754" y="207476"/>
                          </a:lnTo>
                          <a:lnTo>
                            <a:pt x="432954" y="210626"/>
                          </a:lnTo>
                          <a:lnTo>
                            <a:pt x="429804" y="214677"/>
                          </a:lnTo>
                          <a:lnTo>
                            <a:pt x="424403" y="217827"/>
                          </a:lnTo>
                          <a:lnTo>
                            <a:pt x="413152" y="221878"/>
                          </a:lnTo>
                          <a:lnTo>
                            <a:pt x="412702" y="225028"/>
                          </a:lnTo>
                          <a:lnTo>
                            <a:pt x="412702" y="227278"/>
                          </a:lnTo>
                          <a:lnTo>
                            <a:pt x="412252" y="233129"/>
                          </a:lnTo>
                          <a:lnTo>
                            <a:pt x="411801" y="235830"/>
                          </a:lnTo>
                          <a:lnTo>
                            <a:pt x="410451" y="240330"/>
                          </a:lnTo>
                          <a:lnTo>
                            <a:pt x="409551" y="242580"/>
                          </a:lnTo>
                          <a:lnTo>
                            <a:pt x="407751" y="243931"/>
                          </a:lnTo>
                          <a:lnTo>
                            <a:pt x="405501" y="244831"/>
                          </a:lnTo>
                          <a:lnTo>
                            <a:pt x="403250" y="244831"/>
                          </a:lnTo>
                          <a:lnTo>
                            <a:pt x="398300" y="240780"/>
                          </a:lnTo>
                          <a:lnTo>
                            <a:pt x="396050" y="238080"/>
                          </a:lnTo>
                          <a:lnTo>
                            <a:pt x="392899" y="232679"/>
                          </a:lnTo>
                          <a:lnTo>
                            <a:pt x="392449" y="229079"/>
                          </a:lnTo>
                          <a:lnTo>
                            <a:pt x="392899" y="224578"/>
                          </a:lnTo>
                          <a:lnTo>
                            <a:pt x="393799" y="217377"/>
                          </a:lnTo>
                          <a:lnTo>
                            <a:pt x="395149" y="210176"/>
                          </a:lnTo>
                          <a:lnTo>
                            <a:pt x="396950" y="202525"/>
                          </a:lnTo>
                          <a:lnTo>
                            <a:pt x="397400" y="198025"/>
                          </a:lnTo>
                          <a:lnTo>
                            <a:pt x="396500" y="196225"/>
                          </a:lnTo>
                          <a:lnTo>
                            <a:pt x="395149" y="196225"/>
                          </a:lnTo>
                          <a:lnTo>
                            <a:pt x="391099" y="199375"/>
                          </a:lnTo>
                          <a:lnTo>
                            <a:pt x="388399" y="200275"/>
                          </a:lnTo>
                          <a:lnTo>
                            <a:pt x="386148" y="202525"/>
                          </a:lnTo>
                          <a:lnTo>
                            <a:pt x="384798" y="205676"/>
                          </a:lnTo>
                          <a:lnTo>
                            <a:pt x="383898" y="209276"/>
                          </a:lnTo>
                          <a:lnTo>
                            <a:pt x="383448" y="216027"/>
                          </a:lnTo>
                          <a:lnTo>
                            <a:pt x="382548" y="219628"/>
                          </a:lnTo>
                          <a:lnTo>
                            <a:pt x="380298" y="221428"/>
                          </a:lnTo>
                          <a:lnTo>
                            <a:pt x="377147" y="221428"/>
                          </a:lnTo>
                          <a:lnTo>
                            <a:pt x="375797" y="222778"/>
                          </a:lnTo>
                          <a:lnTo>
                            <a:pt x="375347" y="225028"/>
                          </a:lnTo>
                          <a:lnTo>
                            <a:pt x="375797" y="226828"/>
                          </a:lnTo>
                          <a:lnTo>
                            <a:pt x="378947" y="230879"/>
                          </a:lnTo>
                          <a:lnTo>
                            <a:pt x="379398" y="235379"/>
                          </a:lnTo>
                          <a:lnTo>
                            <a:pt x="378947" y="238080"/>
                          </a:lnTo>
                          <a:lnTo>
                            <a:pt x="375347" y="243030"/>
                          </a:lnTo>
                          <a:lnTo>
                            <a:pt x="374447" y="244831"/>
                          </a:lnTo>
                          <a:lnTo>
                            <a:pt x="372197" y="252932"/>
                          </a:lnTo>
                          <a:lnTo>
                            <a:pt x="371296" y="254732"/>
                          </a:lnTo>
                          <a:lnTo>
                            <a:pt x="369496" y="256532"/>
                          </a:lnTo>
                          <a:lnTo>
                            <a:pt x="367696" y="256532"/>
                          </a:lnTo>
                          <a:lnTo>
                            <a:pt x="365896" y="253832"/>
                          </a:lnTo>
                          <a:lnTo>
                            <a:pt x="363195" y="248431"/>
                          </a:lnTo>
                          <a:lnTo>
                            <a:pt x="361395" y="243481"/>
                          </a:lnTo>
                          <a:lnTo>
                            <a:pt x="360495" y="239430"/>
                          </a:lnTo>
                          <a:lnTo>
                            <a:pt x="359595" y="237630"/>
                          </a:lnTo>
                          <a:lnTo>
                            <a:pt x="358245" y="238980"/>
                          </a:lnTo>
                          <a:lnTo>
                            <a:pt x="356895" y="243030"/>
                          </a:lnTo>
                          <a:lnTo>
                            <a:pt x="356895" y="246181"/>
                          </a:lnTo>
                          <a:lnTo>
                            <a:pt x="357345" y="251131"/>
                          </a:lnTo>
                          <a:lnTo>
                            <a:pt x="357345" y="254282"/>
                          </a:lnTo>
                          <a:lnTo>
                            <a:pt x="355094" y="257882"/>
                          </a:lnTo>
                          <a:lnTo>
                            <a:pt x="355544" y="259232"/>
                          </a:lnTo>
                          <a:lnTo>
                            <a:pt x="359145" y="263283"/>
                          </a:lnTo>
                          <a:lnTo>
                            <a:pt x="359595" y="265083"/>
                          </a:lnTo>
                          <a:lnTo>
                            <a:pt x="359595" y="268234"/>
                          </a:lnTo>
                          <a:lnTo>
                            <a:pt x="359145" y="269584"/>
                          </a:lnTo>
                          <a:lnTo>
                            <a:pt x="357795" y="269584"/>
                          </a:lnTo>
                          <a:lnTo>
                            <a:pt x="356445" y="272734"/>
                          </a:lnTo>
                          <a:lnTo>
                            <a:pt x="355094" y="275434"/>
                          </a:lnTo>
                          <a:lnTo>
                            <a:pt x="351494" y="280385"/>
                          </a:lnTo>
                          <a:lnTo>
                            <a:pt x="346093" y="280835"/>
                          </a:lnTo>
                          <a:lnTo>
                            <a:pt x="341593" y="283085"/>
                          </a:lnTo>
                          <a:lnTo>
                            <a:pt x="340693" y="283085"/>
                          </a:lnTo>
                          <a:lnTo>
                            <a:pt x="339792" y="279035"/>
                          </a:lnTo>
                          <a:lnTo>
                            <a:pt x="338442" y="271384"/>
                          </a:lnTo>
                          <a:lnTo>
                            <a:pt x="337542" y="266883"/>
                          </a:lnTo>
                          <a:lnTo>
                            <a:pt x="336192" y="264633"/>
                          </a:lnTo>
                          <a:lnTo>
                            <a:pt x="334392" y="255632"/>
                          </a:lnTo>
                          <a:lnTo>
                            <a:pt x="333492" y="252932"/>
                          </a:lnTo>
                          <a:lnTo>
                            <a:pt x="332592" y="251582"/>
                          </a:lnTo>
                          <a:lnTo>
                            <a:pt x="331692" y="251131"/>
                          </a:lnTo>
                          <a:lnTo>
                            <a:pt x="330791" y="252932"/>
                          </a:lnTo>
                          <a:lnTo>
                            <a:pt x="328091" y="265533"/>
                          </a:lnTo>
                          <a:lnTo>
                            <a:pt x="324041" y="268684"/>
                          </a:lnTo>
                          <a:lnTo>
                            <a:pt x="321790" y="269134"/>
                          </a:lnTo>
                          <a:lnTo>
                            <a:pt x="319540" y="268684"/>
                          </a:lnTo>
                          <a:lnTo>
                            <a:pt x="313689" y="265083"/>
                          </a:lnTo>
                          <a:lnTo>
                            <a:pt x="309189" y="263733"/>
                          </a:lnTo>
                          <a:lnTo>
                            <a:pt x="306038" y="265083"/>
                          </a:lnTo>
                          <a:lnTo>
                            <a:pt x="300638" y="270034"/>
                          </a:lnTo>
                          <a:lnTo>
                            <a:pt x="298387" y="271384"/>
                          </a:lnTo>
                          <a:lnTo>
                            <a:pt x="295687" y="270934"/>
                          </a:lnTo>
                          <a:lnTo>
                            <a:pt x="294337" y="269134"/>
                          </a:lnTo>
                          <a:lnTo>
                            <a:pt x="293437" y="265983"/>
                          </a:lnTo>
                          <a:lnTo>
                            <a:pt x="293437" y="264183"/>
                          </a:lnTo>
                          <a:lnTo>
                            <a:pt x="294337" y="263283"/>
                          </a:lnTo>
                          <a:lnTo>
                            <a:pt x="295687" y="259682"/>
                          </a:lnTo>
                          <a:lnTo>
                            <a:pt x="295687" y="258332"/>
                          </a:lnTo>
                          <a:lnTo>
                            <a:pt x="294337" y="256082"/>
                          </a:lnTo>
                          <a:lnTo>
                            <a:pt x="294337" y="254282"/>
                          </a:lnTo>
                          <a:lnTo>
                            <a:pt x="294787" y="252932"/>
                          </a:lnTo>
                          <a:lnTo>
                            <a:pt x="294787" y="252032"/>
                          </a:lnTo>
                          <a:lnTo>
                            <a:pt x="294337" y="251582"/>
                          </a:lnTo>
                          <a:lnTo>
                            <a:pt x="292987" y="252032"/>
                          </a:lnTo>
                          <a:lnTo>
                            <a:pt x="288486" y="254282"/>
                          </a:lnTo>
                          <a:lnTo>
                            <a:pt x="288936" y="251582"/>
                          </a:lnTo>
                          <a:lnTo>
                            <a:pt x="291186" y="246181"/>
                          </a:lnTo>
                          <a:lnTo>
                            <a:pt x="296587" y="234929"/>
                          </a:lnTo>
                          <a:lnTo>
                            <a:pt x="298837" y="231779"/>
                          </a:lnTo>
                          <a:lnTo>
                            <a:pt x="300188" y="230879"/>
                          </a:lnTo>
                          <a:lnTo>
                            <a:pt x="315940" y="227278"/>
                          </a:lnTo>
                          <a:lnTo>
                            <a:pt x="316840" y="226378"/>
                          </a:lnTo>
                          <a:lnTo>
                            <a:pt x="324491" y="211076"/>
                          </a:lnTo>
                          <a:lnTo>
                            <a:pt x="326741" y="207476"/>
                          </a:lnTo>
                          <a:lnTo>
                            <a:pt x="328991" y="204776"/>
                          </a:lnTo>
                          <a:lnTo>
                            <a:pt x="339792" y="195324"/>
                          </a:lnTo>
                          <a:lnTo>
                            <a:pt x="340693" y="193074"/>
                          </a:lnTo>
                          <a:lnTo>
                            <a:pt x="342493" y="186323"/>
                          </a:lnTo>
                          <a:lnTo>
                            <a:pt x="343393" y="184523"/>
                          </a:lnTo>
                          <a:lnTo>
                            <a:pt x="345643" y="181823"/>
                          </a:lnTo>
                          <a:lnTo>
                            <a:pt x="353294" y="168321"/>
                          </a:lnTo>
                          <a:lnTo>
                            <a:pt x="360495" y="158420"/>
                          </a:lnTo>
                          <a:lnTo>
                            <a:pt x="364095" y="152119"/>
                          </a:lnTo>
                          <a:lnTo>
                            <a:pt x="369046" y="145818"/>
                          </a:lnTo>
                          <a:lnTo>
                            <a:pt x="374897" y="143118"/>
                          </a:lnTo>
                          <a:lnTo>
                            <a:pt x="391999" y="138617"/>
                          </a:lnTo>
                          <a:lnTo>
                            <a:pt x="404601" y="144918"/>
                          </a:lnTo>
                          <a:lnTo>
                            <a:pt x="407751" y="145368"/>
                          </a:lnTo>
                          <a:lnTo>
                            <a:pt x="409101" y="143568"/>
                          </a:lnTo>
                          <a:lnTo>
                            <a:pt x="410451" y="140868"/>
                          </a:lnTo>
                          <a:lnTo>
                            <a:pt x="412252" y="142218"/>
                          </a:lnTo>
                          <a:lnTo>
                            <a:pt x="416752" y="143118"/>
                          </a:lnTo>
                          <a:lnTo>
                            <a:pt x="417652" y="142218"/>
                          </a:lnTo>
                          <a:lnTo>
                            <a:pt x="419452" y="139067"/>
                          </a:lnTo>
                          <a:lnTo>
                            <a:pt x="418102" y="137267"/>
                          </a:lnTo>
                          <a:lnTo>
                            <a:pt x="412702" y="134117"/>
                          </a:lnTo>
                          <a:lnTo>
                            <a:pt x="412252" y="132317"/>
                          </a:lnTo>
                          <a:lnTo>
                            <a:pt x="412252" y="130516"/>
                          </a:lnTo>
                          <a:lnTo>
                            <a:pt x="414052" y="126916"/>
                          </a:lnTo>
                          <a:lnTo>
                            <a:pt x="416302" y="124666"/>
                          </a:lnTo>
                          <a:lnTo>
                            <a:pt x="423053" y="122865"/>
                          </a:lnTo>
                          <a:lnTo>
                            <a:pt x="426203" y="123315"/>
                          </a:lnTo>
                          <a:lnTo>
                            <a:pt x="429354" y="126016"/>
                          </a:lnTo>
                          <a:lnTo>
                            <a:pt x="433404" y="131416"/>
                          </a:lnTo>
                          <a:lnTo>
                            <a:pt x="444206" y="143118"/>
                          </a:lnTo>
                          <a:close/>
                          <a:moveTo>
                            <a:pt x="486511" y="201625"/>
                          </a:moveTo>
                          <a:lnTo>
                            <a:pt x="483360" y="204776"/>
                          </a:lnTo>
                          <a:lnTo>
                            <a:pt x="461308" y="200275"/>
                          </a:lnTo>
                          <a:lnTo>
                            <a:pt x="459958" y="198925"/>
                          </a:lnTo>
                          <a:lnTo>
                            <a:pt x="459507" y="197125"/>
                          </a:lnTo>
                          <a:lnTo>
                            <a:pt x="463558" y="191724"/>
                          </a:lnTo>
                          <a:lnTo>
                            <a:pt x="468509" y="189474"/>
                          </a:lnTo>
                          <a:lnTo>
                            <a:pt x="479760" y="187673"/>
                          </a:lnTo>
                          <a:lnTo>
                            <a:pt x="483810" y="189924"/>
                          </a:lnTo>
                          <a:lnTo>
                            <a:pt x="486511" y="192174"/>
                          </a:lnTo>
                          <a:lnTo>
                            <a:pt x="487861" y="194424"/>
                          </a:lnTo>
                          <a:lnTo>
                            <a:pt x="488311" y="198475"/>
                          </a:lnTo>
                          <a:lnTo>
                            <a:pt x="486511" y="201625"/>
                          </a:lnTo>
                          <a:close/>
                          <a:moveTo>
                            <a:pt x="562120" y="308289"/>
                          </a:moveTo>
                          <a:lnTo>
                            <a:pt x="562120" y="317290"/>
                          </a:lnTo>
                          <a:lnTo>
                            <a:pt x="562120" y="362295"/>
                          </a:lnTo>
                          <a:lnTo>
                            <a:pt x="562120" y="365446"/>
                          </a:lnTo>
                          <a:lnTo>
                            <a:pt x="558520" y="366346"/>
                          </a:lnTo>
                          <a:lnTo>
                            <a:pt x="554019" y="368596"/>
                          </a:lnTo>
                          <a:lnTo>
                            <a:pt x="550869" y="371296"/>
                          </a:lnTo>
                          <a:lnTo>
                            <a:pt x="549069" y="373547"/>
                          </a:lnTo>
                          <a:lnTo>
                            <a:pt x="546368" y="378947"/>
                          </a:lnTo>
                          <a:lnTo>
                            <a:pt x="542318" y="382998"/>
                          </a:lnTo>
                          <a:lnTo>
                            <a:pt x="535117" y="387499"/>
                          </a:lnTo>
                          <a:lnTo>
                            <a:pt x="525666" y="394249"/>
                          </a:lnTo>
                          <a:lnTo>
                            <a:pt x="509014" y="401000"/>
                          </a:lnTo>
                          <a:lnTo>
                            <a:pt x="498662" y="402350"/>
                          </a:lnTo>
                          <a:lnTo>
                            <a:pt x="488311" y="400100"/>
                          </a:lnTo>
                          <a:lnTo>
                            <a:pt x="485161" y="398300"/>
                          </a:lnTo>
                          <a:lnTo>
                            <a:pt x="481560" y="395600"/>
                          </a:lnTo>
                          <a:lnTo>
                            <a:pt x="474359" y="388849"/>
                          </a:lnTo>
                          <a:lnTo>
                            <a:pt x="472559" y="386598"/>
                          </a:lnTo>
                          <a:lnTo>
                            <a:pt x="470309" y="381198"/>
                          </a:lnTo>
                          <a:lnTo>
                            <a:pt x="471659" y="377597"/>
                          </a:lnTo>
                          <a:lnTo>
                            <a:pt x="475710" y="373547"/>
                          </a:lnTo>
                          <a:lnTo>
                            <a:pt x="481560" y="369946"/>
                          </a:lnTo>
                          <a:lnTo>
                            <a:pt x="492812" y="364996"/>
                          </a:lnTo>
                          <a:lnTo>
                            <a:pt x="503163" y="356895"/>
                          </a:lnTo>
                          <a:lnTo>
                            <a:pt x="506763" y="355545"/>
                          </a:lnTo>
                          <a:lnTo>
                            <a:pt x="516665" y="354194"/>
                          </a:lnTo>
                          <a:lnTo>
                            <a:pt x="521615" y="355094"/>
                          </a:lnTo>
                          <a:lnTo>
                            <a:pt x="525216" y="354644"/>
                          </a:lnTo>
                          <a:lnTo>
                            <a:pt x="527466" y="353294"/>
                          </a:lnTo>
                          <a:lnTo>
                            <a:pt x="531066" y="350144"/>
                          </a:lnTo>
                          <a:lnTo>
                            <a:pt x="536467" y="344293"/>
                          </a:lnTo>
                          <a:lnTo>
                            <a:pt x="540068" y="338892"/>
                          </a:lnTo>
                          <a:lnTo>
                            <a:pt x="540968" y="336192"/>
                          </a:lnTo>
                          <a:lnTo>
                            <a:pt x="539617" y="333942"/>
                          </a:lnTo>
                          <a:lnTo>
                            <a:pt x="537817" y="333492"/>
                          </a:lnTo>
                          <a:lnTo>
                            <a:pt x="531516" y="339343"/>
                          </a:lnTo>
                          <a:lnTo>
                            <a:pt x="528366" y="341143"/>
                          </a:lnTo>
                          <a:lnTo>
                            <a:pt x="524766" y="341143"/>
                          </a:lnTo>
                          <a:lnTo>
                            <a:pt x="520265" y="342943"/>
                          </a:lnTo>
                          <a:lnTo>
                            <a:pt x="515765" y="343843"/>
                          </a:lnTo>
                          <a:lnTo>
                            <a:pt x="514864" y="343843"/>
                          </a:lnTo>
                          <a:lnTo>
                            <a:pt x="509914" y="338442"/>
                          </a:lnTo>
                          <a:lnTo>
                            <a:pt x="507213" y="337542"/>
                          </a:lnTo>
                          <a:lnTo>
                            <a:pt x="505863" y="337992"/>
                          </a:lnTo>
                          <a:lnTo>
                            <a:pt x="504963" y="339343"/>
                          </a:lnTo>
                          <a:lnTo>
                            <a:pt x="502713" y="343393"/>
                          </a:lnTo>
                          <a:lnTo>
                            <a:pt x="501363" y="344743"/>
                          </a:lnTo>
                          <a:lnTo>
                            <a:pt x="499112" y="345643"/>
                          </a:lnTo>
                          <a:lnTo>
                            <a:pt x="491011" y="346993"/>
                          </a:lnTo>
                          <a:lnTo>
                            <a:pt x="482910" y="349244"/>
                          </a:lnTo>
                          <a:lnTo>
                            <a:pt x="481110" y="347894"/>
                          </a:lnTo>
                          <a:lnTo>
                            <a:pt x="480210" y="345643"/>
                          </a:lnTo>
                          <a:lnTo>
                            <a:pt x="480210" y="344293"/>
                          </a:lnTo>
                          <a:lnTo>
                            <a:pt x="480210" y="339343"/>
                          </a:lnTo>
                          <a:lnTo>
                            <a:pt x="479760" y="337542"/>
                          </a:lnTo>
                          <a:lnTo>
                            <a:pt x="480660" y="333492"/>
                          </a:lnTo>
                          <a:lnTo>
                            <a:pt x="481560" y="330341"/>
                          </a:lnTo>
                          <a:lnTo>
                            <a:pt x="482460" y="328091"/>
                          </a:lnTo>
                          <a:lnTo>
                            <a:pt x="487861" y="321790"/>
                          </a:lnTo>
                          <a:lnTo>
                            <a:pt x="488761" y="319990"/>
                          </a:lnTo>
                          <a:lnTo>
                            <a:pt x="486061" y="320440"/>
                          </a:lnTo>
                          <a:lnTo>
                            <a:pt x="479760" y="323591"/>
                          </a:lnTo>
                          <a:lnTo>
                            <a:pt x="478860" y="322690"/>
                          </a:lnTo>
                          <a:lnTo>
                            <a:pt x="477510" y="319090"/>
                          </a:lnTo>
                          <a:lnTo>
                            <a:pt x="476610" y="318640"/>
                          </a:lnTo>
                          <a:lnTo>
                            <a:pt x="475710" y="319990"/>
                          </a:lnTo>
                          <a:lnTo>
                            <a:pt x="475259" y="322240"/>
                          </a:lnTo>
                          <a:lnTo>
                            <a:pt x="474359" y="330791"/>
                          </a:lnTo>
                          <a:lnTo>
                            <a:pt x="473459" y="335292"/>
                          </a:lnTo>
                          <a:lnTo>
                            <a:pt x="471209" y="334392"/>
                          </a:lnTo>
                          <a:lnTo>
                            <a:pt x="468059" y="331692"/>
                          </a:lnTo>
                          <a:lnTo>
                            <a:pt x="466708" y="331241"/>
                          </a:lnTo>
                          <a:lnTo>
                            <a:pt x="466258" y="332142"/>
                          </a:lnTo>
                          <a:lnTo>
                            <a:pt x="466258" y="333492"/>
                          </a:lnTo>
                          <a:lnTo>
                            <a:pt x="469409" y="340693"/>
                          </a:lnTo>
                          <a:lnTo>
                            <a:pt x="469409" y="343393"/>
                          </a:lnTo>
                          <a:lnTo>
                            <a:pt x="467158" y="347894"/>
                          </a:lnTo>
                          <a:lnTo>
                            <a:pt x="458607" y="355094"/>
                          </a:lnTo>
                          <a:lnTo>
                            <a:pt x="455007" y="356895"/>
                          </a:lnTo>
                          <a:lnTo>
                            <a:pt x="453657" y="355995"/>
                          </a:lnTo>
                          <a:lnTo>
                            <a:pt x="452757" y="354194"/>
                          </a:lnTo>
                          <a:lnTo>
                            <a:pt x="451856" y="351044"/>
                          </a:lnTo>
                          <a:lnTo>
                            <a:pt x="449606" y="346543"/>
                          </a:lnTo>
                          <a:lnTo>
                            <a:pt x="448256" y="345643"/>
                          </a:lnTo>
                          <a:lnTo>
                            <a:pt x="446906" y="345643"/>
                          </a:lnTo>
                          <a:lnTo>
                            <a:pt x="445556" y="346543"/>
                          </a:lnTo>
                          <a:lnTo>
                            <a:pt x="444206" y="348344"/>
                          </a:lnTo>
                          <a:lnTo>
                            <a:pt x="443305" y="350594"/>
                          </a:lnTo>
                          <a:lnTo>
                            <a:pt x="442405" y="354194"/>
                          </a:lnTo>
                          <a:lnTo>
                            <a:pt x="440605" y="356895"/>
                          </a:lnTo>
                          <a:lnTo>
                            <a:pt x="439705" y="357345"/>
                          </a:lnTo>
                          <a:lnTo>
                            <a:pt x="431154" y="351494"/>
                          </a:lnTo>
                          <a:lnTo>
                            <a:pt x="423953" y="340693"/>
                          </a:lnTo>
                          <a:lnTo>
                            <a:pt x="416302" y="342493"/>
                          </a:lnTo>
                          <a:lnTo>
                            <a:pt x="412702" y="342043"/>
                          </a:lnTo>
                          <a:lnTo>
                            <a:pt x="402350" y="337992"/>
                          </a:lnTo>
                          <a:lnTo>
                            <a:pt x="401000" y="335742"/>
                          </a:lnTo>
                          <a:lnTo>
                            <a:pt x="400100" y="332592"/>
                          </a:lnTo>
                          <a:lnTo>
                            <a:pt x="400100" y="330791"/>
                          </a:lnTo>
                          <a:lnTo>
                            <a:pt x="400550" y="328991"/>
                          </a:lnTo>
                          <a:lnTo>
                            <a:pt x="401900" y="325391"/>
                          </a:lnTo>
                          <a:lnTo>
                            <a:pt x="404601" y="319990"/>
                          </a:lnTo>
                          <a:lnTo>
                            <a:pt x="405501" y="318190"/>
                          </a:lnTo>
                          <a:lnTo>
                            <a:pt x="407301" y="316840"/>
                          </a:lnTo>
                          <a:lnTo>
                            <a:pt x="409551" y="315490"/>
                          </a:lnTo>
                          <a:lnTo>
                            <a:pt x="414952" y="315039"/>
                          </a:lnTo>
                          <a:lnTo>
                            <a:pt x="429354" y="315039"/>
                          </a:lnTo>
                          <a:lnTo>
                            <a:pt x="432054" y="314139"/>
                          </a:lnTo>
                          <a:lnTo>
                            <a:pt x="447806" y="303338"/>
                          </a:lnTo>
                          <a:lnTo>
                            <a:pt x="449606" y="301538"/>
                          </a:lnTo>
                          <a:lnTo>
                            <a:pt x="451856" y="297937"/>
                          </a:lnTo>
                          <a:lnTo>
                            <a:pt x="452307" y="296587"/>
                          </a:lnTo>
                          <a:lnTo>
                            <a:pt x="452307" y="295687"/>
                          </a:lnTo>
                          <a:lnTo>
                            <a:pt x="432954" y="304238"/>
                          </a:lnTo>
                          <a:lnTo>
                            <a:pt x="424853" y="306038"/>
                          </a:lnTo>
                          <a:lnTo>
                            <a:pt x="412252" y="304688"/>
                          </a:lnTo>
                          <a:lnTo>
                            <a:pt x="410001" y="303338"/>
                          </a:lnTo>
                          <a:lnTo>
                            <a:pt x="409551" y="301088"/>
                          </a:lnTo>
                          <a:lnTo>
                            <a:pt x="412252" y="294787"/>
                          </a:lnTo>
                          <a:lnTo>
                            <a:pt x="413602" y="292537"/>
                          </a:lnTo>
                          <a:lnTo>
                            <a:pt x="417202" y="290286"/>
                          </a:lnTo>
                          <a:lnTo>
                            <a:pt x="425753" y="287136"/>
                          </a:lnTo>
                          <a:lnTo>
                            <a:pt x="437455" y="284436"/>
                          </a:lnTo>
                          <a:lnTo>
                            <a:pt x="445106" y="284436"/>
                          </a:lnTo>
                          <a:lnTo>
                            <a:pt x="451407" y="282185"/>
                          </a:lnTo>
                          <a:lnTo>
                            <a:pt x="455457" y="279485"/>
                          </a:lnTo>
                          <a:lnTo>
                            <a:pt x="442405" y="279485"/>
                          </a:lnTo>
                          <a:lnTo>
                            <a:pt x="426653" y="280835"/>
                          </a:lnTo>
                          <a:lnTo>
                            <a:pt x="424403" y="279935"/>
                          </a:lnTo>
                          <a:lnTo>
                            <a:pt x="419903" y="276785"/>
                          </a:lnTo>
                          <a:lnTo>
                            <a:pt x="419903" y="274534"/>
                          </a:lnTo>
                          <a:lnTo>
                            <a:pt x="421703" y="271384"/>
                          </a:lnTo>
                          <a:lnTo>
                            <a:pt x="422153" y="269134"/>
                          </a:lnTo>
                          <a:lnTo>
                            <a:pt x="420803" y="264183"/>
                          </a:lnTo>
                          <a:lnTo>
                            <a:pt x="421253" y="262383"/>
                          </a:lnTo>
                          <a:lnTo>
                            <a:pt x="423953" y="258332"/>
                          </a:lnTo>
                          <a:lnTo>
                            <a:pt x="429354" y="253832"/>
                          </a:lnTo>
                          <a:lnTo>
                            <a:pt x="432504" y="253382"/>
                          </a:lnTo>
                          <a:lnTo>
                            <a:pt x="438805" y="254732"/>
                          </a:lnTo>
                          <a:lnTo>
                            <a:pt x="456357" y="256532"/>
                          </a:lnTo>
                          <a:lnTo>
                            <a:pt x="459958" y="256082"/>
                          </a:lnTo>
                          <a:lnTo>
                            <a:pt x="457707" y="254282"/>
                          </a:lnTo>
                          <a:lnTo>
                            <a:pt x="454557" y="252932"/>
                          </a:lnTo>
                          <a:lnTo>
                            <a:pt x="441055" y="250231"/>
                          </a:lnTo>
                          <a:lnTo>
                            <a:pt x="438355" y="248881"/>
                          </a:lnTo>
                          <a:lnTo>
                            <a:pt x="437905" y="247531"/>
                          </a:lnTo>
                          <a:lnTo>
                            <a:pt x="437905" y="245281"/>
                          </a:lnTo>
                          <a:lnTo>
                            <a:pt x="437905" y="242130"/>
                          </a:lnTo>
                          <a:lnTo>
                            <a:pt x="438805" y="238980"/>
                          </a:lnTo>
                          <a:lnTo>
                            <a:pt x="442855" y="232229"/>
                          </a:lnTo>
                          <a:lnTo>
                            <a:pt x="455007" y="226828"/>
                          </a:lnTo>
                          <a:lnTo>
                            <a:pt x="459958" y="225928"/>
                          </a:lnTo>
                          <a:lnTo>
                            <a:pt x="464908" y="226378"/>
                          </a:lnTo>
                          <a:lnTo>
                            <a:pt x="469859" y="228629"/>
                          </a:lnTo>
                          <a:lnTo>
                            <a:pt x="472109" y="230879"/>
                          </a:lnTo>
                          <a:lnTo>
                            <a:pt x="473009" y="233579"/>
                          </a:lnTo>
                          <a:lnTo>
                            <a:pt x="473459" y="235830"/>
                          </a:lnTo>
                          <a:lnTo>
                            <a:pt x="473459" y="239880"/>
                          </a:lnTo>
                          <a:lnTo>
                            <a:pt x="473909" y="241680"/>
                          </a:lnTo>
                          <a:lnTo>
                            <a:pt x="474809" y="244381"/>
                          </a:lnTo>
                          <a:lnTo>
                            <a:pt x="477510" y="250681"/>
                          </a:lnTo>
                          <a:lnTo>
                            <a:pt x="479760" y="252482"/>
                          </a:lnTo>
                          <a:lnTo>
                            <a:pt x="489661" y="248881"/>
                          </a:lnTo>
                          <a:lnTo>
                            <a:pt x="493712" y="247981"/>
                          </a:lnTo>
                          <a:lnTo>
                            <a:pt x="497762" y="249331"/>
                          </a:lnTo>
                          <a:lnTo>
                            <a:pt x="503613" y="253382"/>
                          </a:lnTo>
                          <a:lnTo>
                            <a:pt x="511264" y="264633"/>
                          </a:lnTo>
                          <a:lnTo>
                            <a:pt x="521165" y="276335"/>
                          </a:lnTo>
                          <a:lnTo>
                            <a:pt x="521165" y="279035"/>
                          </a:lnTo>
                          <a:lnTo>
                            <a:pt x="517565" y="283085"/>
                          </a:lnTo>
                          <a:lnTo>
                            <a:pt x="516665" y="284886"/>
                          </a:lnTo>
                          <a:lnTo>
                            <a:pt x="517115" y="286236"/>
                          </a:lnTo>
                          <a:lnTo>
                            <a:pt x="520715" y="287136"/>
                          </a:lnTo>
                          <a:lnTo>
                            <a:pt x="524316" y="286686"/>
                          </a:lnTo>
                          <a:lnTo>
                            <a:pt x="527916" y="287586"/>
                          </a:lnTo>
                          <a:lnTo>
                            <a:pt x="528816" y="288486"/>
                          </a:lnTo>
                          <a:lnTo>
                            <a:pt x="530166" y="292537"/>
                          </a:lnTo>
                          <a:lnTo>
                            <a:pt x="531967" y="299738"/>
                          </a:lnTo>
                          <a:lnTo>
                            <a:pt x="534217" y="305138"/>
                          </a:lnTo>
                          <a:lnTo>
                            <a:pt x="536467" y="308739"/>
                          </a:lnTo>
                          <a:lnTo>
                            <a:pt x="538717" y="310539"/>
                          </a:lnTo>
                          <a:lnTo>
                            <a:pt x="542318" y="310539"/>
                          </a:lnTo>
                          <a:lnTo>
                            <a:pt x="545918" y="309639"/>
                          </a:lnTo>
                          <a:lnTo>
                            <a:pt x="551769" y="310089"/>
                          </a:lnTo>
                          <a:lnTo>
                            <a:pt x="562120" y="308289"/>
                          </a:lnTo>
                          <a:lnTo>
                            <a:pt x="562120" y="308289"/>
                          </a:lnTo>
                          <a:close/>
                          <a:moveTo>
                            <a:pt x="562120" y="247081"/>
                          </a:moveTo>
                          <a:lnTo>
                            <a:pt x="558070" y="243030"/>
                          </a:lnTo>
                          <a:lnTo>
                            <a:pt x="557170" y="241680"/>
                          </a:lnTo>
                          <a:lnTo>
                            <a:pt x="556270" y="239430"/>
                          </a:lnTo>
                          <a:lnTo>
                            <a:pt x="555820" y="236280"/>
                          </a:lnTo>
                          <a:lnTo>
                            <a:pt x="555820" y="233579"/>
                          </a:lnTo>
                          <a:lnTo>
                            <a:pt x="556720" y="231779"/>
                          </a:lnTo>
                          <a:lnTo>
                            <a:pt x="562570" y="225928"/>
                          </a:lnTo>
                          <a:lnTo>
                            <a:pt x="562120" y="247081"/>
                          </a:lnTo>
                          <a:close/>
                          <a:moveTo>
                            <a:pt x="385698" y="304688"/>
                          </a:moveTo>
                          <a:lnTo>
                            <a:pt x="379847" y="310089"/>
                          </a:lnTo>
                          <a:lnTo>
                            <a:pt x="375347" y="309639"/>
                          </a:lnTo>
                          <a:lnTo>
                            <a:pt x="369496" y="305588"/>
                          </a:lnTo>
                          <a:lnTo>
                            <a:pt x="364996" y="304238"/>
                          </a:lnTo>
                          <a:lnTo>
                            <a:pt x="363195" y="302888"/>
                          </a:lnTo>
                          <a:lnTo>
                            <a:pt x="362745" y="301538"/>
                          </a:lnTo>
                          <a:lnTo>
                            <a:pt x="364546" y="297487"/>
                          </a:lnTo>
                          <a:lnTo>
                            <a:pt x="366346" y="294337"/>
                          </a:lnTo>
                          <a:lnTo>
                            <a:pt x="371296" y="288036"/>
                          </a:lnTo>
                          <a:lnTo>
                            <a:pt x="379398" y="276335"/>
                          </a:lnTo>
                          <a:lnTo>
                            <a:pt x="384798" y="271834"/>
                          </a:lnTo>
                          <a:lnTo>
                            <a:pt x="389749" y="268684"/>
                          </a:lnTo>
                          <a:lnTo>
                            <a:pt x="395149" y="261483"/>
                          </a:lnTo>
                          <a:lnTo>
                            <a:pt x="397850" y="258332"/>
                          </a:lnTo>
                          <a:lnTo>
                            <a:pt x="400550" y="257882"/>
                          </a:lnTo>
                          <a:lnTo>
                            <a:pt x="403250" y="259232"/>
                          </a:lnTo>
                          <a:lnTo>
                            <a:pt x="403701" y="261033"/>
                          </a:lnTo>
                          <a:lnTo>
                            <a:pt x="401000" y="270934"/>
                          </a:lnTo>
                          <a:lnTo>
                            <a:pt x="399200" y="274984"/>
                          </a:lnTo>
                          <a:lnTo>
                            <a:pt x="395599" y="284886"/>
                          </a:lnTo>
                          <a:lnTo>
                            <a:pt x="388399" y="301538"/>
                          </a:lnTo>
                          <a:lnTo>
                            <a:pt x="385698" y="304688"/>
                          </a:lnTo>
                          <a:close/>
                          <a:moveTo>
                            <a:pt x="327191" y="290736"/>
                          </a:moveTo>
                          <a:lnTo>
                            <a:pt x="325391" y="291186"/>
                          </a:lnTo>
                          <a:lnTo>
                            <a:pt x="323591" y="290286"/>
                          </a:lnTo>
                          <a:lnTo>
                            <a:pt x="324041" y="288036"/>
                          </a:lnTo>
                          <a:lnTo>
                            <a:pt x="328091" y="282185"/>
                          </a:lnTo>
                          <a:lnTo>
                            <a:pt x="328541" y="280385"/>
                          </a:lnTo>
                          <a:lnTo>
                            <a:pt x="328541" y="279035"/>
                          </a:lnTo>
                          <a:lnTo>
                            <a:pt x="328091" y="277235"/>
                          </a:lnTo>
                          <a:lnTo>
                            <a:pt x="328991" y="274984"/>
                          </a:lnTo>
                          <a:lnTo>
                            <a:pt x="330791" y="274084"/>
                          </a:lnTo>
                          <a:lnTo>
                            <a:pt x="331241" y="274984"/>
                          </a:lnTo>
                          <a:lnTo>
                            <a:pt x="331241" y="276785"/>
                          </a:lnTo>
                          <a:lnTo>
                            <a:pt x="330791" y="282185"/>
                          </a:lnTo>
                          <a:lnTo>
                            <a:pt x="330341" y="284886"/>
                          </a:lnTo>
                          <a:lnTo>
                            <a:pt x="329441" y="287136"/>
                          </a:lnTo>
                          <a:lnTo>
                            <a:pt x="328541" y="288936"/>
                          </a:lnTo>
                          <a:lnTo>
                            <a:pt x="327191" y="290736"/>
                          </a:lnTo>
                          <a:close/>
                          <a:moveTo>
                            <a:pt x="355544" y="423953"/>
                          </a:moveTo>
                          <a:lnTo>
                            <a:pt x="355544" y="423953"/>
                          </a:lnTo>
                          <a:lnTo>
                            <a:pt x="361395" y="417202"/>
                          </a:lnTo>
                          <a:lnTo>
                            <a:pt x="364546" y="416752"/>
                          </a:lnTo>
                          <a:lnTo>
                            <a:pt x="366796" y="417202"/>
                          </a:lnTo>
                          <a:lnTo>
                            <a:pt x="367696" y="418102"/>
                          </a:lnTo>
                          <a:lnTo>
                            <a:pt x="368146" y="419452"/>
                          </a:lnTo>
                          <a:lnTo>
                            <a:pt x="368596" y="422603"/>
                          </a:lnTo>
                          <a:lnTo>
                            <a:pt x="368596" y="430254"/>
                          </a:lnTo>
                          <a:lnTo>
                            <a:pt x="369046" y="431154"/>
                          </a:lnTo>
                          <a:lnTo>
                            <a:pt x="369946" y="430704"/>
                          </a:lnTo>
                          <a:lnTo>
                            <a:pt x="371296" y="428904"/>
                          </a:lnTo>
                          <a:lnTo>
                            <a:pt x="377147" y="417652"/>
                          </a:lnTo>
                          <a:lnTo>
                            <a:pt x="379847" y="414502"/>
                          </a:lnTo>
                          <a:lnTo>
                            <a:pt x="381648" y="413602"/>
                          </a:lnTo>
                          <a:lnTo>
                            <a:pt x="388849" y="411802"/>
                          </a:lnTo>
                          <a:lnTo>
                            <a:pt x="393799" y="411802"/>
                          </a:lnTo>
                          <a:lnTo>
                            <a:pt x="399200" y="412702"/>
                          </a:lnTo>
                          <a:lnTo>
                            <a:pt x="403250" y="414502"/>
                          </a:lnTo>
                          <a:lnTo>
                            <a:pt x="410001" y="419002"/>
                          </a:lnTo>
                          <a:lnTo>
                            <a:pt x="415402" y="424403"/>
                          </a:lnTo>
                          <a:lnTo>
                            <a:pt x="420353" y="430254"/>
                          </a:lnTo>
                          <a:lnTo>
                            <a:pt x="436555" y="451407"/>
                          </a:lnTo>
                          <a:lnTo>
                            <a:pt x="443305" y="457707"/>
                          </a:lnTo>
                          <a:lnTo>
                            <a:pt x="446006" y="461308"/>
                          </a:lnTo>
                          <a:lnTo>
                            <a:pt x="447356" y="464008"/>
                          </a:lnTo>
                          <a:lnTo>
                            <a:pt x="448256" y="467158"/>
                          </a:lnTo>
                          <a:lnTo>
                            <a:pt x="448706" y="470309"/>
                          </a:lnTo>
                          <a:lnTo>
                            <a:pt x="448256" y="473009"/>
                          </a:lnTo>
                          <a:lnTo>
                            <a:pt x="447356" y="474809"/>
                          </a:lnTo>
                          <a:lnTo>
                            <a:pt x="445556" y="476610"/>
                          </a:lnTo>
                          <a:lnTo>
                            <a:pt x="435655" y="483361"/>
                          </a:lnTo>
                          <a:lnTo>
                            <a:pt x="430254" y="485611"/>
                          </a:lnTo>
                          <a:lnTo>
                            <a:pt x="424853" y="488761"/>
                          </a:lnTo>
                          <a:lnTo>
                            <a:pt x="412702" y="499563"/>
                          </a:lnTo>
                          <a:lnTo>
                            <a:pt x="404151" y="504513"/>
                          </a:lnTo>
                          <a:lnTo>
                            <a:pt x="393349" y="514414"/>
                          </a:lnTo>
                          <a:lnTo>
                            <a:pt x="372647" y="530166"/>
                          </a:lnTo>
                          <a:lnTo>
                            <a:pt x="370396" y="533317"/>
                          </a:lnTo>
                          <a:lnTo>
                            <a:pt x="369046" y="535567"/>
                          </a:lnTo>
                          <a:lnTo>
                            <a:pt x="362745" y="552669"/>
                          </a:lnTo>
                          <a:lnTo>
                            <a:pt x="360495" y="556720"/>
                          </a:lnTo>
                          <a:lnTo>
                            <a:pt x="355094" y="560770"/>
                          </a:lnTo>
                          <a:lnTo>
                            <a:pt x="348344" y="561670"/>
                          </a:lnTo>
                          <a:lnTo>
                            <a:pt x="346543" y="563020"/>
                          </a:lnTo>
                          <a:lnTo>
                            <a:pt x="346093" y="568871"/>
                          </a:lnTo>
                          <a:lnTo>
                            <a:pt x="343843" y="578772"/>
                          </a:lnTo>
                          <a:lnTo>
                            <a:pt x="342493" y="585523"/>
                          </a:lnTo>
                          <a:lnTo>
                            <a:pt x="340693" y="603076"/>
                          </a:lnTo>
                          <a:lnTo>
                            <a:pt x="340243" y="604876"/>
                          </a:lnTo>
                          <a:lnTo>
                            <a:pt x="338892" y="608026"/>
                          </a:lnTo>
                          <a:lnTo>
                            <a:pt x="336642" y="611627"/>
                          </a:lnTo>
                          <a:lnTo>
                            <a:pt x="329891" y="615677"/>
                          </a:lnTo>
                          <a:lnTo>
                            <a:pt x="324941" y="617927"/>
                          </a:lnTo>
                          <a:lnTo>
                            <a:pt x="318190" y="619728"/>
                          </a:lnTo>
                          <a:lnTo>
                            <a:pt x="316390" y="618377"/>
                          </a:lnTo>
                          <a:lnTo>
                            <a:pt x="314589" y="615677"/>
                          </a:lnTo>
                          <a:lnTo>
                            <a:pt x="312789" y="615227"/>
                          </a:lnTo>
                          <a:lnTo>
                            <a:pt x="311889" y="615677"/>
                          </a:lnTo>
                          <a:lnTo>
                            <a:pt x="303338" y="627379"/>
                          </a:lnTo>
                          <a:lnTo>
                            <a:pt x="294787" y="632329"/>
                          </a:lnTo>
                          <a:lnTo>
                            <a:pt x="291186" y="636830"/>
                          </a:lnTo>
                          <a:lnTo>
                            <a:pt x="288486" y="638630"/>
                          </a:lnTo>
                          <a:lnTo>
                            <a:pt x="286236" y="639080"/>
                          </a:lnTo>
                          <a:lnTo>
                            <a:pt x="282635" y="638630"/>
                          </a:lnTo>
                          <a:lnTo>
                            <a:pt x="280385" y="636830"/>
                          </a:lnTo>
                          <a:lnTo>
                            <a:pt x="278135" y="633679"/>
                          </a:lnTo>
                          <a:lnTo>
                            <a:pt x="276335" y="630529"/>
                          </a:lnTo>
                          <a:lnTo>
                            <a:pt x="271834" y="617027"/>
                          </a:lnTo>
                          <a:lnTo>
                            <a:pt x="270034" y="612527"/>
                          </a:lnTo>
                          <a:lnTo>
                            <a:pt x="268684" y="610276"/>
                          </a:lnTo>
                          <a:lnTo>
                            <a:pt x="264633" y="601725"/>
                          </a:lnTo>
                          <a:lnTo>
                            <a:pt x="263283" y="599925"/>
                          </a:lnTo>
                          <a:lnTo>
                            <a:pt x="247531" y="589124"/>
                          </a:lnTo>
                          <a:lnTo>
                            <a:pt x="239880" y="583273"/>
                          </a:lnTo>
                          <a:lnTo>
                            <a:pt x="238080" y="581023"/>
                          </a:lnTo>
                          <a:lnTo>
                            <a:pt x="236280" y="579673"/>
                          </a:lnTo>
                          <a:lnTo>
                            <a:pt x="226378" y="580573"/>
                          </a:lnTo>
                          <a:lnTo>
                            <a:pt x="225028" y="580123"/>
                          </a:lnTo>
                          <a:lnTo>
                            <a:pt x="224578" y="579222"/>
                          </a:lnTo>
                          <a:lnTo>
                            <a:pt x="225928" y="576072"/>
                          </a:lnTo>
                          <a:lnTo>
                            <a:pt x="226378" y="574272"/>
                          </a:lnTo>
                          <a:lnTo>
                            <a:pt x="226378" y="572472"/>
                          </a:lnTo>
                          <a:lnTo>
                            <a:pt x="226378" y="569321"/>
                          </a:lnTo>
                          <a:lnTo>
                            <a:pt x="226378" y="568871"/>
                          </a:lnTo>
                          <a:lnTo>
                            <a:pt x="229979" y="565721"/>
                          </a:lnTo>
                          <a:lnTo>
                            <a:pt x="229529" y="565271"/>
                          </a:lnTo>
                          <a:lnTo>
                            <a:pt x="229079" y="563921"/>
                          </a:lnTo>
                          <a:lnTo>
                            <a:pt x="228629" y="562120"/>
                          </a:lnTo>
                          <a:lnTo>
                            <a:pt x="229079" y="560770"/>
                          </a:lnTo>
                          <a:lnTo>
                            <a:pt x="229979" y="559870"/>
                          </a:lnTo>
                          <a:lnTo>
                            <a:pt x="231329" y="556720"/>
                          </a:lnTo>
                          <a:lnTo>
                            <a:pt x="233129" y="551319"/>
                          </a:lnTo>
                          <a:lnTo>
                            <a:pt x="234479" y="548169"/>
                          </a:lnTo>
                          <a:lnTo>
                            <a:pt x="236280" y="546368"/>
                          </a:lnTo>
                          <a:lnTo>
                            <a:pt x="238980" y="541418"/>
                          </a:lnTo>
                          <a:lnTo>
                            <a:pt x="241230" y="539168"/>
                          </a:lnTo>
                          <a:lnTo>
                            <a:pt x="243030" y="536467"/>
                          </a:lnTo>
                          <a:lnTo>
                            <a:pt x="243030" y="535117"/>
                          </a:lnTo>
                          <a:lnTo>
                            <a:pt x="242130" y="534217"/>
                          </a:lnTo>
                          <a:lnTo>
                            <a:pt x="241680" y="532417"/>
                          </a:lnTo>
                          <a:lnTo>
                            <a:pt x="242130" y="526116"/>
                          </a:lnTo>
                          <a:lnTo>
                            <a:pt x="242130" y="522965"/>
                          </a:lnTo>
                          <a:lnTo>
                            <a:pt x="242580" y="520265"/>
                          </a:lnTo>
                          <a:lnTo>
                            <a:pt x="243030" y="518015"/>
                          </a:lnTo>
                          <a:lnTo>
                            <a:pt x="243931" y="516665"/>
                          </a:lnTo>
                          <a:lnTo>
                            <a:pt x="251131" y="512164"/>
                          </a:lnTo>
                          <a:lnTo>
                            <a:pt x="251581" y="510814"/>
                          </a:lnTo>
                          <a:lnTo>
                            <a:pt x="251581" y="509464"/>
                          </a:lnTo>
                          <a:lnTo>
                            <a:pt x="251581" y="507664"/>
                          </a:lnTo>
                          <a:lnTo>
                            <a:pt x="251131" y="506313"/>
                          </a:lnTo>
                          <a:lnTo>
                            <a:pt x="249781" y="505413"/>
                          </a:lnTo>
                          <a:lnTo>
                            <a:pt x="247981" y="504963"/>
                          </a:lnTo>
                          <a:lnTo>
                            <a:pt x="246181" y="502263"/>
                          </a:lnTo>
                          <a:lnTo>
                            <a:pt x="245731" y="500913"/>
                          </a:lnTo>
                          <a:lnTo>
                            <a:pt x="246631" y="497312"/>
                          </a:lnTo>
                          <a:lnTo>
                            <a:pt x="249781" y="491461"/>
                          </a:lnTo>
                          <a:lnTo>
                            <a:pt x="250681" y="488761"/>
                          </a:lnTo>
                          <a:lnTo>
                            <a:pt x="254282" y="475710"/>
                          </a:lnTo>
                          <a:lnTo>
                            <a:pt x="261033" y="467609"/>
                          </a:lnTo>
                          <a:lnTo>
                            <a:pt x="262833" y="459058"/>
                          </a:lnTo>
                          <a:lnTo>
                            <a:pt x="267783" y="449606"/>
                          </a:lnTo>
                          <a:lnTo>
                            <a:pt x="267783" y="448256"/>
                          </a:lnTo>
                          <a:lnTo>
                            <a:pt x="265983" y="445106"/>
                          </a:lnTo>
                          <a:lnTo>
                            <a:pt x="261483" y="442855"/>
                          </a:lnTo>
                          <a:lnTo>
                            <a:pt x="259232" y="439255"/>
                          </a:lnTo>
                          <a:lnTo>
                            <a:pt x="257882" y="435204"/>
                          </a:lnTo>
                          <a:lnTo>
                            <a:pt x="251131" y="412252"/>
                          </a:lnTo>
                          <a:lnTo>
                            <a:pt x="249781" y="410451"/>
                          </a:lnTo>
                          <a:lnTo>
                            <a:pt x="249331" y="407751"/>
                          </a:lnTo>
                          <a:lnTo>
                            <a:pt x="247981" y="405951"/>
                          </a:lnTo>
                          <a:lnTo>
                            <a:pt x="248431" y="404151"/>
                          </a:lnTo>
                          <a:lnTo>
                            <a:pt x="274534" y="397400"/>
                          </a:lnTo>
                          <a:lnTo>
                            <a:pt x="292537" y="395149"/>
                          </a:lnTo>
                          <a:lnTo>
                            <a:pt x="310989" y="388849"/>
                          </a:lnTo>
                          <a:lnTo>
                            <a:pt x="316390" y="388399"/>
                          </a:lnTo>
                          <a:lnTo>
                            <a:pt x="320440" y="389749"/>
                          </a:lnTo>
                          <a:lnTo>
                            <a:pt x="324491" y="392899"/>
                          </a:lnTo>
                          <a:lnTo>
                            <a:pt x="329891" y="398300"/>
                          </a:lnTo>
                          <a:lnTo>
                            <a:pt x="336642" y="403701"/>
                          </a:lnTo>
                          <a:lnTo>
                            <a:pt x="349694" y="411352"/>
                          </a:lnTo>
                          <a:lnTo>
                            <a:pt x="357795" y="413152"/>
                          </a:lnTo>
                          <a:lnTo>
                            <a:pt x="354644" y="419452"/>
                          </a:lnTo>
                          <a:lnTo>
                            <a:pt x="354194" y="421253"/>
                          </a:lnTo>
                          <a:lnTo>
                            <a:pt x="355544" y="423953"/>
                          </a:lnTo>
                          <a:close/>
                          <a:moveTo>
                            <a:pt x="562120" y="508564"/>
                          </a:moveTo>
                          <a:lnTo>
                            <a:pt x="562120" y="527466"/>
                          </a:lnTo>
                          <a:lnTo>
                            <a:pt x="562120" y="565721"/>
                          </a:lnTo>
                          <a:lnTo>
                            <a:pt x="562120" y="602625"/>
                          </a:lnTo>
                          <a:lnTo>
                            <a:pt x="562120" y="638630"/>
                          </a:lnTo>
                          <a:lnTo>
                            <a:pt x="562120" y="673734"/>
                          </a:lnTo>
                          <a:lnTo>
                            <a:pt x="562120" y="707939"/>
                          </a:lnTo>
                          <a:lnTo>
                            <a:pt x="555369" y="707939"/>
                          </a:lnTo>
                          <a:lnTo>
                            <a:pt x="548619" y="707939"/>
                          </a:lnTo>
                          <a:lnTo>
                            <a:pt x="541868" y="707939"/>
                          </a:lnTo>
                          <a:lnTo>
                            <a:pt x="535117" y="707939"/>
                          </a:lnTo>
                          <a:lnTo>
                            <a:pt x="528366" y="707939"/>
                          </a:lnTo>
                          <a:lnTo>
                            <a:pt x="521615" y="707939"/>
                          </a:lnTo>
                          <a:lnTo>
                            <a:pt x="515765" y="707939"/>
                          </a:lnTo>
                          <a:lnTo>
                            <a:pt x="509014" y="707939"/>
                          </a:lnTo>
                          <a:lnTo>
                            <a:pt x="509014" y="713339"/>
                          </a:lnTo>
                          <a:lnTo>
                            <a:pt x="505863" y="718290"/>
                          </a:lnTo>
                          <a:lnTo>
                            <a:pt x="503613" y="718290"/>
                          </a:lnTo>
                          <a:lnTo>
                            <a:pt x="501363" y="718290"/>
                          </a:lnTo>
                          <a:lnTo>
                            <a:pt x="501363" y="713339"/>
                          </a:lnTo>
                          <a:lnTo>
                            <a:pt x="501363" y="707939"/>
                          </a:lnTo>
                          <a:lnTo>
                            <a:pt x="489661" y="707939"/>
                          </a:lnTo>
                          <a:lnTo>
                            <a:pt x="478410" y="707939"/>
                          </a:lnTo>
                          <a:lnTo>
                            <a:pt x="467158" y="707939"/>
                          </a:lnTo>
                          <a:lnTo>
                            <a:pt x="455907" y="707939"/>
                          </a:lnTo>
                          <a:lnTo>
                            <a:pt x="444656" y="707939"/>
                          </a:lnTo>
                          <a:lnTo>
                            <a:pt x="433404" y="707939"/>
                          </a:lnTo>
                          <a:lnTo>
                            <a:pt x="422153" y="707939"/>
                          </a:lnTo>
                          <a:lnTo>
                            <a:pt x="412252" y="707939"/>
                          </a:lnTo>
                          <a:lnTo>
                            <a:pt x="411801" y="715140"/>
                          </a:lnTo>
                          <a:lnTo>
                            <a:pt x="414502" y="719190"/>
                          </a:lnTo>
                          <a:lnTo>
                            <a:pt x="417202" y="723241"/>
                          </a:lnTo>
                          <a:lnTo>
                            <a:pt x="419903" y="727291"/>
                          </a:lnTo>
                          <a:lnTo>
                            <a:pt x="420803" y="729991"/>
                          </a:lnTo>
                          <a:lnTo>
                            <a:pt x="416302" y="729991"/>
                          </a:lnTo>
                          <a:lnTo>
                            <a:pt x="413602" y="725941"/>
                          </a:lnTo>
                          <a:lnTo>
                            <a:pt x="411351" y="720540"/>
                          </a:lnTo>
                          <a:lnTo>
                            <a:pt x="410901" y="719190"/>
                          </a:lnTo>
                          <a:lnTo>
                            <a:pt x="410451" y="715140"/>
                          </a:lnTo>
                          <a:lnTo>
                            <a:pt x="409551" y="708839"/>
                          </a:lnTo>
                          <a:lnTo>
                            <a:pt x="409101" y="704788"/>
                          </a:lnTo>
                          <a:lnTo>
                            <a:pt x="410001" y="702538"/>
                          </a:lnTo>
                          <a:lnTo>
                            <a:pt x="410451" y="702088"/>
                          </a:lnTo>
                          <a:lnTo>
                            <a:pt x="422603" y="697587"/>
                          </a:lnTo>
                          <a:lnTo>
                            <a:pt x="444206" y="692637"/>
                          </a:lnTo>
                          <a:lnTo>
                            <a:pt x="464008" y="689036"/>
                          </a:lnTo>
                          <a:lnTo>
                            <a:pt x="473009" y="689486"/>
                          </a:lnTo>
                          <a:lnTo>
                            <a:pt x="478410" y="691286"/>
                          </a:lnTo>
                          <a:lnTo>
                            <a:pt x="483810" y="692187"/>
                          </a:lnTo>
                          <a:lnTo>
                            <a:pt x="493262" y="692637"/>
                          </a:lnTo>
                          <a:lnTo>
                            <a:pt x="505413" y="694887"/>
                          </a:lnTo>
                          <a:lnTo>
                            <a:pt x="507664" y="694887"/>
                          </a:lnTo>
                          <a:lnTo>
                            <a:pt x="513064" y="693087"/>
                          </a:lnTo>
                          <a:lnTo>
                            <a:pt x="514864" y="691737"/>
                          </a:lnTo>
                          <a:lnTo>
                            <a:pt x="523416" y="691737"/>
                          </a:lnTo>
                          <a:lnTo>
                            <a:pt x="525216" y="690837"/>
                          </a:lnTo>
                          <a:lnTo>
                            <a:pt x="526566" y="689486"/>
                          </a:lnTo>
                          <a:lnTo>
                            <a:pt x="524766" y="686786"/>
                          </a:lnTo>
                          <a:lnTo>
                            <a:pt x="516665" y="680935"/>
                          </a:lnTo>
                          <a:lnTo>
                            <a:pt x="494612" y="670134"/>
                          </a:lnTo>
                          <a:lnTo>
                            <a:pt x="489211" y="667884"/>
                          </a:lnTo>
                          <a:lnTo>
                            <a:pt x="481560" y="665633"/>
                          </a:lnTo>
                          <a:lnTo>
                            <a:pt x="477060" y="665183"/>
                          </a:lnTo>
                          <a:lnTo>
                            <a:pt x="471209" y="666533"/>
                          </a:lnTo>
                          <a:lnTo>
                            <a:pt x="468959" y="666533"/>
                          </a:lnTo>
                          <a:lnTo>
                            <a:pt x="463558" y="668784"/>
                          </a:lnTo>
                          <a:lnTo>
                            <a:pt x="458157" y="670134"/>
                          </a:lnTo>
                          <a:lnTo>
                            <a:pt x="448256" y="671484"/>
                          </a:lnTo>
                          <a:lnTo>
                            <a:pt x="433854" y="672384"/>
                          </a:lnTo>
                          <a:lnTo>
                            <a:pt x="432054" y="671934"/>
                          </a:lnTo>
                          <a:lnTo>
                            <a:pt x="428904" y="670134"/>
                          </a:lnTo>
                          <a:lnTo>
                            <a:pt x="426653" y="669684"/>
                          </a:lnTo>
                          <a:lnTo>
                            <a:pt x="412702" y="671034"/>
                          </a:lnTo>
                          <a:lnTo>
                            <a:pt x="400100" y="669234"/>
                          </a:lnTo>
                          <a:lnTo>
                            <a:pt x="385698" y="652582"/>
                          </a:lnTo>
                          <a:lnTo>
                            <a:pt x="383448" y="647631"/>
                          </a:lnTo>
                          <a:lnTo>
                            <a:pt x="383898" y="645381"/>
                          </a:lnTo>
                          <a:lnTo>
                            <a:pt x="385698" y="643131"/>
                          </a:lnTo>
                          <a:lnTo>
                            <a:pt x="392899" y="636380"/>
                          </a:lnTo>
                          <a:lnTo>
                            <a:pt x="395599" y="635029"/>
                          </a:lnTo>
                          <a:lnTo>
                            <a:pt x="406401" y="631429"/>
                          </a:lnTo>
                          <a:lnTo>
                            <a:pt x="416752" y="626928"/>
                          </a:lnTo>
                          <a:lnTo>
                            <a:pt x="425303" y="622878"/>
                          </a:lnTo>
                          <a:lnTo>
                            <a:pt x="429354" y="621528"/>
                          </a:lnTo>
                          <a:lnTo>
                            <a:pt x="433404" y="621528"/>
                          </a:lnTo>
                          <a:lnTo>
                            <a:pt x="436555" y="620178"/>
                          </a:lnTo>
                          <a:lnTo>
                            <a:pt x="436104" y="618828"/>
                          </a:lnTo>
                          <a:lnTo>
                            <a:pt x="433404" y="617477"/>
                          </a:lnTo>
                          <a:lnTo>
                            <a:pt x="433404" y="615227"/>
                          </a:lnTo>
                          <a:lnTo>
                            <a:pt x="434754" y="614327"/>
                          </a:lnTo>
                          <a:lnTo>
                            <a:pt x="440155" y="613427"/>
                          </a:lnTo>
                          <a:lnTo>
                            <a:pt x="445556" y="614777"/>
                          </a:lnTo>
                          <a:lnTo>
                            <a:pt x="448256" y="614327"/>
                          </a:lnTo>
                          <a:lnTo>
                            <a:pt x="449156" y="612977"/>
                          </a:lnTo>
                          <a:lnTo>
                            <a:pt x="448256" y="611627"/>
                          </a:lnTo>
                          <a:lnTo>
                            <a:pt x="442855" y="609376"/>
                          </a:lnTo>
                          <a:lnTo>
                            <a:pt x="417652" y="616127"/>
                          </a:lnTo>
                          <a:lnTo>
                            <a:pt x="405951" y="616577"/>
                          </a:lnTo>
                          <a:lnTo>
                            <a:pt x="397850" y="619277"/>
                          </a:lnTo>
                          <a:lnTo>
                            <a:pt x="393349" y="619277"/>
                          </a:lnTo>
                          <a:lnTo>
                            <a:pt x="387949" y="616577"/>
                          </a:lnTo>
                          <a:lnTo>
                            <a:pt x="387048" y="615677"/>
                          </a:lnTo>
                          <a:lnTo>
                            <a:pt x="387048" y="614327"/>
                          </a:lnTo>
                          <a:lnTo>
                            <a:pt x="388849" y="610276"/>
                          </a:lnTo>
                          <a:lnTo>
                            <a:pt x="394699" y="608026"/>
                          </a:lnTo>
                          <a:lnTo>
                            <a:pt x="397400" y="601275"/>
                          </a:lnTo>
                          <a:lnTo>
                            <a:pt x="394249" y="601275"/>
                          </a:lnTo>
                          <a:lnTo>
                            <a:pt x="383898" y="602625"/>
                          </a:lnTo>
                          <a:lnTo>
                            <a:pt x="379398" y="602175"/>
                          </a:lnTo>
                          <a:lnTo>
                            <a:pt x="373547" y="599475"/>
                          </a:lnTo>
                          <a:lnTo>
                            <a:pt x="371747" y="596325"/>
                          </a:lnTo>
                          <a:lnTo>
                            <a:pt x="370846" y="594074"/>
                          </a:lnTo>
                          <a:lnTo>
                            <a:pt x="370846" y="591374"/>
                          </a:lnTo>
                          <a:lnTo>
                            <a:pt x="370846" y="583723"/>
                          </a:lnTo>
                          <a:lnTo>
                            <a:pt x="371296" y="579673"/>
                          </a:lnTo>
                          <a:lnTo>
                            <a:pt x="371747" y="578772"/>
                          </a:lnTo>
                          <a:lnTo>
                            <a:pt x="379398" y="566171"/>
                          </a:lnTo>
                          <a:lnTo>
                            <a:pt x="383898" y="563471"/>
                          </a:lnTo>
                          <a:lnTo>
                            <a:pt x="387048" y="559420"/>
                          </a:lnTo>
                          <a:lnTo>
                            <a:pt x="387048" y="557620"/>
                          </a:lnTo>
                          <a:lnTo>
                            <a:pt x="386148" y="555820"/>
                          </a:lnTo>
                          <a:lnTo>
                            <a:pt x="382998" y="551769"/>
                          </a:lnTo>
                          <a:lnTo>
                            <a:pt x="381648" y="549519"/>
                          </a:lnTo>
                          <a:lnTo>
                            <a:pt x="380748" y="547719"/>
                          </a:lnTo>
                          <a:lnTo>
                            <a:pt x="381198" y="544568"/>
                          </a:lnTo>
                          <a:lnTo>
                            <a:pt x="382998" y="540068"/>
                          </a:lnTo>
                          <a:lnTo>
                            <a:pt x="387949" y="532867"/>
                          </a:lnTo>
                          <a:lnTo>
                            <a:pt x="400100" y="518915"/>
                          </a:lnTo>
                          <a:lnTo>
                            <a:pt x="406401" y="513064"/>
                          </a:lnTo>
                          <a:lnTo>
                            <a:pt x="412252" y="509914"/>
                          </a:lnTo>
                          <a:lnTo>
                            <a:pt x="420803" y="503163"/>
                          </a:lnTo>
                          <a:lnTo>
                            <a:pt x="442405" y="491461"/>
                          </a:lnTo>
                          <a:lnTo>
                            <a:pt x="461758" y="479760"/>
                          </a:lnTo>
                          <a:lnTo>
                            <a:pt x="468959" y="482910"/>
                          </a:lnTo>
                          <a:lnTo>
                            <a:pt x="471209" y="485161"/>
                          </a:lnTo>
                          <a:lnTo>
                            <a:pt x="472109" y="487411"/>
                          </a:lnTo>
                          <a:lnTo>
                            <a:pt x="473009" y="490111"/>
                          </a:lnTo>
                          <a:lnTo>
                            <a:pt x="473459" y="493712"/>
                          </a:lnTo>
                          <a:lnTo>
                            <a:pt x="474359" y="501813"/>
                          </a:lnTo>
                          <a:lnTo>
                            <a:pt x="474359" y="505863"/>
                          </a:lnTo>
                          <a:lnTo>
                            <a:pt x="474359" y="509914"/>
                          </a:lnTo>
                          <a:lnTo>
                            <a:pt x="473909" y="513514"/>
                          </a:lnTo>
                          <a:lnTo>
                            <a:pt x="473009" y="516665"/>
                          </a:lnTo>
                          <a:lnTo>
                            <a:pt x="471659" y="520715"/>
                          </a:lnTo>
                          <a:lnTo>
                            <a:pt x="469409" y="525666"/>
                          </a:lnTo>
                          <a:lnTo>
                            <a:pt x="464908" y="533767"/>
                          </a:lnTo>
                          <a:lnTo>
                            <a:pt x="464458" y="536017"/>
                          </a:lnTo>
                          <a:lnTo>
                            <a:pt x="465808" y="536917"/>
                          </a:lnTo>
                          <a:lnTo>
                            <a:pt x="468059" y="536017"/>
                          </a:lnTo>
                          <a:lnTo>
                            <a:pt x="471659" y="533767"/>
                          </a:lnTo>
                          <a:lnTo>
                            <a:pt x="476160" y="531967"/>
                          </a:lnTo>
                          <a:lnTo>
                            <a:pt x="482010" y="530616"/>
                          </a:lnTo>
                          <a:lnTo>
                            <a:pt x="483360" y="532417"/>
                          </a:lnTo>
                          <a:lnTo>
                            <a:pt x="484261" y="531967"/>
                          </a:lnTo>
                          <a:lnTo>
                            <a:pt x="486061" y="528816"/>
                          </a:lnTo>
                          <a:lnTo>
                            <a:pt x="486511" y="527016"/>
                          </a:lnTo>
                          <a:lnTo>
                            <a:pt x="486511" y="524766"/>
                          </a:lnTo>
                          <a:lnTo>
                            <a:pt x="486511" y="519815"/>
                          </a:lnTo>
                          <a:lnTo>
                            <a:pt x="487411" y="516665"/>
                          </a:lnTo>
                          <a:lnTo>
                            <a:pt x="490561" y="510364"/>
                          </a:lnTo>
                          <a:lnTo>
                            <a:pt x="492362" y="508114"/>
                          </a:lnTo>
                          <a:lnTo>
                            <a:pt x="495062" y="507213"/>
                          </a:lnTo>
                          <a:lnTo>
                            <a:pt x="501813" y="507664"/>
                          </a:lnTo>
                          <a:lnTo>
                            <a:pt x="508113" y="511264"/>
                          </a:lnTo>
                          <a:lnTo>
                            <a:pt x="516665" y="514864"/>
                          </a:lnTo>
                          <a:lnTo>
                            <a:pt x="529266" y="523416"/>
                          </a:lnTo>
                          <a:lnTo>
                            <a:pt x="533317" y="527016"/>
                          </a:lnTo>
                          <a:lnTo>
                            <a:pt x="533767" y="530166"/>
                          </a:lnTo>
                          <a:lnTo>
                            <a:pt x="531516" y="536917"/>
                          </a:lnTo>
                          <a:lnTo>
                            <a:pt x="526116" y="546368"/>
                          </a:lnTo>
                          <a:lnTo>
                            <a:pt x="521615" y="549969"/>
                          </a:lnTo>
                          <a:lnTo>
                            <a:pt x="519815" y="552219"/>
                          </a:lnTo>
                          <a:lnTo>
                            <a:pt x="522515" y="553569"/>
                          </a:lnTo>
                          <a:lnTo>
                            <a:pt x="524316" y="555820"/>
                          </a:lnTo>
                          <a:lnTo>
                            <a:pt x="527016" y="552219"/>
                          </a:lnTo>
                          <a:lnTo>
                            <a:pt x="529266" y="548169"/>
                          </a:lnTo>
                          <a:lnTo>
                            <a:pt x="531967" y="545018"/>
                          </a:lnTo>
                          <a:lnTo>
                            <a:pt x="532867" y="544568"/>
                          </a:lnTo>
                          <a:lnTo>
                            <a:pt x="533317" y="545468"/>
                          </a:lnTo>
                          <a:lnTo>
                            <a:pt x="532867" y="547268"/>
                          </a:lnTo>
                          <a:lnTo>
                            <a:pt x="532867" y="549069"/>
                          </a:lnTo>
                          <a:lnTo>
                            <a:pt x="532867" y="550869"/>
                          </a:lnTo>
                          <a:lnTo>
                            <a:pt x="533317" y="551769"/>
                          </a:lnTo>
                          <a:lnTo>
                            <a:pt x="535117" y="552219"/>
                          </a:lnTo>
                          <a:lnTo>
                            <a:pt x="536017" y="551769"/>
                          </a:lnTo>
                          <a:lnTo>
                            <a:pt x="540068" y="547268"/>
                          </a:lnTo>
                          <a:lnTo>
                            <a:pt x="543668" y="540068"/>
                          </a:lnTo>
                          <a:lnTo>
                            <a:pt x="549519" y="535567"/>
                          </a:lnTo>
                          <a:lnTo>
                            <a:pt x="550869" y="533317"/>
                          </a:lnTo>
                          <a:lnTo>
                            <a:pt x="555820" y="531516"/>
                          </a:lnTo>
                          <a:lnTo>
                            <a:pt x="555820" y="530166"/>
                          </a:lnTo>
                          <a:lnTo>
                            <a:pt x="556270" y="524766"/>
                          </a:lnTo>
                          <a:lnTo>
                            <a:pt x="554469" y="522515"/>
                          </a:lnTo>
                          <a:lnTo>
                            <a:pt x="548619" y="517565"/>
                          </a:lnTo>
                          <a:lnTo>
                            <a:pt x="545918" y="511714"/>
                          </a:lnTo>
                          <a:lnTo>
                            <a:pt x="546368" y="507213"/>
                          </a:lnTo>
                          <a:lnTo>
                            <a:pt x="549519" y="507664"/>
                          </a:lnTo>
                          <a:lnTo>
                            <a:pt x="558520" y="508114"/>
                          </a:lnTo>
                          <a:lnTo>
                            <a:pt x="562120" y="508564"/>
                          </a:lnTo>
                          <a:lnTo>
                            <a:pt x="562120" y="508564"/>
                          </a:lnTo>
                          <a:close/>
                          <a:moveTo>
                            <a:pt x="335742" y="734492"/>
                          </a:moveTo>
                          <a:lnTo>
                            <a:pt x="335742" y="754294"/>
                          </a:lnTo>
                          <a:lnTo>
                            <a:pt x="335742" y="766446"/>
                          </a:lnTo>
                          <a:lnTo>
                            <a:pt x="335742" y="778598"/>
                          </a:lnTo>
                          <a:lnTo>
                            <a:pt x="335742" y="790749"/>
                          </a:lnTo>
                          <a:lnTo>
                            <a:pt x="335742" y="802450"/>
                          </a:lnTo>
                          <a:lnTo>
                            <a:pt x="335742" y="814152"/>
                          </a:lnTo>
                          <a:lnTo>
                            <a:pt x="335742" y="825853"/>
                          </a:lnTo>
                          <a:lnTo>
                            <a:pt x="341143" y="830354"/>
                          </a:lnTo>
                          <a:lnTo>
                            <a:pt x="346543" y="834855"/>
                          </a:lnTo>
                          <a:lnTo>
                            <a:pt x="351944" y="839355"/>
                          </a:lnTo>
                          <a:lnTo>
                            <a:pt x="357345" y="843856"/>
                          </a:lnTo>
                          <a:lnTo>
                            <a:pt x="362745" y="848356"/>
                          </a:lnTo>
                          <a:lnTo>
                            <a:pt x="368146" y="852857"/>
                          </a:lnTo>
                          <a:lnTo>
                            <a:pt x="373547" y="857357"/>
                          </a:lnTo>
                          <a:lnTo>
                            <a:pt x="378947" y="861858"/>
                          </a:lnTo>
                          <a:lnTo>
                            <a:pt x="384348" y="866359"/>
                          </a:lnTo>
                          <a:lnTo>
                            <a:pt x="389749" y="870859"/>
                          </a:lnTo>
                          <a:lnTo>
                            <a:pt x="395149" y="874910"/>
                          </a:lnTo>
                          <a:lnTo>
                            <a:pt x="400550" y="878960"/>
                          </a:lnTo>
                          <a:lnTo>
                            <a:pt x="405951" y="883011"/>
                          </a:lnTo>
                          <a:lnTo>
                            <a:pt x="411351" y="887061"/>
                          </a:lnTo>
                          <a:lnTo>
                            <a:pt x="416752" y="891112"/>
                          </a:lnTo>
                          <a:lnTo>
                            <a:pt x="422153" y="895162"/>
                          </a:lnTo>
                          <a:lnTo>
                            <a:pt x="427553" y="899213"/>
                          </a:lnTo>
                          <a:lnTo>
                            <a:pt x="432954" y="903263"/>
                          </a:lnTo>
                          <a:lnTo>
                            <a:pt x="438355" y="907314"/>
                          </a:lnTo>
                          <a:lnTo>
                            <a:pt x="443756" y="911364"/>
                          </a:lnTo>
                          <a:lnTo>
                            <a:pt x="449156" y="915415"/>
                          </a:lnTo>
                          <a:lnTo>
                            <a:pt x="454557" y="919465"/>
                          </a:lnTo>
                          <a:lnTo>
                            <a:pt x="459958" y="923516"/>
                          </a:lnTo>
                          <a:lnTo>
                            <a:pt x="465358" y="927566"/>
                          </a:lnTo>
                          <a:lnTo>
                            <a:pt x="470759" y="931617"/>
                          </a:lnTo>
                          <a:lnTo>
                            <a:pt x="476160" y="935667"/>
                          </a:lnTo>
                          <a:lnTo>
                            <a:pt x="481560" y="939718"/>
                          </a:lnTo>
                          <a:lnTo>
                            <a:pt x="486961" y="943768"/>
                          </a:lnTo>
                          <a:lnTo>
                            <a:pt x="492362" y="947819"/>
                          </a:lnTo>
                          <a:lnTo>
                            <a:pt x="497762" y="951869"/>
                          </a:lnTo>
                          <a:lnTo>
                            <a:pt x="503163" y="955920"/>
                          </a:lnTo>
                          <a:lnTo>
                            <a:pt x="508564" y="959970"/>
                          </a:lnTo>
                          <a:lnTo>
                            <a:pt x="518465" y="959970"/>
                          </a:lnTo>
                          <a:lnTo>
                            <a:pt x="528366" y="959970"/>
                          </a:lnTo>
                          <a:lnTo>
                            <a:pt x="538267" y="959970"/>
                          </a:lnTo>
                          <a:lnTo>
                            <a:pt x="548169" y="959970"/>
                          </a:lnTo>
                          <a:lnTo>
                            <a:pt x="554469" y="967621"/>
                          </a:lnTo>
                          <a:lnTo>
                            <a:pt x="560770" y="975272"/>
                          </a:lnTo>
                          <a:lnTo>
                            <a:pt x="567071" y="982923"/>
                          </a:lnTo>
                          <a:lnTo>
                            <a:pt x="573372" y="990574"/>
                          </a:lnTo>
                          <a:lnTo>
                            <a:pt x="579673" y="995075"/>
                          </a:lnTo>
                          <a:lnTo>
                            <a:pt x="584623" y="996875"/>
                          </a:lnTo>
                          <a:lnTo>
                            <a:pt x="594074" y="998675"/>
                          </a:lnTo>
                          <a:lnTo>
                            <a:pt x="603525" y="1000475"/>
                          </a:lnTo>
                          <a:lnTo>
                            <a:pt x="612977" y="1002275"/>
                          </a:lnTo>
                          <a:lnTo>
                            <a:pt x="622428" y="1004076"/>
                          </a:lnTo>
                          <a:lnTo>
                            <a:pt x="631879" y="1005876"/>
                          </a:lnTo>
                          <a:lnTo>
                            <a:pt x="641330" y="1007676"/>
                          </a:lnTo>
                          <a:lnTo>
                            <a:pt x="650781" y="1009476"/>
                          </a:lnTo>
                          <a:lnTo>
                            <a:pt x="660233" y="1011277"/>
                          </a:lnTo>
                          <a:lnTo>
                            <a:pt x="669684" y="1013077"/>
                          </a:lnTo>
                          <a:lnTo>
                            <a:pt x="679135" y="1014877"/>
                          </a:lnTo>
                          <a:lnTo>
                            <a:pt x="688586" y="1016677"/>
                          </a:lnTo>
                          <a:lnTo>
                            <a:pt x="698037" y="1018477"/>
                          </a:lnTo>
                          <a:lnTo>
                            <a:pt x="707489" y="1020278"/>
                          </a:lnTo>
                          <a:lnTo>
                            <a:pt x="716940" y="1022078"/>
                          </a:lnTo>
                          <a:lnTo>
                            <a:pt x="726391" y="1023878"/>
                          </a:lnTo>
                          <a:lnTo>
                            <a:pt x="735842" y="1025678"/>
                          </a:lnTo>
                          <a:lnTo>
                            <a:pt x="736292" y="1032879"/>
                          </a:lnTo>
                          <a:lnTo>
                            <a:pt x="735842" y="1044131"/>
                          </a:lnTo>
                          <a:lnTo>
                            <a:pt x="735842" y="1055832"/>
                          </a:lnTo>
                          <a:lnTo>
                            <a:pt x="735842" y="1067084"/>
                          </a:lnTo>
                          <a:lnTo>
                            <a:pt x="735842" y="1078335"/>
                          </a:lnTo>
                          <a:lnTo>
                            <a:pt x="735842" y="1089586"/>
                          </a:lnTo>
                          <a:lnTo>
                            <a:pt x="735842" y="1100838"/>
                          </a:lnTo>
                          <a:lnTo>
                            <a:pt x="735842" y="1112089"/>
                          </a:lnTo>
                          <a:lnTo>
                            <a:pt x="735842" y="1122891"/>
                          </a:lnTo>
                          <a:lnTo>
                            <a:pt x="735842" y="1133692"/>
                          </a:lnTo>
                          <a:lnTo>
                            <a:pt x="735842" y="1144493"/>
                          </a:lnTo>
                          <a:lnTo>
                            <a:pt x="735842" y="1155295"/>
                          </a:lnTo>
                          <a:lnTo>
                            <a:pt x="735842" y="1166096"/>
                          </a:lnTo>
                          <a:lnTo>
                            <a:pt x="735842" y="1176447"/>
                          </a:lnTo>
                          <a:lnTo>
                            <a:pt x="735842" y="1186799"/>
                          </a:lnTo>
                          <a:lnTo>
                            <a:pt x="735842" y="1197150"/>
                          </a:lnTo>
                          <a:lnTo>
                            <a:pt x="735842" y="1207501"/>
                          </a:lnTo>
                          <a:lnTo>
                            <a:pt x="735842" y="1217852"/>
                          </a:lnTo>
                          <a:lnTo>
                            <a:pt x="725041" y="1217852"/>
                          </a:lnTo>
                          <a:lnTo>
                            <a:pt x="714239" y="1217852"/>
                          </a:lnTo>
                          <a:lnTo>
                            <a:pt x="703438" y="1217852"/>
                          </a:lnTo>
                          <a:lnTo>
                            <a:pt x="692637" y="1217852"/>
                          </a:lnTo>
                          <a:lnTo>
                            <a:pt x="681835" y="1217852"/>
                          </a:lnTo>
                          <a:lnTo>
                            <a:pt x="671034" y="1217852"/>
                          </a:lnTo>
                          <a:lnTo>
                            <a:pt x="660233" y="1217852"/>
                          </a:lnTo>
                          <a:lnTo>
                            <a:pt x="649431" y="1217852"/>
                          </a:lnTo>
                          <a:lnTo>
                            <a:pt x="638630" y="1217852"/>
                          </a:lnTo>
                          <a:lnTo>
                            <a:pt x="627829" y="1217852"/>
                          </a:lnTo>
                          <a:lnTo>
                            <a:pt x="617027" y="1217852"/>
                          </a:lnTo>
                          <a:lnTo>
                            <a:pt x="606226" y="1217852"/>
                          </a:lnTo>
                          <a:lnTo>
                            <a:pt x="595425" y="1217852"/>
                          </a:lnTo>
                          <a:lnTo>
                            <a:pt x="583273" y="1217852"/>
                          </a:lnTo>
                          <a:lnTo>
                            <a:pt x="572472" y="1217852"/>
                          </a:lnTo>
                          <a:lnTo>
                            <a:pt x="561670" y="1217852"/>
                          </a:lnTo>
                          <a:lnTo>
                            <a:pt x="548619" y="1217852"/>
                          </a:lnTo>
                          <a:lnTo>
                            <a:pt x="535567" y="1217852"/>
                          </a:lnTo>
                          <a:lnTo>
                            <a:pt x="522515" y="1217852"/>
                          </a:lnTo>
                          <a:lnTo>
                            <a:pt x="509464" y="1217852"/>
                          </a:lnTo>
                          <a:lnTo>
                            <a:pt x="496412" y="1217852"/>
                          </a:lnTo>
                          <a:lnTo>
                            <a:pt x="483360" y="1217852"/>
                          </a:lnTo>
                          <a:lnTo>
                            <a:pt x="470309" y="1217852"/>
                          </a:lnTo>
                          <a:lnTo>
                            <a:pt x="457257" y="1217852"/>
                          </a:lnTo>
                          <a:lnTo>
                            <a:pt x="444206" y="1217852"/>
                          </a:lnTo>
                          <a:lnTo>
                            <a:pt x="431154" y="1217852"/>
                          </a:lnTo>
                          <a:lnTo>
                            <a:pt x="418102" y="1217852"/>
                          </a:lnTo>
                          <a:lnTo>
                            <a:pt x="403250" y="1217852"/>
                          </a:lnTo>
                          <a:lnTo>
                            <a:pt x="389749" y="1217852"/>
                          </a:lnTo>
                          <a:lnTo>
                            <a:pt x="376697" y="1217852"/>
                          </a:lnTo>
                          <a:lnTo>
                            <a:pt x="363646" y="1217852"/>
                          </a:lnTo>
                          <a:lnTo>
                            <a:pt x="350594" y="1217852"/>
                          </a:lnTo>
                          <a:lnTo>
                            <a:pt x="340693" y="1217852"/>
                          </a:lnTo>
                          <a:lnTo>
                            <a:pt x="330791" y="1217852"/>
                          </a:lnTo>
                          <a:lnTo>
                            <a:pt x="320890" y="1217852"/>
                          </a:lnTo>
                          <a:lnTo>
                            <a:pt x="310989" y="1217852"/>
                          </a:lnTo>
                          <a:lnTo>
                            <a:pt x="301088" y="1217852"/>
                          </a:lnTo>
                          <a:lnTo>
                            <a:pt x="291186" y="1217852"/>
                          </a:lnTo>
                          <a:lnTo>
                            <a:pt x="281285" y="1217852"/>
                          </a:lnTo>
                          <a:lnTo>
                            <a:pt x="271384" y="1217852"/>
                          </a:lnTo>
                          <a:lnTo>
                            <a:pt x="270934" y="1216952"/>
                          </a:lnTo>
                          <a:lnTo>
                            <a:pt x="270034" y="1216052"/>
                          </a:lnTo>
                          <a:lnTo>
                            <a:pt x="267783" y="1216052"/>
                          </a:lnTo>
                          <a:lnTo>
                            <a:pt x="267333" y="1215602"/>
                          </a:lnTo>
                          <a:lnTo>
                            <a:pt x="267333" y="1215152"/>
                          </a:lnTo>
                          <a:lnTo>
                            <a:pt x="267783" y="1213352"/>
                          </a:lnTo>
                          <a:lnTo>
                            <a:pt x="267783" y="1212002"/>
                          </a:lnTo>
                          <a:lnTo>
                            <a:pt x="265533" y="1207951"/>
                          </a:lnTo>
                          <a:lnTo>
                            <a:pt x="263733" y="1203901"/>
                          </a:lnTo>
                          <a:lnTo>
                            <a:pt x="263283" y="1202551"/>
                          </a:lnTo>
                          <a:lnTo>
                            <a:pt x="262833" y="1198050"/>
                          </a:lnTo>
                          <a:lnTo>
                            <a:pt x="262383" y="1197150"/>
                          </a:lnTo>
                          <a:lnTo>
                            <a:pt x="259232" y="1196250"/>
                          </a:lnTo>
                          <a:lnTo>
                            <a:pt x="257882" y="1193099"/>
                          </a:lnTo>
                          <a:lnTo>
                            <a:pt x="255182" y="1189049"/>
                          </a:lnTo>
                          <a:lnTo>
                            <a:pt x="254732" y="1188149"/>
                          </a:lnTo>
                          <a:lnTo>
                            <a:pt x="254732" y="1187249"/>
                          </a:lnTo>
                          <a:lnTo>
                            <a:pt x="256982" y="1183648"/>
                          </a:lnTo>
                          <a:lnTo>
                            <a:pt x="256982" y="1182298"/>
                          </a:lnTo>
                          <a:lnTo>
                            <a:pt x="255182" y="1176447"/>
                          </a:lnTo>
                          <a:lnTo>
                            <a:pt x="254282" y="1175997"/>
                          </a:lnTo>
                          <a:lnTo>
                            <a:pt x="250231" y="1175997"/>
                          </a:lnTo>
                          <a:lnTo>
                            <a:pt x="249781" y="1176447"/>
                          </a:lnTo>
                          <a:lnTo>
                            <a:pt x="249331" y="1177347"/>
                          </a:lnTo>
                          <a:lnTo>
                            <a:pt x="248881" y="1180048"/>
                          </a:lnTo>
                          <a:lnTo>
                            <a:pt x="243030" y="1180948"/>
                          </a:lnTo>
                          <a:lnTo>
                            <a:pt x="241230" y="1181848"/>
                          </a:lnTo>
                          <a:lnTo>
                            <a:pt x="239430" y="1183198"/>
                          </a:lnTo>
                          <a:lnTo>
                            <a:pt x="238080" y="1183198"/>
                          </a:lnTo>
                          <a:lnTo>
                            <a:pt x="231329" y="1180948"/>
                          </a:lnTo>
                          <a:lnTo>
                            <a:pt x="228179" y="1178698"/>
                          </a:lnTo>
                          <a:lnTo>
                            <a:pt x="227278" y="1178698"/>
                          </a:lnTo>
                          <a:lnTo>
                            <a:pt x="226378" y="1179148"/>
                          </a:lnTo>
                          <a:lnTo>
                            <a:pt x="225928" y="1180048"/>
                          </a:lnTo>
                          <a:lnTo>
                            <a:pt x="225028" y="1182298"/>
                          </a:lnTo>
                          <a:lnTo>
                            <a:pt x="223678" y="1181848"/>
                          </a:lnTo>
                          <a:lnTo>
                            <a:pt x="222778" y="1181398"/>
                          </a:lnTo>
                          <a:lnTo>
                            <a:pt x="222328" y="1180048"/>
                          </a:lnTo>
                          <a:lnTo>
                            <a:pt x="221428" y="1180048"/>
                          </a:lnTo>
                          <a:lnTo>
                            <a:pt x="220078" y="1180498"/>
                          </a:lnTo>
                          <a:lnTo>
                            <a:pt x="219627" y="1180948"/>
                          </a:lnTo>
                          <a:lnTo>
                            <a:pt x="219627" y="1182298"/>
                          </a:lnTo>
                          <a:lnTo>
                            <a:pt x="219177" y="1182748"/>
                          </a:lnTo>
                          <a:lnTo>
                            <a:pt x="218277" y="1183198"/>
                          </a:lnTo>
                          <a:lnTo>
                            <a:pt x="216927" y="1183198"/>
                          </a:lnTo>
                          <a:lnTo>
                            <a:pt x="213327" y="1182298"/>
                          </a:lnTo>
                          <a:lnTo>
                            <a:pt x="210176" y="1184098"/>
                          </a:lnTo>
                          <a:lnTo>
                            <a:pt x="207926" y="1183648"/>
                          </a:lnTo>
                          <a:lnTo>
                            <a:pt x="206576" y="1184098"/>
                          </a:lnTo>
                          <a:lnTo>
                            <a:pt x="206126" y="1183648"/>
                          </a:lnTo>
                          <a:lnTo>
                            <a:pt x="205676" y="1182298"/>
                          </a:lnTo>
                          <a:lnTo>
                            <a:pt x="205676" y="1180498"/>
                          </a:lnTo>
                          <a:lnTo>
                            <a:pt x="205226" y="1179148"/>
                          </a:lnTo>
                          <a:lnTo>
                            <a:pt x="205226" y="1178248"/>
                          </a:lnTo>
                          <a:lnTo>
                            <a:pt x="205226" y="1175547"/>
                          </a:lnTo>
                          <a:lnTo>
                            <a:pt x="204326" y="1171047"/>
                          </a:lnTo>
                          <a:lnTo>
                            <a:pt x="203876" y="1170596"/>
                          </a:lnTo>
                          <a:lnTo>
                            <a:pt x="202075" y="1171047"/>
                          </a:lnTo>
                          <a:lnTo>
                            <a:pt x="201175" y="1170147"/>
                          </a:lnTo>
                          <a:lnTo>
                            <a:pt x="201175" y="1169696"/>
                          </a:lnTo>
                          <a:lnTo>
                            <a:pt x="201625" y="1169246"/>
                          </a:lnTo>
                          <a:lnTo>
                            <a:pt x="202975" y="1167896"/>
                          </a:lnTo>
                          <a:lnTo>
                            <a:pt x="203425" y="1164746"/>
                          </a:lnTo>
                          <a:lnTo>
                            <a:pt x="203425" y="1162946"/>
                          </a:lnTo>
                          <a:lnTo>
                            <a:pt x="202525" y="1157095"/>
                          </a:lnTo>
                          <a:lnTo>
                            <a:pt x="201625" y="1155745"/>
                          </a:lnTo>
                          <a:lnTo>
                            <a:pt x="200725" y="1153044"/>
                          </a:lnTo>
                          <a:lnTo>
                            <a:pt x="199375" y="1151694"/>
                          </a:lnTo>
                          <a:lnTo>
                            <a:pt x="198025" y="1150794"/>
                          </a:lnTo>
                          <a:lnTo>
                            <a:pt x="194424" y="1150794"/>
                          </a:lnTo>
                          <a:lnTo>
                            <a:pt x="191274" y="1149894"/>
                          </a:lnTo>
                          <a:lnTo>
                            <a:pt x="190374" y="1148994"/>
                          </a:lnTo>
                          <a:lnTo>
                            <a:pt x="189024" y="1147194"/>
                          </a:lnTo>
                          <a:lnTo>
                            <a:pt x="187223" y="1145843"/>
                          </a:lnTo>
                          <a:lnTo>
                            <a:pt x="183173" y="1141793"/>
                          </a:lnTo>
                          <a:lnTo>
                            <a:pt x="182723" y="1138643"/>
                          </a:lnTo>
                          <a:lnTo>
                            <a:pt x="182273" y="1137292"/>
                          </a:lnTo>
                          <a:lnTo>
                            <a:pt x="181373" y="1135942"/>
                          </a:lnTo>
                          <a:lnTo>
                            <a:pt x="179122" y="1135042"/>
                          </a:lnTo>
                          <a:lnTo>
                            <a:pt x="178672" y="1134142"/>
                          </a:lnTo>
                          <a:lnTo>
                            <a:pt x="178222" y="1132342"/>
                          </a:lnTo>
                          <a:lnTo>
                            <a:pt x="175972" y="1129641"/>
                          </a:lnTo>
                          <a:lnTo>
                            <a:pt x="175072" y="1127841"/>
                          </a:lnTo>
                          <a:lnTo>
                            <a:pt x="171471" y="1124241"/>
                          </a:lnTo>
                          <a:lnTo>
                            <a:pt x="170121" y="1123791"/>
                          </a:lnTo>
                          <a:lnTo>
                            <a:pt x="168771" y="1124241"/>
                          </a:lnTo>
                          <a:lnTo>
                            <a:pt x="166521" y="1126041"/>
                          </a:lnTo>
                          <a:lnTo>
                            <a:pt x="165621" y="1126491"/>
                          </a:lnTo>
                          <a:lnTo>
                            <a:pt x="165171" y="1126041"/>
                          </a:lnTo>
                          <a:lnTo>
                            <a:pt x="164271" y="1124241"/>
                          </a:lnTo>
                          <a:lnTo>
                            <a:pt x="163821" y="1123791"/>
                          </a:lnTo>
                          <a:lnTo>
                            <a:pt x="161570" y="1123341"/>
                          </a:lnTo>
                          <a:lnTo>
                            <a:pt x="158870" y="1123791"/>
                          </a:lnTo>
                          <a:lnTo>
                            <a:pt x="157520" y="1123341"/>
                          </a:lnTo>
                          <a:lnTo>
                            <a:pt x="156620" y="1122441"/>
                          </a:lnTo>
                          <a:lnTo>
                            <a:pt x="156170" y="1121990"/>
                          </a:lnTo>
                          <a:lnTo>
                            <a:pt x="156170" y="1121090"/>
                          </a:lnTo>
                          <a:lnTo>
                            <a:pt x="156620" y="1120190"/>
                          </a:lnTo>
                          <a:lnTo>
                            <a:pt x="156620" y="1119290"/>
                          </a:lnTo>
                          <a:lnTo>
                            <a:pt x="156170" y="1118390"/>
                          </a:lnTo>
                          <a:lnTo>
                            <a:pt x="155269" y="1115690"/>
                          </a:lnTo>
                          <a:lnTo>
                            <a:pt x="155269" y="1114339"/>
                          </a:lnTo>
                          <a:lnTo>
                            <a:pt x="156170" y="1112089"/>
                          </a:lnTo>
                          <a:lnTo>
                            <a:pt x="156170" y="1111189"/>
                          </a:lnTo>
                          <a:lnTo>
                            <a:pt x="155269" y="1110289"/>
                          </a:lnTo>
                          <a:lnTo>
                            <a:pt x="155269" y="1109839"/>
                          </a:lnTo>
                          <a:lnTo>
                            <a:pt x="155269" y="1108939"/>
                          </a:lnTo>
                          <a:lnTo>
                            <a:pt x="157070" y="1107589"/>
                          </a:lnTo>
                          <a:lnTo>
                            <a:pt x="157070" y="1106689"/>
                          </a:lnTo>
                          <a:lnTo>
                            <a:pt x="156620" y="1105788"/>
                          </a:lnTo>
                          <a:lnTo>
                            <a:pt x="151669" y="1102638"/>
                          </a:lnTo>
                          <a:lnTo>
                            <a:pt x="150769" y="1101738"/>
                          </a:lnTo>
                          <a:lnTo>
                            <a:pt x="150769" y="1100838"/>
                          </a:lnTo>
                          <a:lnTo>
                            <a:pt x="150319" y="1098138"/>
                          </a:lnTo>
                          <a:lnTo>
                            <a:pt x="149869" y="1097687"/>
                          </a:lnTo>
                          <a:lnTo>
                            <a:pt x="148069" y="1096787"/>
                          </a:lnTo>
                          <a:lnTo>
                            <a:pt x="147618" y="1095887"/>
                          </a:lnTo>
                          <a:lnTo>
                            <a:pt x="147618" y="1094537"/>
                          </a:lnTo>
                          <a:lnTo>
                            <a:pt x="147168" y="1093637"/>
                          </a:lnTo>
                          <a:lnTo>
                            <a:pt x="145818" y="1090937"/>
                          </a:lnTo>
                          <a:lnTo>
                            <a:pt x="145818" y="1089586"/>
                          </a:lnTo>
                          <a:lnTo>
                            <a:pt x="146268" y="1088236"/>
                          </a:lnTo>
                          <a:lnTo>
                            <a:pt x="146268" y="1086436"/>
                          </a:lnTo>
                          <a:lnTo>
                            <a:pt x="148519" y="1081485"/>
                          </a:lnTo>
                          <a:lnTo>
                            <a:pt x="148519" y="1080585"/>
                          </a:lnTo>
                          <a:lnTo>
                            <a:pt x="148069" y="1080135"/>
                          </a:lnTo>
                          <a:lnTo>
                            <a:pt x="145818" y="1080135"/>
                          </a:lnTo>
                          <a:lnTo>
                            <a:pt x="144018" y="1079235"/>
                          </a:lnTo>
                          <a:lnTo>
                            <a:pt x="143118" y="1076085"/>
                          </a:lnTo>
                          <a:lnTo>
                            <a:pt x="142218" y="1074735"/>
                          </a:lnTo>
                          <a:lnTo>
                            <a:pt x="140868" y="1073384"/>
                          </a:lnTo>
                          <a:lnTo>
                            <a:pt x="139067" y="1071134"/>
                          </a:lnTo>
                          <a:lnTo>
                            <a:pt x="137717" y="1070234"/>
                          </a:lnTo>
                          <a:lnTo>
                            <a:pt x="137717" y="1069334"/>
                          </a:lnTo>
                          <a:lnTo>
                            <a:pt x="138617" y="1067984"/>
                          </a:lnTo>
                          <a:lnTo>
                            <a:pt x="141768" y="1065283"/>
                          </a:lnTo>
                          <a:lnTo>
                            <a:pt x="142668" y="1063933"/>
                          </a:lnTo>
                          <a:lnTo>
                            <a:pt x="144018" y="1060333"/>
                          </a:lnTo>
                          <a:lnTo>
                            <a:pt x="144018" y="1058533"/>
                          </a:lnTo>
                          <a:lnTo>
                            <a:pt x="143118" y="1056732"/>
                          </a:lnTo>
                          <a:lnTo>
                            <a:pt x="141768" y="1055382"/>
                          </a:lnTo>
                          <a:lnTo>
                            <a:pt x="141318" y="1054032"/>
                          </a:lnTo>
                          <a:lnTo>
                            <a:pt x="139517" y="1053132"/>
                          </a:lnTo>
                          <a:lnTo>
                            <a:pt x="139067" y="1052232"/>
                          </a:lnTo>
                          <a:lnTo>
                            <a:pt x="138617" y="1050882"/>
                          </a:lnTo>
                          <a:lnTo>
                            <a:pt x="138167" y="1049981"/>
                          </a:lnTo>
                          <a:lnTo>
                            <a:pt x="137717" y="1049981"/>
                          </a:lnTo>
                          <a:lnTo>
                            <a:pt x="135467" y="1050882"/>
                          </a:lnTo>
                          <a:lnTo>
                            <a:pt x="134567" y="1050432"/>
                          </a:lnTo>
                          <a:lnTo>
                            <a:pt x="134117" y="1049531"/>
                          </a:lnTo>
                          <a:lnTo>
                            <a:pt x="134117" y="1048631"/>
                          </a:lnTo>
                          <a:lnTo>
                            <a:pt x="135017" y="1047731"/>
                          </a:lnTo>
                          <a:lnTo>
                            <a:pt x="137267" y="1046381"/>
                          </a:lnTo>
                          <a:lnTo>
                            <a:pt x="137717" y="1045931"/>
                          </a:lnTo>
                          <a:lnTo>
                            <a:pt x="137717" y="1045031"/>
                          </a:lnTo>
                          <a:lnTo>
                            <a:pt x="137267" y="1044131"/>
                          </a:lnTo>
                          <a:lnTo>
                            <a:pt x="134117" y="1043231"/>
                          </a:lnTo>
                          <a:lnTo>
                            <a:pt x="132317" y="1041880"/>
                          </a:lnTo>
                          <a:lnTo>
                            <a:pt x="129166" y="1038730"/>
                          </a:lnTo>
                          <a:lnTo>
                            <a:pt x="126016" y="1037380"/>
                          </a:lnTo>
                          <a:lnTo>
                            <a:pt x="123765" y="1035130"/>
                          </a:lnTo>
                          <a:lnTo>
                            <a:pt x="122865" y="1033329"/>
                          </a:lnTo>
                          <a:lnTo>
                            <a:pt x="121515" y="1032429"/>
                          </a:lnTo>
                          <a:lnTo>
                            <a:pt x="121065" y="1031079"/>
                          </a:lnTo>
                          <a:lnTo>
                            <a:pt x="119715" y="1028829"/>
                          </a:lnTo>
                          <a:lnTo>
                            <a:pt x="119265" y="1027929"/>
                          </a:lnTo>
                          <a:lnTo>
                            <a:pt x="119715" y="1026578"/>
                          </a:lnTo>
                          <a:lnTo>
                            <a:pt x="119715" y="1025228"/>
                          </a:lnTo>
                          <a:lnTo>
                            <a:pt x="119265" y="1023878"/>
                          </a:lnTo>
                          <a:lnTo>
                            <a:pt x="118365" y="1022078"/>
                          </a:lnTo>
                          <a:lnTo>
                            <a:pt x="117915" y="1021628"/>
                          </a:lnTo>
                          <a:lnTo>
                            <a:pt x="117465" y="1020278"/>
                          </a:lnTo>
                          <a:lnTo>
                            <a:pt x="117465" y="1018928"/>
                          </a:lnTo>
                          <a:lnTo>
                            <a:pt x="115665" y="1015327"/>
                          </a:lnTo>
                          <a:lnTo>
                            <a:pt x="112514" y="1013077"/>
                          </a:lnTo>
                          <a:lnTo>
                            <a:pt x="110714" y="1012627"/>
                          </a:lnTo>
                          <a:lnTo>
                            <a:pt x="109814" y="1013077"/>
                          </a:lnTo>
                          <a:lnTo>
                            <a:pt x="108914" y="1014877"/>
                          </a:lnTo>
                          <a:lnTo>
                            <a:pt x="106213" y="1016227"/>
                          </a:lnTo>
                          <a:lnTo>
                            <a:pt x="104863" y="1016677"/>
                          </a:lnTo>
                          <a:lnTo>
                            <a:pt x="101263" y="1016677"/>
                          </a:lnTo>
                          <a:lnTo>
                            <a:pt x="100363" y="1016227"/>
                          </a:lnTo>
                          <a:lnTo>
                            <a:pt x="100363" y="1015327"/>
                          </a:lnTo>
                          <a:lnTo>
                            <a:pt x="100813" y="1014427"/>
                          </a:lnTo>
                          <a:lnTo>
                            <a:pt x="102163" y="1011277"/>
                          </a:lnTo>
                          <a:lnTo>
                            <a:pt x="102613" y="1009926"/>
                          </a:lnTo>
                          <a:lnTo>
                            <a:pt x="102163" y="1009026"/>
                          </a:lnTo>
                          <a:lnTo>
                            <a:pt x="101713" y="1008576"/>
                          </a:lnTo>
                          <a:lnTo>
                            <a:pt x="98562" y="1006776"/>
                          </a:lnTo>
                          <a:lnTo>
                            <a:pt x="94962" y="1001375"/>
                          </a:lnTo>
                          <a:lnTo>
                            <a:pt x="93612" y="1000475"/>
                          </a:lnTo>
                          <a:lnTo>
                            <a:pt x="89111" y="997325"/>
                          </a:lnTo>
                          <a:lnTo>
                            <a:pt x="87311" y="996425"/>
                          </a:lnTo>
                          <a:lnTo>
                            <a:pt x="84161" y="996425"/>
                          </a:lnTo>
                          <a:lnTo>
                            <a:pt x="83260" y="995525"/>
                          </a:lnTo>
                          <a:lnTo>
                            <a:pt x="82810" y="994625"/>
                          </a:lnTo>
                          <a:lnTo>
                            <a:pt x="82810" y="993724"/>
                          </a:lnTo>
                          <a:lnTo>
                            <a:pt x="83260" y="992824"/>
                          </a:lnTo>
                          <a:lnTo>
                            <a:pt x="85061" y="990574"/>
                          </a:lnTo>
                          <a:lnTo>
                            <a:pt x="85061" y="989224"/>
                          </a:lnTo>
                          <a:lnTo>
                            <a:pt x="85061" y="986974"/>
                          </a:lnTo>
                          <a:lnTo>
                            <a:pt x="85511" y="986523"/>
                          </a:lnTo>
                          <a:lnTo>
                            <a:pt x="87761" y="983823"/>
                          </a:lnTo>
                          <a:lnTo>
                            <a:pt x="88211" y="982923"/>
                          </a:lnTo>
                          <a:lnTo>
                            <a:pt x="88211" y="982023"/>
                          </a:lnTo>
                          <a:lnTo>
                            <a:pt x="87761" y="981123"/>
                          </a:lnTo>
                          <a:lnTo>
                            <a:pt x="85061" y="980223"/>
                          </a:lnTo>
                          <a:lnTo>
                            <a:pt x="84611" y="979323"/>
                          </a:lnTo>
                          <a:lnTo>
                            <a:pt x="84611" y="976172"/>
                          </a:lnTo>
                          <a:lnTo>
                            <a:pt x="83710" y="975272"/>
                          </a:lnTo>
                          <a:lnTo>
                            <a:pt x="83260" y="975272"/>
                          </a:lnTo>
                          <a:lnTo>
                            <a:pt x="81010" y="976172"/>
                          </a:lnTo>
                          <a:lnTo>
                            <a:pt x="80110" y="975722"/>
                          </a:lnTo>
                          <a:lnTo>
                            <a:pt x="79660" y="975272"/>
                          </a:lnTo>
                          <a:lnTo>
                            <a:pt x="79660" y="974372"/>
                          </a:lnTo>
                          <a:lnTo>
                            <a:pt x="80110" y="973472"/>
                          </a:lnTo>
                          <a:lnTo>
                            <a:pt x="83710" y="970771"/>
                          </a:lnTo>
                          <a:lnTo>
                            <a:pt x="84161" y="969871"/>
                          </a:lnTo>
                          <a:lnTo>
                            <a:pt x="84611" y="967621"/>
                          </a:lnTo>
                          <a:lnTo>
                            <a:pt x="88661" y="962220"/>
                          </a:lnTo>
                          <a:lnTo>
                            <a:pt x="90461" y="957270"/>
                          </a:lnTo>
                          <a:lnTo>
                            <a:pt x="91812" y="954119"/>
                          </a:lnTo>
                          <a:lnTo>
                            <a:pt x="91812" y="952769"/>
                          </a:lnTo>
                          <a:lnTo>
                            <a:pt x="89561" y="948269"/>
                          </a:lnTo>
                          <a:lnTo>
                            <a:pt x="87761" y="945568"/>
                          </a:lnTo>
                          <a:lnTo>
                            <a:pt x="85511" y="942868"/>
                          </a:lnTo>
                          <a:lnTo>
                            <a:pt x="84611" y="941968"/>
                          </a:lnTo>
                          <a:lnTo>
                            <a:pt x="84161" y="940618"/>
                          </a:lnTo>
                          <a:lnTo>
                            <a:pt x="84611" y="939268"/>
                          </a:lnTo>
                          <a:lnTo>
                            <a:pt x="88661" y="935667"/>
                          </a:lnTo>
                          <a:lnTo>
                            <a:pt x="88661" y="934317"/>
                          </a:lnTo>
                          <a:lnTo>
                            <a:pt x="88211" y="933417"/>
                          </a:lnTo>
                          <a:lnTo>
                            <a:pt x="85961" y="933867"/>
                          </a:lnTo>
                          <a:lnTo>
                            <a:pt x="84161" y="932067"/>
                          </a:lnTo>
                          <a:lnTo>
                            <a:pt x="83260" y="931617"/>
                          </a:lnTo>
                          <a:lnTo>
                            <a:pt x="81010" y="933417"/>
                          </a:lnTo>
                          <a:lnTo>
                            <a:pt x="80110" y="934767"/>
                          </a:lnTo>
                          <a:lnTo>
                            <a:pt x="78760" y="937017"/>
                          </a:lnTo>
                          <a:lnTo>
                            <a:pt x="76960" y="937917"/>
                          </a:lnTo>
                          <a:lnTo>
                            <a:pt x="76060" y="937917"/>
                          </a:lnTo>
                          <a:lnTo>
                            <a:pt x="75609" y="937017"/>
                          </a:lnTo>
                          <a:lnTo>
                            <a:pt x="76060" y="934767"/>
                          </a:lnTo>
                          <a:lnTo>
                            <a:pt x="76510" y="933417"/>
                          </a:lnTo>
                          <a:lnTo>
                            <a:pt x="76510" y="932517"/>
                          </a:lnTo>
                          <a:lnTo>
                            <a:pt x="76060" y="932067"/>
                          </a:lnTo>
                          <a:lnTo>
                            <a:pt x="73809" y="932067"/>
                          </a:lnTo>
                          <a:lnTo>
                            <a:pt x="69759" y="932967"/>
                          </a:lnTo>
                          <a:lnTo>
                            <a:pt x="65708" y="935667"/>
                          </a:lnTo>
                          <a:lnTo>
                            <a:pt x="63908" y="935667"/>
                          </a:lnTo>
                          <a:lnTo>
                            <a:pt x="62108" y="935217"/>
                          </a:lnTo>
                          <a:lnTo>
                            <a:pt x="61208" y="934767"/>
                          </a:lnTo>
                          <a:lnTo>
                            <a:pt x="61208" y="932967"/>
                          </a:lnTo>
                          <a:lnTo>
                            <a:pt x="60758" y="930717"/>
                          </a:lnTo>
                          <a:lnTo>
                            <a:pt x="60308" y="929366"/>
                          </a:lnTo>
                          <a:lnTo>
                            <a:pt x="60308" y="928016"/>
                          </a:lnTo>
                          <a:lnTo>
                            <a:pt x="60758" y="927116"/>
                          </a:lnTo>
                          <a:lnTo>
                            <a:pt x="62108" y="925316"/>
                          </a:lnTo>
                          <a:lnTo>
                            <a:pt x="62558" y="923966"/>
                          </a:lnTo>
                          <a:lnTo>
                            <a:pt x="62558" y="922165"/>
                          </a:lnTo>
                          <a:lnTo>
                            <a:pt x="62558" y="919915"/>
                          </a:lnTo>
                          <a:lnTo>
                            <a:pt x="62108" y="918115"/>
                          </a:lnTo>
                          <a:lnTo>
                            <a:pt x="61658" y="917665"/>
                          </a:lnTo>
                          <a:lnTo>
                            <a:pt x="60758" y="917215"/>
                          </a:lnTo>
                          <a:lnTo>
                            <a:pt x="58507" y="917215"/>
                          </a:lnTo>
                          <a:lnTo>
                            <a:pt x="58057" y="917215"/>
                          </a:lnTo>
                          <a:lnTo>
                            <a:pt x="58057" y="916315"/>
                          </a:lnTo>
                          <a:lnTo>
                            <a:pt x="58057" y="914965"/>
                          </a:lnTo>
                          <a:lnTo>
                            <a:pt x="58507" y="911364"/>
                          </a:lnTo>
                          <a:lnTo>
                            <a:pt x="58957" y="910014"/>
                          </a:lnTo>
                          <a:lnTo>
                            <a:pt x="59857" y="909564"/>
                          </a:lnTo>
                          <a:lnTo>
                            <a:pt x="60308" y="909564"/>
                          </a:lnTo>
                          <a:lnTo>
                            <a:pt x="60758" y="909114"/>
                          </a:lnTo>
                          <a:lnTo>
                            <a:pt x="60758" y="908214"/>
                          </a:lnTo>
                          <a:lnTo>
                            <a:pt x="60758" y="906413"/>
                          </a:lnTo>
                          <a:lnTo>
                            <a:pt x="60758" y="905063"/>
                          </a:lnTo>
                          <a:lnTo>
                            <a:pt x="61208" y="903713"/>
                          </a:lnTo>
                          <a:lnTo>
                            <a:pt x="60758" y="902813"/>
                          </a:lnTo>
                          <a:lnTo>
                            <a:pt x="59407" y="900563"/>
                          </a:lnTo>
                          <a:lnTo>
                            <a:pt x="58507" y="899663"/>
                          </a:lnTo>
                          <a:lnTo>
                            <a:pt x="58507" y="898762"/>
                          </a:lnTo>
                          <a:lnTo>
                            <a:pt x="58507" y="897862"/>
                          </a:lnTo>
                          <a:lnTo>
                            <a:pt x="58057" y="896512"/>
                          </a:lnTo>
                          <a:lnTo>
                            <a:pt x="58057" y="895162"/>
                          </a:lnTo>
                          <a:lnTo>
                            <a:pt x="58057" y="894262"/>
                          </a:lnTo>
                          <a:lnTo>
                            <a:pt x="58507" y="892462"/>
                          </a:lnTo>
                          <a:lnTo>
                            <a:pt x="58057" y="890662"/>
                          </a:lnTo>
                          <a:lnTo>
                            <a:pt x="56707" y="888411"/>
                          </a:lnTo>
                          <a:lnTo>
                            <a:pt x="54907" y="886161"/>
                          </a:lnTo>
                          <a:lnTo>
                            <a:pt x="52657" y="883911"/>
                          </a:lnTo>
                          <a:lnTo>
                            <a:pt x="52207" y="882560"/>
                          </a:lnTo>
                          <a:lnTo>
                            <a:pt x="52207" y="880760"/>
                          </a:lnTo>
                          <a:lnTo>
                            <a:pt x="50856" y="880760"/>
                          </a:lnTo>
                          <a:lnTo>
                            <a:pt x="44556" y="880760"/>
                          </a:lnTo>
                          <a:lnTo>
                            <a:pt x="38705" y="880760"/>
                          </a:lnTo>
                          <a:lnTo>
                            <a:pt x="32404" y="880760"/>
                          </a:lnTo>
                          <a:lnTo>
                            <a:pt x="26103" y="880760"/>
                          </a:lnTo>
                          <a:lnTo>
                            <a:pt x="19803" y="880760"/>
                          </a:lnTo>
                          <a:lnTo>
                            <a:pt x="13502" y="880760"/>
                          </a:lnTo>
                          <a:lnTo>
                            <a:pt x="7201" y="880760"/>
                          </a:lnTo>
                          <a:lnTo>
                            <a:pt x="6301" y="880310"/>
                          </a:lnTo>
                          <a:lnTo>
                            <a:pt x="5851" y="878960"/>
                          </a:lnTo>
                          <a:lnTo>
                            <a:pt x="5401" y="876260"/>
                          </a:lnTo>
                          <a:lnTo>
                            <a:pt x="5401" y="873559"/>
                          </a:lnTo>
                          <a:lnTo>
                            <a:pt x="5401" y="872209"/>
                          </a:lnTo>
                          <a:lnTo>
                            <a:pt x="5401" y="871309"/>
                          </a:lnTo>
                          <a:lnTo>
                            <a:pt x="6751" y="869059"/>
                          </a:lnTo>
                          <a:lnTo>
                            <a:pt x="7651" y="865908"/>
                          </a:lnTo>
                          <a:lnTo>
                            <a:pt x="7651" y="865008"/>
                          </a:lnTo>
                          <a:lnTo>
                            <a:pt x="7201" y="862308"/>
                          </a:lnTo>
                          <a:lnTo>
                            <a:pt x="6751" y="860958"/>
                          </a:lnTo>
                          <a:lnTo>
                            <a:pt x="6301" y="860058"/>
                          </a:lnTo>
                          <a:lnTo>
                            <a:pt x="5851" y="858257"/>
                          </a:lnTo>
                          <a:lnTo>
                            <a:pt x="5851" y="856907"/>
                          </a:lnTo>
                          <a:lnTo>
                            <a:pt x="5851" y="853307"/>
                          </a:lnTo>
                          <a:lnTo>
                            <a:pt x="4951" y="849706"/>
                          </a:lnTo>
                          <a:lnTo>
                            <a:pt x="4501" y="848356"/>
                          </a:lnTo>
                          <a:lnTo>
                            <a:pt x="4051" y="847456"/>
                          </a:lnTo>
                          <a:lnTo>
                            <a:pt x="1350" y="844756"/>
                          </a:lnTo>
                          <a:lnTo>
                            <a:pt x="450" y="842505"/>
                          </a:lnTo>
                          <a:lnTo>
                            <a:pt x="0" y="840255"/>
                          </a:lnTo>
                          <a:lnTo>
                            <a:pt x="0" y="824053"/>
                          </a:lnTo>
                          <a:lnTo>
                            <a:pt x="0" y="807401"/>
                          </a:lnTo>
                          <a:lnTo>
                            <a:pt x="0" y="790749"/>
                          </a:lnTo>
                          <a:lnTo>
                            <a:pt x="0" y="774547"/>
                          </a:lnTo>
                          <a:lnTo>
                            <a:pt x="6751" y="775447"/>
                          </a:lnTo>
                          <a:lnTo>
                            <a:pt x="12152" y="778147"/>
                          </a:lnTo>
                          <a:lnTo>
                            <a:pt x="22953" y="786248"/>
                          </a:lnTo>
                          <a:lnTo>
                            <a:pt x="25203" y="787149"/>
                          </a:lnTo>
                          <a:lnTo>
                            <a:pt x="25653" y="786698"/>
                          </a:lnTo>
                          <a:lnTo>
                            <a:pt x="22053" y="778598"/>
                          </a:lnTo>
                          <a:lnTo>
                            <a:pt x="21603" y="777697"/>
                          </a:lnTo>
                          <a:lnTo>
                            <a:pt x="17102" y="774547"/>
                          </a:lnTo>
                          <a:lnTo>
                            <a:pt x="12152" y="773197"/>
                          </a:lnTo>
                          <a:lnTo>
                            <a:pt x="11701" y="772747"/>
                          </a:lnTo>
                          <a:lnTo>
                            <a:pt x="10801" y="770046"/>
                          </a:lnTo>
                          <a:lnTo>
                            <a:pt x="11251" y="769146"/>
                          </a:lnTo>
                          <a:lnTo>
                            <a:pt x="12152" y="768696"/>
                          </a:lnTo>
                          <a:lnTo>
                            <a:pt x="15752" y="768696"/>
                          </a:lnTo>
                          <a:lnTo>
                            <a:pt x="18002" y="768246"/>
                          </a:lnTo>
                          <a:lnTo>
                            <a:pt x="18452" y="767346"/>
                          </a:lnTo>
                          <a:lnTo>
                            <a:pt x="16652" y="766896"/>
                          </a:lnTo>
                          <a:lnTo>
                            <a:pt x="14852" y="765996"/>
                          </a:lnTo>
                          <a:lnTo>
                            <a:pt x="12602" y="764196"/>
                          </a:lnTo>
                          <a:lnTo>
                            <a:pt x="11251" y="762395"/>
                          </a:lnTo>
                          <a:lnTo>
                            <a:pt x="15752" y="750694"/>
                          </a:lnTo>
                          <a:lnTo>
                            <a:pt x="17552" y="752044"/>
                          </a:lnTo>
                          <a:lnTo>
                            <a:pt x="19803" y="749344"/>
                          </a:lnTo>
                          <a:lnTo>
                            <a:pt x="24303" y="751144"/>
                          </a:lnTo>
                          <a:lnTo>
                            <a:pt x="25203" y="750244"/>
                          </a:lnTo>
                          <a:lnTo>
                            <a:pt x="25653" y="743943"/>
                          </a:lnTo>
                          <a:lnTo>
                            <a:pt x="26103" y="742593"/>
                          </a:lnTo>
                          <a:lnTo>
                            <a:pt x="27453" y="741693"/>
                          </a:lnTo>
                          <a:lnTo>
                            <a:pt x="33754" y="740793"/>
                          </a:lnTo>
                          <a:lnTo>
                            <a:pt x="41405" y="741693"/>
                          </a:lnTo>
                          <a:lnTo>
                            <a:pt x="42305" y="741243"/>
                          </a:lnTo>
                          <a:lnTo>
                            <a:pt x="41405" y="737192"/>
                          </a:lnTo>
                          <a:lnTo>
                            <a:pt x="41405" y="735392"/>
                          </a:lnTo>
                          <a:lnTo>
                            <a:pt x="41855" y="731792"/>
                          </a:lnTo>
                          <a:lnTo>
                            <a:pt x="42305" y="729991"/>
                          </a:lnTo>
                          <a:lnTo>
                            <a:pt x="43205" y="729091"/>
                          </a:lnTo>
                          <a:lnTo>
                            <a:pt x="46806" y="729991"/>
                          </a:lnTo>
                          <a:lnTo>
                            <a:pt x="47706" y="731792"/>
                          </a:lnTo>
                          <a:lnTo>
                            <a:pt x="49056" y="734942"/>
                          </a:lnTo>
                          <a:lnTo>
                            <a:pt x="50406" y="736742"/>
                          </a:lnTo>
                          <a:lnTo>
                            <a:pt x="54007" y="738542"/>
                          </a:lnTo>
                          <a:lnTo>
                            <a:pt x="54457" y="739893"/>
                          </a:lnTo>
                          <a:lnTo>
                            <a:pt x="53107" y="744843"/>
                          </a:lnTo>
                          <a:lnTo>
                            <a:pt x="51756" y="747094"/>
                          </a:lnTo>
                          <a:lnTo>
                            <a:pt x="48606" y="753394"/>
                          </a:lnTo>
                          <a:lnTo>
                            <a:pt x="48606" y="755195"/>
                          </a:lnTo>
                          <a:lnTo>
                            <a:pt x="53557" y="752494"/>
                          </a:lnTo>
                          <a:lnTo>
                            <a:pt x="58957" y="748444"/>
                          </a:lnTo>
                          <a:lnTo>
                            <a:pt x="63458" y="746193"/>
                          </a:lnTo>
                          <a:lnTo>
                            <a:pt x="67508" y="745743"/>
                          </a:lnTo>
                          <a:lnTo>
                            <a:pt x="70209" y="744393"/>
                          </a:lnTo>
                          <a:lnTo>
                            <a:pt x="72009" y="742143"/>
                          </a:lnTo>
                          <a:lnTo>
                            <a:pt x="73359" y="739893"/>
                          </a:lnTo>
                          <a:lnTo>
                            <a:pt x="75609" y="732692"/>
                          </a:lnTo>
                          <a:lnTo>
                            <a:pt x="77410" y="731342"/>
                          </a:lnTo>
                          <a:lnTo>
                            <a:pt x="84161" y="731792"/>
                          </a:lnTo>
                          <a:lnTo>
                            <a:pt x="85961" y="731792"/>
                          </a:lnTo>
                          <a:lnTo>
                            <a:pt x="86861" y="730892"/>
                          </a:lnTo>
                          <a:lnTo>
                            <a:pt x="86861" y="729991"/>
                          </a:lnTo>
                          <a:lnTo>
                            <a:pt x="85511" y="728641"/>
                          </a:lnTo>
                          <a:lnTo>
                            <a:pt x="83710" y="728191"/>
                          </a:lnTo>
                          <a:lnTo>
                            <a:pt x="83710" y="727741"/>
                          </a:lnTo>
                          <a:lnTo>
                            <a:pt x="84611" y="726391"/>
                          </a:lnTo>
                          <a:lnTo>
                            <a:pt x="85511" y="725491"/>
                          </a:lnTo>
                          <a:lnTo>
                            <a:pt x="88661" y="724591"/>
                          </a:lnTo>
                          <a:lnTo>
                            <a:pt x="90911" y="727291"/>
                          </a:lnTo>
                          <a:lnTo>
                            <a:pt x="92262" y="727291"/>
                          </a:lnTo>
                          <a:lnTo>
                            <a:pt x="97212" y="724141"/>
                          </a:lnTo>
                          <a:lnTo>
                            <a:pt x="104863" y="716040"/>
                          </a:lnTo>
                          <a:lnTo>
                            <a:pt x="108014" y="713789"/>
                          </a:lnTo>
                          <a:lnTo>
                            <a:pt x="110714" y="713339"/>
                          </a:lnTo>
                          <a:lnTo>
                            <a:pt x="112964" y="714689"/>
                          </a:lnTo>
                          <a:lnTo>
                            <a:pt x="114764" y="714239"/>
                          </a:lnTo>
                          <a:lnTo>
                            <a:pt x="117015" y="709739"/>
                          </a:lnTo>
                          <a:lnTo>
                            <a:pt x="117915" y="707489"/>
                          </a:lnTo>
                          <a:lnTo>
                            <a:pt x="119265" y="705238"/>
                          </a:lnTo>
                          <a:lnTo>
                            <a:pt x="124666" y="700738"/>
                          </a:lnTo>
                          <a:lnTo>
                            <a:pt x="128266" y="699838"/>
                          </a:lnTo>
                          <a:lnTo>
                            <a:pt x="130516" y="700738"/>
                          </a:lnTo>
                          <a:lnTo>
                            <a:pt x="133217" y="702538"/>
                          </a:lnTo>
                          <a:lnTo>
                            <a:pt x="135467" y="703438"/>
                          </a:lnTo>
                          <a:lnTo>
                            <a:pt x="138167" y="702988"/>
                          </a:lnTo>
                          <a:lnTo>
                            <a:pt x="140418" y="703438"/>
                          </a:lnTo>
                          <a:lnTo>
                            <a:pt x="141318" y="702538"/>
                          </a:lnTo>
                          <a:lnTo>
                            <a:pt x="144918" y="697137"/>
                          </a:lnTo>
                          <a:lnTo>
                            <a:pt x="146268" y="697137"/>
                          </a:lnTo>
                          <a:lnTo>
                            <a:pt x="147168" y="698938"/>
                          </a:lnTo>
                          <a:lnTo>
                            <a:pt x="148969" y="702988"/>
                          </a:lnTo>
                          <a:lnTo>
                            <a:pt x="148969" y="704788"/>
                          </a:lnTo>
                          <a:lnTo>
                            <a:pt x="146718" y="709739"/>
                          </a:lnTo>
                          <a:lnTo>
                            <a:pt x="129616" y="723241"/>
                          </a:lnTo>
                          <a:lnTo>
                            <a:pt x="124216" y="729091"/>
                          </a:lnTo>
                          <a:lnTo>
                            <a:pt x="121515" y="731342"/>
                          </a:lnTo>
                          <a:lnTo>
                            <a:pt x="118815" y="732692"/>
                          </a:lnTo>
                          <a:lnTo>
                            <a:pt x="113414" y="733592"/>
                          </a:lnTo>
                          <a:lnTo>
                            <a:pt x="111164" y="734942"/>
                          </a:lnTo>
                          <a:lnTo>
                            <a:pt x="107563" y="735842"/>
                          </a:lnTo>
                          <a:lnTo>
                            <a:pt x="99462" y="737642"/>
                          </a:lnTo>
                          <a:lnTo>
                            <a:pt x="97662" y="738542"/>
                          </a:lnTo>
                          <a:lnTo>
                            <a:pt x="96762" y="739443"/>
                          </a:lnTo>
                          <a:lnTo>
                            <a:pt x="93612" y="746193"/>
                          </a:lnTo>
                          <a:lnTo>
                            <a:pt x="92262" y="748444"/>
                          </a:lnTo>
                          <a:lnTo>
                            <a:pt x="89561" y="752044"/>
                          </a:lnTo>
                          <a:lnTo>
                            <a:pt x="86411" y="754294"/>
                          </a:lnTo>
                          <a:lnTo>
                            <a:pt x="81910" y="755195"/>
                          </a:lnTo>
                          <a:lnTo>
                            <a:pt x="79210" y="758345"/>
                          </a:lnTo>
                          <a:lnTo>
                            <a:pt x="76060" y="764646"/>
                          </a:lnTo>
                          <a:lnTo>
                            <a:pt x="73359" y="769146"/>
                          </a:lnTo>
                          <a:lnTo>
                            <a:pt x="70209" y="772747"/>
                          </a:lnTo>
                          <a:lnTo>
                            <a:pt x="67058" y="777697"/>
                          </a:lnTo>
                          <a:lnTo>
                            <a:pt x="65708" y="777697"/>
                          </a:lnTo>
                          <a:lnTo>
                            <a:pt x="66608" y="780848"/>
                          </a:lnTo>
                          <a:lnTo>
                            <a:pt x="67058" y="781748"/>
                          </a:lnTo>
                          <a:lnTo>
                            <a:pt x="70209" y="783548"/>
                          </a:lnTo>
                          <a:lnTo>
                            <a:pt x="71559" y="783098"/>
                          </a:lnTo>
                          <a:lnTo>
                            <a:pt x="70209" y="781298"/>
                          </a:lnTo>
                          <a:lnTo>
                            <a:pt x="67508" y="778598"/>
                          </a:lnTo>
                          <a:lnTo>
                            <a:pt x="67058" y="777697"/>
                          </a:lnTo>
                          <a:lnTo>
                            <a:pt x="67959" y="776797"/>
                          </a:lnTo>
                          <a:lnTo>
                            <a:pt x="80560" y="778598"/>
                          </a:lnTo>
                          <a:lnTo>
                            <a:pt x="83260" y="776797"/>
                          </a:lnTo>
                          <a:lnTo>
                            <a:pt x="84161" y="774997"/>
                          </a:lnTo>
                          <a:lnTo>
                            <a:pt x="84161" y="774097"/>
                          </a:lnTo>
                          <a:lnTo>
                            <a:pt x="80560" y="773647"/>
                          </a:lnTo>
                          <a:lnTo>
                            <a:pt x="79660" y="772297"/>
                          </a:lnTo>
                          <a:lnTo>
                            <a:pt x="79210" y="769146"/>
                          </a:lnTo>
                          <a:lnTo>
                            <a:pt x="79210" y="766896"/>
                          </a:lnTo>
                          <a:lnTo>
                            <a:pt x="79660" y="765096"/>
                          </a:lnTo>
                          <a:lnTo>
                            <a:pt x="80560" y="762846"/>
                          </a:lnTo>
                          <a:lnTo>
                            <a:pt x="84161" y="759245"/>
                          </a:lnTo>
                          <a:lnTo>
                            <a:pt x="88211" y="757895"/>
                          </a:lnTo>
                          <a:lnTo>
                            <a:pt x="91361" y="755645"/>
                          </a:lnTo>
                          <a:lnTo>
                            <a:pt x="93162" y="753844"/>
                          </a:lnTo>
                          <a:lnTo>
                            <a:pt x="97662" y="750694"/>
                          </a:lnTo>
                          <a:lnTo>
                            <a:pt x="99462" y="747994"/>
                          </a:lnTo>
                          <a:lnTo>
                            <a:pt x="100363" y="745743"/>
                          </a:lnTo>
                          <a:lnTo>
                            <a:pt x="100363" y="744843"/>
                          </a:lnTo>
                          <a:lnTo>
                            <a:pt x="99462" y="743943"/>
                          </a:lnTo>
                          <a:lnTo>
                            <a:pt x="99913" y="742143"/>
                          </a:lnTo>
                          <a:lnTo>
                            <a:pt x="103063" y="740343"/>
                          </a:lnTo>
                          <a:lnTo>
                            <a:pt x="104413" y="740343"/>
                          </a:lnTo>
                          <a:lnTo>
                            <a:pt x="108914" y="741693"/>
                          </a:lnTo>
                          <a:lnTo>
                            <a:pt x="109814" y="743043"/>
                          </a:lnTo>
                          <a:lnTo>
                            <a:pt x="109364" y="746193"/>
                          </a:lnTo>
                          <a:lnTo>
                            <a:pt x="109814" y="746193"/>
                          </a:lnTo>
                          <a:lnTo>
                            <a:pt x="111614" y="742143"/>
                          </a:lnTo>
                          <a:lnTo>
                            <a:pt x="112514" y="740793"/>
                          </a:lnTo>
                          <a:lnTo>
                            <a:pt x="113414" y="740343"/>
                          </a:lnTo>
                          <a:lnTo>
                            <a:pt x="114314" y="740793"/>
                          </a:lnTo>
                          <a:lnTo>
                            <a:pt x="115214" y="742143"/>
                          </a:lnTo>
                          <a:lnTo>
                            <a:pt x="115665" y="746193"/>
                          </a:lnTo>
                          <a:lnTo>
                            <a:pt x="115665" y="752944"/>
                          </a:lnTo>
                          <a:lnTo>
                            <a:pt x="116115" y="755645"/>
                          </a:lnTo>
                          <a:lnTo>
                            <a:pt x="117465" y="751144"/>
                          </a:lnTo>
                          <a:lnTo>
                            <a:pt x="118365" y="748894"/>
                          </a:lnTo>
                          <a:lnTo>
                            <a:pt x="122865" y="738992"/>
                          </a:lnTo>
                          <a:lnTo>
                            <a:pt x="126016" y="733592"/>
                          </a:lnTo>
                          <a:lnTo>
                            <a:pt x="129616" y="728191"/>
                          </a:lnTo>
                          <a:lnTo>
                            <a:pt x="134567" y="724141"/>
                          </a:lnTo>
                          <a:lnTo>
                            <a:pt x="146268" y="717390"/>
                          </a:lnTo>
                          <a:lnTo>
                            <a:pt x="152569" y="715590"/>
                          </a:lnTo>
                          <a:lnTo>
                            <a:pt x="155719" y="713789"/>
                          </a:lnTo>
                          <a:lnTo>
                            <a:pt x="157520" y="712439"/>
                          </a:lnTo>
                          <a:lnTo>
                            <a:pt x="158420" y="710639"/>
                          </a:lnTo>
                          <a:lnTo>
                            <a:pt x="160220" y="708839"/>
                          </a:lnTo>
                          <a:lnTo>
                            <a:pt x="160670" y="708839"/>
                          </a:lnTo>
                          <a:lnTo>
                            <a:pt x="159770" y="712889"/>
                          </a:lnTo>
                          <a:lnTo>
                            <a:pt x="159320" y="714239"/>
                          </a:lnTo>
                          <a:lnTo>
                            <a:pt x="155269" y="716940"/>
                          </a:lnTo>
                          <a:lnTo>
                            <a:pt x="154819" y="718740"/>
                          </a:lnTo>
                          <a:lnTo>
                            <a:pt x="155269" y="721890"/>
                          </a:lnTo>
                          <a:lnTo>
                            <a:pt x="156170" y="723691"/>
                          </a:lnTo>
                          <a:lnTo>
                            <a:pt x="157070" y="724591"/>
                          </a:lnTo>
                          <a:lnTo>
                            <a:pt x="158870" y="723691"/>
                          </a:lnTo>
                          <a:lnTo>
                            <a:pt x="161570" y="721440"/>
                          </a:lnTo>
                          <a:lnTo>
                            <a:pt x="164721" y="717840"/>
                          </a:lnTo>
                          <a:lnTo>
                            <a:pt x="171471" y="708389"/>
                          </a:lnTo>
                          <a:lnTo>
                            <a:pt x="171922" y="706589"/>
                          </a:lnTo>
                          <a:lnTo>
                            <a:pt x="173722" y="698938"/>
                          </a:lnTo>
                          <a:lnTo>
                            <a:pt x="177772" y="695787"/>
                          </a:lnTo>
                          <a:lnTo>
                            <a:pt x="184973" y="692187"/>
                          </a:lnTo>
                          <a:lnTo>
                            <a:pt x="186773" y="689936"/>
                          </a:lnTo>
                          <a:lnTo>
                            <a:pt x="180473" y="687686"/>
                          </a:lnTo>
                          <a:lnTo>
                            <a:pt x="179122" y="686336"/>
                          </a:lnTo>
                          <a:lnTo>
                            <a:pt x="179122" y="685436"/>
                          </a:lnTo>
                          <a:lnTo>
                            <a:pt x="180473" y="683186"/>
                          </a:lnTo>
                          <a:lnTo>
                            <a:pt x="177772" y="680935"/>
                          </a:lnTo>
                          <a:lnTo>
                            <a:pt x="176872" y="679585"/>
                          </a:lnTo>
                          <a:lnTo>
                            <a:pt x="176872" y="675535"/>
                          </a:lnTo>
                          <a:lnTo>
                            <a:pt x="177772" y="672834"/>
                          </a:lnTo>
                          <a:lnTo>
                            <a:pt x="179572" y="670134"/>
                          </a:lnTo>
                          <a:lnTo>
                            <a:pt x="180473" y="669684"/>
                          </a:lnTo>
                          <a:lnTo>
                            <a:pt x="183173" y="671484"/>
                          </a:lnTo>
                          <a:lnTo>
                            <a:pt x="185423" y="673734"/>
                          </a:lnTo>
                          <a:lnTo>
                            <a:pt x="193524" y="683186"/>
                          </a:lnTo>
                          <a:lnTo>
                            <a:pt x="196675" y="687686"/>
                          </a:lnTo>
                          <a:lnTo>
                            <a:pt x="198475" y="691286"/>
                          </a:lnTo>
                          <a:lnTo>
                            <a:pt x="202975" y="702538"/>
                          </a:lnTo>
                          <a:lnTo>
                            <a:pt x="204776" y="708839"/>
                          </a:lnTo>
                          <a:lnTo>
                            <a:pt x="206576" y="715590"/>
                          </a:lnTo>
                          <a:lnTo>
                            <a:pt x="207926" y="720090"/>
                          </a:lnTo>
                          <a:lnTo>
                            <a:pt x="209276" y="722790"/>
                          </a:lnTo>
                          <a:lnTo>
                            <a:pt x="216927" y="734042"/>
                          </a:lnTo>
                          <a:lnTo>
                            <a:pt x="220978" y="738992"/>
                          </a:lnTo>
                          <a:lnTo>
                            <a:pt x="224128" y="742143"/>
                          </a:lnTo>
                          <a:lnTo>
                            <a:pt x="227728" y="744393"/>
                          </a:lnTo>
                          <a:lnTo>
                            <a:pt x="232229" y="746193"/>
                          </a:lnTo>
                          <a:lnTo>
                            <a:pt x="235379" y="746193"/>
                          </a:lnTo>
                          <a:lnTo>
                            <a:pt x="239880" y="741243"/>
                          </a:lnTo>
                          <a:lnTo>
                            <a:pt x="239880" y="738092"/>
                          </a:lnTo>
                          <a:lnTo>
                            <a:pt x="238080" y="732692"/>
                          </a:lnTo>
                          <a:lnTo>
                            <a:pt x="236280" y="729091"/>
                          </a:lnTo>
                          <a:lnTo>
                            <a:pt x="236730" y="726841"/>
                          </a:lnTo>
                          <a:lnTo>
                            <a:pt x="239430" y="722340"/>
                          </a:lnTo>
                          <a:lnTo>
                            <a:pt x="239430" y="720990"/>
                          </a:lnTo>
                          <a:lnTo>
                            <a:pt x="239880" y="716490"/>
                          </a:lnTo>
                          <a:lnTo>
                            <a:pt x="241680" y="717390"/>
                          </a:lnTo>
                          <a:lnTo>
                            <a:pt x="242580" y="717390"/>
                          </a:lnTo>
                          <a:lnTo>
                            <a:pt x="243480" y="715590"/>
                          </a:lnTo>
                          <a:lnTo>
                            <a:pt x="244831" y="712439"/>
                          </a:lnTo>
                          <a:lnTo>
                            <a:pt x="246631" y="709739"/>
                          </a:lnTo>
                          <a:lnTo>
                            <a:pt x="248881" y="707489"/>
                          </a:lnTo>
                          <a:lnTo>
                            <a:pt x="249331" y="706138"/>
                          </a:lnTo>
                          <a:lnTo>
                            <a:pt x="247531" y="705238"/>
                          </a:lnTo>
                          <a:lnTo>
                            <a:pt x="245731" y="705238"/>
                          </a:lnTo>
                          <a:lnTo>
                            <a:pt x="244831" y="704788"/>
                          </a:lnTo>
                          <a:lnTo>
                            <a:pt x="244381" y="703888"/>
                          </a:lnTo>
                          <a:lnTo>
                            <a:pt x="245281" y="702988"/>
                          </a:lnTo>
                          <a:lnTo>
                            <a:pt x="249781" y="700738"/>
                          </a:lnTo>
                          <a:lnTo>
                            <a:pt x="250681" y="698487"/>
                          </a:lnTo>
                          <a:lnTo>
                            <a:pt x="252032" y="697137"/>
                          </a:lnTo>
                          <a:lnTo>
                            <a:pt x="253832" y="696687"/>
                          </a:lnTo>
                          <a:lnTo>
                            <a:pt x="254732" y="697137"/>
                          </a:lnTo>
                          <a:lnTo>
                            <a:pt x="256082" y="698938"/>
                          </a:lnTo>
                          <a:lnTo>
                            <a:pt x="256082" y="702088"/>
                          </a:lnTo>
                          <a:lnTo>
                            <a:pt x="255632" y="707038"/>
                          </a:lnTo>
                          <a:lnTo>
                            <a:pt x="255632" y="711089"/>
                          </a:lnTo>
                          <a:lnTo>
                            <a:pt x="256982" y="720540"/>
                          </a:lnTo>
                          <a:lnTo>
                            <a:pt x="258332" y="722340"/>
                          </a:lnTo>
                          <a:lnTo>
                            <a:pt x="263283" y="725041"/>
                          </a:lnTo>
                          <a:lnTo>
                            <a:pt x="262833" y="727291"/>
                          </a:lnTo>
                          <a:lnTo>
                            <a:pt x="257432" y="736742"/>
                          </a:lnTo>
                          <a:lnTo>
                            <a:pt x="256082" y="738992"/>
                          </a:lnTo>
                          <a:lnTo>
                            <a:pt x="255632" y="740793"/>
                          </a:lnTo>
                          <a:lnTo>
                            <a:pt x="255632" y="742143"/>
                          </a:lnTo>
                          <a:lnTo>
                            <a:pt x="256532" y="743493"/>
                          </a:lnTo>
                          <a:lnTo>
                            <a:pt x="258332" y="744393"/>
                          </a:lnTo>
                          <a:lnTo>
                            <a:pt x="263283" y="744843"/>
                          </a:lnTo>
                          <a:lnTo>
                            <a:pt x="264633" y="743943"/>
                          </a:lnTo>
                          <a:lnTo>
                            <a:pt x="274084" y="743493"/>
                          </a:lnTo>
                          <a:lnTo>
                            <a:pt x="275885" y="742593"/>
                          </a:lnTo>
                          <a:lnTo>
                            <a:pt x="277235" y="740793"/>
                          </a:lnTo>
                          <a:lnTo>
                            <a:pt x="279485" y="736292"/>
                          </a:lnTo>
                          <a:lnTo>
                            <a:pt x="281735" y="734942"/>
                          </a:lnTo>
                          <a:lnTo>
                            <a:pt x="282635" y="733592"/>
                          </a:lnTo>
                          <a:lnTo>
                            <a:pt x="283986" y="728191"/>
                          </a:lnTo>
                          <a:lnTo>
                            <a:pt x="284886" y="721890"/>
                          </a:lnTo>
                          <a:lnTo>
                            <a:pt x="285786" y="719190"/>
                          </a:lnTo>
                          <a:lnTo>
                            <a:pt x="286686" y="717390"/>
                          </a:lnTo>
                          <a:lnTo>
                            <a:pt x="288036" y="716940"/>
                          </a:lnTo>
                          <a:lnTo>
                            <a:pt x="291636" y="717390"/>
                          </a:lnTo>
                          <a:lnTo>
                            <a:pt x="293437" y="716940"/>
                          </a:lnTo>
                          <a:lnTo>
                            <a:pt x="300188" y="717390"/>
                          </a:lnTo>
                          <a:lnTo>
                            <a:pt x="306938" y="716940"/>
                          </a:lnTo>
                          <a:lnTo>
                            <a:pt x="313689" y="718290"/>
                          </a:lnTo>
                          <a:lnTo>
                            <a:pt x="318190" y="719640"/>
                          </a:lnTo>
                          <a:lnTo>
                            <a:pt x="322240" y="721890"/>
                          </a:lnTo>
                          <a:lnTo>
                            <a:pt x="330341" y="726841"/>
                          </a:lnTo>
                          <a:lnTo>
                            <a:pt x="333492" y="729541"/>
                          </a:lnTo>
                          <a:lnTo>
                            <a:pt x="335742" y="734492"/>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4" name="Freeform: Shape 1983">
                      <a:extLst>
                        <a:ext uri="{FF2B5EF4-FFF2-40B4-BE49-F238E27FC236}">
                          <a16:creationId xmlns:a16="http://schemas.microsoft.com/office/drawing/2014/main" id="{B3B7890B-7C73-F1E6-B12C-02A757663C53}"/>
                        </a:ext>
                      </a:extLst>
                    </p:cNvPr>
                    <p:cNvSpPr/>
                    <p:nvPr/>
                  </p:nvSpPr>
                  <p:spPr>
                    <a:xfrm>
                      <a:off x="1147193" y="233093"/>
                      <a:ext cx="1263758" cy="2117064"/>
                    </a:xfrm>
                    <a:custGeom>
                      <a:avLst/>
                      <a:gdLst>
                        <a:gd name="connsiteX0" fmla="*/ 1089586 w 1263758"/>
                        <a:gd name="connsiteY0" fmla="*/ 13952 h 2117064"/>
                        <a:gd name="connsiteX1" fmla="*/ 1106688 w 1263758"/>
                        <a:gd name="connsiteY1" fmla="*/ 17102 h 2117064"/>
                        <a:gd name="connsiteX2" fmla="*/ 1112089 w 1263758"/>
                        <a:gd name="connsiteY2" fmla="*/ 15752 h 2117064"/>
                        <a:gd name="connsiteX3" fmla="*/ 1118390 w 1263758"/>
                        <a:gd name="connsiteY3" fmla="*/ 23403 h 2117064"/>
                        <a:gd name="connsiteX4" fmla="*/ 1122440 w 1263758"/>
                        <a:gd name="connsiteY4" fmla="*/ 24303 h 2117064"/>
                        <a:gd name="connsiteX5" fmla="*/ 1128741 w 1263758"/>
                        <a:gd name="connsiteY5" fmla="*/ 22953 h 2117064"/>
                        <a:gd name="connsiteX6" fmla="*/ 1133242 w 1263758"/>
                        <a:gd name="connsiteY6" fmla="*/ 24753 h 2117064"/>
                        <a:gd name="connsiteX7" fmla="*/ 1150344 w 1263758"/>
                        <a:gd name="connsiteY7" fmla="*/ 26553 h 2117064"/>
                        <a:gd name="connsiteX8" fmla="*/ 1153944 w 1263758"/>
                        <a:gd name="connsiteY8" fmla="*/ 29704 h 2117064"/>
                        <a:gd name="connsiteX9" fmla="*/ 1153944 w 1263758"/>
                        <a:gd name="connsiteY9" fmla="*/ 33304 h 2117064"/>
                        <a:gd name="connsiteX10" fmla="*/ 1150344 w 1263758"/>
                        <a:gd name="connsiteY10" fmla="*/ 40955 h 2117064"/>
                        <a:gd name="connsiteX11" fmla="*/ 1145393 w 1263758"/>
                        <a:gd name="connsiteY11" fmla="*/ 48156 h 2117064"/>
                        <a:gd name="connsiteX12" fmla="*/ 1112989 w 1263758"/>
                        <a:gd name="connsiteY12" fmla="*/ 72009 h 2117064"/>
                        <a:gd name="connsiteX13" fmla="*/ 1110739 w 1263758"/>
                        <a:gd name="connsiteY13" fmla="*/ 76060 h 2117064"/>
                        <a:gd name="connsiteX14" fmla="*/ 1117040 w 1263758"/>
                        <a:gd name="connsiteY14" fmla="*/ 77410 h 2117064"/>
                        <a:gd name="connsiteX15" fmla="*/ 1126491 w 1263758"/>
                        <a:gd name="connsiteY15" fmla="*/ 76510 h 2117064"/>
                        <a:gd name="connsiteX16" fmla="*/ 1133692 w 1263758"/>
                        <a:gd name="connsiteY16" fmla="*/ 73809 h 2117064"/>
                        <a:gd name="connsiteX17" fmla="*/ 1142243 w 1263758"/>
                        <a:gd name="connsiteY17" fmla="*/ 65708 h 2117064"/>
                        <a:gd name="connsiteX18" fmla="*/ 1144943 w 1263758"/>
                        <a:gd name="connsiteY18" fmla="*/ 65258 h 2117064"/>
                        <a:gd name="connsiteX19" fmla="*/ 1150344 w 1263758"/>
                        <a:gd name="connsiteY19" fmla="*/ 61208 h 2117064"/>
                        <a:gd name="connsiteX20" fmla="*/ 1160695 w 1263758"/>
                        <a:gd name="connsiteY20" fmla="*/ 50406 h 2117064"/>
                        <a:gd name="connsiteX21" fmla="*/ 1169246 w 1263758"/>
                        <a:gd name="connsiteY21" fmla="*/ 44556 h 2117064"/>
                        <a:gd name="connsiteX22" fmla="*/ 1172847 w 1263758"/>
                        <a:gd name="connsiteY22" fmla="*/ 47256 h 2117064"/>
                        <a:gd name="connsiteX23" fmla="*/ 1175997 w 1263758"/>
                        <a:gd name="connsiteY23" fmla="*/ 51306 h 2117064"/>
                        <a:gd name="connsiteX24" fmla="*/ 1178247 w 1263758"/>
                        <a:gd name="connsiteY24" fmla="*/ 51756 h 2117064"/>
                        <a:gd name="connsiteX25" fmla="*/ 1179147 w 1263758"/>
                        <a:gd name="connsiteY25" fmla="*/ 48606 h 2117064"/>
                        <a:gd name="connsiteX26" fmla="*/ 1180948 w 1263758"/>
                        <a:gd name="connsiteY26" fmla="*/ 40055 h 2117064"/>
                        <a:gd name="connsiteX27" fmla="*/ 1181848 w 1263758"/>
                        <a:gd name="connsiteY27" fmla="*/ 36905 h 2117064"/>
                        <a:gd name="connsiteX28" fmla="*/ 1184548 w 1263758"/>
                        <a:gd name="connsiteY28" fmla="*/ 34654 h 2117064"/>
                        <a:gd name="connsiteX29" fmla="*/ 1186348 w 1263758"/>
                        <a:gd name="connsiteY29" fmla="*/ 35104 h 2117064"/>
                        <a:gd name="connsiteX30" fmla="*/ 1189049 w 1263758"/>
                        <a:gd name="connsiteY30" fmla="*/ 39155 h 2117064"/>
                        <a:gd name="connsiteX31" fmla="*/ 1192199 w 1263758"/>
                        <a:gd name="connsiteY31" fmla="*/ 49056 h 2117064"/>
                        <a:gd name="connsiteX32" fmla="*/ 1194899 w 1263758"/>
                        <a:gd name="connsiteY32" fmla="*/ 55807 h 2117064"/>
                        <a:gd name="connsiteX33" fmla="*/ 1196250 w 1263758"/>
                        <a:gd name="connsiteY33" fmla="*/ 55807 h 2117064"/>
                        <a:gd name="connsiteX34" fmla="*/ 1202550 w 1263758"/>
                        <a:gd name="connsiteY34" fmla="*/ 48156 h 2117064"/>
                        <a:gd name="connsiteX35" fmla="*/ 1205701 w 1263758"/>
                        <a:gd name="connsiteY35" fmla="*/ 47256 h 2117064"/>
                        <a:gd name="connsiteX36" fmla="*/ 1212902 w 1263758"/>
                        <a:gd name="connsiteY36" fmla="*/ 49956 h 2117064"/>
                        <a:gd name="connsiteX37" fmla="*/ 1216052 w 1263758"/>
                        <a:gd name="connsiteY37" fmla="*/ 53557 h 2117064"/>
                        <a:gd name="connsiteX38" fmla="*/ 1216502 w 1263758"/>
                        <a:gd name="connsiteY38" fmla="*/ 57157 h 2117064"/>
                        <a:gd name="connsiteX39" fmla="*/ 1214702 w 1263758"/>
                        <a:gd name="connsiteY39" fmla="*/ 60758 h 2117064"/>
                        <a:gd name="connsiteX40" fmla="*/ 1213352 w 1263758"/>
                        <a:gd name="connsiteY40" fmla="*/ 63908 h 2117064"/>
                        <a:gd name="connsiteX41" fmla="*/ 1212902 w 1263758"/>
                        <a:gd name="connsiteY41" fmla="*/ 66608 h 2117064"/>
                        <a:gd name="connsiteX42" fmla="*/ 1213802 w 1263758"/>
                        <a:gd name="connsiteY42" fmla="*/ 69759 h 2117064"/>
                        <a:gd name="connsiteX43" fmla="*/ 1218302 w 1263758"/>
                        <a:gd name="connsiteY43" fmla="*/ 76510 h 2117064"/>
                        <a:gd name="connsiteX44" fmla="*/ 1224603 w 1263758"/>
                        <a:gd name="connsiteY44" fmla="*/ 90911 h 2117064"/>
                        <a:gd name="connsiteX45" fmla="*/ 1224603 w 1263758"/>
                        <a:gd name="connsiteY45" fmla="*/ 96312 h 2117064"/>
                        <a:gd name="connsiteX46" fmla="*/ 1221003 w 1263758"/>
                        <a:gd name="connsiteY46" fmla="*/ 107113 h 2117064"/>
                        <a:gd name="connsiteX47" fmla="*/ 1221003 w 1263758"/>
                        <a:gd name="connsiteY47" fmla="*/ 109814 h 2117064"/>
                        <a:gd name="connsiteX48" fmla="*/ 1237205 w 1263758"/>
                        <a:gd name="connsiteY48" fmla="*/ 98562 h 2117064"/>
                        <a:gd name="connsiteX49" fmla="*/ 1253857 w 1263758"/>
                        <a:gd name="connsiteY49" fmla="*/ 103513 h 2117064"/>
                        <a:gd name="connsiteX50" fmla="*/ 1258357 w 1263758"/>
                        <a:gd name="connsiteY50" fmla="*/ 107113 h 2117064"/>
                        <a:gd name="connsiteX51" fmla="*/ 1260157 w 1263758"/>
                        <a:gd name="connsiteY51" fmla="*/ 111164 h 2117064"/>
                        <a:gd name="connsiteX52" fmla="*/ 1261958 w 1263758"/>
                        <a:gd name="connsiteY52" fmla="*/ 117915 h 2117064"/>
                        <a:gd name="connsiteX53" fmla="*/ 1263758 w 1263758"/>
                        <a:gd name="connsiteY53" fmla="*/ 127366 h 2117064"/>
                        <a:gd name="connsiteX54" fmla="*/ 1262408 w 1263758"/>
                        <a:gd name="connsiteY54" fmla="*/ 137267 h 2117064"/>
                        <a:gd name="connsiteX55" fmla="*/ 1255207 w 1263758"/>
                        <a:gd name="connsiteY55" fmla="*/ 152119 h 2117064"/>
                        <a:gd name="connsiteX56" fmla="*/ 1247556 w 1263758"/>
                        <a:gd name="connsiteY56" fmla="*/ 163370 h 2117064"/>
                        <a:gd name="connsiteX57" fmla="*/ 1243055 w 1263758"/>
                        <a:gd name="connsiteY57" fmla="*/ 173722 h 2117064"/>
                        <a:gd name="connsiteX58" fmla="*/ 1236304 w 1263758"/>
                        <a:gd name="connsiteY58" fmla="*/ 179122 h 2117064"/>
                        <a:gd name="connsiteX59" fmla="*/ 1212902 w 1263758"/>
                        <a:gd name="connsiteY59" fmla="*/ 203425 h 2117064"/>
                        <a:gd name="connsiteX60" fmla="*/ 1201650 w 1263758"/>
                        <a:gd name="connsiteY60" fmla="*/ 211076 h 2117064"/>
                        <a:gd name="connsiteX61" fmla="*/ 1194899 w 1263758"/>
                        <a:gd name="connsiteY61" fmla="*/ 218727 h 2117064"/>
                        <a:gd name="connsiteX62" fmla="*/ 1191749 w 1263758"/>
                        <a:gd name="connsiteY62" fmla="*/ 220078 h 2117064"/>
                        <a:gd name="connsiteX63" fmla="*/ 1177797 w 1263758"/>
                        <a:gd name="connsiteY63" fmla="*/ 218727 h 2117064"/>
                        <a:gd name="connsiteX64" fmla="*/ 1174197 w 1263758"/>
                        <a:gd name="connsiteY64" fmla="*/ 222778 h 2117064"/>
                        <a:gd name="connsiteX65" fmla="*/ 1171947 w 1263758"/>
                        <a:gd name="connsiteY65" fmla="*/ 229529 h 2117064"/>
                        <a:gd name="connsiteX66" fmla="*/ 1167446 w 1263758"/>
                        <a:gd name="connsiteY66" fmla="*/ 232679 h 2117064"/>
                        <a:gd name="connsiteX67" fmla="*/ 1161145 w 1263758"/>
                        <a:gd name="connsiteY67" fmla="*/ 234929 h 2117064"/>
                        <a:gd name="connsiteX68" fmla="*/ 1148094 w 1263758"/>
                        <a:gd name="connsiteY68" fmla="*/ 236730 h 2117064"/>
                        <a:gd name="connsiteX69" fmla="*/ 1144943 w 1263758"/>
                        <a:gd name="connsiteY69" fmla="*/ 244381 h 2117064"/>
                        <a:gd name="connsiteX70" fmla="*/ 1144043 w 1263758"/>
                        <a:gd name="connsiteY70" fmla="*/ 249781 h 2117064"/>
                        <a:gd name="connsiteX71" fmla="*/ 1142693 w 1263758"/>
                        <a:gd name="connsiteY71" fmla="*/ 253832 h 2117064"/>
                        <a:gd name="connsiteX72" fmla="*/ 1141793 w 1263758"/>
                        <a:gd name="connsiteY72" fmla="*/ 255632 h 2117064"/>
                        <a:gd name="connsiteX73" fmla="*/ 1103988 w 1263758"/>
                        <a:gd name="connsiteY73" fmla="*/ 282635 h 2117064"/>
                        <a:gd name="connsiteX74" fmla="*/ 1103088 w 1263758"/>
                        <a:gd name="connsiteY74" fmla="*/ 287136 h 2117064"/>
                        <a:gd name="connsiteX75" fmla="*/ 1106688 w 1263758"/>
                        <a:gd name="connsiteY75" fmla="*/ 288936 h 2117064"/>
                        <a:gd name="connsiteX76" fmla="*/ 1111639 w 1263758"/>
                        <a:gd name="connsiteY76" fmla="*/ 287136 h 2117064"/>
                        <a:gd name="connsiteX77" fmla="*/ 1166546 w 1263758"/>
                        <a:gd name="connsiteY77" fmla="*/ 254282 h 2117064"/>
                        <a:gd name="connsiteX78" fmla="*/ 1176897 w 1263758"/>
                        <a:gd name="connsiteY78" fmla="*/ 252032 h 2117064"/>
                        <a:gd name="connsiteX79" fmla="*/ 1186798 w 1263758"/>
                        <a:gd name="connsiteY79" fmla="*/ 254282 h 2117064"/>
                        <a:gd name="connsiteX80" fmla="*/ 1185898 w 1263758"/>
                        <a:gd name="connsiteY80" fmla="*/ 261933 h 2117064"/>
                        <a:gd name="connsiteX81" fmla="*/ 1171947 w 1263758"/>
                        <a:gd name="connsiteY81" fmla="*/ 283535 h 2117064"/>
                        <a:gd name="connsiteX82" fmla="*/ 1154394 w 1263758"/>
                        <a:gd name="connsiteY82" fmla="*/ 302888 h 2117064"/>
                        <a:gd name="connsiteX83" fmla="*/ 1145843 w 1263758"/>
                        <a:gd name="connsiteY83" fmla="*/ 317290 h 2117064"/>
                        <a:gd name="connsiteX84" fmla="*/ 1123790 w 1263758"/>
                        <a:gd name="connsiteY84" fmla="*/ 341593 h 2117064"/>
                        <a:gd name="connsiteX85" fmla="*/ 1105788 w 1263758"/>
                        <a:gd name="connsiteY85" fmla="*/ 365446 h 2117064"/>
                        <a:gd name="connsiteX86" fmla="*/ 1098587 w 1263758"/>
                        <a:gd name="connsiteY86" fmla="*/ 377597 h 2117064"/>
                        <a:gd name="connsiteX87" fmla="*/ 1089136 w 1263758"/>
                        <a:gd name="connsiteY87" fmla="*/ 398750 h 2117064"/>
                        <a:gd name="connsiteX88" fmla="*/ 1085986 w 1263758"/>
                        <a:gd name="connsiteY88" fmla="*/ 403701 h 2117064"/>
                        <a:gd name="connsiteX89" fmla="*/ 1081935 w 1263758"/>
                        <a:gd name="connsiteY89" fmla="*/ 405951 h 2117064"/>
                        <a:gd name="connsiteX90" fmla="*/ 1077435 w 1263758"/>
                        <a:gd name="connsiteY90" fmla="*/ 405051 h 2117064"/>
                        <a:gd name="connsiteX91" fmla="*/ 1073384 w 1263758"/>
                        <a:gd name="connsiteY91" fmla="*/ 401900 h 2117064"/>
                        <a:gd name="connsiteX92" fmla="*/ 1067983 w 1263758"/>
                        <a:gd name="connsiteY92" fmla="*/ 394249 h 2117064"/>
                        <a:gd name="connsiteX93" fmla="*/ 1063033 w 1263758"/>
                        <a:gd name="connsiteY93" fmla="*/ 385248 h 2117064"/>
                        <a:gd name="connsiteX94" fmla="*/ 1061683 w 1263758"/>
                        <a:gd name="connsiteY94" fmla="*/ 383898 h 2117064"/>
                        <a:gd name="connsiteX95" fmla="*/ 1062583 w 1263758"/>
                        <a:gd name="connsiteY95" fmla="*/ 388399 h 2117064"/>
                        <a:gd name="connsiteX96" fmla="*/ 1072034 w 1263758"/>
                        <a:gd name="connsiteY96" fmla="*/ 417202 h 2117064"/>
                        <a:gd name="connsiteX97" fmla="*/ 1071134 w 1263758"/>
                        <a:gd name="connsiteY97" fmla="*/ 422603 h 2117064"/>
                        <a:gd name="connsiteX98" fmla="*/ 1053582 w 1263758"/>
                        <a:gd name="connsiteY98" fmla="*/ 428454 h 2117064"/>
                        <a:gd name="connsiteX99" fmla="*/ 1045931 w 1263758"/>
                        <a:gd name="connsiteY99" fmla="*/ 433404 h 2117064"/>
                        <a:gd name="connsiteX100" fmla="*/ 1041880 w 1263758"/>
                        <a:gd name="connsiteY100" fmla="*/ 434754 h 2117064"/>
                        <a:gd name="connsiteX101" fmla="*/ 1039180 w 1263758"/>
                        <a:gd name="connsiteY101" fmla="*/ 433854 h 2117064"/>
                        <a:gd name="connsiteX102" fmla="*/ 1036480 w 1263758"/>
                        <a:gd name="connsiteY102" fmla="*/ 434304 h 2117064"/>
                        <a:gd name="connsiteX103" fmla="*/ 1033779 w 1263758"/>
                        <a:gd name="connsiteY103" fmla="*/ 436105 h 2117064"/>
                        <a:gd name="connsiteX104" fmla="*/ 1033779 w 1263758"/>
                        <a:gd name="connsiteY104" fmla="*/ 438355 h 2117064"/>
                        <a:gd name="connsiteX105" fmla="*/ 1036029 w 1263758"/>
                        <a:gd name="connsiteY105" fmla="*/ 440605 h 2117064"/>
                        <a:gd name="connsiteX106" fmla="*/ 1043230 w 1263758"/>
                        <a:gd name="connsiteY106" fmla="*/ 442405 h 2117064"/>
                        <a:gd name="connsiteX107" fmla="*/ 1058982 w 1263758"/>
                        <a:gd name="connsiteY107" fmla="*/ 436105 h 2117064"/>
                        <a:gd name="connsiteX108" fmla="*/ 1061683 w 1263758"/>
                        <a:gd name="connsiteY108" fmla="*/ 436555 h 2117064"/>
                        <a:gd name="connsiteX109" fmla="*/ 1065733 w 1263758"/>
                        <a:gd name="connsiteY109" fmla="*/ 439705 h 2117064"/>
                        <a:gd name="connsiteX110" fmla="*/ 1065733 w 1263758"/>
                        <a:gd name="connsiteY110" fmla="*/ 442405 h 2117064"/>
                        <a:gd name="connsiteX111" fmla="*/ 1061683 w 1263758"/>
                        <a:gd name="connsiteY111" fmla="*/ 451407 h 2117064"/>
                        <a:gd name="connsiteX112" fmla="*/ 1049081 w 1263758"/>
                        <a:gd name="connsiteY112" fmla="*/ 461758 h 2117064"/>
                        <a:gd name="connsiteX113" fmla="*/ 1050881 w 1263758"/>
                        <a:gd name="connsiteY113" fmla="*/ 462208 h 2117064"/>
                        <a:gd name="connsiteX114" fmla="*/ 1054482 w 1263758"/>
                        <a:gd name="connsiteY114" fmla="*/ 465808 h 2117064"/>
                        <a:gd name="connsiteX115" fmla="*/ 1054482 w 1263758"/>
                        <a:gd name="connsiteY115" fmla="*/ 468959 h 2117064"/>
                        <a:gd name="connsiteX116" fmla="*/ 1050431 w 1263758"/>
                        <a:gd name="connsiteY116" fmla="*/ 476610 h 2117064"/>
                        <a:gd name="connsiteX117" fmla="*/ 1048631 w 1263758"/>
                        <a:gd name="connsiteY117" fmla="*/ 479310 h 2117064"/>
                        <a:gd name="connsiteX118" fmla="*/ 1036480 w 1263758"/>
                        <a:gd name="connsiteY118" fmla="*/ 486511 h 2117064"/>
                        <a:gd name="connsiteX119" fmla="*/ 1031079 w 1263758"/>
                        <a:gd name="connsiteY119" fmla="*/ 488311 h 2117064"/>
                        <a:gd name="connsiteX120" fmla="*/ 1026578 w 1263758"/>
                        <a:gd name="connsiteY120" fmla="*/ 487411 h 2117064"/>
                        <a:gd name="connsiteX121" fmla="*/ 1004976 w 1263758"/>
                        <a:gd name="connsiteY121" fmla="*/ 471659 h 2117064"/>
                        <a:gd name="connsiteX122" fmla="*/ 997325 w 1263758"/>
                        <a:gd name="connsiteY122" fmla="*/ 469409 h 2117064"/>
                        <a:gd name="connsiteX123" fmla="*/ 990124 w 1263758"/>
                        <a:gd name="connsiteY123" fmla="*/ 465358 h 2117064"/>
                        <a:gd name="connsiteX124" fmla="*/ 984723 w 1263758"/>
                        <a:gd name="connsiteY124" fmla="*/ 466258 h 2117064"/>
                        <a:gd name="connsiteX125" fmla="*/ 978872 w 1263758"/>
                        <a:gd name="connsiteY125" fmla="*/ 470759 h 2117064"/>
                        <a:gd name="connsiteX126" fmla="*/ 981573 w 1263758"/>
                        <a:gd name="connsiteY126" fmla="*/ 473009 h 2117064"/>
                        <a:gd name="connsiteX127" fmla="*/ 991924 w 1263758"/>
                        <a:gd name="connsiteY127" fmla="*/ 477510 h 2117064"/>
                        <a:gd name="connsiteX128" fmla="*/ 1000475 w 1263758"/>
                        <a:gd name="connsiteY128" fmla="*/ 478410 h 2117064"/>
                        <a:gd name="connsiteX129" fmla="*/ 1004076 w 1263758"/>
                        <a:gd name="connsiteY129" fmla="*/ 480210 h 2117064"/>
                        <a:gd name="connsiteX130" fmla="*/ 1005426 w 1263758"/>
                        <a:gd name="connsiteY130" fmla="*/ 482910 h 2117064"/>
                        <a:gd name="connsiteX131" fmla="*/ 1009026 w 1263758"/>
                        <a:gd name="connsiteY131" fmla="*/ 493262 h 2117064"/>
                        <a:gd name="connsiteX132" fmla="*/ 1009476 w 1263758"/>
                        <a:gd name="connsiteY132" fmla="*/ 498662 h 2117064"/>
                        <a:gd name="connsiteX133" fmla="*/ 1008576 w 1263758"/>
                        <a:gd name="connsiteY133" fmla="*/ 503613 h 2117064"/>
                        <a:gd name="connsiteX134" fmla="*/ 1007226 w 1263758"/>
                        <a:gd name="connsiteY134" fmla="*/ 507213 h 2117064"/>
                        <a:gd name="connsiteX135" fmla="*/ 1005876 w 1263758"/>
                        <a:gd name="connsiteY135" fmla="*/ 509464 h 2117064"/>
                        <a:gd name="connsiteX136" fmla="*/ 1003625 w 1263758"/>
                        <a:gd name="connsiteY136" fmla="*/ 510364 h 2117064"/>
                        <a:gd name="connsiteX137" fmla="*/ 995074 w 1263758"/>
                        <a:gd name="connsiteY137" fmla="*/ 509464 h 2117064"/>
                        <a:gd name="connsiteX138" fmla="*/ 991924 w 1263758"/>
                        <a:gd name="connsiteY138" fmla="*/ 510814 h 2117064"/>
                        <a:gd name="connsiteX139" fmla="*/ 988324 w 1263758"/>
                        <a:gd name="connsiteY139" fmla="*/ 513964 h 2117064"/>
                        <a:gd name="connsiteX140" fmla="*/ 983823 w 1263758"/>
                        <a:gd name="connsiteY140" fmla="*/ 515314 h 2117064"/>
                        <a:gd name="connsiteX141" fmla="*/ 975722 w 1263758"/>
                        <a:gd name="connsiteY141" fmla="*/ 514864 h 2117064"/>
                        <a:gd name="connsiteX142" fmla="*/ 965821 w 1263758"/>
                        <a:gd name="connsiteY142" fmla="*/ 519365 h 2117064"/>
                        <a:gd name="connsiteX143" fmla="*/ 960420 w 1263758"/>
                        <a:gd name="connsiteY143" fmla="*/ 520265 h 2117064"/>
                        <a:gd name="connsiteX144" fmla="*/ 954569 w 1263758"/>
                        <a:gd name="connsiteY144" fmla="*/ 518465 h 2117064"/>
                        <a:gd name="connsiteX145" fmla="*/ 948268 w 1263758"/>
                        <a:gd name="connsiteY145" fmla="*/ 513514 h 2117064"/>
                        <a:gd name="connsiteX146" fmla="*/ 941518 w 1263758"/>
                        <a:gd name="connsiteY146" fmla="*/ 511264 h 2117064"/>
                        <a:gd name="connsiteX147" fmla="*/ 930266 w 1263758"/>
                        <a:gd name="connsiteY147" fmla="*/ 509014 h 2117064"/>
                        <a:gd name="connsiteX148" fmla="*/ 931166 w 1263758"/>
                        <a:gd name="connsiteY148" fmla="*/ 511714 h 2117064"/>
                        <a:gd name="connsiteX149" fmla="*/ 935217 w 1263758"/>
                        <a:gd name="connsiteY149" fmla="*/ 513064 h 2117064"/>
                        <a:gd name="connsiteX150" fmla="*/ 943318 w 1263758"/>
                        <a:gd name="connsiteY150" fmla="*/ 520715 h 2117064"/>
                        <a:gd name="connsiteX151" fmla="*/ 946918 w 1263758"/>
                        <a:gd name="connsiteY151" fmla="*/ 530616 h 2117064"/>
                        <a:gd name="connsiteX152" fmla="*/ 950519 w 1263758"/>
                        <a:gd name="connsiteY152" fmla="*/ 532417 h 2117064"/>
                        <a:gd name="connsiteX153" fmla="*/ 957720 w 1263758"/>
                        <a:gd name="connsiteY153" fmla="*/ 540518 h 2117064"/>
                        <a:gd name="connsiteX154" fmla="*/ 963120 w 1263758"/>
                        <a:gd name="connsiteY154" fmla="*/ 541868 h 2117064"/>
                        <a:gd name="connsiteX155" fmla="*/ 968521 w 1263758"/>
                        <a:gd name="connsiteY155" fmla="*/ 544568 h 2117064"/>
                        <a:gd name="connsiteX156" fmla="*/ 976172 w 1263758"/>
                        <a:gd name="connsiteY156" fmla="*/ 540968 h 2117064"/>
                        <a:gd name="connsiteX157" fmla="*/ 981573 w 1263758"/>
                        <a:gd name="connsiteY157" fmla="*/ 541418 h 2117064"/>
                        <a:gd name="connsiteX158" fmla="*/ 980673 w 1263758"/>
                        <a:gd name="connsiteY158" fmla="*/ 561220 h 2117064"/>
                        <a:gd name="connsiteX159" fmla="*/ 978422 w 1263758"/>
                        <a:gd name="connsiteY159" fmla="*/ 563021 h 2117064"/>
                        <a:gd name="connsiteX160" fmla="*/ 965821 w 1263758"/>
                        <a:gd name="connsiteY160" fmla="*/ 563021 h 2117064"/>
                        <a:gd name="connsiteX161" fmla="*/ 959970 w 1263758"/>
                        <a:gd name="connsiteY161" fmla="*/ 560320 h 2117064"/>
                        <a:gd name="connsiteX162" fmla="*/ 957270 w 1263758"/>
                        <a:gd name="connsiteY162" fmla="*/ 557170 h 2117064"/>
                        <a:gd name="connsiteX163" fmla="*/ 951419 w 1263758"/>
                        <a:gd name="connsiteY163" fmla="*/ 554019 h 2117064"/>
                        <a:gd name="connsiteX164" fmla="*/ 946018 w 1263758"/>
                        <a:gd name="connsiteY164" fmla="*/ 555820 h 2117064"/>
                        <a:gd name="connsiteX165" fmla="*/ 941068 w 1263758"/>
                        <a:gd name="connsiteY165" fmla="*/ 555369 h 2117064"/>
                        <a:gd name="connsiteX166" fmla="*/ 937917 w 1263758"/>
                        <a:gd name="connsiteY166" fmla="*/ 557170 h 2117064"/>
                        <a:gd name="connsiteX167" fmla="*/ 932967 w 1263758"/>
                        <a:gd name="connsiteY167" fmla="*/ 557170 h 2117064"/>
                        <a:gd name="connsiteX168" fmla="*/ 919465 w 1263758"/>
                        <a:gd name="connsiteY168" fmla="*/ 560320 h 2117064"/>
                        <a:gd name="connsiteX169" fmla="*/ 912264 w 1263758"/>
                        <a:gd name="connsiteY169" fmla="*/ 560320 h 2117064"/>
                        <a:gd name="connsiteX170" fmla="*/ 906863 w 1263758"/>
                        <a:gd name="connsiteY170" fmla="*/ 558070 h 2117064"/>
                        <a:gd name="connsiteX171" fmla="*/ 901013 w 1263758"/>
                        <a:gd name="connsiteY171" fmla="*/ 557620 h 2117064"/>
                        <a:gd name="connsiteX172" fmla="*/ 894262 w 1263758"/>
                        <a:gd name="connsiteY172" fmla="*/ 558520 h 2117064"/>
                        <a:gd name="connsiteX173" fmla="*/ 894712 w 1263758"/>
                        <a:gd name="connsiteY173" fmla="*/ 560770 h 2117064"/>
                        <a:gd name="connsiteX174" fmla="*/ 897412 w 1263758"/>
                        <a:gd name="connsiteY174" fmla="*/ 561670 h 2117064"/>
                        <a:gd name="connsiteX175" fmla="*/ 901463 w 1263758"/>
                        <a:gd name="connsiteY175" fmla="*/ 565271 h 2117064"/>
                        <a:gd name="connsiteX176" fmla="*/ 905513 w 1263758"/>
                        <a:gd name="connsiteY176" fmla="*/ 571121 h 2117064"/>
                        <a:gd name="connsiteX177" fmla="*/ 908664 w 1263758"/>
                        <a:gd name="connsiteY177" fmla="*/ 573372 h 2117064"/>
                        <a:gd name="connsiteX178" fmla="*/ 912714 w 1263758"/>
                        <a:gd name="connsiteY178" fmla="*/ 572022 h 2117064"/>
                        <a:gd name="connsiteX179" fmla="*/ 916765 w 1263758"/>
                        <a:gd name="connsiteY179" fmla="*/ 569321 h 2117064"/>
                        <a:gd name="connsiteX180" fmla="*/ 931166 w 1263758"/>
                        <a:gd name="connsiteY180" fmla="*/ 564821 h 2117064"/>
                        <a:gd name="connsiteX181" fmla="*/ 937467 w 1263758"/>
                        <a:gd name="connsiteY181" fmla="*/ 563921 h 2117064"/>
                        <a:gd name="connsiteX182" fmla="*/ 943318 w 1263758"/>
                        <a:gd name="connsiteY182" fmla="*/ 565721 h 2117064"/>
                        <a:gd name="connsiteX183" fmla="*/ 946918 w 1263758"/>
                        <a:gd name="connsiteY183" fmla="*/ 567971 h 2117064"/>
                        <a:gd name="connsiteX184" fmla="*/ 949619 w 1263758"/>
                        <a:gd name="connsiteY184" fmla="*/ 570671 h 2117064"/>
                        <a:gd name="connsiteX185" fmla="*/ 952769 w 1263758"/>
                        <a:gd name="connsiteY185" fmla="*/ 578322 h 2117064"/>
                        <a:gd name="connsiteX186" fmla="*/ 961320 w 1263758"/>
                        <a:gd name="connsiteY186" fmla="*/ 579222 h 2117064"/>
                        <a:gd name="connsiteX187" fmla="*/ 967621 w 1263758"/>
                        <a:gd name="connsiteY187" fmla="*/ 581923 h 2117064"/>
                        <a:gd name="connsiteX188" fmla="*/ 977972 w 1263758"/>
                        <a:gd name="connsiteY188" fmla="*/ 592724 h 2117064"/>
                        <a:gd name="connsiteX189" fmla="*/ 980673 w 1263758"/>
                        <a:gd name="connsiteY189" fmla="*/ 593624 h 2117064"/>
                        <a:gd name="connsiteX190" fmla="*/ 982023 w 1263758"/>
                        <a:gd name="connsiteY190" fmla="*/ 596325 h 2117064"/>
                        <a:gd name="connsiteX191" fmla="*/ 979772 w 1263758"/>
                        <a:gd name="connsiteY191" fmla="*/ 603526 h 2117064"/>
                        <a:gd name="connsiteX192" fmla="*/ 979322 w 1263758"/>
                        <a:gd name="connsiteY192" fmla="*/ 607576 h 2117064"/>
                        <a:gd name="connsiteX193" fmla="*/ 972122 w 1263758"/>
                        <a:gd name="connsiteY193" fmla="*/ 615677 h 2117064"/>
                        <a:gd name="connsiteX194" fmla="*/ 961320 w 1263758"/>
                        <a:gd name="connsiteY194" fmla="*/ 617927 h 2117064"/>
                        <a:gd name="connsiteX195" fmla="*/ 949169 w 1263758"/>
                        <a:gd name="connsiteY195" fmla="*/ 617027 h 2117064"/>
                        <a:gd name="connsiteX196" fmla="*/ 940618 w 1263758"/>
                        <a:gd name="connsiteY196" fmla="*/ 617927 h 2117064"/>
                        <a:gd name="connsiteX197" fmla="*/ 939717 w 1263758"/>
                        <a:gd name="connsiteY197" fmla="*/ 618827 h 2117064"/>
                        <a:gd name="connsiteX198" fmla="*/ 945568 w 1263758"/>
                        <a:gd name="connsiteY198" fmla="*/ 621078 h 2117064"/>
                        <a:gd name="connsiteX199" fmla="*/ 959520 w 1263758"/>
                        <a:gd name="connsiteY199" fmla="*/ 630529 h 2117064"/>
                        <a:gd name="connsiteX200" fmla="*/ 964921 w 1263758"/>
                        <a:gd name="connsiteY200" fmla="*/ 635480 h 2117064"/>
                        <a:gd name="connsiteX201" fmla="*/ 965821 w 1263758"/>
                        <a:gd name="connsiteY201" fmla="*/ 638630 h 2117064"/>
                        <a:gd name="connsiteX202" fmla="*/ 958170 w 1263758"/>
                        <a:gd name="connsiteY202" fmla="*/ 649881 h 2117064"/>
                        <a:gd name="connsiteX203" fmla="*/ 951419 w 1263758"/>
                        <a:gd name="connsiteY203" fmla="*/ 671484 h 2117064"/>
                        <a:gd name="connsiteX204" fmla="*/ 949169 w 1263758"/>
                        <a:gd name="connsiteY204" fmla="*/ 673284 h 2117064"/>
                        <a:gd name="connsiteX205" fmla="*/ 946918 w 1263758"/>
                        <a:gd name="connsiteY205" fmla="*/ 673734 h 2117064"/>
                        <a:gd name="connsiteX206" fmla="*/ 941068 w 1263758"/>
                        <a:gd name="connsiteY206" fmla="*/ 673284 h 2117064"/>
                        <a:gd name="connsiteX207" fmla="*/ 933417 w 1263758"/>
                        <a:gd name="connsiteY207" fmla="*/ 678685 h 2117064"/>
                        <a:gd name="connsiteX208" fmla="*/ 927566 w 1263758"/>
                        <a:gd name="connsiteY208" fmla="*/ 679585 h 2117064"/>
                        <a:gd name="connsiteX209" fmla="*/ 917215 w 1263758"/>
                        <a:gd name="connsiteY209" fmla="*/ 677335 h 2117064"/>
                        <a:gd name="connsiteX210" fmla="*/ 905513 w 1263758"/>
                        <a:gd name="connsiteY210" fmla="*/ 677335 h 2117064"/>
                        <a:gd name="connsiteX211" fmla="*/ 904613 w 1263758"/>
                        <a:gd name="connsiteY211" fmla="*/ 680935 h 2117064"/>
                        <a:gd name="connsiteX212" fmla="*/ 904163 w 1263758"/>
                        <a:gd name="connsiteY212" fmla="*/ 687686 h 2117064"/>
                        <a:gd name="connsiteX213" fmla="*/ 904163 w 1263758"/>
                        <a:gd name="connsiteY213" fmla="*/ 697587 h 2117064"/>
                        <a:gd name="connsiteX214" fmla="*/ 905063 w 1263758"/>
                        <a:gd name="connsiteY214" fmla="*/ 710639 h 2117064"/>
                        <a:gd name="connsiteX215" fmla="*/ 904613 w 1263758"/>
                        <a:gd name="connsiteY215" fmla="*/ 720090 h 2117064"/>
                        <a:gd name="connsiteX216" fmla="*/ 902813 w 1263758"/>
                        <a:gd name="connsiteY216" fmla="*/ 725941 h 2117064"/>
                        <a:gd name="connsiteX217" fmla="*/ 900563 w 1263758"/>
                        <a:gd name="connsiteY217" fmla="*/ 730441 h 2117064"/>
                        <a:gd name="connsiteX218" fmla="*/ 896062 w 1263758"/>
                        <a:gd name="connsiteY218" fmla="*/ 734492 h 2117064"/>
                        <a:gd name="connsiteX219" fmla="*/ 891561 w 1263758"/>
                        <a:gd name="connsiteY219" fmla="*/ 737192 h 2117064"/>
                        <a:gd name="connsiteX220" fmla="*/ 887961 w 1263758"/>
                        <a:gd name="connsiteY220" fmla="*/ 738092 h 2117064"/>
                        <a:gd name="connsiteX221" fmla="*/ 882110 w 1263758"/>
                        <a:gd name="connsiteY221" fmla="*/ 738092 h 2117064"/>
                        <a:gd name="connsiteX222" fmla="*/ 865908 w 1263758"/>
                        <a:gd name="connsiteY222" fmla="*/ 741243 h 2117064"/>
                        <a:gd name="connsiteX223" fmla="*/ 857807 w 1263758"/>
                        <a:gd name="connsiteY223" fmla="*/ 741243 h 2117064"/>
                        <a:gd name="connsiteX224" fmla="*/ 854657 w 1263758"/>
                        <a:gd name="connsiteY224" fmla="*/ 742593 h 2117064"/>
                        <a:gd name="connsiteX225" fmla="*/ 848356 w 1263758"/>
                        <a:gd name="connsiteY225" fmla="*/ 738542 h 2117064"/>
                        <a:gd name="connsiteX226" fmla="*/ 837555 w 1263758"/>
                        <a:gd name="connsiteY226" fmla="*/ 726391 h 2117064"/>
                        <a:gd name="connsiteX227" fmla="*/ 834404 w 1263758"/>
                        <a:gd name="connsiteY227" fmla="*/ 723691 h 2117064"/>
                        <a:gd name="connsiteX228" fmla="*/ 831254 w 1263758"/>
                        <a:gd name="connsiteY228" fmla="*/ 722340 h 2117064"/>
                        <a:gd name="connsiteX229" fmla="*/ 831254 w 1263758"/>
                        <a:gd name="connsiteY229" fmla="*/ 725041 h 2117064"/>
                        <a:gd name="connsiteX230" fmla="*/ 834404 w 1263758"/>
                        <a:gd name="connsiteY230" fmla="*/ 731792 h 2117064"/>
                        <a:gd name="connsiteX231" fmla="*/ 837105 w 1263758"/>
                        <a:gd name="connsiteY231" fmla="*/ 736292 h 2117064"/>
                        <a:gd name="connsiteX232" fmla="*/ 839355 w 1263758"/>
                        <a:gd name="connsiteY232" fmla="*/ 738092 h 2117064"/>
                        <a:gd name="connsiteX233" fmla="*/ 838905 w 1263758"/>
                        <a:gd name="connsiteY233" fmla="*/ 740343 h 2117064"/>
                        <a:gd name="connsiteX234" fmla="*/ 834404 w 1263758"/>
                        <a:gd name="connsiteY234" fmla="*/ 743493 h 2117064"/>
                        <a:gd name="connsiteX235" fmla="*/ 829004 w 1263758"/>
                        <a:gd name="connsiteY235" fmla="*/ 744843 h 2117064"/>
                        <a:gd name="connsiteX236" fmla="*/ 822703 w 1263758"/>
                        <a:gd name="connsiteY236" fmla="*/ 744843 h 2117064"/>
                        <a:gd name="connsiteX237" fmla="*/ 822703 w 1263758"/>
                        <a:gd name="connsiteY237" fmla="*/ 746193 h 2117064"/>
                        <a:gd name="connsiteX238" fmla="*/ 824953 w 1263758"/>
                        <a:gd name="connsiteY238" fmla="*/ 749794 h 2117064"/>
                        <a:gd name="connsiteX239" fmla="*/ 827653 w 1263758"/>
                        <a:gd name="connsiteY239" fmla="*/ 752944 h 2117064"/>
                        <a:gd name="connsiteX240" fmla="*/ 829454 w 1263758"/>
                        <a:gd name="connsiteY240" fmla="*/ 753844 h 2117064"/>
                        <a:gd name="connsiteX241" fmla="*/ 833954 w 1263758"/>
                        <a:gd name="connsiteY241" fmla="*/ 752944 h 2117064"/>
                        <a:gd name="connsiteX242" fmla="*/ 839355 w 1263758"/>
                        <a:gd name="connsiteY242" fmla="*/ 748894 h 2117064"/>
                        <a:gd name="connsiteX243" fmla="*/ 842955 w 1263758"/>
                        <a:gd name="connsiteY243" fmla="*/ 747544 h 2117064"/>
                        <a:gd name="connsiteX244" fmla="*/ 849706 w 1263758"/>
                        <a:gd name="connsiteY244" fmla="*/ 748444 h 2117064"/>
                        <a:gd name="connsiteX245" fmla="*/ 852407 w 1263758"/>
                        <a:gd name="connsiteY245" fmla="*/ 749794 h 2117064"/>
                        <a:gd name="connsiteX246" fmla="*/ 860958 w 1263758"/>
                        <a:gd name="connsiteY246" fmla="*/ 758795 h 2117064"/>
                        <a:gd name="connsiteX247" fmla="*/ 862308 w 1263758"/>
                        <a:gd name="connsiteY247" fmla="*/ 759245 h 2117064"/>
                        <a:gd name="connsiteX248" fmla="*/ 868609 w 1263758"/>
                        <a:gd name="connsiteY248" fmla="*/ 754744 h 2117064"/>
                        <a:gd name="connsiteX249" fmla="*/ 877610 w 1263758"/>
                        <a:gd name="connsiteY249" fmla="*/ 754294 h 2117064"/>
                        <a:gd name="connsiteX250" fmla="*/ 880760 w 1263758"/>
                        <a:gd name="connsiteY250" fmla="*/ 757895 h 2117064"/>
                        <a:gd name="connsiteX251" fmla="*/ 882110 w 1263758"/>
                        <a:gd name="connsiteY251" fmla="*/ 764646 h 2117064"/>
                        <a:gd name="connsiteX252" fmla="*/ 882110 w 1263758"/>
                        <a:gd name="connsiteY252" fmla="*/ 770496 h 2117064"/>
                        <a:gd name="connsiteX253" fmla="*/ 881210 w 1263758"/>
                        <a:gd name="connsiteY253" fmla="*/ 774997 h 2117064"/>
                        <a:gd name="connsiteX254" fmla="*/ 883460 w 1263758"/>
                        <a:gd name="connsiteY254" fmla="*/ 779048 h 2117064"/>
                        <a:gd name="connsiteX255" fmla="*/ 888411 w 1263758"/>
                        <a:gd name="connsiteY255" fmla="*/ 783098 h 2117064"/>
                        <a:gd name="connsiteX256" fmla="*/ 892462 w 1263758"/>
                        <a:gd name="connsiteY256" fmla="*/ 783998 h 2117064"/>
                        <a:gd name="connsiteX257" fmla="*/ 895162 w 1263758"/>
                        <a:gd name="connsiteY257" fmla="*/ 781748 h 2117064"/>
                        <a:gd name="connsiteX258" fmla="*/ 899662 w 1263758"/>
                        <a:gd name="connsiteY258" fmla="*/ 776347 h 2117064"/>
                        <a:gd name="connsiteX259" fmla="*/ 901463 w 1263758"/>
                        <a:gd name="connsiteY259" fmla="*/ 774997 h 2117064"/>
                        <a:gd name="connsiteX260" fmla="*/ 903263 w 1263758"/>
                        <a:gd name="connsiteY260" fmla="*/ 775447 h 2117064"/>
                        <a:gd name="connsiteX261" fmla="*/ 905963 w 1263758"/>
                        <a:gd name="connsiteY261" fmla="*/ 779498 h 2117064"/>
                        <a:gd name="connsiteX262" fmla="*/ 909564 w 1263758"/>
                        <a:gd name="connsiteY262" fmla="*/ 787149 h 2117064"/>
                        <a:gd name="connsiteX263" fmla="*/ 910014 w 1263758"/>
                        <a:gd name="connsiteY263" fmla="*/ 796150 h 2117064"/>
                        <a:gd name="connsiteX264" fmla="*/ 907313 w 1263758"/>
                        <a:gd name="connsiteY264" fmla="*/ 806501 h 2117064"/>
                        <a:gd name="connsiteX265" fmla="*/ 903713 w 1263758"/>
                        <a:gd name="connsiteY265" fmla="*/ 813252 h 2117064"/>
                        <a:gd name="connsiteX266" fmla="*/ 889761 w 1263758"/>
                        <a:gd name="connsiteY266" fmla="*/ 824053 h 2117064"/>
                        <a:gd name="connsiteX267" fmla="*/ 885711 w 1263758"/>
                        <a:gd name="connsiteY267" fmla="*/ 828104 h 2117064"/>
                        <a:gd name="connsiteX268" fmla="*/ 882560 w 1263758"/>
                        <a:gd name="connsiteY268" fmla="*/ 832604 h 2117064"/>
                        <a:gd name="connsiteX269" fmla="*/ 877610 w 1263758"/>
                        <a:gd name="connsiteY269" fmla="*/ 836655 h 2117064"/>
                        <a:gd name="connsiteX270" fmla="*/ 868159 w 1263758"/>
                        <a:gd name="connsiteY270" fmla="*/ 842055 h 2117064"/>
                        <a:gd name="connsiteX271" fmla="*/ 863208 w 1263758"/>
                        <a:gd name="connsiteY271" fmla="*/ 842956 h 2117064"/>
                        <a:gd name="connsiteX272" fmla="*/ 852407 w 1263758"/>
                        <a:gd name="connsiteY272" fmla="*/ 848806 h 2117064"/>
                        <a:gd name="connsiteX273" fmla="*/ 850156 w 1263758"/>
                        <a:gd name="connsiteY273" fmla="*/ 849256 h 2117064"/>
                        <a:gd name="connsiteX274" fmla="*/ 846556 w 1263758"/>
                        <a:gd name="connsiteY274" fmla="*/ 848356 h 2117064"/>
                        <a:gd name="connsiteX275" fmla="*/ 845656 w 1263758"/>
                        <a:gd name="connsiteY275" fmla="*/ 845656 h 2117064"/>
                        <a:gd name="connsiteX276" fmla="*/ 846556 w 1263758"/>
                        <a:gd name="connsiteY276" fmla="*/ 840705 h 2117064"/>
                        <a:gd name="connsiteX277" fmla="*/ 847906 w 1263758"/>
                        <a:gd name="connsiteY277" fmla="*/ 836205 h 2117064"/>
                        <a:gd name="connsiteX278" fmla="*/ 849256 w 1263758"/>
                        <a:gd name="connsiteY278" fmla="*/ 831704 h 2117064"/>
                        <a:gd name="connsiteX279" fmla="*/ 849256 w 1263758"/>
                        <a:gd name="connsiteY279" fmla="*/ 828104 h 2117064"/>
                        <a:gd name="connsiteX280" fmla="*/ 846106 w 1263758"/>
                        <a:gd name="connsiteY280" fmla="*/ 822703 h 2117064"/>
                        <a:gd name="connsiteX281" fmla="*/ 843856 w 1263758"/>
                        <a:gd name="connsiteY281" fmla="*/ 820003 h 2117064"/>
                        <a:gd name="connsiteX282" fmla="*/ 841605 w 1263758"/>
                        <a:gd name="connsiteY282" fmla="*/ 818652 h 2117064"/>
                        <a:gd name="connsiteX283" fmla="*/ 837555 w 1263758"/>
                        <a:gd name="connsiteY283" fmla="*/ 819553 h 2117064"/>
                        <a:gd name="connsiteX284" fmla="*/ 835304 w 1263758"/>
                        <a:gd name="connsiteY284" fmla="*/ 820903 h 2117064"/>
                        <a:gd name="connsiteX285" fmla="*/ 832604 w 1263758"/>
                        <a:gd name="connsiteY285" fmla="*/ 821353 h 2117064"/>
                        <a:gd name="connsiteX286" fmla="*/ 829904 w 1263758"/>
                        <a:gd name="connsiteY286" fmla="*/ 820453 h 2117064"/>
                        <a:gd name="connsiteX287" fmla="*/ 827653 w 1263758"/>
                        <a:gd name="connsiteY287" fmla="*/ 818202 h 2117064"/>
                        <a:gd name="connsiteX288" fmla="*/ 823153 w 1263758"/>
                        <a:gd name="connsiteY288" fmla="*/ 808301 h 2117064"/>
                        <a:gd name="connsiteX289" fmla="*/ 821353 w 1263758"/>
                        <a:gd name="connsiteY289" fmla="*/ 806951 h 2117064"/>
                        <a:gd name="connsiteX290" fmla="*/ 819102 w 1263758"/>
                        <a:gd name="connsiteY290" fmla="*/ 807401 h 2117064"/>
                        <a:gd name="connsiteX291" fmla="*/ 817302 w 1263758"/>
                        <a:gd name="connsiteY291" fmla="*/ 806051 h 2117064"/>
                        <a:gd name="connsiteX292" fmla="*/ 815502 w 1263758"/>
                        <a:gd name="connsiteY292" fmla="*/ 802900 h 2117064"/>
                        <a:gd name="connsiteX293" fmla="*/ 812802 w 1263758"/>
                        <a:gd name="connsiteY293" fmla="*/ 799750 h 2117064"/>
                        <a:gd name="connsiteX294" fmla="*/ 813702 w 1263758"/>
                        <a:gd name="connsiteY294" fmla="*/ 802000 h 2117064"/>
                        <a:gd name="connsiteX295" fmla="*/ 816402 w 1263758"/>
                        <a:gd name="connsiteY295" fmla="*/ 807851 h 2117064"/>
                        <a:gd name="connsiteX296" fmla="*/ 818202 w 1263758"/>
                        <a:gd name="connsiteY296" fmla="*/ 813252 h 2117064"/>
                        <a:gd name="connsiteX297" fmla="*/ 819552 w 1263758"/>
                        <a:gd name="connsiteY297" fmla="*/ 818652 h 2117064"/>
                        <a:gd name="connsiteX298" fmla="*/ 819102 w 1263758"/>
                        <a:gd name="connsiteY298" fmla="*/ 823153 h 2117064"/>
                        <a:gd name="connsiteX299" fmla="*/ 794799 w 1263758"/>
                        <a:gd name="connsiteY299" fmla="*/ 825403 h 2117064"/>
                        <a:gd name="connsiteX300" fmla="*/ 784448 w 1263758"/>
                        <a:gd name="connsiteY300" fmla="*/ 824053 h 2117064"/>
                        <a:gd name="connsiteX301" fmla="*/ 782198 w 1263758"/>
                        <a:gd name="connsiteY301" fmla="*/ 820453 h 2117064"/>
                        <a:gd name="connsiteX302" fmla="*/ 777247 w 1263758"/>
                        <a:gd name="connsiteY302" fmla="*/ 803801 h 2117064"/>
                        <a:gd name="connsiteX303" fmla="*/ 776347 w 1263758"/>
                        <a:gd name="connsiteY303" fmla="*/ 832604 h 2117064"/>
                        <a:gd name="connsiteX304" fmla="*/ 757895 w 1263758"/>
                        <a:gd name="connsiteY304" fmla="*/ 837105 h 2117064"/>
                        <a:gd name="connsiteX305" fmla="*/ 753394 w 1263758"/>
                        <a:gd name="connsiteY305" fmla="*/ 836205 h 2117064"/>
                        <a:gd name="connsiteX306" fmla="*/ 746193 w 1263758"/>
                        <a:gd name="connsiteY306" fmla="*/ 833054 h 2117064"/>
                        <a:gd name="connsiteX307" fmla="*/ 737192 w 1263758"/>
                        <a:gd name="connsiteY307" fmla="*/ 825403 h 2117064"/>
                        <a:gd name="connsiteX308" fmla="*/ 733142 w 1263758"/>
                        <a:gd name="connsiteY308" fmla="*/ 820453 h 2117064"/>
                        <a:gd name="connsiteX309" fmla="*/ 731792 w 1263758"/>
                        <a:gd name="connsiteY309" fmla="*/ 815502 h 2117064"/>
                        <a:gd name="connsiteX310" fmla="*/ 730891 w 1263758"/>
                        <a:gd name="connsiteY310" fmla="*/ 812802 h 2117064"/>
                        <a:gd name="connsiteX311" fmla="*/ 729991 w 1263758"/>
                        <a:gd name="connsiteY311" fmla="*/ 812352 h 2117064"/>
                        <a:gd name="connsiteX312" fmla="*/ 727741 w 1263758"/>
                        <a:gd name="connsiteY312" fmla="*/ 818652 h 2117064"/>
                        <a:gd name="connsiteX313" fmla="*/ 725041 w 1263758"/>
                        <a:gd name="connsiteY313" fmla="*/ 831254 h 2117064"/>
                        <a:gd name="connsiteX314" fmla="*/ 718740 w 1263758"/>
                        <a:gd name="connsiteY314" fmla="*/ 828104 h 2117064"/>
                        <a:gd name="connsiteX315" fmla="*/ 710639 w 1263758"/>
                        <a:gd name="connsiteY315" fmla="*/ 823603 h 2117064"/>
                        <a:gd name="connsiteX316" fmla="*/ 707938 w 1263758"/>
                        <a:gd name="connsiteY316" fmla="*/ 811001 h 2117064"/>
                        <a:gd name="connsiteX317" fmla="*/ 707938 w 1263758"/>
                        <a:gd name="connsiteY317" fmla="*/ 829004 h 2117064"/>
                        <a:gd name="connsiteX318" fmla="*/ 694887 w 1263758"/>
                        <a:gd name="connsiteY318" fmla="*/ 826753 h 2117064"/>
                        <a:gd name="connsiteX319" fmla="*/ 688586 w 1263758"/>
                        <a:gd name="connsiteY319" fmla="*/ 827654 h 2117064"/>
                        <a:gd name="connsiteX320" fmla="*/ 686786 w 1263758"/>
                        <a:gd name="connsiteY320" fmla="*/ 811902 h 2117064"/>
                        <a:gd name="connsiteX321" fmla="*/ 686336 w 1263758"/>
                        <a:gd name="connsiteY321" fmla="*/ 794349 h 2117064"/>
                        <a:gd name="connsiteX322" fmla="*/ 683635 w 1263758"/>
                        <a:gd name="connsiteY322" fmla="*/ 805601 h 2117064"/>
                        <a:gd name="connsiteX323" fmla="*/ 684536 w 1263758"/>
                        <a:gd name="connsiteY323" fmla="*/ 815052 h 2117064"/>
                        <a:gd name="connsiteX324" fmla="*/ 684986 w 1263758"/>
                        <a:gd name="connsiteY324" fmla="*/ 826303 h 2117064"/>
                        <a:gd name="connsiteX325" fmla="*/ 679585 w 1263758"/>
                        <a:gd name="connsiteY325" fmla="*/ 823153 h 2117064"/>
                        <a:gd name="connsiteX326" fmla="*/ 667433 w 1263758"/>
                        <a:gd name="connsiteY326" fmla="*/ 821353 h 2117064"/>
                        <a:gd name="connsiteX327" fmla="*/ 663383 w 1263758"/>
                        <a:gd name="connsiteY327" fmla="*/ 819553 h 2117064"/>
                        <a:gd name="connsiteX328" fmla="*/ 663833 w 1263758"/>
                        <a:gd name="connsiteY328" fmla="*/ 804251 h 2117064"/>
                        <a:gd name="connsiteX329" fmla="*/ 664733 w 1263758"/>
                        <a:gd name="connsiteY329" fmla="*/ 788949 h 2117064"/>
                        <a:gd name="connsiteX330" fmla="*/ 680035 w 1263758"/>
                        <a:gd name="connsiteY330" fmla="*/ 773197 h 2117064"/>
                        <a:gd name="connsiteX331" fmla="*/ 684536 w 1263758"/>
                        <a:gd name="connsiteY331" fmla="*/ 765546 h 2117064"/>
                        <a:gd name="connsiteX332" fmla="*/ 687686 w 1263758"/>
                        <a:gd name="connsiteY332" fmla="*/ 762395 h 2117064"/>
                        <a:gd name="connsiteX333" fmla="*/ 693087 w 1263758"/>
                        <a:gd name="connsiteY333" fmla="*/ 760595 h 2117064"/>
                        <a:gd name="connsiteX334" fmla="*/ 699838 w 1263758"/>
                        <a:gd name="connsiteY334" fmla="*/ 759245 h 2117064"/>
                        <a:gd name="connsiteX335" fmla="*/ 704338 w 1263758"/>
                        <a:gd name="connsiteY335" fmla="*/ 760145 h 2117064"/>
                        <a:gd name="connsiteX336" fmla="*/ 709739 w 1263758"/>
                        <a:gd name="connsiteY336" fmla="*/ 759245 h 2117064"/>
                        <a:gd name="connsiteX337" fmla="*/ 716040 w 1263758"/>
                        <a:gd name="connsiteY337" fmla="*/ 756545 h 2117064"/>
                        <a:gd name="connsiteX338" fmla="*/ 720540 w 1263758"/>
                        <a:gd name="connsiteY338" fmla="*/ 755645 h 2117064"/>
                        <a:gd name="connsiteX339" fmla="*/ 721440 w 1263758"/>
                        <a:gd name="connsiteY339" fmla="*/ 754744 h 2117064"/>
                        <a:gd name="connsiteX340" fmla="*/ 720090 w 1263758"/>
                        <a:gd name="connsiteY340" fmla="*/ 753394 h 2117064"/>
                        <a:gd name="connsiteX341" fmla="*/ 715139 w 1263758"/>
                        <a:gd name="connsiteY341" fmla="*/ 743043 h 2117064"/>
                        <a:gd name="connsiteX342" fmla="*/ 713339 w 1263758"/>
                        <a:gd name="connsiteY342" fmla="*/ 740793 h 2117064"/>
                        <a:gd name="connsiteX343" fmla="*/ 711539 w 1263758"/>
                        <a:gd name="connsiteY343" fmla="*/ 739893 h 2117064"/>
                        <a:gd name="connsiteX344" fmla="*/ 707938 w 1263758"/>
                        <a:gd name="connsiteY344" fmla="*/ 739443 h 2117064"/>
                        <a:gd name="connsiteX345" fmla="*/ 704338 w 1263758"/>
                        <a:gd name="connsiteY345" fmla="*/ 734942 h 2117064"/>
                        <a:gd name="connsiteX346" fmla="*/ 702538 w 1263758"/>
                        <a:gd name="connsiteY346" fmla="*/ 730891 h 2117064"/>
                        <a:gd name="connsiteX347" fmla="*/ 700288 w 1263758"/>
                        <a:gd name="connsiteY347" fmla="*/ 725491 h 2117064"/>
                        <a:gd name="connsiteX348" fmla="*/ 697137 w 1263758"/>
                        <a:gd name="connsiteY348" fmla="*/ 715139 h 2117064"/>
                        <a:gd name="connsiteX349" fmla="*/ 693987 w 1263758"/>
                        <a:gd name="connsiteY349" fmla="*/ 703438 h 2117064"/>
                        <a:gd name="connsiteX350" fmla="*/ 695787 w 1263758"/>
                        <a:gd name="connsiteY350" fmla="*/ 696687 h 2117064"/>
                        <a:gd name="connsiteX351" fmla="*/ 701188 w 1263758"/>
                        <a:gd name="connsiteY351" fmla="*/ 691287 h 2117064"/>
                        <a:gd name="connsiteX352" fmla="*/ 706588 w 1263758"/>
                        <a:gd name="connsiteY352" fmla="*/ 687686 h 2117064"/>
                        <a:gd name="connsiteX353" fmla="*/ 711989 w 1263758"/>
                        <a:gd name="connsiteY353" fmla="*/ 685886 h 2117064"/>
                        <a:gd name="connsiteX354" fmla="*/ 716489 w 1263758"/>
                        <a:gd name="connsiteY354" fmla="*/ 685886 h 2117064"/>
                        <a:gd name="connsiteX355" fmla="*/ 721890 w 1263758"/>
                        <a:gd name="connsiteY355" fmla="*/ 688586 h 2117064"/>
                        <a:gd name="connsiteX356" fmla="*/ 729541 w 1263758"/>
                        <a:gd name="connsiteY356" fmla="*/ 693987 h 2117064"/>
                        <a:gd name="connsiteX357" fmla="*/ 734042 w 1263758"/>
                        <a:gd name="connsiteY357" fmla="*/ 700288 h 2117064"/>
                        <a:gd name="connsiteX358" fmla="*/ 739892 w 1263758"/>
                        <a:gd name="connsiteY358" fmla="*/ 713339 h 2117064"/>
                        <a:gd name="connsiteX359" fmla="*/ 743493 w 1263758"/>
                        <a:gd name="connsiteY359" fmla="*/ 723691 h 2117064"/>
                        <a:gd name="connsiteX360" fmla="*/ 746643 w 1263758"/>
                        <a:gd name="connsiteY360" fmla="*/ 728191 h 2117064"/>
                        <a:gd name="connsiteX361" fmla="*/ 760145 w 1263758"/>
                        <a:gd name="connsiteY361" fmla="*/ 736742 h 2117064"/>
                        <a:gd name="connsiteX362" fmla="*/ 764646 w 1263758"/>
                        <a:gd name="connsiteY362" fmla="*/ 738092 h 2117064"/>
                        <a:gd name="connsiteX363" fmla="*/ 770046 w 1263758"/>
                        <a:gd name="connsiteY363" fmla="*/ 737192 h 2117064"/>
                        <a:gd name="connsiteX364" fmla="*/ 780848 w 1263758"/>
                        <a:gd name="connsiteY364" fmla="*/ 734942 h 2117064"/>
                        <a:gd name="connsiteX365" fmla="*/ 786248 w 1263758"/>
                        <a:gd name="connsiteY365" fmla="*/ 732692 h 2117064"/>
                        <a:gd name="connsiteX366" fmla="*/ 788498 w 1263758"/>
                        <a:gd name="connsiteY366" fmla="*/ 729991 h 2117064"/>
                        <a:gd name="connsiteX367" fmla="*/ 789849 w 1263758"/>
                        <a:gd name="connsiteY367" fmla="*/ 725941 h 2117064"/>
                        <a:gd name="connsiteX368" fmla="*/ 791199 w 1263758"/>
                        <a:gd name="connsiteY368" fmla="*/ 722791 h 2117064"/>
                        <a:gd name="connsiteX369" fmla="*/ 796150 w 1263758"/>
                        <a:gd name="connsiteY369" fmla="*/ 715590 h 2117064"/>
                        <a:gd name="connsiteX370" fmla="*/ 803350 w 1263758"/>
                        <a:gd name="connsiteY370" fmla="*/ 700738 h 2117064"/>
                        <a:gd name="connsiteX371" fmla="*/ 807401 w 1263758"/>
                        <a:gd name="connsiteY371" fmla="*/ 689036 h 2117064"/>
                        <a:gd name="connsiteX372" fmla="*/ 808301 w 1263758"/>
                        <a:gd name="connsiteY372" fmla="*/ 684986 h 2117064"/>
                        <a:gd name="connsiteX373" fmla="*/ 809201 w 1263758"/>
                        <a:gd name="connsiteY373" fmla="*/ 680035 h 2117064"/>
                        <a:gd name="connsiteX374" fmla="*/ 809651 w 1263758"/>
                        <a:gd name="connsiteY374" fmla="*/ 674184 h 2117064"/>
                        <a:gd name="connsiteX375" fmla="*/ 807401 w 1263758"/>
                        <a:gd name="connsiteY375" fmla="*/ 677335 h 2117064"/>
                        <a:gd name="connsiteX376" fmla="*/ 794799 w 1263758"/>
                        <a:gd name="connsiteY376" fmla="*/ 706138 h 2117064"/>
                        <a:gd name="connsiteX377" fmla="*/ 792099 w 1263758"/>
                        <a:gd name="connsiteY377" fmla="*/ 711539 h 2117064"/>
                        <a:gd name="connsiteX378" fmla="*/ 784448 w 1263758"/>
                        <a:gd name="connsiteY378" fmla="*/ 720090 h 2117064"/>
                        <a:gd name="connsiteX379" fmla="*/ 781298 w 1263758"/>
                        <a:gd name="connsiteY379" fmla="*/ 721440 h 2117064"/>
                        <a:gd name="connsiteX380" fmla="*/ 776347 w 1263758"/>
                        <a:gd name="connsiteY380" fmla="*/ 720990 h 2117064"/>
                        <a:gd name="connsiteX381" fmla="*/ 769596 w 1263758"/>
                        <a:gd name="connsiteY381" fmla="*/ 716940 h 2117064"/>
                        <a:gd name="connsiteX382" fmla="*/ 761495 w 1263758"/>
                        <a:gd name="connsiteY382" fmla="*/ 723241 h 2117064"/>
                        <a:gd name="connsiteX383" fmla="*/ 756545 w 1263758"/>
                        <a:gd name="connsiteY383" fmla="*/ 721890 h 2117064"/>
                        <a:gd name="connsiteX384" fmla="*/ 752044 w 1263758"/>
                        <a:gd name="connsiteY384" fmla="*/ 717390 h 2117064"/>
                        <a:gd name="connsiteX385" fmla="*/ 752044 w 1263758"/>
                        <a:gd name="connsiteY385" fmla="*/ 697137 h 2117064"/>
                        <a:gd name="connsiteX386" fmla="*/ 746643 w 1263758"/>
                        <a:gd name="connsiteY386" fmla="*/ 680485 h 2117064"/>
                        <a:gd name="connsiteX387" fmla="*/ 752494 w 1263758"/>
                        <a:gd name="connsiteY387" fmla="*/ 671934 h 2117064"/>
                        <a:gd name="connsiteX388" fmla="*/ 757445 w 1263758"/>
                        <a:gd name="connsiteY388" fmla="*/ 666533 h 2117064"/>
                        <a:gd name="connsiteX389" fmla="*/ 766446 w 1263758"/>
                        <a:gd name="connsiteY389" fmla="*/ 652582 h 2117064"/>
                        <a:gd name="connsiteX390" fmla="*/ 768246 w 1263758"/>
                        <a:gd name="connsiteY390" fmla="*/ 652582 h 2117064"/>
                        <a:gd name="connsiteX391" fmla="*/ 774547 w 1263758"/>
                        <a:gd name="connsiteY391" fmla="*/ 654832 h 2117064"/>
                        <a:gd name="connsiteX392" fmla="*/ 770946 w 1263758"/>
                        <a:gd name="connsiteY392" fmla="*/ 651682 h 2117064"/>
                        <a:gd name="connsiteX393" fmla="*/ 767346 w 1263758"/>
                        <a:gd name="connsiteY393" fmla="*/ 647181 h 2117064"/>
                        <a:gd name="connsiteX394" fmla="*/ 759695 w 1263758"/>
                        <a:gd name="connsiteY394" fmla="*/ 648531 h 2117064"/>
                        <a:gd name="connsiteX395" fmla="*/ 762395 w 1263758"/>
                        <a:gd name="connsiteY395" fmla="*/ 618377 h 2117064"/>
                        <a:gd name="connsiteX396" fmla="*/ 757445 w 1263758"/>
                        <a:gd name="connsiteY396" fmla="*/ 641330 h 2117064"/>
                        <a:gd name="connsiteX397" fmla="*/ 752044 w 1263758"/>
                        <a:gd name="connsiteY397" fmla="*/ 653032 h 2117064"/>
                        <a:gd name="connsiteX398" fmla="*/ 748894 w 1263758"/>
                        <a:gd name="connsiteY398" fmla="*/ 658882 h 2117064"/>
                        <a:gd name="connsiteX399" fmla="*/ 745293 w 1263758"/>
                        <a:gd name="connsiteY399" fmla="*/ 662483 h 2117064"/>
                        <a:gd name="connsiteX400" fmla="*/ 731792 w 1263758"/>
                        <a:gd name="connsiteY400" fmla="*/ 665183 h 2117064"/>
                        <a:gd name="connsiteX401" fmla="*/ 734942 w 1263758"/>
                        <a:gd name="connsiteY401" fmla="*/ 654382 h 2117064"/>
                        <a:gd name="connsiteX402" fmla="*/ 738092 w 1263758"/>
                        <a:gd name="connsiteY402" fmla="*/ 638180 h 2117064"/>
                        <a:gd name="connsiteX403" fmla="*/ 734942 w 1263758"/>
                        <a:gd name="connsiteY403" fmla="*/ 644481 h 2117064"/>
                        <a:gd name="connsiteX404" fmla="*/ 727291 w 1263758"/>
                        <a:gd name="connsiteY404" fmla="*/ 653482 h 2117064"/>
                        <a:gd name="connsiteX405" fmla="*/ 721440 w 1263758"/>
                        <a:gd name="connsiteY405" fmla="*/ 658432 h 2117064"/>
                        <a:gd name="connsiteX406" fmla="*/ 716940 w 1263758"/>
                        <a:gd name="connsiteY406" fmla="*/ 661133 h 2117064"/>
                        <a:gd name="connsiteX407" fmla="*/ 707938 w 1263758"/>
                        <a:gd name="connsiteY407" fmla="*/ 660683 h 2117064"/>
                        <a:gd name="connsiteX408" fmla="*/ 703438 w 1263758"/>
                        <a:gd name="connsiteY408" fmla="*/ 656182 h 2117064"/>
                        <a:gd name="connsiteX409" fmla="*/ 704788 w 1263758"/>
                        <a:gd name="connsiteY409" fmla="*/ 644931 h 2117064"/>
                        <a:gd name="connsiteX410" fmla="*/ 704788 w 1263758"/>
                        <a:gd name="connsiteY410" fmla="*/ 630979 h 2117064"/>
                        <a:gd name="connsiteX411" fmla="*/ 707488 w 1263758"/>
                        <a:gd name="connsiteY411" fmla="*/ 624678 h 2117064"/>
                        <a:gd name="connsiteX412" fmla="*/ 711539 w 1263758"/>
                        <a:gd name="connsiteY412" fmla="*/ 616127 h 2117064"/>
                        <a:gd name="connsiteX413" fmla="*/ 716040 w 1263758"/>
                        <a:gd name="connsiteY413" fmla="*/ 604876 h 2117064"/>
                        <a:gd name="connsiteX414" fmla="*/ 719190 w 1263758"/>
                        <a:gd name="connsiteY414" fmla="*/ 592724 h 2117064"/>
                        <a:gd name="connsiteX415" fmla="*/ 731341 w 1263758"/>
                        <a:gd name="connsiteY415" fmla="*/ 587324 h 2117064"/>
                        <a:gd name="connsiteX416" fmla="*/ 743043 w 1263758"/>
                        <a:gd name="connsiteY416" fmla="*/ 585073 h 2117064"/>
                        <a:gd name="connsiteX417" fmla="*/ 752944 w 1263758"/>
                        <a:gd name="connsiteY417" fmla="*/ 578772 h 2117064"/>
                        <a:gd name="connsiteX418" fmla="*/ 757895 w 1263758"/>
                        <a:gd name="connsiteY418" fmla="*/ 577422 h 2117064"/>
                        <a:gd name="connsiteX419" fmla="*/ 762395 w 1263758"/>
                        <a:gd name="connsiteY419" fmla="*/ 580573 h 2117064"/>
                        <a:gd name="connsiteX420" fmla="*/ 780848 w 1263758"/>
                        <a:gd name="connsiteY420" fmla="*/ 585523 h 2117064"/>
                        <a:gd name="connsiteX421" fmla="*/ 788498 w 1263758"/>
                        <a:gd name="connsiteY421" fmla="*/ 589124 h 2117064"/>
                        <a:gd name="connsiteX422" fmla="*/ 791649 w 1263758"/>
                        <a:gd name="connsiteY422" fmla="*/ 591824 h 2117064"/>
                        <a:gd name="connsiteX423" fmla="*/ 794349 w 1263758"/>
                        <a:gd name="connsiteY423" fmla="*/ 592724 h 2117064"/>
                        <a:gd name="connsiteX424" fmla="*/ 797050 w 1263758"/>
                        <a:gd name="connsiteY424" fmla="*/ 588674 h 2117064"/>
                        <a:gd name="connsiteX425" fmla="*/ 800200 w 1263758"/>
                        <a:gd name="connsiteY425" fmla="*/ 584623 h 2117064"/>
                        <a:gd name="connsiteX426" fmla="*/ 811901 w 1263758"/>
                        <a:gd name="connsiteY426" fmla="*/ 585073 h 2117064"/>
                        <a:gd name="connsiteX427" fmla="*/ 815052 w 1263758"/>
                        <a:gd name="connsiteY427" fmla="*/ 584173 h 2117064"/>
                        <a:gd name="connsiteX428" fmla="*/ 818202 w 1263758"/>
                        <a:gd name="connsiteY428" fmla="*/ 582373 h 2117064"/>
                        <a:gd name="connsiteX429" fmla="*/ 821803 w 1263758"/>
                        <a:gd name="connsiteY429" fmla="*/ 578772 h 2117064"/>
                        <a:gd name="connsiteX430" fmla="*/ 825853 w 1263758"/>
                        <a:gd name="connsiteY430" fmla="*/ 572922 h 2117064"/>
                        <a:gd name="connsiteX431" fmla="*/ 826303 w 1263758"/>
                        <a:gd name="connsiteY431" fmla="*/ 570221 h 2117064"/>
                        <a:gd name="connsiteX432" fmla="*/ 823153 w 1263758"/>
                        <a:gd name="connsiteY432" fmla="*/ 570221 h 2117064"/>
                        <a:gd name="connsiteX433" fmla="*/ 820002 w 1263758"/>
                        <a:gd name="connsiteY433" fmla="*/ 571572 h 2117064"/>
                        <a:gd name="connsiteX434" fmla="*/ 815502 w 1263758"/>
                        <a:gd name="connsiteY434" fmla="*/ 575622 h 2117064"/>
                        <a:gd name="connsiteX435" fmla="*/ 811001 w 1263758"/>
                        <a:gd name="connsiteY435" fmla="*/ 577872 h 2117064"/>
                        <a:gd name="connsiteX436" fmla="*/ 806501 w 1263758"/>
                        <a:gd name="connsiteY436" fmla="*/ 577422 h 2117064"/>
                        <a:gd name="connsiteX437" fmla="*/ 797950 w 1263758"/>
                        <a:gd name="connsiteY437" fmla="*/ 573822 h 2117064"/>
                        <a:gd name="connsiteX438" fmla="*/ 782648 w 1263758"/>
                        <a:gd name="connsiteY438" fmla="*/ 573372 h 2117064"/>
                        <a:gd name="connsiteX439" fmla="*/ 774997 w 1263758"/>
                        <a:gd name="connsiteY439" fmla="*/ 571572 h 2117064"/>
                        <a:gd name="connsiteX440" fmla="*/ 771396 w 1263758"/>
                        <a:gd name="connsiteY440" fmla="*/ 569771 h 2117064"/>
                        <a:gd name="connsiteX441" fmla="*/ 769146 w 1263758"/>
                        <a:gd name="connsiteY441" fmla="*/ 567521 h 2117064"/>
                        <a:gd name="connsiteX442" fmla="*/ 767346 w 1263758"/>
                        <a:gd name="connsiteY442" fmla="*/ 563921 h 2117064"/>
                        <a:gd name="connsiteX443" fmla="*/ 765996 w 1263758"/>
                        <a:gd name="connsiteY443" fmla="*/ 558970 h 2117064"/>
                        <a:gd name="connsiteX444" fmla="*/ 766896 w 1263758"/>
                        <a:gd name="connsiteY444" fmla="*/ 555820 h 2117064"/>
                        <a:gd name="connsiteX445" fmla="*/ 770046 w 1263758"/>
                        <a:gd name="connsiteY445" fmla="*/ 554019 h 2117064"/>
                        <a:gd name="connsiteX446" fmla="*/ 772747 w 1263758"/>
                        <a:gd name="connsiteY446" fmla="*/ 553569 h 2117064"/>
                        <a:gd name="connsiteX447" fmla="*/ 777247 w 1263758"/>
                        <a:gd name="connsiteY447" fmla="*/ 556270 h 2117064"/>
                        <a:gd name="connsiteX448" fmla="*/ 782198 w 1263758"/>
                        <a:gd name="connsiteY448" fmla="*/ 560770 h 2117064"/>
                        <a:gd name="connsiteX449" fmla="*/ 787598 w 1263758"/>
                        <a:gd name="connsiteY449" fmla="*/ 561220 h 2117064"/>
                        <a:gd name="connsiteX450" fmla="*/ 785798 w 1263758"/>
                        <a:gd name="connsiteY450" fmla="*/ 557170 h 2117064"/>
                        <a:gd name="connsiteX451" fmla="*/ 779047 w 1263758"/>
                        <a:gd name="connsiteY451" fmla="*/ 549069 h 2117064"/>
                        <a:gd name="connsiteX452" fmla="*/ 774547 w 1263758"/>
                        <a:gd name="connsiteY452" fmla="*/ 541868 h 2117064"/>
                        <a:gd name="connsiteX453" fmla="*/ 770496 w 1263758"/>
                        <a:gd name="connsiteY453" fmla="*/ 533317 h 2117064"/>
                        <a:gd name="connsiteX454" fmla="*/ 767346 w 1263758"/>
                        <a:gd name="connsiteY454" fmla="*/ 524766 h 2117064"/>
                        <a:gd name="connsiteX455" fmla="*/ 760595 w 1263758"/>
                        <a:gd name="connsiteY455" fmla="*/ 511264 h 2117064"/>
                        <a:gd name="connsiteX456" fmla="*/ 755194 w 1263758"/>
                        <a:gd name="connsiteY456" fmla="*/ 497762 h 2117064"/>
                        <a:gd name="connsiteX457" fmla="*/ 751594 w 1263758"/>
                        <a:gd name="connsiteY457" fmla="*/ 491461 h 2117064"/>
                        <a:gd name="connsiteX458" fmla="*/ 747543 w 1263758"/>
                        <a:gd name="connsiteY458" fmla="*/ 488311 h 2117064"/>
                        <a:gd name="connsiteX459" fmla="*/ 735392 w 1263758"/>
                        <a:gd name="connsiteY459" fmla="*/ 484711 h 2117064"/>
                        <a:gd name="connsiteX460" fmla="*/ 733142 w 1263758"/>
                        <a:gd name="connsiteY460" fmla="*/ 482010 h 2117064"/>
                        <a:gd name="connsiteX461" fmla="*/ 727291 w 1263758"/>
                        <a:gd name="connsiteY461" fmla="*/ 469859 h 2117064"/>
                        <a:gd name="connsiteX462" fmla="*/ 725941 w 1263758"/>
                        <a:gd name="connsiteY462" fmla="*/ 448706 h 2117064"/>
                        <a:gd name="connsiteX463" fmla="*/ 723240 w 1263758"/>
                        <a:gd name="connsiteY463" fmla="*/ 435655 h 2117064"/>
                        <a:gd name="connsiteX464" fmla="*/ 725491 w 1263758"/>
                        <a:gd name="connsiteY464" fmla="*/ 419002 h 2117064"/>
                        <a:gd name="connsiteX465" fmla="*/ 729541 w 1263758"/>
                        <a:gd name="connsiteY465" fmla="*/ 411351 h 2117064"/>
                        <a:gd name="connsiteX466" fmla="*/ 753844 w 1263758"/>
                        <a:gd name="connsiteY466" fmla="*/ 417202 h 2117064"/>
                        <a:gd name="connsiteX467" fmla="*/ 764195 w 1263758"/>
                        <a:gd name="connsiteY467" fmla="*/ 416302 h 2117064"/>
                        <a:gd name="connsiteX468" fmla="*/ 777247 w 1263758"/>
                        <a:gd name="connsiteY468" fmla="*/ 418552 h 2117064"/>
                        <a:gd name="connsiteX469" fmla="*/ 784448 w 1263758"/>
                        <a:gd name="connsiteY469" fmla="*/ 422603 h 2117064"/>
                        <a:gd name="connsiteX470" fmla="*/ 792549 w 1263758"/>
                        <a:gd name="connsiteY470" fmla="*/ 432954 h 2117064"/>
                        <a:gd name="connsiteX471" fmla="*/ 799750 w 1263758"/>
                        <a:gd name="connsiteY471" fmla="*/ 444206 h 2117064"/>
                        <a:gd name="connsiteX472" fmla="*/ 806501 w 1263758"/>
                        <a:gd name="connsiteY472" fmla="*/ 451857 h 2117064"/>
                        <a:gd name="connsiteX473" fmla="*/ 812802 w 1263758"/>
                        <a:gd name="connsiteY473" fmla="*/ 462208 h 2117064"/>
                        <a:gd name="connsiteX474" fmla="*/ 819552 w 1263758"/>
                        <a:gd name="connsiteY474" fmla="*/ 477510 h 2117064"/>
                        <a:gd name="connsiteX475" fmla="*/ 823603 w 1263758"/>
                        <a:gd name="connsiteY475" fmla="*/ 484711 h 2117064"/>
                        <a:gd name="connsiteX476" fmla="*/ 827203 w 1263758"/>
                        <a:gd name="connsiteY476" fmla="*/ 489211 h 2117064"/>
                        <a:gd name="connsiteX477" fmla="*/ 832154 w 1263758"/>
                        <a:gd name="connsiteY477" fmla="*/ 492812 h 2117064"/>
                        <a:gd name="connsiteX478" fmla="*/ 841155 w 1263758"/>
                        <a:gd name="connsiteY478" fmla="*/ 497312 h 2117064"/>
                        <a:gd name="connsiteX479" fmla="*/ 848806 w 1263758"/>
                        <a:gd name="connsiteY479" fmla="*/ 498662 h 2117064"/>
                        <a:gd name="connsiteX480" fmla="*/ 852857 w 1263758"/>
                        <a:gd name="connsiteY480" fmla="*/ 498212 h 2117064"/>
                        <a:gd name="connsiteX481" fmla="*/ 857357 w 1263758"/>
                        <a:gd name="connsiteY481" fmla="*/ 494612 h 2117064"/>
                        <a:gd name="connsiteX482" fmla="*/ 860507 w 1263758"/>
                        <a:gd name="connsiteY482" fmla="*/ 490561 h 2117064"/>
                        <a:gd name="connsiteX483" fmla="*/ 856907 w 1263758"/>
                        <a:gd name="connsiteY483" fmla="*/ 489661 h 2117064"/>
                        <a:gd name="connsiteX484" fmla="*/ 847906 w 1263758"/>
                        <a:gd name="connsiteY484" fmla="*/ 490111 h 2117064"/>
                        <a:gd name="connsiteX485" fmla="*/ 841605 w 1263758"/>
                        <a:gd name="connsiteY485" fmla="*/ 487861 h 2117064"/>
                        <a:gd name="connsiteX486" fmla="*/ 838005 w 1263758"/>
                        <a:gd name="connsiteY486" fmla="*/ 482910 h 2117064"/>
                        <a:gd name="connsiteX487" fmla="*/ 834404 w 1263758"/>
                        <a:gd name="connsiteY487" fmla="*/ 476610 h 2117064"/>
                        <a:gd name="connsiteX488" fmla="*/ 828554 w 1263758"/>
                        <a:gd name="connsiteY488" fmla="*/ 464458 h 2117064"/>
                        <a:gd name="connsiteX489" fmla="*/ 824053 w 1263758"/>
                        <a:gd name="connsiteY489" fmla="*/ 456357 h 2117064"/>
                        <a:gd name="connsiteX490" fmla="*/ 814152 w 1263758"/>
                        <a:gd name="connsiteY490" fmla="*/ 442855 h 2117064"/>
                        <a:gd name="connsiteX491" fmla="*/ 806951 w 1263758"/>
                        <a:gd name="connsiteY491" fmla="*/ 429354 h 2117064"/>
                        <a:gd name="connsiteX492" fmla="*/ 801100 w 1263758"/>
                        <a:gd name="connsiteY492" fmla="*/ 416302 h 2117064"/>
                        <a:gd name="connsiteX493" fmla="*/ 800650 w 1263758"/>
                        <a:gd name="connsiteY493" fmla="*/ 410451 h 2117064"/>
                        <a:gd name="connsiteX494" fmla="*/ 805151 w 1263758"/>
                        <a:gd name="connsiteY494" fmla="*/ 406401 h 2117064"/>
                        <a:gd name="connsiteX495" fmla="*/ 810551 w 1263758"/>
                        <a:gd name="connsiteY495" fmla="*/ 403701 h 2117064"/>
                        <a:gd name="connsiteX496" fmla="*/ 843405 w 1263758"/>
                        <a:gd name="connsiteY496" fmla="*/ 394699 h 2117064"/>
                        <a:gd name="connsiteX497" fmla="*/ 863208 w 1263758"/>
                        <a:gd name="connsiteY497" fmla="*/ 383898 h 2117064"/>
                        <a:gd name="connsiteX498" fmla="*/ 871309 w 1263758"/>
                        <a:gd name="connsiteY498" fmla="*/ 371296 h 2117064"/>
                        <a:gd name="connsiteX499" fmla="*/ 872209 w 1263758"/>
                        <a:gd name="connsiteY499" fmla="*/ 368146 h 2117064"/>
                        <a:gd name="connsiteX500" fmla="*/ 898762 w 1263758"/>
                        <a:gd name="connsiteY500" fmla="*/ 350144 h 2117064"/>
                        <a:gd name="connsiteX501" fmla="*/ 917215 w 1263758"/>
                        <a:gd name="connsiteY501" fmla="*/ 343393 h 2117064"/>
                        <a:gd name="connsiteX502" fmla="*/ 924416 w 1263758"/>
                        <a:gd name="connsiteY502" fmla="*/ 342493 h 2117064"/>
                        <a:gd name="connsiteX503" fmla="*/ 930716 w 1263758"/>
                        <a:gd name="connsiteY503" fmla="*/ 339793 h 2117064"/>
                        <a:gd name="connsiteX504" fmla="*/ 931166 w 1263758"/>
                        <a:gd name="connsiteY504" fmla="*/ 337992 h 2117064"/>
                        <a:gd name="connsiteX505" fmla="*/ 925316 w 1263758"/>
                        <a:gd name="connsiteY505" fmla="*/ 335742 h 2117064"/>
                        <a:gd name="connsiteX506" fmla="*/ 919465 w 1263758"/>
                        <a:gd name="connsiteY506" fmla="*/ 334392 h 2117064"/>
                        <a:gd name="connsiteX507" fmla="*/ 906413 w 1263758"/>
                        <a:gd name="connsiteY507" fmla="*/ 334392 h 2117064"/>
                        <a:gd name="connsiteX508" fmla="*/ 894712 w 1263758"/>
                        <a:gd name="connsiteY508" fmla="*/ 332142 h 2117064"/>
                        <a:gd name="connsiteX509" fmla="*/ 891111 w 1263758"/>
                        <a:gd name="connsiteY509" fmla="*/ 328091 h 2117064"/>
                        <a:gd name="connsiteX510" fmla="*/ 892011 w 1263758"/>
                        <a:gd name="connsiteY510" fmla="*/ 321340 h 2117064"/>
                        <a:gd name="connsiteX511" fmla="*/ 892912 w 1263758"/>
                        <a:gd name="connsiteY511" fmla="*/ 315489 h 2117064"/>
                        <a:gd name="connsiteX512" fmla="*/ 896512 w 1263758"/>
                        <a:gd name="connsiteY512" fmla="*/ 305588 h 2117064"/>
                        <a:gd name="connsiteX513" fmla="*/ 900113 w 1263758"/>
                        <a:gd name="connsiteY513" fmla="*/ 298387 h 2117064"/>
                        <a:gd name="connsiteX514" fmla="*/ 915865 w 1263758"/>
                        <a:gd name="connsiteY514" fmla="*/ 276785 h 2117064"/>
                        <a:gd name="connsiteX515" fmla="*/ 926666 w 1263758"/>
                        <a:gd name="connsiteY515" fmla="*/ 267784 h 2117064"/>
                        <a:gd name="connsiteX516" fmla="*/ 929816 w 1263758"/>
                        <a:gd name="connsiteY516" fmla="*/ 261483 h 2117064"/>
                        <a:gd name="connsiteX517" fmla="*/ 906863 w 1263758"/>
                        <a:gd name="connsiteY517" fmla="*/ 275434 h 2117064"/>
                        <a:gd name="connsiteX518" fmla="*/ 898762 w 1263758"/>
                        <a:gd name="connsiteY518" fmla="*/ 285336 h 2117064"/>
                        <a:gd name="connsiteX519" fmla="*/ 890661 w 1263758"/>
                        <a:gd name="connsiteY519" fmla="*/ 300188 h 2117064"/>
                        <a:gd name="connsiteX520" fmla="*/ 886611 w 1263758"/>
                        <a:gd name="connsiteY520" fmla="*/ 304688 h 2117064"/>
                        <a:gd name="connsiteX521" fmla="*/ 883460 w 1263758"/>
                        <a:gd name="connsiteY521" fmla="*/ 303338 h 2117064"/>
                        <a:gd name="connsiteX522" fmla="*/ 880760 w 1263758"/>
                        <a:gd name="connsiteY522" fmla="*/ 304688 h 2117064"/>
                        <a:gd name="connsiteX523" fmla="*/ 878510 w 1263758"/>
                        <a:gd name="connsiteY523" fmla="*/ 308739 h 2117064"/>
                        <a:gd name="connsiteX524" fmla="*/ 876710 w 1263758"/>
                        <a:gd name="connsiteY524" fmla="*/ 315940 h 2117064"/>
                        <a:gd name="connsiteX525" fmla="*/ 874909 w 1263758"/>
                        <a:gd name="connsiteY525" fmla="*/ 326291 h 2117064"/>
                        <a:gd name="connsiteX526" fmla="*/ 873559 w 1263758"/>
                        <a:gd name="connsiteY526" fmla="*/ 333042 h 2117064"/>
                        <a:gd name="connsiteX527" fmla="*/ 872209 w 1263758"/>
                        <a:gd name="connsiteY527" fmla="*/ 336642 h 2117064"/>
                        <a:gd name="connsiteX528" fmla="*/ 869059 w 1263758"/>
                        <a:gd name="connsiteY528" fmla="*/ 342043 h 2117064"/>
                        <a:gd name="connsiteX529" fmla="*/ 860958 w 1263758"/>
                        <a:gd name="connsiteY529" fmla="*/ 352394 h 2117064"/>
                        <a:gd name="connsiteX530" fmla="*/ 845656 w 1263758"/>
                        <a:gd name="connsiteY530" fmla="*/ 369046 h 2117064"/>
                        <a:gd name="connsiteX531" fmla="*/ 839355 w 1263758"/>
                        <a:gd name="connsiteY531" fmla="*/ 372647 h 2117064"/>
                        <a:gd name="connsiteX532" fmla="*/ 833954 w 1263758"/>
                        <a:gd name="connsiteY532" fmla="*/ 373097 h 2117064"/>
                        <a:gd name="connsiteX533" fmla="*/ 816852 w 1263758"/>
                        <a:gd name="connsiteY533" fmla="*/ 381198 h 2117064"/>
                        <a:gd name="connsiteX534" fmla="*/ 811451 w 1263758"/>
                        <a:gd name="connsiteY534" fmla="*/ 381648 h 2117064"/>
                        <a:gd name="connsiteX535" fmla="*/ 805601 w 1263758"/>
                        <a:gd name="connsiteY535" fmla="*/ 379398 h 2117064"/>
                        <a:gd name="connsiteX536" fmla="*/ 807851 w 1263758"/>
                        <a:gd name="connsiteY536" fmla="*/ 372647 h 2117064"/>
                        <a:gd name="connsiteX537" fmla="*/ 816852 w 1263758"/>
                        <a:gd name="connsiteY537" fmla="*/ 360045 h 2117064"/>
                        <a:gd name="connsiteX538" fmla="*/ 819102 w 1263758"/>
                        <a:gd name="connsiteY538" fmla="*/ 354194 h 2117064"/>
                        <a:gd name="connsiteX539" fmla="*/ 813252 w 1263758"/>
                        <a:gd name="connsiteY539" fmla="*/ 355545 h 2117064"/>
                        <a:gd name="connsiteX540" fmla="*/ 807401 w 1263758"/>
                        <a:gd name="connsiteY540" fmla="*/ 359145 h 2117064"/>
                        <a:gd name="connsiteX541" fmla="*/ 794349 w 1263758"/>
                        <a:gd name="connsiteY541" fmla="*/ 361845 h 2117064"/>
                        <a:gd name="connsiteX542" fmla="*/ 788949 w 1263758"/>
                        <a:gd name="connsiteY542" fmla="*/ 367246 h 2117064"/>
                        <a:gd name="connsiteX543" fmla="*/ 783998 w 1263758"/>
                        <a:gd name="connsiteY543" fmla="*/ 376697 h 2117064"/>
                        <a:gd name="connsiteX544" fmla="*/ 779947 w 1263758"/>
                        <a:gd name="connsiteY544" fmla="*/ 382548 h 2117064"/>
                        <a:gd name="connsiteX545" fmla="*/ 776797 w 1263758"/>
                        <a:gd name="connsiteY545" fmla="*/ 384798 h 2117064"/>
                        <a:gd name="connsiteX546" fmla="*/ 772747 w 1263758"/>
                        <a:gd name="connsiteY546" fmla="*/ 386148 h 2117064"/>
                        <a:gd name="connsiteX547" fmla="*/ 757445 w 1263758"/>
                        <a:gd name="connsiteY547" fmla="*/ 387048 h 2117064"/>
                        <a:gd name="connsiteX548" fmla="*/ 753844 w 1263758"/>
                        <a:gd name="connsiteY548" fmla="*/ 386598 h 2117064"/>
                        <a:gd name="connsiteX549" fmla="*/ 744843 w 1263758"/>
                        <a:gd name="connsiteY549" fmla="*/ 379398 h 2117064"/>
                        <a:gd name="connsiteX550" fmla="*/ 736742 w 1263758"/>
                        <a:gd name="connsiteY550" fmla="*/ 381648 h 2117064"/>
                        <a:gd name="connsiteX551" fmla="*/ 733592 w 1263758"/>
                        <a:gd name="connsiteY551" fmla="*/ 381198 h 2117064"/>
                        <a:gd name="connsiteX552" fmla="*/ 727741 w 1263758"/>
                        <a:gd name="connsiteY552" fmla="*/ 376247 h 2117064"/>
                        <a:gd name="connsiteX553" fmla="*/ 725941 w 1263758"/>
                        <a:gd name="connsiteY553" fmla="*/ 373097 h 2117064"/>
                        <a:gd name="connsiteX554" fmla="*/ 726391 w 1263758"/>
                        <a:gd name="connsiteY554" fmla="*/ 368596 h 2117064"/>
                        <a:gd name="connsiteX555" fmla="*/ 729991 w 1263758"/>
                        <a:gd name="connsiteY555" fmla="*/ 360045 h 2117064"/>
                        <a:gd name="connsiteX556" fmla="*/ 734042 w 1263758"/>
                        <a:gd name="connsiteY556" fmla="*/ 351944 h 2117064"/>
                        <a:gd name="connsiteX557" fmla="*/ 747093 w 1263758"/>
                        <a:gd name="connsiteY557" fmla="*/ 333942 h 2117064"/>
                        <a:gd name="connsiteX558" fmla="*/ 755644 w 1263758"/>
                        <a:gd name="connsiteY558" fmla="*/ 325391 h 2117064"/>
                        <a:gd name="connsiteX559" fmla="*/ 767796 w 1263758"/>
                        <a:gd name="connsiteY559" fmla="*/ 318190 h 2117064"/>
                        <a:gd name="connsiteX560" fmla="*/ 796150 w 1263758"/>
                        <a:gd name="connsiteY560" fmla="*/ 309639 h 2117064"/>
                        <a:gd name="connsiteX561" fmla="*/ 797500 w 1263758"/>
                        <a:gd name="connsiteY561" fmla="*/ 303338 h 2117064"/>
                        <a:gd name="connsiteX562" fmla="*/ 769146 w 1263758"/>
                        <a:gd name="connsiteY562" fmla="*/ 310089 h 2117064"/>
                        <a:gd name="connsiteX563" fmla="*/ 744843 w 1263758"/>
                        <a:gd name="connsiteY563" fmla="*/ 318640 h 2117064"/>
                        <a:gd name="connsiteX564" fmla="*/ 740793 w 1263758"/>
                        <a:gd name="connsiteY564" fmla="*/ 321790 h 2117064"/>
                        <a:gd name="connsiteX565" fmla="*/ 734942 w 1263758"/>
                        <a:gd name="connsiteY565" fmla="*/ 330341 h 2117064"/>
                        <a:gd name="connsiteX566" fmla="*/ 716940 w 1263758"/>
                        <a:gd name="connsiteY566" fmla="*/ 360045 h 2117064"/>
                        <a:gd name="connsiteX567" fmla="*/ 711539 w 1263758"/>
                        <a:gd name="connsiteY567" fmla="*/ 367246 h 2117064"/>
                        <a:gd name="connsiteX568" fmla="*/ 703438 w 1263758"/>
                        <a:gd name="connsiteY568" fmla="*/ 369046 h 2117064"/>
                        <a:gd name="connsiteX569" fmla="*/ 697137 w 1263758"/>
                        <a:gd name="connsiteY569" fmla="*/ 366346 h 2117064"/>
                        <a:gd name="connsiteX570" fmla="*/ 692186 w 1263758"/>
                        <a:gd name="connsiteY570" fmla="*/ 362745 h 2117064"/>
                        <a:gd name="connsiteX571" fmla="*/ 683635 w 1263758"/>
                        <a:gd name="connsiteY571" fmla="*/ 354194 h 2117064"/>
                        <a:gd name="connsiteX572" fmla="*/ 677335 w 1263758"/>
                        <a:gd name="connsiteY572" fmla="*/ 349694 h 2117064"/>
                        <a:gd name="connsiteX573" fmla="*/ 674184 w 1263758"/>
                        <a:gd name="connsiteY573" fmla="*/ 346543 h 2117064"/>
                        <a:gd name="connsiteX574" fmla="*/ 672384 w 1263758"/>
                        <a:gd name="connsiteY574" fmla="*/ 343393 h 2117064"/>
                        <a:gd name="connsiteX575" fmla="*/ 671034 w 1263758"/>
                        <a:gd name="connsiteY575" fmla="*/ 339793 h 2117064"/>
                        <a:gd name="connsiteX576" fmla="*/ 670134 w 1263758"/>
                        <a:gd name="connsiteY576" fmla="*/ 335292 h 2117064"/>
                        <a:gd name="connsiteX577" fmla="*/ 672384 w 1263758"/>
                        <a:gd name="connsiteY577" fmla="*/ 331692 h 2117064"/>
                        <a:gd name="connsiteX578" fmla="*/ 688586 w 1263758"/>
                        <a:gd name="connsiteY578" fmla="*/ 323591 h 2117064"/>
                        <a:gd name="connsiteX579" fmla="*/ 710189 w 1263758"/>
                        <a:gd name="connsiteY579" fmla="*/ 324941 h 2117064"/>
                        <a:gd name="connsiteX580" fmla="*/ 720090 w 1263758"/>
                        <a:gd name="connsiteY580" fmla="*/ 323140 h 2117064"/>
                        <a:gd name="connsiteX581" fmla="*/ 729541 w 1263758"/>
                        <a:gd name="connsiteY581" fmla="*/ 318190 h 2117064"/>
                        <a:gd name="connsiteX582" fmla="*/ 743493 w 1263758"/>
                        <a:gd name="connsiteY582" fmla="*/ 306038 h 2117064"/>
                        <a:gd name="connsiteX583" fmla="*/ 758795 w 1263758"/>
                        <a:gd name="connsiteY583" fmla="*/ 288936 h 2117064"/>
                        <a:gd name="connsiteX584" fmla="*/ 761945 w 1263758"/>
                        <a:gd name="connsiteY584" fmla="*/ 283535 h 2117064"/>
                        <a:gd name="connsiteX585" fmla="*/ 756095 w 1263758"/>
                        <a:gd name="connsiteY585" fmla="*/ 282185 h 2117064"/>
                        <a:gd name="connsiteX586" fmla="*/ 752044 w 1263758"/>
                        <a:gd name="connsiteY586" fmla="*/ 283535 h 2117064"/>
                        <a:gd name="connsiteX587" fmla="*/ 742143 w 1263758"/>
                        <a:gd name="connsiteY587" fmla="*/ 289836 h 2117064"/>
                        <a:gd name="connsiteX588" fmla="*/ 726391 w 1263758"/>
                        <a:gd name="connsiteY588" fmla="*/ 306038 h 2117064"/>
                        <a:gd name="connsiteX589" fmla="*/ 712439 w 1263758"/>
                        <a:gd name="connsiteY589" fmla="*/ 311889 h 2117064"/>
                        <a:gd name="connsiteX590" fmla="*/ 678235 w 1263758"/>
                        <a:gd name="connsiteY590" fmla="*/ 315039 h 2117064"/>
                        <a:gd name="connsiteX591" fmla="*/ 667433 w 1263758"/>
                        <a:gd name="connsiteY591" fmla="*/ 319540 h 2117064"/>
                        <a:gd name="connsiteX592" fmla="*/ 662483 w 1263758"/>
                        <a:gd name="connsiteY592" fmla="*/ 318640 h 2117064"/>
                        <a:gd name="connsiteX593" fmla="*/ 658882 w 1263758"/>
                        <a:gd name="connsiteY593" fmla="*/ 314139 h 2117064"/>
                        <a:gd name="connsiteX594" fmla="*/ 654832 w 1263758"/>
                        <a:gd name="connsiteY594" fmla="*/ 306038 h 2117064"/>
                        <a:gd name="connsiteX595" fmla="*/ 655732 w 1263758"/>
                        <a:gd name="connsiteY595" fmla="*/ 299287 h 2117064"/>
                        <a:gd name="connsiteX596" fmla="*/ 663833 w 1263758"/>
                        <a:gd name="connsiteY596" fmla="*/ 291637 h 2117064"/>
                        <a:gd name="connsiteX597" fmla="*/ 670134 w 1263758"/>
                        <a:gd name="connsiteY597" fmla="*/ 289836 h 2117064"/>
                        <a:gd name="connsiteX598" fmla="*/ 671484 w 1263758"/>
                        <a:gd name="connsiteY598" fmla="*/ 288486 h 2117064"/>
                        <a:gd name="connsiteX599" fmla="*/ 662483 w 1263758"/>
                        <a:gd name="connsiteY599" fmla="*/ 281285 h 2117064"/>
                        <a:gd name="connsiteX600" fmla="*/ 661583 w 1263758"/>
                        <a:gd name="connsiteY600" fmla="*/ 277685 h 2117064"/>
                        <a:gd name="connsiteX601" fmla="*/ 666983 w 1263758"/>
                        <a:gd name="connsiteY601" fmla="*/ 269584 h 2117064"/>
                        <a:gd name="connsiteX602" fmla="*/ 678235 w 1263758"/>
                        <a:gd name="connsiteY602" fmla="*/ 257432 h 2117064"/>
                        <a:gd name="connsiteX603" fmla="*/ 684086 w 1263758"/>
                        <a:gd name="connsiteY603" fmla="*/ 253382 h 2117064"/>
                        <a:gd name="connsiteX604" fmla="*/ 694437 w 1263758"/>
                        <a:gd name="connsiteY604" fmla="*/ 250681 h 2117064"/>
                        <a:gd name="connsiteX605" fmla="*/ 705238 w 1263758"/>
                        <a:gd name="connsiteY605" fmla="*/ 252032 h 2117064"/>
                        <a:gd name="connsiteX606" fmla="*/ 705688 w 1263758"/>
                        <a:gd name="connsiteY606" fmla="*/ 249781 h 2117064"/>
                        <a:gd name="connsiteX607" fmla="*/ 694887 w 1263758"/>
                        <a:gd name="connsiteY607" fmla="*/ 244831 h 2117064"/>
                        <a:gd name="connsiteX608" fmla="*/ 686786 w 1263758"/>
                        <a:gd name="connsiteY608" fmla="*/ 243931 h 2117064"/>
                        <a:gd name="connsiteX609" fmla="*/ 675984 w 1263758"/>
                        <a:gd name="connsiteY609" fmla="*/ 247081 h 2117064"/>
                        <a:gd name="connsiteX610" fmla="*/ 648081 w 1263758"/>
                        <a:gd name="connsiteY610" fmla="*/ 267333 h 2117064"/>
                        <a:gd name="connsiteX611" fmla="*/ 645831 w 1263758"/>
                        <a:gd name="connsiteY611" fmla="*/ 266883 h 2117064"/>
                        <a:gd name="connsiteX612" fmla="*/ 641780 w 1263758"/>
                        <a:gd name="connsiteY612" fmla="*/ 263283 h 2117064"/>
                        <a:gd name="connsiteX613" fmla="*/ 643130 w 1263758"/>
                        <a:gd name="connsiteY613" fmla="*/ 258332 h 2117064"/>
                        <a:gd name="connsiteX614" fmla="*/ 657982 w 1263758"/>
                        <a:gd name="connsiteY614" fmla="*/ 237180 h 2117064"/>
                        <a:gd name="connsiteX615" fmla="*/ 658432 w 1263758"/>
                        <a:gd name="connsiteY615" fmla="*/ 233579 h 2117064"/>
                        <a:gd name="connsiteX616" fmla="*/ 647631 w 1263758"/>
                        <a:gd name="connsiteY616" fmla="*/ 234029 h 2117064"/>
                        <a:gd name="connsiteX617" fmla="*/ 644480 w 1263758"/>
                        <a:gd name="connsiteY617" fmla="*/ 233129 h 2117064"/>
                        <a:gd name="connsiteX618" fmla="*/ 641330 w 1263758"/>
                        <a:gd name="connsiteY618" fmla="*/ 230429 h 2117064"/>
                        <a:gd name="connsiteX619" fmla="*/ 636830 w 1263758"/>
                        <a:gd name="connsiteY619" fmla="*/ 232679 h 2117064"/>
                        <a:gd name="connsiteX620" fmla="*/ 630979 w 1263758"/>
                        <a:gd name="connsiteY620" fmla="*/ 239880 h 2117064"/>
                        <a:gd name="connsiteX621" fmla="*/ 626928 w 1263758"/>
                        <a:gd name="connsiteY621" fmla="*/ 243030 h 2117064"/>
                        <a:gd name="connsiteX622" fmla="*/ 624678 w 1263758"/>
                        <a:gd name="connsiteY622" fmla="*/ 242130 h 2117064"/>
                        <a:gd name="connsiteX623" fmla="*/ 618827 w 1263758"/>
                        <a:gd name="connsiteY623" fmla="*/ 233579 h 2117064"/>
                        <a:gd name="connsiteX624" fmla="*/ 619727 w 1263758"/>
                        <a:gd name="connsiteY624" fmla="*/ 226378 h 2117064"/>
                        <a:gd name="connsiteX625" fmla="*/ 624678 w 1263758"/>
                        <a:gd name="connsiteY625" fmla="*/ 217377 h 2117064"/>
                        <a:gd name="connsiteX626" fmla="*/ 629179 w 1263758"/>
                        <a:gd name="connsiteY626" fmla="*/ 211076 h 2117064"/>
                        <a:gd name="connsiteX627" fmla="*/ 635029 w 1263758"/>
                        <a:gd name="connsiteY627" fmla="*/ 205226 h 2117064"/>
                        <a:gd name="connsiteX628" fmla="*/ 644480 w 1263758"/>
                        <a:gd name="connsiteY628" fmla="*/ 197575 h 2117064"/>
                        <a:gd name="connsiteX629" fmla="*/ 651231 w 1263758"/>
                        <a:gd name="connsiteY629" fmla="*/ 194874 h 2117064"/>
                        <a:gd name="connsiteX630" fmla="*/ 662483 w 1263758"/>
                        <a:gd name="connsiteY630" fmla="*/ 194874 h 2117064"/>
                        <a:gd name="connsiteX631" fmla="*/ 667883 w 1263758"/>
                        <a:gd name="connsiteY631" fmla="*/ 191724 h 2117064"/>
                        <a:gd name="connsiteX632" fmla="*/ 672834 w 1263758"/>
                        <a:gd name="connsiteY632" fmla="*/ 185873 h 2117064"/>
                        <a:gd name="connsiteX633" fmla="*/ 678685 w 1263758"/>
                        <a:gd name="connsiteY633" fmla="*/ 176422 h 2117064"/>
                        <a:gd name="connsiteX634" fmla="*/ 685436 w 1263758"/>
                        <a:gd name="connsiteY634" fmla="*/ 169671 h 2117064"/>
                        <a:gd name="connsiteX635" fmla="*/ 696237 w 1263758"/>
                        <a:gd name="connsiteY635" fmla="*/ 164271 h 2117064"/>
                        <a:gd name="connsiteX636" fmla="*/ 705238 w 1263758"/>
                        <a:gd name="connsiteY636" fmla="*/ 166071 h 2117064"/>
                        <a:gd name="connsiteX637" fmla="*/ 710189 w 1263758"/>
                        <a:gd name="connsiteY637" fmla="*/ 171021 h 2117064"/>
                        <a:gd name="connsiteX638" fmla="*/ 714239 w 1263758"/>
                        <a:gd name="connsiteY638" fmla="*/ 179122 h 2117064"/>
                        <a:gd name="connsiteX639" fmla="*/ 718290 w 1263758"/>
                        <a:gd name="connsiteY639" fmla="*/ 185423 h 2117064"/>
                        <a:gd name="connsiteX640" fmla="*/ 718740 w 1263758"/>
                        <a:gd name="connsiteY640" fmla="*/ 180473 h 2117064"/>
                        <a:gd name="connsiteX641" fmla="*/ 722340 w 1263758"/>
                        <a:gd name="connsiteY641" fmla="*/ 174172 h 2117064"/>
                        <a:gd name="connsiteX642" fmla="*/ 726841 w 1263758"/>
                        <a:gd name="connsiteY642" fmla="*/ 171471 h 2117064"/>
                        <a:gd name="connsiteX643" fmla="*/ 732241 w 1263758"/>
                        <a:gd name="connsiteY643" fmla="*/ 172372 h 2117064"/>
                        <a:gd name="connsiteX644" fmla="*/ 736742 w 1263758"/>
                        <a:gd name="connsiteY644" fmla="*/ 175522 h 2117064"/>
                        <a:gd name="connsiteX645" fmla="*/ 742593 w 1263758"/>
                        <a:gd name="connsiteY645" fmla="*/ 183173 h 2117064"/>
                        <a:gd name="connsiteX646" fmla="*/ 747543 w 1263758"/>
                        <a:gd name="connsiteY646" fmla="*/ 186773 h 2117064"/>
                        <a:gd name="connsiteX647" fmla="*/ 749794 w 1263758"/>
                        <a:gd name="connsiteY647" fmla="*/ 186773 h 2117064"/>
                        <a:gd name="connsiteX648" fmla="*/ 752494 w 1263758"/>
                        <a:gd name="connsiteY648" fmla="*/ 182723 h 2117064"/>
                        <a:gd name="connsiteX649" fmla="*/ 760145 w 1263758"/>
                        <a:gd name="connsiteY649" fmla="*/ 182723 h 2117064"/>
                        <a:gd name="connsiteX650" fmla="*/ 760145 w 1263758"/>
                        <a:gd name="connsiteY650" fmla="*/ 180923 h 2117064"/>
                        <a:gd name="connsiteX651" fmla="*/ 757445 w 1263758"/>
                        <a:gd name="connsiteY651" fmla="*/ 176422 h 2117064"/>
                        <a:gd name="connsiteX652" fmla="*/ 754294 w 1263758"/>
                        <a:gd name="connsiteY652" fmla="*/ 173272 h 2117064"/>
                        <a:gd name="connsiteX653" fmla="*/ 727291 w 1263758"/>
                        <a:gd name="connsiteY653" fmla="*/ 151219 h 2117064"/>
                        <a:gd name="connsiteX654" fmla="*/ 726391 w 1263758"/>
                        <a:gd name="connsiteY654" fmla="*/ 146268 h 2117064"/>
                        <a:gd name="connsiteX655" fmla="*/ 735392 w 1263758"/>
                        <a:gd name="connsiteY655" fmla="*/ 141768 h 2117064"/>
                        <a:gd name="connsiteX656" fmla="*/ 741243 w 1263758"/>
                        <a:gd name="connsiteY656" fmla="*/ 136367 h 2117064"/>
                        <a:gd name="connsiteX657" fmla="*/ 743943 w 1263758"/>
                        <a:gd name="connsiteY657" fmla="*/ 135017 h 2117064"/>
                        <a:gd name="connsiteX658" fmla="*/ 750694 w 1263758"/>
                        <a:gd name="connsiteY658" fmla="*/ 123315 h 2117064"/>
                        <a:gd name="connsiteX659" fmla="*/ 755194 w 1263758"/>
                        <a:gd name="connsiteY659" fmla="*/ 117015 h 2117064"/>
                        <a:gd name="connsiteX660" fmla="*/ 763295 w 1263758"/>
                        <a:gd name="connsiteY660" fmla="*/ 109814 h 2117064"/>
                        <a:gd name="connsiteX661" fmla="*/ 766446 w 1263758"/>
                        <a:gd name="connsiteY661" fmla="*/ 111614 h 2117064"/>
                        <a:gd name="connsiteX662" fmla="*/ 770496 w 1263758"/>
                        <a:gd name="connsiteY662" fmla="*/ 117915 h 2117064"/>
                        <a:gd name="connsiteX663" fmla="*/ 774547 w 1263758"/>
                        <a:gd name="connsiteY663" fmla="*/ 121965 h 2117064"/>
                        <a:gd name="connsiteX664" fmla="*/ 786248 w 1263758"/>
                        <a:gd name="connsiteY664" fmla="*/ 125566 h 2117064"/>
                        <a:gd name="connsiteX665" fmla="*/ 791199 w 1263758"/>
                        <a:gd name="connsiteY665" fmla="*/ 129616 h 2117064"/>
                        <a:gd name="connsiteX666" fmla="*/ 800200 w 1263758"/>
                        <a:gd name="connsiteY666" fmla="*/ 151669 h 2117064"/>
                        <a:gd name="connsiteX667" fmla="*/ 803801 w 1263758"/>
                        <a:gd name="connsiteY667" fmla="*/ 158870 h 2117064"/>
                        <a:gd name="connsiteX668" fmla="*/ 808751 w 1263758"/>
                        <a:gd name="connsiteY668" fmla="*/ 166071 h 2117064"/>
                        <a:gd name="connsiteX669" fmla="*/ 811901 w 1263758"/>
                        <a:gd name="connsiteY669" fmla="*/ 168771 h 2117064"/>
                        <a:gd name="connsiteX670" fmla="*/ 817752 w 1263758"/>
                        <a:gd name="connsiteY670" fmla="*/ 170571 h 2117064"/>
                        <a:gd name="connsiteX671" fmla="*/ 818202 w 1263758"/>
                        <a:gd name="connsiteY671" fmla="*/ 166521 h 2117064"/>
                        <a:gd name="connsiteX672" fmla="*/ 811001 w 1263758"/>
                        <a:gd name="connsiteY672" fmla="*/ 156170 h 2117064"/>
                        <a:gd name="connsiteX673" fmla="*/ 809201 w 1263758"/>
                        <a:gd name="connsiteY673" fmla="*/ 150319 h 2117064"/>
                        <a:gd name="connsiteX674" fmla="*/ 810101 w 1263758"/>
                        <a:gd name="connsiteY674" fmla="*/ 145368 h 2117064"/>
                        <a:gd name="connsiteX675" fmla="*/ 811451 w 1263758"/>
                        <a:gd name="connsiteY675" fmla="*/ 142668 h 2117064"/>
                        <a:gd name="connsiteX676" fmla="*/ 813702 w 1263758"/>
                        <a:gd name="connsiteY676" fmla="*/ 142218 h 2117064"/>
                        <a:gd name="connsiteX677" fmla="*/ 819102 w 1263758"/>
                        <a:gd name="connsiteY677" fmla="*/ 146718 h 2117064"/>
                        <a:gd name="connsiteX678" fmla="*/ 833954 w 1263758"/>
                        <a:gd name="connsiteY678" fmla="*/ 162020 h 2117064"/>
                        <a:gd name="connsiteX679" fmla="*/ 856007 w 1263758"/>
                        <a:gd name="connsiteY679" fmla="*/ 180023 h 2117064"/>
                        <a:gd name="connsiteX680" fmla="*/ 864558 w 1263758"/>
                        <a:gd name="connsiteY680" fmla="*/ 184073 h 2117064"/>
                        <a:gd name="connsiteX681" fmla="*/ 869959 w 1263758"/>
                        <a:gd name="connsiteY681" fmla="*/ 190374 h 2117064"/>
                        <a:gd name="connsiteX682" fmla="*/ 874909 w 1263758"/>
                        <a:gd name="connsiteY682" fmla="*/ 198025 h 2117064"/>
                        <a:gd name="connsiteX683" fmla="*/ 879410 w 1263758"/>
                        <a:gd name="connsiteY683" fmla="*/ 203425 h 2117064"/>
                        <a:gd name="connsiteX684" fmla="*/ 880310 w 1263758"/>
                        <a:gd name="connsiteY684" fmla="*/ 202975 h 2117064"/>
                        <a:gd name="connsiteX685" fmla="*/ 875810 w 1263758"/>
                        <a:gd name="connsiteY685" fmla="*/ 191274 h 2117064"/>
                        <a:gd name="connsiteX686" fmla="*/ 865008 w 1263758"/>
                        <a:gd name="connsiteY686" fmla="*/ 176872 h 2117064"/>
                        <a:gd name="connsiteX687" fmla="*/ 836655 w 1263758"/>
                        <a:gd name="connsiteY687" fmla="*/ 151669 h 2117064"/>
                        <a:gd name="connsiteX688" fmla="*/ 825403 w 1263758"/>
                        <a:gd name="connsiteY688" fmla="*/ 138167 h 2117064"/>
                        <a:gd name="connsiteX689" fmla="*/ 820002 w 1263758"/>
                        <a:gd name="connsiteY689" fmla="*/ 129166 h 2117064"/>
                        <a:gd name="connsiteX690" fmla="*/ 815952 w 1263758"/>
                        <a:gd name="connsiteY690" fmla="*/ 119715 h 2117064"/>
                        <a:gd name="connsiteX691" fmla="*/ 815952 w 1263758"/>
                        <a:gd name="connsiteY691" fmla="*/ 114764 h 2117064"/>
                        <a:gd name="connsiteX692" fmla="*/ 820002 w 1263758"/>
                        <a:gd name="connsiteY692" fmla="*/ 108914 h 2117064"/>
                        <a:gd name="connsiteX693" fmla="*/ 825403 w 1263758"/>
                        <a:gd name="connsiteY693" fmla="*/ 103963 h 2117064"/>
                        <a:gd name="connsiteX694" fmla="*/ 831704 w 1263758"/>
                        <a:gd name="connsiteY694" fmla="*/ 102163 h 2117064"/>
                        <a:gd name="connsiteX695" fmla="*/ 832604 w 1263758"/>
                        <a:gd name="connsiteY695" fmla="*/ 100363 h 2117064"/>
                        <a:gd name="connsiteX696" fmla="*/ 826753 w 1263758"/>
                        <a:gd name="connsiteY696" fmla="*/ 93162 h 2117064"/>
                        <a:gd name="connsiteX697" fmla="*/ 823153 w 1263758"/>
                        <a:gd name="connsiteY697" fmla="*/ 86861 h 2117064"/>
                        <a:gd name="connsiteX698" fmla="*/ 823153 w 1263758"/>
                        <a:gd name="connsiteY698" fmla="*/ 82360 h 2117064"/>
                        <a:gd name="connsiteX699" fmla="*/ 830354 w 1263758"/>
                        <a:gd name="connsiteY699" fmla="*/ 78760 h 2117064"/>
                        <a:gd name="connsiteX700" fmla="*/ 834854 w 1263758"/>
                        <a:gd name="connsiteY700" fmla="*/ 79660 h 2117064"/>
                        <a:gd name="connsiteX701" fmla="*/ 842955 w 1263758"/>
                        <a:gd name="connsiteY701" fmla="*/ 87761 h 2117064"/>
                        <a:gd name="connsiteX702" fmla="*/ 849706 w 1263758"/>
                        <a:gd name="connsiteY702" fmla="*/ 91361 h 2117064"/>
                        <a:gd name="connsiteX703" fmla="*/ 850606 w 1263758"/>
                        <a:gd name="connsiteY703" fmla="*/ 89111 h 2117064"/>
                        <a:gd name="connsiteX704" fmla="*/ 843405 w 1263758"/>
                        <a:gd name="connsiteY704" fmla="*/ 67508 h 2117064"/>
                        <a:gd name="connsiteX705" fmla="*/ 842955 w 1263758"/>
                        <a:gd name="connsiteY705" fmla="*/ 62558 h 2117064"/>
                        <a:gd name="connsiteX706" fmla="*/ 843856 w 1263758"/>
                        <a:gd name="connsiteY706" fmla="*/ 59857 h 2117064"/>
                        <a:gd name="connsiteX707" fmla="*/ 846556 w 1263758"/>
                        <a:gd name="connsiteY707" fmla="*/ 57157 h 2117064"/>
                        <a:gd name="connsiteX708" fmla="*/ 854207 w 1263758"/>
                        <a:gd name="connsiteY708" fmla="*/ 58957 h 2117064"/>
                        <a:gd name="connsiteX709" fmla="*/ 866358 w 1263758"/>
                        <a:gd name="connsiteY709" fmla="*/ 69309 h 2117064"/>
                        <a:gd name="connsiteX710" fmla="*/ 888411 w 1263758"/>
                        <a:gd name="connsiteY710" fmla="*/ 74709 h 2117064"/>
                        <a:gd name="connsiteX711" fmla="*/ 894712 w 1263758"/>
                        <a:gd name="connsiteY711" fmla="*/ 73809 h 2117064"/>
                        <a:gd name="connsiteX712" fmla="*/ 893812 w 1263758"/>
                        <a:gd name="connsiteY712" fmla="*/ 71559 h 2117064"/>
                        <a:gd name="connsiteX713" fmla="*/ 884811 w 1263758"/>
                        <a:gd name="connsiteY713" fmla="*/ 65258 h 2117064"/>
                        <a:gd name="connsiteX714" fmla="*/ 875810 w 1263758"/>
                        <a:gd name="connsiteY714" fmla="*/ 56707 h 2117064"/>
                        <a:gd name="connsiteX715" fmla="*/ 871759 w 1263758"/>
                        <a:gd name="connsiteY715" fmla="*/ 51306 h 2117064"/>
                        <a:gd name="connsiteX716" fmla="*/ 868609 w 1263758"/>
                        <a:gd name="connsiteY716" fmla="*/ 44106 h 2117064"/>
                        <a:gd name="connsiteX717" fmla="*/ 865008 w 1263758"/>
                        <a:gd name="connsiteY717" fmla="*/ 38255 h 2117064"/>
                        <a:gd name="connsiteX718" fmla="*/ 864558 w 1263758"/>
                        <a:gd name="connsiteY718" fmla="*/ 35554 h 2117064"/>
                        <a:gd name="connsiteX719" fmla="*/ 870409 w 1263758"/>
                        <a:gd name="connsiteY719" fmla="*/ 31054 h 2117064"/>
                        <a:gd name="connsiteX720" fmla="*/ 885261 w 1263758"/>
                        <a:gd name="connsiteY720" fmla="*/ 31954 h 2117064"/>
                        <a:gd name="connsiteX721" fmla="*/ 899212 w 1263758"/>
                        <a:gd name="connsiteY721" fmla="*/ 39155 h 2117064"/>
                        <a:gd name="connsiteX722" fmla="*/ 910914 w 1263758"/>
                        <a:gd name="connsiteY722" fmla="*/ 36455 h 2117064"/>
                        <a:gd name="connsiteX723" fmla="*/ 918565 w 1263758"/>
                        <a:gd name="connsiteY723" fmla="*/ 38255 h 2117064"/>
                        <a:gd name="connsiteX724" fmla="*/ 921715 w 1263758"/>
                        <a:gd name="connsiteY724" fmla="*/ 40505 h 2117064"/>
                        <a:gd name="connsiteX725" fmla="*/ 927116 w 1263758"/>
                        <a:gd name="connsiteY725" fmla="*/ 48156 h 2117064"/>
                        <a:gd name="connsiteX726" fmla="*/ 944218 w 1263758"/>
                        <a:gd name="connsiteY726" fmla="*/ 76060 h 2117064"/>
                        <a:gd name="connsiteX727" fmla="*/ 946018 w 1263758"/>
                        <a:gd name="connsiteY727" fmla="*/ 80560 h 2117064"/>
                        <a:gd name="connsiteX728" fmla="*/ 947819 w 1263758"/>
                        <a:gd name="connsiteY728" fmla="*/ 87311 h 2117064"/>
                        <a:gd name="connsiteX729" fmla="*/ 950069 w 1263758"/>
                        <a:gd name="connsiteY729" fmla="*/ 96312 h 2117064"/>
                        <a:gd name="connsiteX730" fmla="*/ 952769 w 1263758"/>
                        <a:gd name="connsiteY730" fmla="*/ 98562 h 2117064"/>
                        <a:gd name="connsiteX731" fmla="*/ 958620 w 1263758"/>
                        <a:gd name="connsiteY731" fmla="*/ 92262 h 2117064"/>
                        <a:gd name="connsiteX732" fmla="*/ 962220 w 1263758"/>
                        <a:gd name="connsiteY732" fmla="*/ 86411 h 2117064"/>
                        <a:gd name="connsiteX733" fmla="*/ 960420 w 1263758"/>
                        <a:gd name="connsiteY733" fmla="*/ 80560 h 2117064"/>
                        <a:gd name="connsiteX734" fmla="*/ 950969 w 1263758"/>
                        <a:gd name="connsiteY734" fmla="*/ 67058 h 2117064"/>
                        <a:gd name="connsiteX735" fmla="*/ 948719 w 1263758"/>
                        <a:gd name="connsiteY735" fmla="*/ 61208 h 2117064"/>
                        <a:gd name="connsiteX736" fmla="*/ 944218 w 1263758"/>
                        <a:gd name="connsiteY736" fmla="*/ 51306 h 2117064"/>
                        <a:gd name="connsiteX737" fmla="*/ 933867 w 1263758"/>
                        <a:gd name="connsiteY737" fmla="*/ 33754 h 2117064"/>
                        <a:gd name="connsiteX738" fmla="*/ 931166 w 1263758"/>
                        <a:gd name="connsiteY738" fmla="*/ 25653 h 2117064"/>
                        <a:gd name="connsiteX739" fmla="*/ 929366 w 1263758"/>
                        <a:gd name="connsiteY739" fmla="*/ 18452 h 2117064"/>
                        <a:gd name="connsiteX740" fmla="*/ 958620 w 1263758"/>
                        <a:gd name="connsiteY740" fmla="*/ 11701 h 2117064"/>
                        <a:gd name="connsiteX741" fmla="*/ 986973 w 1263758"/>
                        <a:gd name="connsiteY741" fmla="*/ 17552 h 2117064"/>
                        <a:gd name="connsiteX742" fmla="*/ 991474 w 1263758"/>
                        <a:gd name="connsiteY742" fmla="*/ 21603 h 2117064"/>
                        <a:gd name="connsiteX743" fmla="*/ 994624 w 1263758"/>
                        <a:gd name="connsiteY743" fmla="*/ 27453 h 2117064"/>
                        <a:gd name="connsiteX744" fmla="*/ 997775 w 1263758"/>
                        <a:gd name="connsiteY744" fmla="*/ 36455 h 2117064"/>
                        <a:gd name="connsiteX745" fmla="*/ 1002275 w 1263758"/>
                        <a:gd name="connsiteY745" fmla="*/ 45456 h 2117064"/>
                        <a:gd name="connsiteX746" fmla="*/ 1011276 w 1263758"/>
                        <a:gd name="connsiteY746" fmla="*/ 58957 h 2117064"/>
                        <a:gd name="connsiteX747" fmla="*/ 1024328 w 1263758"/>
                        <a:gd name="connsiteY747" fmla="*/ 67508 h 2117064"/>
                        <a:gd name="connsiteX748" fmla="*/ 1021628 w 1263758"/>
                        <a:gd name="connsiteY748" fmla="*/ 61658 h 2117064"/>
                        <a:gd name="connsiteX749" fmla="*/ 1011726 w 1263758"/>
                        <a:gd name="connsiteY749" fmla="*/ 46806 h 2117064"/>
                        <a:gd name="connsiteX750" fmla="*/ 1007226 w 1263758"/>
                        <a:gd name="connsiteY750" fmla="*/ 36455 h 2117064"/>
                        <a:gd name="connsiteX751" fmla="*/ 1007226 w 1263758"/>
                        <a:gd name="connsiteY751" fmla="*/ 29254 h 2117064"/>
                        <a:gd name="connsiteX752" fmla="*/ 1008126 w 1263758"/>
                        <a:gd name="connsiteY752" fmla="*/ 23853 h 2117064"/>
                        <a:gd name="connsiteX753" fmla="*/ 1009476 w 1263758"/>
                        <a:gd name="connsiteY753" fmla="*/ 20253 h 2117064"/>
                        <a:gd name="connsiteX754" fmla="*/ 1020277 w 1263758"/>
                        <a:gd name="connsiteY754" fmla="*/ 5851 h 2117064"/>
                        <a:gd name="connsiteX755" fmla="*/ 1036029 w 1263758"/>
                        <a:gd name="connsiteY755" fmla="*/ 1350 h 2117064"/>
                        <a:gd name="connsiteX756" fmla="*/ 1037830 w 1263758"/>
                        <a:gd name="connsiteY756" fmla="*/ 2250 h 2117064"/>
                        <a:gd name="connsiteX757" fmla="*/ 1049981 w 1263758"/>
                        <a:gd name="connsiteY757" fmla="*/ 24303 h 2117064"/>
                        <a:gd name="connsiteX758" fmla="*/ 1055832 w 1263758"/>
                        <a:gd name="connsiteY758" fmla="*/ 33304 h 2117064"/>
                        <a:gd name="connsiteX759" fmla="*/ 1059883 w 1263758"/>
                        <a:gd name="connsiteY759" fmla="*/ 36905 h 2117064"/>
                        <a:gd name="connsiteX760" fmla="*/ 1059883 w 1263758"/>
                        <a:gd name="connsiteY760" fmla="*/ 35554 h 2117064"/>
                        <a:gd name="connsiteX761" fmla="*/ 1054032 w 1263758"/>
                        <a:gd name="connsiteY761" fmla="*/ 25653 h 2117064"/>
                        <a:gd name="connsiteX762" fmla="*/ 1049531 w 1263758"/>
                        <a:gd name="connsiteY762" fmla="*/ 20253 h 2117064"/>
                        <a:gd name="connsiteX763" fmla="*/ 1049081 w 1263758"/>
                        <a:gd name="connsiteY763" fmla="*/ 16652 h 2117064"/>
                        <a:gd name="connsiteX764" fmla="*/ 1056282 w 1263758"/>
                        <a:gd name="connsiteY764" fmla="*/ 5851 h 2117064"/>
                        <a:gd name="connsiteX765" fmla="*/ 1060783 w 1263758"/>
                        <a:gd name="connsiteY765" fmla="*/ 3150 h 2117064"/>
                        <a:gd name="connsiteX766" fmla="*/ 1079685 w 1263758"/>
                        <a:gd name="connsiteY766" fmla="*/ 0 h 2117064"/>
                        <a:gd name="connsiteX767" fmla="*/ 1081935 w 1263758"/>
                        <a:gd name="connsiteY767" fmla="*/ 1350 h 2117064"/>
                        <a:gd name="connsiteX768" fmla="*/ 1083735 w 1263758"/>
                        <a:gd name="connsiteY768" fmla="*/ 4501 h 2117064"/>
                        <a:gd name="connsiteX769" fmla="*/ 1088236 w 1263758"/>
                        <a:gd name="connsiteY769" fmla="*/ 16202 h 2117064"/>
                        <a:gd name="connsiteX770" fmla="*/ 1089586 w 1263758"/>
                        <a:gd name="connsiteY770" fmla="*/ 13952 h 2117064"/>
                        <a:gd name="connsiteX771" fmla="*/ 614327 w 1263758"/>
                        <a:gd name="connsiteY771" fmla="*/ 305138 h 2117064"/>
                        <a:gd name="connsiteX772" fmla="*/ 617027 w 1263758"/>
                        <a:gd name="connsiteY772" fmla="*/ 316390 h 2117064"/>
                        <a:gd name="connsiteX773" fmla="*/ 627378 w 1263758"/>
                        <a:gd name="connsiteY773" fmla="*/ 343393 h 2117064"/>
                        <a:gd name="connsiteX774" fmla="*/ 631879 w 1263758"/>
                        <a:gd name="connsiteY774" fmla="*/ 352844 h 2117064"/>
                        <a:gd name="connsiteX775" fmla="*/ 639980 w 1263758"/>
                        <a:gd name="connsiteY775" fmla="*/ 364546 h 2117064"/>
                        <a:gd name="connsiteX776" fmla="*/ 640880 w 1263758"/>
                        <a:gd name="connsiteY776" fmla="*/ 368596 h 2117064"/>
                        <a:gd name="connsiteX777" fmla="*/ 640880 w 1263758"/>
                        <a:gd name="connsiteY777" fmla="*/ 370396 h 2117064"/>
                        <a:gd name="connsiteX778" fmla="*/ 640880 w 1263758"/>
                        <a:gd name="connsiteY778" fmla="*/ 376697 h 2117064"/>
                        <a:gd name="connsiteX779" fmla="*/ 643130 w 1263758"/>
                        <a:gd name="connsiteY779" fmla="*/ 378947 h 2117064"/>
                        <a:gd name="connsiteX780" fmla="*/ 649881 w 1263758"/>
                        <a:gd name="connsiteY780" fmla="*/ 382548 h 2117064"/>
                        <a:gd name="connsiteX781" fmla="*/ 657532 w 1263758"/>
                        <a:gd name="connsiteY781" fmla="*/ 388849 h 2117064"/>
                        <a:gd name="connsiteX782" fmla="*/ 658882 w 1263758"/>
                        <a:gd name="connsiteY782" fmla="*/ 388399 h 2117064"/>
                        <a:gd name="connsiteX783" fmla="*/ 661583 w 1263758"/>
                        <a:gd name="connsiteY783" fmla="*/ 384798 h 2117064"/>
                        <a:gd name="connsiteX784" fmla="*/ 664733 w 1263758"/>
                        <a:gd name="connsiteY784" fmla="*/ 383898 h 2117064"/>
                        <a:gd name="connsiteX785" fmla="*/ 668784 w 1263758"/>
                        <a:gd name="connsiteY785" fmla="*/ 384798 h 2117064"/>
                        <a:gd name="connsiteX786" fmla="*/ 670584 w 1263758"/>
                        <a:gd name="connsiteY786" fmla="*/ 387498 h 2117064"/>
                        <a:gd name="connsiteX787" fmla="*/ 671934 w 1263758"/>
                        <a:gd name="connsiteY787" fmla="*/ 391549 h 2117064"/>
                        <a:gd name="connsiteX788" fmla="*/ 672384 w 1263758"/>
                        <a:gd name="connsiteY788" fmla="*/ 394249 h 2117064"/>
                        <a:gd name="connsiteX789" fmla="*/ 672384 w 1263758"/>
                        <a:gd name="connsiteY789" fmla="*/ 396500 h 2117064"/>
                        <a:gd name="connsiteX790" fmla="*/ 671034 w 1263758"/>
                        <a:gd name="connsiteY790" fmla="*/ 400550 h 2117064"/>
                        <a:gd name="connsiteX791" fmla="*/ 671034 w 1263758"/>
                        <a:gd name="connsiteY791" fmla="*/ 402350 h 2117064"/>
                        <a:gd name="connsiteX792" fmla="*/ 671934 w 1263758"/>
                        <a:gd name="connsiteY792" fmla="*/ 404151 h 2117064"/>
                        <a:gd name="connsiteX793" fmla="*/ 671934 w 1263758"/>
                        <a:gd name="connsiteY793" fmla="*/ 406401 h 2117064"/>
                        <a:gd name="connsiteX794" fmla="*/ 670584 w 1263758"/>
                        <a:gd name="connsiteY794" fmla="*/ 415402 h 2117064"/>
                        <a:gd name="connsiteX795" fmla="*/ 671034 w 1263758"/>
                        <a:gd name="connsiteY795" fmla="*/ 418552 h 2117064"/>
                        <a:gd name="connsiteX796" fmla="*/ 674634 w 1263758"/>
                        <a:gd name="connsiteY796" fmla="*/ 426653 h 2117064"/>
                        <a:gd name="connsiteX797" fmla="*/ 678235 w 1263758"/>
                        <a:gd name="connsiteY797" fmla="*/ 430704 h 2117064"/>
                        <a:gd name="connsiteX798" fmla="*/ 684986 w 1263758"/>
                        <a:gd name="connsiteY798" fmla="*/ 435204 h 2117064"/>
                        <a:gd name="connsiteX799" fmla="*/ 689486 w 1263758"/>
                        <a:gd name="connsiteY799" fmla="*/ 434754 h 2117064"/>
                        <a:gd name="connsiteX800" fmla="*/ 692186 w 1263758"/>
                        <a:gd name="connsiteY800" fmla="*/ 437455 h 2117064"/>
                        <a:gd name="connsiteX801" fmla="*/ 692186 w 1263758"/>
                        <a:gd name="connsiteY801" fmla="*/ 435655 h 2117064"/>
                        <a:gd name="connsiteX802" fmla="*/ 690836 w 1263758"/>
                        <a:gd name="connsiteY802" fmla="*/ 430704 h 2117064"/>
                        <a:gd name="connsiteX803" fmla="*/ 688136 w 1263758"/>
                        <a:gd name="connsiteY803" fmla="*/ 423503 h 2117064"/>
                        <a:gd name="connsiteX804" fmla="*/ 683185 w 1263758"/>
                        <a:gd name="connsiteY804" fmla="*/ 419903 h 2117064"/>
                        <a:gd name="connsiteX805" fmla="*/ 682285 w 1263758"/>
                        <a:gd name="connsiteY805" fmla="*/ 415402 h 2117064"/>
                        <a:gd name="connsiteX806" fmla="*/ 681835 w 1263758"/>
                        <a:gd name="connsiteY806" fmla="*/ 408201 h 2117064"/>
                        <a:gd name="connsiteX807" fmla="*/ 682285 w 1263758"/>
                        <a:gd name="connsiteY807" fmla="*/ 403250 h 2117064"/>
                        <a:gd name="connsiteX808" fmla="*/ 684986 w 1263758"/>
                        <a:gd name="connsiteY808" fmla="*/ 399200 h 2117064"/>
                        <a:gd name="connsiteX809" fmla="*/ 687236 w 1263758"/>
                        <a:gd name="connsiteY809" fmla="*/ 397850 h 2117064"/>
                        <a:gd name="connsiteX810" fmla="*/ 693537 w 1263758"/>
                        <a:gd name="connsiteY810" fmla="*/ 397850 h 2117064"/>
                        <a:gd name="connsiteX811" fmla="*/ 697137 w 1263758"/>
                        <a:gd name="connsiteY811" fmla="*/ 399650 h 2117064"/>
                        <a:gd name="connsiteX812" fmla="*/ 702988 w 1263758"/>
                        <a:gd name="connsiteY812" fmla="*/ 405051 h 2117064"/>
                        <a:gd name="connsiteX813" fmla="*/ 703438 w 1263758"/>
                        <a:gd name="connsiteY813" fmla="*/ 408201 h 2117064"/>
                        <a:gd name="connsiteX814" fmla="*/ 703888 w 1263758"/>
                        <a:gd name="connsiteY814" fmla="*/ 414052 h 2117064"/>
                        <a:gd name="connsiteX815" fmla="*/ 704338 w 1263758"/>
                        <a:gd name="connsiteY815" fmla="*/ 425753 h 2117064"/>
                        <a:gd name="connsiteX816" fmla="*/ 704338 w 1263758"/>
                        <a:gd name="connsiteY816" fmla="*/ 428454 h 2117064"/>
                        <a:gd name="connsiteX817" fmla="*/ 699387 w 1263758"/>
                        <a:gd name="connsiteY817" fmla="*/ 435204 h 2117064"/>
                        <a:gd name="connsiteX818" fmla="*/ 698037 w 1263758"/>
                        <a:gd name="connsiteY818" fmla="*/ 439705 h 2117064"/>
                        <a:gd name="connsiteX819" fmla="*/ 699387 w 1263758"/>
                        <a:gd name="connsiteY819" fmla="*/ 441055 h 2117064"/>
                        <a:gd name="connsiteX820" fmla="*/ 703888 w 1263758"/>
                        <a:gd name="connsiteY820" fmla="*/ 441955 h 2117064"/>
                        <a:gd name="connsiteX821" fmla="*/ 710639 w 1263758"/>
                        <a:gd name="connsiteY821" fmla="*/ 446006 h 2117064"/>
                        <a:gd name="connsiteX822" fmla="*/ 713339 w 1263758"/>
                        <a:gd name="connsiteY822" fmla="*/ 446456 h 2117064"/>
                        <a:gd name="connsiteX823" fmla="*/ 716040 w 1263758"/>
                        <a:gd name="connsiteY823" fmla="*/ 455907 h 2117064"/>
                        <a:gd name="connsiteX824" fmla="*/ 718290 w 1263758"/>
                        <a:gd name="connsiteY824" fmla="*/ 464908 h 2117064"/>
                        <a:gd name="connsiteX825" fmla="*/ 716940 w 1263758"/>
                        <a:gd name="connsiteY825" fmla="*/ 475710 h 2117064"/>
                        <a:gd name="connsiteX826" fmla="*/ 715139 w 1263758"/>
                        <a:gd name="connsiteY826" fmla="*/ 492812 h 2117064"/>
                        <a:gd name="connsiteX827" fmla="*/ 713339 w 1263758"/>
                        <a:gd name="connsiteY827" fmla="*/ 496862 h 2117064"/>
                        <a:gd name="connsiteX828" fmla="*/ 711539 w 1263758"/>
                        <a:gd name="connsiteY828" fmla="*/ 502713 h 2117064"/>
                        <a:gd name="connsiteX829" fmla="*/ 712439 w 1263758"/>
                        <a:gd name="connsiteY829" fmla="*/ 503613 h 2117064"/>
                        <a:gd name="connsiteX830" fmla="*/ 719190 w 1263758"/>
                        <a:gd name="connsiteY830" fmla="*/ 501363 h 2117064"/>
                        <a:gd name="connsiteX831" fmla="*/ 720540 w 1263758"/>
                        <a:gd name="connsiteY831" fmla="*/ 500463 h 2117064"/>
                        <a:gd name="connsiteX832" fmla="*/ 725041 w 1263758"/>
                        <a:gd name="connsiteY832" fmla="*/ 494612 h 2117064"/>
                        <a:gd name="connsiteX833" fmla="*/ 731792 w 1263758"/>
                        <a:gd name="connsiteY833" fmla="*/ 495962 h 2117064"/>
                        <a:gd name="connsiteX834" fmla="*/ 734042 w 1263758"/>
                        <a:gd name="connsiteY834" fmla="*/ 497312 h 2117064"/>
                        <a:gd name="connsiteX835" fmla="*/ 734942 w 1263758"/>
                        <a:gd name="connsiteY835" fmla="*/ 499112 h 2117064"/>
                        <a:gd name="connsiteX836" fmla="*/ 736742 w 1263758"/>
                        <a:gd name="connsiteY836" fmla="*/ 505413 h 2117064"/>
                        <a:gd name="connsiteX837" fmla="*/ 738542 w 1263758"/>
                        <a:gd name="connsiteY837" fmla="*/ 513964 h 2117064"/>
                        <a:gd name="connsiteX838" fmla="*/ 739892 w 1263758"/>
                        <a:gd name="connsiteY838" fmla="*/ 513064 h 2117064"/>
                        <a:gd name="connsiteX839" fmla="*/ 743043 w 1263758"/>
                        <a:gd name="connsiteY839" fmla="*/ 502713 h 2117064"/>
                        <a:gd name="connsiteX840" fmla="*/ 743943 w 1263758"/>
                        <a:gd name="connsiteY840" fmla="*/ 500013 h 2117064"/>
                        <a:gd name="connsiteX841" fmla="*/ 745293 w 1263758"/>
                        <a:gd name="connsiteY841" fmla="*/ 497762 h 2117064"/>
                        <a:gd name="connsiteX842" fmla="*/ 745743 w 1263758"/>
                        <a:gd name="connsiteY842" fmla="*/ 498212 h 2117064"/>
                        <a:gd name="connsiteX843" fmla="*/ 748894 w 1263758"/>
                        <a:gd name="connsiteY843" fmla="*/ 507664 h 2117064"/>
                        <a:gd name="connsiteX844" fmla="*/ 755644 w 1263758"/>
                        <a:gd name="connsiteY844" fmla="*/ 524316 h 2117064"/>
                        <a:gd name="connsiteX845" fmla="*/ 757895 w 1263758"/>
                        <a:gd name="connsiteY845" fmla="*/ 531066 h 2117064"/>
                        <a:gd name="connsiteX846" fmla="*/ 758345 w 1263758"/>
                        <a:gd name="connsiteY846" fmla="*/ 536017 h 2117064"/>
                        <a:gd name="connsiteX847" fmla="*/ 755194 w 1263758"/>
                        <a:gd name="connsiteY847" fmla="*/ 541868 h 2117064"/>
                        <a:gd name="connsiteX848" fmla="*/ 752944 w 1263758"/>
                        <a:gd name="connsiteY848" fmla="*/ 544568 h 2117064"/>
                        <a:gd name="connsiteX849" fmla="*/ 735842 w 1263758"/>
                        <a:gd name="connsiteY849" fmla="*/ 556720 h 2117064"/>
                        <a:gd name="connsiteX850" fmla="*/ 728191 w 1263758"/>
                        <a:gd name="connsiteY850" fmla="*/ 563471 h 2117064"/>
                        <a:gd name="connsiteX851" fmla="*/ 724591 w 1263758"/>
                        <a:gd name="connsiteY851" fmla="*/ 568871 h 2117064"/>
                        <a:gd name="connsiteX852" fmla="*/ 722790 w 1263758"/>
                        <a:gd name="connsiteY852" fmla="*/ 570671 h 2117064"/>
                        <a:gd name="connsiteX853" fmla="*/ 718740 w 1263758"/>
                        <a:gd name="connsiteY853" fmla="*/ 569771 h 2117064"/>
                        <a:gd name="connsiteX854" fmla="*/ 717840 w 1263758"/>
                        <a:gd name="connsiteY854" fmla="*/ 570671 h 2117064"/>
                        <a:gd name="connsiteX855" fmla="*/ 716489 w 1263758"/>
                        <a:gd name="connsiteY855" fmla="*/ 579222 h 2117064"/>
                        <a:gd name="connsiteX856" fmla="*/ 715139 w 1263758"/>
                        <a:gd name="connsiteY856" fmla="*/ 582823 h 2117064"/>
                        <a:gd name="connsiteX857" fmla="*/ 711539 w 1263758"/>
                        <a:gd name="connsiteY857" fmla="*/ 588674 h 2117064"/>
                        <a:gd name="connsiteX858" fmla="*/ 706588 w 1263758"/>
                        <a:gd name="connsiteY858" fmla="*/ 599025 h 2117064"/>
                        <a:gd name="connsiteX859" fmla="*/ 703438 w 1263758"/>
                        <a:gd name="connsiteY859" fmla="*/ 603526 h 2117064"/>
                        <a:gd name="connsiteX860" fmla="*/ 698037 w 1263758"/>
                        <a:gd name="connsiteY860" fmla="*/ 600375 h 2117064"/>
                        <a:gd name="connsiteX861" fmla="*/ 696687 w 1263758"/>
                        <a:gd name="connsiteY861" fmla="*/ 595425 h 2117064"/>
                        <a:gd name="connsiteX862" fmla="*/ 695787 w 1263758"/>
                        <a:gd name="connsiteY862" fmla="*/ 584623 h 2117064"/>
                        <a:gd name="connsiteX863" fmla="*/ 695787 w 1263758"/>
                        <a:gd name="connsiteY863" fmla="*/ 580123 h 2117064"/>
                        <a:gd name="connsiteX864" fmla="*/ 695787 w 1263758"/>
                        <a:gd name="connsiteY864" fmla="*/ 577872 h 2117064"/>
                        <a:gd name="connsiteX865" fmla="*/ 696237 w 1263758"/>
                        <a:gd name="connsiteY865" fmla="*/ 573822 h 2117064"/>
                        <a:gd name="connsiteX866" fmla="*/ 698487 w 1263758"/>
                        <a:gd name="connsiteY866" fmla="*/ 564371 h 2117064"/>
                        <a:gd name="connsiteX867" fmla="*/ 698037 w 1263758"/>
                        <a:gd name="connsiteY867" fmla="*/ 563471 h 2117064"/>
                        <a:gd name="connsiteX868" fmla="*/ 697137 w 1263758"/>
                        <a:gd name="connsiteY868" fmla="*/ 564371 h 2117064"/>
                        <a:gd name="connsiteX869" fmla="*/ 693537 w 1263758"/>
                        <a:gd name="connsiteY869" fmla="*/ 569321 h 2117064"/>
                        <a:gd name="connsiteX870" fmla="*/ 692186 w 1263758"/>
                        <a:gd name="connsiteY870" fmla="*/ 572022 h 2117064"/>
                        <a:gd name="connsiteX871" fmla="*/ 690836 w 1263758"/>
                        <a:gd name="connsiteY871" fmla="*/ 576522 h 2117064"/>
                        <a:gd name="connsiteX872" fmla="*/ 690386 w 1263758"/>
                        <a:gd name="connsiteY872" fmla="*/ 583723 h 2117064"/>
                        <a:gd name="connsiteX873" fmla="*/ 690836 w 1263758"/>
                        <a:gd name="connsiteY873" fmla="*/ 597225 h 2117064"/>
                        <a:gd name="connsiteX874" fmla="*/ 690386 w 1263758"/>
                        <a:gd name="connsiteY874" fmla="*/ 602625 h 2117064"/>
                        <a:gd name="connsiteX875" fmla="*/ 689036 w 1263758"/>
                        <a:gd name="connsiteY875" fmla="*/ 605326 h 2117064"/>
                        <a:gd name="connsiteX876" fmla="*/ 689486 w 1263758"/>
                        <a:gd name="connsiteY876" fmla="*/ 607576 h 2117064"/>
                        <a:gd name="connsiteX877" fmla="*/ 693537 w 1263758"/>
                        <a:gd name="connsiteY877" fmla="*/ 610276 h 2117064"/>
                        <a:gd name="connsiteX878" fmla="*/ 694437 w 1263758"/>
                        <a:gd name="connsiteY878" fmla="*/ 611627 h 2117064"/>
                        <a:gd name="connsiteX879" fmla="*/ 694887 w 1263758"/>
                        <a:gd name="connsiteY879" fmla="*/ 613877 h 2117064"/>
                        <a:gd name="connsiteX880" fmla="*/ 694887 w 1263758"/>
                        <a:gd name="connsiteY880" fmla="*/ 617027 h 2117064"/>
                        <a:gd name="connsiteX881" fmla="*/ 694887 w 1263758"/>
                        <a:gd name="connsiteY881" fmla="*/ 620178 h 2117064"/>
                        <a:gd name="connsiteX882" fmla="*/ 693537 w 1263758"/>
                        <a:gd name="connsiteY882" fmla="*/ 624678 h 2117064"/>
                        <a:gd name="connsiteX883" fmla="*/ 691286 w 1263758"/>
                        <a:gd name="connsiteY883" fmla="*/ 626478 h 2117064"/>
                        <a:gd name="connsiteX884" fmla="*/ 688586 w 1263758"/>
                        <a:gd name="connsiteY884" fmla="*/ 624228 h 2117064"/>
                        <a:gd name="connsiteX885" fmla="*/ 682285 w 1263758"/>
                        <a:gd name="connsiteY885" fmla="*/ 612977 h 2117064"/>
                        <a:gd name="connsiteX886" fmla="*/ 679585 w 1263758"/>
                        <a:gd name="connsiteY886" fmla="*/ 613427 h 2117064"/>
                        <a:gd name="connsiteX887" fmla="*/ 678685 w 1263758"/>
                        <a:gd name="connsiteY887" fmla="*/ 614777 h 2117064"/>
                        <a:gd name="connsiteX888" fmla="*/ 679135 w 1263758"/>
                        <a:gd name="connsiteY888" fmla="*/ 618827 h 2117064"/>
                        <a:gd name="connsiteX889" fmla="*/ 680935 w 1263758"/>
                        <a:gd name="connsiteY889" fmla="*/ 627829 h 2117064"/>
                        <a:gd name="connsiteX890" fmla="*/ 681385 w 1263758"/>
                        <a:gd name="connsiteY890" fmla="*/ 635030 h 2117064"/>
                        <a:gd name="connsiteX891" fmla="*/ 680485 w 1263758"/>
                        <a:gd name="connsiteY891" fmla="*/ 641330 h 2117064"/>
                        <a:gd name="connsiteX892" fmla="*/ 678685 w 1263758"/>
                        <a:gd name="connsiteY892" fmla="*/ 650781 h 2117064"/>
                        <a:gd name="connsiteX893" fmla="*/ 677335 w 1263758"/>
                        <a:gd name="connsiteY893" fmla="*/ 655732 h 2117064"/>
                        <a:gd name="connsiteX894" fmla="*/ 676885 w 1263758"/>
                        <a:gd name="connsiteY894" fmla="*/ 656632 h 2117064"/>
                        <a:gd name="connsiteX895" fmla="*/ 673734 w 1263758"/>
                        <a:gd name="connsiteY895" fmla="*/ 656632 h 2117064"/>
                        <a:gd name="connsiteX896" fmla="*/ 671034 w 1263758"/>
                        <a:gd name="connsiteY896" fmla="*/ 653932 h 2117064"/>
                        <a:gd name="connsiteX897" fmla="*/ 662933 w 1263758"/>
                        <a:gd name="connsiteY897" fmla="*/ 637280 h 2117064"/>
                        <a:gd name="connsiteX898" fmla="*/ 658882 w 1263758"/>
                        <a:gd name="connsiteY898" fmla="*/ 630079 h 2117064"/>
                        <a:gd name="connsiteX899" fmla="*/ 653032 w 1263758"/>
                        <a:gd name="connsiteY899" fmla="*/ 615677 h 2117064"/>
                        <a:gd name="connsiteX900" fmla="*/ 651681 w 1263758"/>
                        <a:gd name="connsiteY900" fmla="*/ 612527 h 2117064"/>
                        <a:gd name="connsiteX901" fmla="*/ 650781 w 1263758"/>
                        <a:gd name="connsiteY901" fmla="*/ 612077 h 2117064"/>
                        <a:gd name="connsiteX902" fmla="*/ 649881 w 1263758"/>
                        <a:gd name="connsiteY902" fmla="*/ 618377 h 2117064"/>
                        <a:gd name="connsiteX903" fmla="*/ 651681 w 1263758"/>
                        <a:gd name="connsiteY903" fmla="*/ 624228 h 2117064"/>
                        <a:gd name="connsiteX904" fmla="*/ 657082 w 1263758"/>
                        <a:gd name="connsiteY904" fmla="*/ 637280 h 2117064"/>
                        <a:gd name="connsiteX905" fmla="*/ 660232 w 1263758"/>
                        <a:gd name="connsiteY905" fmla="*/ 646731 h 2117064"/>
                        <a:gd name="connsiteX906" fmla="*/ 662483 w 1263758"/>
                        <a:gd name="connsiteY906" fmla="*/ 654382 h 2117064"/>
                        <a:gd name="connsiteX907" fmla="*/ 662933 w 1263758"/>
                        <a:gd name="connsiteY907" fmla="*/ 657532 h 2117064"/>
                        <a:gd name="connsiteX908" fmla="*/ 662033 w 1263758"/>
                        <a:gd name="connsiteY908" fmla="*/ 658882 h 2117064"/>
                        <a:gd name="connsiteX909" fmla="*/ 660683 w 1263758"/>
                        <a:gd name="connsiteY909" fmla="*/ 657982 h 2117064"/>
                        <a:gd name="connsiteX910" fmla="*/ 659332 w 1263758"/>
                        <a:gd name="connsiteY910" fmla="*/ 655282 h 2117064"/>
                        <a:gd name="connsiteX911" fmla="*/ 654832 w 1263758"/>
                        <a:gd name="connsiteY911" fmla="*/ 650781 h 2117064"/>
                        <a:gd name="connsiteX912" fmla="*/ 653032 w 1263758"/>
                        <a:gd name="connsiteY912" fmla="*/ 648081 h 2117064"/>
                        <a:gd name="connsiteX913" fmla="*/ 651681 w 1263758"/>
                        <a:gd name="connsiteY913" fmla="*/ 644931 h 2117064"/>
                        <a:gd name="connsiteX914" fmla="*/ 649431 w 1263758"/>
                        <a:gd name="connsiteY914" fmla="*/ 642680 h 2117064"/>
                        <a:gd name="connsiteX915" fmla="*/ 645831 w 1263758"/>
                        <a:gd name="connsiteY915" fmla="*/ 641330 h 2117064"/>
                        <a:gd name="connsiteX916" fmla="*/ 642230 w 1263758"/>
                        <a:gd name="connsiteY916" fmla="*/ 640880 h 2117064"/>
                        <a:gd name="connsiteX917" fmla="*/ 638630 w 1263758"/>
                        <a:gd name="connsiteY917" fmla="*/ 641780 h 2117064"/>
                        <a:gd name="connsiteX918" fmla="*/ 638180 w 1263758"/>
                        <a:gd name="connsiteY918" fmla="*/ 643130 h 2117064"/>
                        <a:gd name="connsiteX919" fmla="*/ 642230 w 1263758"/>
                        <a:gd name="connsiteY919" fmla="*/ 647181 h 2117064"/>
                        <a:gd name="connsiteX920" fmla="*/ 643580 w 1263758"/>
                        <a:gd name="connsiteY920" fmla="*/ 649431 h 2117064"/>
                        <a:gd name="connsiteX921" fmla="*/ 644480 w 1263758"/>
                        <a:gd name="connsiteY921" fmla="*/ 652132 h 2117064"/>
                        <a:gd name="connsiteX922" fmla="*/ 644931 w 1263758"/>
                        <a:gd name="connsiteY922" fmla="*/ 655732 h 2117064"/>
                        <a:gd name="connsiteX923" fmla="*/ 643580 w 1263758"/>
                        <a:gd name="connsiteY923" fmla="*/ 657982 h 2117064"/>
                        <a:gd name="connsiteX924" fmla="*/ 638630 w 1263758"/>
                        <a:gd name="connsiteY924" fmla="*/ 659333 h 2117064"/>
                        <a:gd name="connsiteX925" fmla="*/ 632329 w 1263758"/>
                        <a:gd name="connsiteY925" fmla="*/ 658432 h 2117064"/>
                        <a:gd name="connsiteX926" fmla="*/ 621978 w 1263758"/>
                        <a:gd name="connsiteY926" fmla="*/ 655282 h 2117064"/>
                        <a:gd name="connsiteX927" fmla="*/ 611626 w 1263758"/>
                        <a:gd name="connsiteY927" fmla="*/ 650331 h 2117064"/>
                        <a:gd name="connsiteX928" fmla="*/ 602175 w 1263758"/>
                        <a:gd name="connsiteY928" fmla="*/ 642230 h 2117064"/>
                        <a:gd name="connsiteX929" fmla="*/ 595424 w 1263758"/>
                        <a:gd name="connsiteY929" fmla="*/ 634129 h 2117064"/>
                        <a:gd name="connsiteX930" fmla="*/ 592724 w 1263758"/>
                        <a:gd name="connsiteY930" fmla="*/ 629629 h 2117064"/>
                        <a:gd name="connsiteX931" fmla="*/ 591824 w 1263758"/>
                        <a:gd name="connsiteY931" fmla="*/ 626478 h 2117064"/>
                        <a:gd name="connsiteX932" fmla="*/ 594524 w 1263758"/>
                        <a:gd name="connsiteY932" fmla="*/ 623778 h 2117064"/>
                        <a:gd name="connsiteX933" fmla="*/ 603525 w 1263758"/>
                        <a:gd name="connsiteY933" fmla="*/ 620178 h 2117064"/>
                        <a:gd name="connsiteX934" fmla="*/ 612527 w 1263758"/>
                        <a:gd name="connsiteY934" fmla="*/ 617927 h 2117064"/>
                        <a:gd name="connsiteX935" fmla="*/ 611176 w 1263758"/>
                        <a:gd name="connsiteY935" fmla="*/ 615677 h 2117064"/>
                        <a:gd name="connsiteX936" fmla="*/ 594524 w 1263758"/>
                        <a:gd name="connsiteY936" fmla="*/ 611177 h 2117064"/>
                        <a:gd name="connsiteX937" fmla="*/ 589124 w 1263758"/>
                        <a:gd name="connsiteY937" fmla="*/ 610276 h 2117064"/>
                        <a:gd name="connsiteX938" fmla="*/ 586423 w 1263758"/>
                        <a:gd name="connsiteY938" fmla="*/ 611627 h 2117064"/>
                        <a:gd name="connsiteX939" fmla="*/ 583273 w 1263758"/>
                        <a:gd name="connsiteY939" fmla="*/ 610726 h 2117064"/>
                        <a:gd name="connsiteX940" fmla="*/ 580573 w 1263758"/>
                        <a:gd name="connsiteY940" fmla="*/ 607126 h 2117064"/>
                        <a:gd name="connsiteX941" fmla="*/ 576972 w 1263758"/>
                        <a:gd name="connsiteY941" fmla="*/ 599925 h 2117064"/>
                        <a:gd name="connsiteX942" fmla="*/ 575172 w 1263758"/>
                        <a:gd name="connsiteY942" fmla="*/ 595425 h 2117064"/>
                        <a:gd name="connsiteX943" fmla="*/ 575622 w 1263758"/>
                        <a:gd name="connsiteY943" fmla="*/ 593624 h 2117064"/>
                        <a:gd name="connsiteX944" fmla="*/ 576972 w 1263758"/>
                        <a:gd name="connsiteY944" fmla="*/ 592724 h 2117064"/>
                        <a:gd name="connsiteX945" fmla="*/ 584623 w 1263758"/>
                        <a:gd name="connsiteY945" fmla="*/ 593624 h 2117064"/>
                        <a:gd name="connsiteX946" fmla="*/ 585523 w 1263758"/>
                        <a:gd name="connsiteY946" fmla="*/ 592724 h 2117064"/>
                        <a:gd name="connsiteX947" fmla="*/ 581923 w 1263758"/>
                        <a:gd name="connsiteY947" fmla="*/ 589124 h 2117064"/>
                        <a:gd name="connsiteX948" fmla="*/ 569771 w 1263758"/>
                        <a:gd name="connsiteY948" fmla="*/ 581923 h 2117064"/>
                        <a:gd name="connsiteX949" fmla="*/ 565271 w 1263758"/>
                        <a:gd name="connsiteY949" fmla="*/ 575622 h 2117064"/>
                        <a:gd name="connsiteX950" fmla="*/ 564371 w 1263758"/>
                        <a:gd name="connsiteY950" fmla="*/ 573372 h 2117064"/>
                        <a:gd name="connsiteX951" fmla="*/ 563920 w 1263758"/>
                        <a:gd name="connsiteY951" fmla="*/ 571121 h 2117064"/>
                        <a:gd name="connsiteX952" fmla="*/ 563920 w 1263758"/>
                        <a:gd name="connsiteY952" fmla="*/ 568871 h 2117064"/>
                        <a:gd name="connsiteX953" fmla="*/ 568421 w 1263758"/>
                        <a:gd name="connsiteY953" fmla="*/ 563921 h 2117064"/>
                        <a:gd name="connsiteX954" fmla="*/ 582373 w 1263758"/>
                        <a:gd name="connsiteY954" fmla="*/ 552669 h 2117064"/>
                        <a:gd name="connsiteX955" fmla="*/ 587323 w 1263758"/>
                        <a:gd name="connsiteY955" fmla="*/ 550869 h 2117064"/>
                        <a:gd name="connsiteX956" fmla="*/ 592274 w 1263758"/>
                        <a:gd name="connsiteY956" fmla="*/ 550869 h 2117064"/>
                        <a:gd name="connsiteX957" fmla="*/ 595424 w 1263758"/>
                        <a:gd name="connsiteY957" fmla="*/ 547719 h 2117064"/>
                        <a:gd name="connsiteX958" fmla="*/ 598125 w 1263758"/>
                        <a:gd name="connsiteY958" fmla="*/ 536917 h 2117064"/>
                        <a:gd name="connsiteX959" fmla="*/ 612527 w 1263758"/>
                        <a:gd name="connsiteY959" fmla="*/ 532867 h 2117064"/>
                        <a:gd name="connsiteX960" fmla="*/ 623778 w 1263758"/>
                        <a:gd name="connsiteY960" fmla="*/ 527916 h 2117064"/>
                        <a:gd name="connsiteX961" fmla="*/ 624678 w 1263758"/>
                        <a:gd name="connsiteY961" fmla="*/ 526566 h 2117064"/>
                        <a:gd name="connsiteX962" fmla="*/ 616127 w 1263758"/>
                        <a:gd name="connsiteY962" fmla="*/ 527466 h 2117064"/>
                        <a:gd name="connsiteX963" fmla="*/ 604426 w 1263758"/>
                        <a:gd name="connsiteY963" fmla="*/ 526566 h 2117064"/>
                        <a:gd name="connsiteX964" fmla="*/ 599475 w 1263758"/>
                        <a:gd name="connsiteY964" fmla="*/ 518915 h 2117064"/>
                        <a:gd name="connsiteX965" fmla="*/ 595874 w 1263758"/>
                        <a:gd name="connsiteY965" fmla="*/ 517565 h 2117064"/>
                        <a:gd name="connsiteX966" fmla="*/ 592274 w 1263758"/>
                        <a:gd name="connsiteY966" fmla="*/ 517565 h 2117064"/>
                        <a:gd name="connsiteX967" fmla="*/ 587774 w 1263758"/>
                        <a:gd name="connsiteY967" fmla="*/ 519815 h 2117064"/>
                        <a:gd name="connsiteX968" fmla="*/ 580123 w 1263758"/>
                        <a:gd name="connsiteY968" fmla="*/ 527016 h 2117064"/>
                        <a:gd name="connsiteX969" fmla="*/ 576522 w 1263758"/>
                        <a:gd name="connsiteY969" fmla="*/ 528816 h 2117064"/>
                        <a:gd name="connsiteX970" fmla="*/ 568421 w 1263758"/>
                        <a:gd name="connsiteY970" fmla="*/ 536017 h 2117064"/>
                        <a:gd name="connsiteX971" fmla="*/ 566171 w 1263758"/>
                        <a:gd name="connsiteY971" fmla="*/ 535567 h 2117064"/>
                        <a:gd name="connsiteX972" fmla="*/ 564821 w 1263758"/>
                        <a:gd name="connsiteY972" fmla="*/ 534667 h 2117064"/>
                        <a:gd name="connsiteX973" fmla="*/ 564371 w 1263758"/>
                        <a:gd name="connsiteY973" fmla="*/ 533317 h 2117064"/>
                        <a:gd name="connsiteX974" fmla="*/ 565721 w 1263758"/>
                        <a:gd name="connsiteY974" fmla="*/ 528366 h 2117064"/>
                        <a:gd name="connsiteX975" fmla="*/ 567971 w 1263758"/>
                        <a:gd name="connsiteY975" fmla="*/ 525216 h 2117064"/>
                        <a:gd name="connsiteX976" fmla="*/ 567521 w 1263758"/>
                        <a:gd name="connsiteY976" fmla="*/ 523866 h 2117064"/>
                        <a:gd name="connsiteX977" fmla="*/ 564371 w 1263758"/>
                        <a:gd name="connsiteY977" fmla="*/ 522965 h 2117064"/>
                        <a:gd name="connsiteX978" fmla="*/ 560770 w 1263758"/>
                        <a:gd name="connsiteY978" fmla="*/ 522965 h 2117064"/>
                        <a:gd name="connsiteX979" fmla="*/ 558070 w 1263758"/>
                        <a:gd name="connsiteY979" fmla="*/ 524316 h 2117064"/>
                        <a:gd name="connsiteX980" fmla="*/ 548619 w 1263758"/>
                        <a:gd name="connsiteY980" fmla="*/ 530616 h 2117064"/>
                        <a:gd name="connsiteX981" fmla="*/ 544568 w 1263758"/>
                        <a:gd name="connsiteY981" fmla="*/ 535567 h 2117064"/>
                        <a:gd name="connsiteX982" fmla="*/ 543218 w 1263758"/>
                        <a:gd name="connsiteY982" fmla="*/ 536017 h 2117064"/>
                        <a:gd name="connsiteX983" fmla="*/ 538717 w 1263758"/>
                        <a:gd name="connsiteY983" fmla="*/ 528366 h 2117064"/>
                        <a:gd name="connsiteX984" fmla="*/ 531516 w 1263758"/>
                        <a:gd name="connsiteY984" fmla="*/ 524316 h 2117064"/>
                        <a:gd name="connsiteX985" fmla="*/ 529716 w 1263758"/>
                        <a:gd name="connsiteY985" fmla="*/ 521165 h 2117064"/>
                        <a:gd name="connsiteX986" fmla="*/ 531066 w 1263758"/>
                        <a:gd name="connsiteY986" fmla="*/ 508564 h 2117064"/>
                        <a:gd name="connsiteX987" fmla="*/ 533317 w 1263758"/>
                        <a:gd name="connsiteY987" fmla="*/ 505863 h 2117064"/>
                        <a:gd name="connsiteX988" fmla="*/ 538717 w 1263758"/>
                        <a:gd name="connsiteY988" fmla="*/ 503613 h 2117064"/>
                        <a:gd name="connsiteX989" fmla="*/ 555369 w 1263758"/>
                        <a:gd name="connsiteY989" fmla="*/ 491912 h 2117064"/>
                        <a:gd name="connsiteX990" fmla="*/ 556270 w 1263758"/>
                        <a:gd name="connsiteY990" fmla="*/ 489661 h 2117064"/>
                        <a:gd name="connsiteX991" fmla="*/ 557620 w 1263758"/>
                        <a:gd name="connsiteY991" fmla="*/ 483811 h 2117064"/>
                        <a:gd name="connsiteX992" fmla="*/ 554019 w 1263758"/>
                        <a:gd name="connsiteY992" fmla="*/ 485161 h 2117064"/>
                        <a:gd name="connsiteX993" fmla="*/ 545468 w 1263758"/>
                        <a:gd name="connsiteY993" fmla="*/ 491011 h 2117064"/>
                        <a:gd name="connsiteX994" fmla="*/ 538717 w 1263758"/>
                        <a:gd name="connsiteY994" fmla="*/ 493712 h 2117064"/>
                        <a:gd name="connsiteX995" fmla="*/ 533317 w 1263758"/>
                        <a:gd name="connsiteY995" fmla="*/ 493712 h 2117064"/>
                        <a:gd name="connsiteX996" fmla="*/ 529266 w 1263758"/>
                        <a:gd name="connsiteY996" fmla="*/ 492812 h 2117064"/>
                        <a:gd name="connsiteX997" fmla="*/ 526566 w 1263758"/>
                        <a:gd name="connsiteY997" fmla="*/ 491011 h 2117064"/>
                        <a:gd name="connsiteX998" fmla="*/ 523415 w 1263758"/>
                        <a:gd name="connsiteY998" fmla="*/ 487411 h 2117064"/>
                        <a:gd name="connsiteX999" fmla="*/ 513514 w 1263758"/>
                        <a:gd name="connsiteY999" fmla="*/ 470309 h 2117064"/>
                        <a:gd name="connsiteX1000" fmla="*/ 510814 w 1263758"/>
                        <a:gd name="connsiteY1000" fmla="*/ 461758 h 2117064"/>
                        <a:gd name="connsiteX1001" fmla="*/ 510364 w 1263758"/>
                        <a:gd name="connsiteY1001" fmla="*/ 454557 h 2117064"/>
                        <a:gd name="connsiteX1002" fmla="*/ 509464 w 1263758"/>
                        <a:gd name="connsiteY1002" fmla="*/ 448706 h 2117064"/>
                        <a:gd name="connsiteX1003" fmla="*/ 506763 w 1263758"/>
                        <a:gd name="connsiteY1003" fmla="*/ 434754 h 2117064"/>
                        <a:gd name="connsiteX1004" fmla="*/ 527916 w 1263758"/>
                        <a:gd name="connsiteY1004" fmla="*/ 443305 h 2117064"/>
                        <a:gd name="connsiteX1005" fmla="*/ 536017 w 1263758"/>
                        <a:gd name="connsiteY1005" fmla="*/ 445106 h 2117064"/>
                        <a:gd name="connsiteX1006" fmla="*/ 551769 w 1263758"/>
                        <a:gd name="connsiteY1006" fmla="*/ 445556 h 2117064"/>
                        <a:gd name="connsiteX1007" fmla="*/ 552669 w 1263758"/>
                        <a:gd name="connsiteY1007" fmla="*/ 444656 h 2117064"/>
                        <a:gd name="connsiteX1008" fmla="*/ 553119 w 1263758"/>
                        <a:gd name="connsiteY1008" fmla="*/ 442405 h 2117064"/>
                        <a:gd name="connsiteX1009" fmla="*/ 552669 w 1263758"/>
                        <a:gd name="connsiteY1009" fmla="*/ 438805 h 2117064"/>
                        <a:gd name="connsiteX1010" fmla="*/ 552669 w 1263758"/>
                        <a:gd name="connsiteY1010" fmla="*/ 436105 h 2117064"/>
                        <a:gd name="connsiteX1011" fmla="*/ 553119 w 1263758"/>
                        <a:gd name="connsiteY1011" fmla="*/ 434304 h 2117064"/>
                        <a:gd name="connsiteX1012" fmla="*/ 558970 w 1263758"/>
                        <a:gd name="connsiteY1012" fmla="*/ 429354 h 2117064"/>
                        <a:gd name="connsiteX1013" fmla="*/ 559870 w 1263758"/>
                        <a:gd name="connsiteY1013" fmla="*/ 427554 h 2117064"/>
                        <a:gd name="connsiteX1014" fmla="*/ 553119 w 1263758"/>
                        <a:gd name="connsiteY1014" fmla="*/ 426653 h 2117064"/>
                        <a:gd name="connsiteX1015" fmla="*/ 540518 w 1263758"/>
                        <a:gd name="connsiteY1015" fmla="*/ 435204 h 2117064"/>
                        <a:gd name="connsiteX1016" fmla="*/ 536017 w 1263758"/>
                        <a:gd name="connsiteY1016" fmla="*/ 435204 h 2117064"/>
                        <a:gd name="connsiteX1017" fmla="*/ 531066 w 1263758"/>
                        <a:gd name="connsiteY1017" fmla="*/ 423503 h 2117064"/>
                        <a:gd name="connsiteX1018" fmla="*/ 525666 w 1263758"/>
                        <a:gd name="connsiteY1018" fmla="*/ 425753 h 2117064"/>
                        <a:gd name="connsiteX1019" fmla="*/ 522965 w 1263758"/>
                        <a:gd name="connsiteY1019" fmla="*/ 424853 h 2117064"/>
                        <a:gd name="connsiteX1020" fmla="*/ 518915 w 1263758"/>
                        <a:gd name="connsiteY1020" fmla="*/ 421703 h 2117064"/>
                        <a:gd name="connsiteX1021" fmla="*/ 517115 w 1263758"/>
                        <a:gd name="connsiteY1021" fmla="*/ 419002 h 2117064"/>
                        <a:gd name="connsiteX1022" fmla="*/ 515765 w 1263758"/>
                        <a:gd name="connsiteY1022" fmla="*/ 415852 h 2117064"/>
                        <a:gd name="connsiteX1023" fmla="*/ 515314 w 1263758"/>
                        <a:gd name="connsiteY1023" fmla="*/ 413152 h 2117064"/>
                        <a:gd name="connsiteX1024" fmla="*/ 515314 w 1263758"/>
                        <a:gd name="connsiteY1024" fmla="*/ 410901 h 2117064"/>
                        <a:gd name="connsiteX1025" fmla="*/ 516214 w 1263758"/>
                        <a:gd name="connsiteY1025" fmla="*/ 408201 h 2117064"/>
                        <a:gd name="connsiteX1026" fmla="*/ 520715 w 1263758"/>
                        <a:gd name="connsiteY1026" fmla="*/ 404601 h 2117064"/>
                        <a:gd name="connsiteX1027" fmla="*/ 522965 w 1263758"/>
                        <a:gd name="connsiteY1027" fmla="*/ 404151 h 2117064"/>
                        <a:gd name="connsiteX1028" fmla="*/ 528366 w 1263758"/>
                        <a:gd name="connsiteY1028" fmla="*/ 406401 h 2117064"/>
                        <a:gd name="connsiteX1029" fmla="*/ 532417 w 1263758"/>
                        <a:gd name="connsiteY1029" fmla="*/ 406401 h 2117064"/>
                        <a:gd name="connsiteX1030" fmla="*/ 531066 w 1263758"/>
                        <a:gd name="connsiteY1030" fmla="*/ 402800 h 2117064"/>
                        <a:gd name="connsiteX1031" fmla="*/ 524766 w 1263758"/>
                        <a:gd name="connsiteY1031" fmla="*/ 393349 h 2117064"/>
                        <a:gd name="connsiteX1032" fmla="*/ 519365 w 1263758"/>
                        <a:gd name="connsiteY1032" fmla="*/ 382548 h 2117064"/>
                        <a:gd name="connsiteX1033" fmla="*/ 519815 w 1263758"/>
                        <a:gd name="connsiteY1033" fmla="*/ 364546 h 2117064"/>
                        <a:gd name="connsiteX1034" fmla="*/ 524316 w 1263758"/>
                        <a:gd name="connsiteY1034" fmla="*/ 360495 h 2117064"/>
                        <a:gd name="connsiteX1035" fmla="*/ 528816 w 1263758"/>
                        <a:gd name="connsiteY1035" fmla="*/ 360045 h 2117064"/>
                        <a:gd name="connsiteX1036" fmla="*/ 533317 w 1263758"/>
                        <a:gd name="connsiteY1036" fmla="*/ 364546 h 2117064"/>
                        <a:gd name="connsiteX1037" fmla="*/ 539167 w 1263758"/>
                        <a:gd name="connsiteY1037" fmla="*/ 364996 h 2117064"/>
                        <a:gd name="connsiteX1038" fmla="*/ 543218 w 1263758"/>
                        <a:gd name="connsiteY1038" fmla="*/ 369946 h 2117064"/>
                        <a:gd name="connsiteX1039" fmla="*/ 545918 w 1263758"/>
                        <a:gd name="connsiteY1039" fmla="*/ 379848 h 2117064"/>
                        <a:gd name="connsiteX1040" fmla="*/ 549069 w 1263758"/>
                        <a:gd name="connsiteY1040" fmla="*/ 379848 h 2117064"/>
                        <a:gd name="connsiteX1041" fmla="*/ 554469 w 1263758"/>
                        <a:gd name="connsiteY1041" fmla="*/ 381648 h 2117064"/>
                        <a:gd name="connsiteX1042" fmla="*/ 566171 w 1263758"/>
                        <a:gd name="connsiteY1042" fmla="*/ 381648 h 2117064"/>
                        <a:gd name="connsiteX1043" fmla="*/ 563920 w 1263758"/>
                        <a:gd name="connsiteY1043" fmla="*/ 378047 h 2117064"/>
                        <a:gd name="connsiteX1044" fmla="*/ 560320 w 1263758"/>
                        <a:gd name="connsiteY1044" fmla="*/ 374897 h 2117064"/>
                        <a:gd name="connsiteX1045" fmla="*/ 551769 w 1263758"/>
                        <a:gd name="connsiteY1045" fmla="*/ 370846 h 2117064"/>
                        <a:gd name="connsiteX1046" fmla="*/ 547718 w 1263758"/>
                        <a:gd name="connsiteY1046" fmla="*/ 356445 h 2117064"/>
                        <a:gd name="connsiteX1047" fmla="*/ 539167 w 1263758"/>
                        <a:gd name="connsiteY1047" fmla="*/ 348794 h 2117064"/>
                        <a:gd name="connsiteX1048" fmla="*/ 532417 w 1263758"/>
                        <a:gd name="connsiteY1048" fmla="*/ 344743 h 2117064"/>
                        <a:gd name="connsiteX1049" fmla="*/ 532417 w 1263758"/>
                        <a:gd name="connsiteY1049" fmla="*/ 341593 h 2117064"/>
                        <a:gd name="connsiteX1050" fmla="*/ 537367 w 1263758"/>
                        <a:gd name="connsiteY1050" fmla="*/ 323140 h 2117064"/>
                        <a:gd name="connsiteX1051" fmla="*/ 543668 w 1263758"/>
                        <a:gd name="connsiteY1051" fmla="*/ 316390 h 2117064"/>
                        <a:gd name="connsiteX1052" fmla="*/ 553569 w 1263758"/>
                        <a:gd name="connsiteY1052" fmla="*/ 319090 h 2117064"/>
                        <a:gd name="connsiteX1053" fmla="*/ 559870 w 1263758"/>
                        <a:gd name="connsiteY1053" fmla="*/ 315489 h 2117064"/>
                        <a:gd name="connsiteX1054" fmla="*/ 567971 w 1263758"/>
                        <a:gd name="connsiteY1054" fmla="*/ 308739 h 2117064"/>
                        <a:gd name="connsiteX1055" fmla="*/ 576072 w 1263758"/>
                        <a:gd name="connsiteY1055" fmla="*/ 311889 h 2117064"/>
                        <a:gd name="connsiteX1056" fmla="*/ 578322 w 1263758"/>
                        <a:gd name="connsiteY1056" fmla="*/ 311439 h 2117064"/>
                        <a:gd name="connsiteX1057" fmla="*/ 579672 w 1263758"/>
                        <a:gd name="connsiteY1057" fmla="*/ 309189 h 2117064"/>
                        <a:gd name="connsiteX1058" fmla="*/ 580573 w 1263758"/>
                        <a:gd name="connsiteY1058" fmla="*/ 305138 h 2117064"/>
                        <a:gd name="connsiteX1059" fmla="*/ 580573 w 1263758"/>
                        <a:gd name="connsiteY1059" fmla="*/ 301538 h 2117064"/>
                        <a:gd name="connsiteX1060" fmla="*/ 579672 w 1263758"/>
                        <a:gd name="connsiteY1060" fmla="*/ 298387 h 2117064"/>
                        <a:gd name="connsiteX1061" fmla="*/ 576972 w 1263758"/>
                        <a:gd name="connsiteY1061" fmla="*/ 294337 h 2117064"/>
                        <a:gd name="connsiteX1062" fmla="*/ 566621 w 1263758"/>
                        <a:gd name="connsiteY1062" fmla="*/ 293887 h 2117064"/>
                        <a:gd name="connsiteX1063" fmla="*/ 562120 w 1263758"/>
                        <a:gd name="connsiteY1063" fmla="*/ 292087 h 2117064"/>
                        <a:gd name="connsiteX1064" fmla="*/ 560320 w 1263758"/>
                        <a:gd name="connsiteY1064" fmla="*/ 289836 h 2117064"/>
                        <a:gd name="connsiteX1065" fmla="*/ 559870 w 1263758"/>
                        <a:gd name="connsiteY1065" fmla="*/ 286686 h 2117064"/>
                        <a:gd name="connsiteX1066" fmla="*/ 559420 w 1263758"/>
                        <a:gd name="connsiteY1066" fmla="*/ 283085 h 2117064"/>
                        <a:gd name="connsiteX1067" fmla="*/ 559420 w 1263758"/>
                        <a:gd name="connsiteY1067" fmla="*/ 279485 h 2117064"/>
                        <a:gd name="connsiteX1068" fmla="*/ 559870 w 1263758"/>
                        <a:gd name="connsiteY1068" fmla="*/ 277235 h 2117064"/>
                        <a:gd name="connsiteX1069" fmla="*/ 560770 w 1263758"/>
                        <a:gd name="connsiteY1069" fmla="*/ 275885 h 2117064"/>
                        <a:gd name="connsiteX1070" fmla="*/ 563470 w 1263758"/>
                        <a:gd name="connsiteY1070" fmla="*/ 274534 h 2117064"/>
                        <a:gd name="connsiteX1071" fmla="*/ 572922 w 1263758"/>
                        <a:gd name="connsiteY1071" fmla="*/ 274534 h 2117064"/>
                        <a:gd name="connsiteX1072" fmla="*/ 578772 w 1263758"/>
                        <a:gd name="connsiteY1072" fmla="*/ 272734 h 2117064"/>
                        <a:gd name="connsiteX1073" fmla="*/ 585073 w 1263758"/>
                        <a:gd name="connsiteY1073" fmla="*/ 275434 h 2117064"/>
                        <a:gd name="connsiteX1074" fmla="*/ 598125 w 1263758"/>
                        <a:gd name="connsiteY1074" fmla="*/ 284886 h 2117064"/>
                        <a:gd name="connsiteX1075" fmla="*/ 602175 w 1263758"/>
                        <a:gd name="connsiteY1075" fmla="*/ 289836 h 2117064"/>
                        <a:gd name="connsiteX1076" fmla="*/ 606676 w 1263758"/>
                        <a:gd name="connsiteY1076" fmla="*/ 297937 h 2117064"/>
                        <a:gd name="connsiteX1077" fmla="*/ 614327 w 1263758"/>
                        <a:gd name="connsiteY1077" fmla="*/ 305138 h 2117064"/>
                        <a:gd name="connsiteX1078" fmla="*/ 468059 w 1263758"/>
                        <a:gd name="connsiteY1078" fmla="*/ 454107 h 2117064"/>
                        <a:gd name="connsiteX1079" fmla="*/ 468509 w 1263758"/>
                        <a:gd name="connsiteY1079" fmla="*/ 469859 h 2117064"/>
                        <a:gd name="connsiteX1080" fmla="*/ 468059 w 1263758"/>
                        <a:gd name="connsiteY1080" fmla="*/ 477510 h 2117064"/>
                        <a:gd name="connsiteX1081" fmla="*/ 467158 w 1263758"/>
                        <a:gd name="connsiteY1081" fmla="*/ 483360 h 2117064"/>
                        <a:gd name="connsiteX1082" fmla="*/ 466258 w 1263758"/>
                        <a:gd name="connsiteY1082" fmla="*/ 484711 h 2117064"/>
                        <a:gd name="connsiteX1083" fmla="*/ 464908 w 1263758"/>
                        <a:gd name="connsiteY1083" fmla="*/ 484711 h 2117064"/>
                        <a:gd name="connsiteX1084" fmla="*/ 459057 w 1263758"/>
                        <a:gd name="connsiteY1084" fmla="*/ 480210 h 2117064"/>
                        <a:gd name="connsiteX1085" fmla="*/ 457257 w 1263758"/>
                        <a:gd name="connsiteY1085" fmla="*/ 477510 h 2117064"/>
                        <a:gd name="connsiteX1086" fmla="*/ 457257 w 1263758"/>
                        <a:gd name="connsiteY1086" fmla="*/ 475260 h 2117064"/>
                        <a:gd name="connsiteX1087" fmla="*/ 456807 w 1263758"/>
                        <a:gd name="connsiteY1087" fmla="*/ 470759 h 2117064"/>
                        <a:gd name="connsiteX1088" fmla="*/ 452757 w 1263758"/>
                        <a:gd name="connsiteY1088" fmla="*/ 464908 h 2117064"/>
                        <a:gd name="connsiteX1089" fmla="*/ 445556 w 1263758"/>
                        <a:gd name="connsiteY1089" fmla="*/ 465808 h 2117064"/>
                        <a:gd name="connsiteX1090" fmla="*/ 442405 w 1263758"/>
                        <a:gd name="connsiteY1090" fmla="*/ 465358 h 2117064"/>
                        <a:gd name="connsiteX1091" fmla="*/ 441055 w 1263758"/>
                        <a:gd name="connsiteY1091" fmla="*/ 463558 h 2117064"/>
                        <a:gd name="connsiteX1092" fmla="*/ 440155 w 1263758"/>
                        <a:gd name="connsiteY1092" fmla="*/ 461308 h 2117064"/>
                        <a:gd name="connsiteX1093" fmla="*/ 439255 w 1263758"/>
                        <a:gd name="connsiteY1093" fmla="*/ 451407 h 2117064"/>
                        <a:gd name="connsiteX1094" fmla="*/ 439255 w 1263758"/>
                        <a:gd name="connsiteY1094" fmla="*/ 447806 h 2117064"/>
                        <a:gd name="connsiteX1095" fmla="*/ 440155 w 1263758"/>
                        <a:gd name="connsiteY1095" fmla="*/ 441505 h 2117064"/>
                        <a:gd name="connsiteX1096" fmla="*/ 440605 w 1263758"/>
                        <a:gd name="connsiteY1096" fmla="*/ 440155 h 2117064"/>
                        <a:gd name="connsiteX1097" fmla="*/ 446006 w 1263758"/>
                        <a:gd name="connsiteY1097" fmla="*/ 434304 h 2117064"/>
                        <a:gd name="connsiteX1098" fmla="*/ 447356 w 1263758"/>
                        <a:gd name="connsiteY1098" fmla="*/ 433854 h 2117064"/>
                        <a:gd name="connsiteX1099" fmla="*/ 453657 w 1263758"/>
                        <a:gd name="connsiteY1099" fmla="*/ 436105 h 2117064"/>
                        <a:gd name="connsiteX1100" fmla="*/ 459507 w 1263758"/>
                        <a:gd name="connsiteY1100" fmla="*/ 436555 h 2117064"/>
                        <a:gd name="connsiteX1101" fmla="*/ 462208 w 1263758"/>
                        <a:gd name="connsiteY1101" fmla="*/ 438355 h 2117064"/>
                        <a:gd name="connsiteX1102" fmla="*/ 464908 w 1263758"/>
                        <a:gd name="connsiteY1102" fmla="*/ 441955 h 2117064"/>
                        <a:gd name="connsiteX1103" fmla="*/ 466258 w 1263758"/>
                        <a:gd name="connsiteY1103" fmla="*/ 447356 h 2117064"/>
                        <a:gd name="connsiteX1104" fmla="*/ 468059 w 1263758"/>
                        <a:gd name="connsiteY1104" fmla="*/ 454107 h 2117064"/>
                        <a:gd name="connsiteX1105" fmla="*/ 369946 w 1263758"/>
                        <a:gd name="connsiteY1105" fmla="*/ 532867 h 2117064"/>
                        <a:gd name="connsiteX1106" fmla="*/ 374897 w 1263758"/>
                        <a:gd name="connsiteY1106" fmla="*/ 535117 h 2117064"/>
                        <a:gd name="connsiteX1107" fmla="*/ 380748 w 1263758"/>
                        <a:gd name="connsiteY1107" fmla="*/ 542318 h 2117064"/>
                        <a:gd name="connsiteX1108" fmla="*/ 386148 w 1263758"/>
                        <a:gd name="connsiteY1108" fmla="*/ 557620 h 2117064"/>
                        <a:gd name="connsiteX1109" fmla="*/ 386598 w 1263758"/>
                        <a:gd name="connsiteY1109" fmla="*/ 559420 h 2117064"/>
                        <a:gd name="connsiteX1110" fmla="*/ 386598 w 1263758"/>
                        <a:gd name="connsiteY1110" fmla="*/ 562120 h 2117064"/>
                        <a:gd name="connsiteX1111" fmla="*/ 386148 w 1263758"/>
                        <a:gd name="connsiteY1111" fmla="*/ 565271 h 2117064"/>
                        <a:gd name="connsiteX1112" fmla="*/ 385248 w 1263758"/>
                        <a:gd name="connsiteY1112" fmla="*/ 569321 h 2117064"/>
                        <a:gd name="connsiteX1113" fmla="*/ 384348 w 1263758"/>
                        <a:gd name="connsiteY1113" fmla="*/ 571572 h 2117064"/>
                        <a:gd name="connsiteX1114" fmla="*/ 387048 w 1263758"/>
                        <a:gd name="connsiteY1114" fmla="*/ 574272 h 2117064"/>
                        <a:gd name="connsiteX1115" fmla="*/ 387498 w 1263758"/>
                        <a:gd name="connsiteY1115" fmla="*/ 575622 h 2117064"/>
                        <a:gd name="connsiteX1116" fmla="*/ 387048 w 1263758"/>
                        <a:gd name="connsiteY1116" fmla="*/ 578772 h 2117064"/>
                        <a:gd name="connsiteX1117" fmla="*/ 387498 w 1263758"/>
                        <a:gd name="connsiteY1117" fmla="*/ 581023 h 2117064"/>
                        <a:gd name="connsiteX1118" fmla="*/ 389299 w 1263758"/>
                        <a:gd name="connsiteY1118" fmla="*/ 578772 h 2117064"/>
                        <a:gd name="connsiteX1119" fmla="*/ 390649 w 1263758"/>
                        <a:gd name="connsiteY1119" fmla="*/ 575172 h 2117064"/>
                        <a:gd name="connsiteX1120" fmla="*/ 391099 w 1263758"/>
                        <a:gd name="connsiteY1120" fmla="*/ 572922 h 2117064"/>
                        <a:gd name="connsiteX1121" fmla="*/ 391549 w 1263758"/>
                        <a:gd name="connsiteY1121" fmla="*/ 566621 h 2117064"/>
                        <a:gd name="connsiteX1122" fmla="*/ 396050 w 1263758"/>
                        <a:gd name="connsiteY1122" fmla="*/ 563471 h 2117064"/>
                        <a:gd name="connsiteX1123" fmla="*/ 400550 w 1263758"/>
                        <a:gd name="connsiteY1123" fmla="*/ 558970 h 2117064"/>
                        <a:gd name="connsiteX1124" fmla="*/ 402800 w 1263758"/>
                        <a:gd name="connsiteY1124" fmla="*/ 558070 h 2117064"/>
                        <a:gd name="connsiteX1125" fmla="*/ 406401 w 1263758"/>
                        <a:gd name="connsiteY1125" fmla="*/ 558970 h 2117064"/>
                        <a:gd name="connsiteX1126" fmla="*/ 414952 w 1263758"/>
                        <a:gd name="connsiteY1126" fmla="*/ 569771 h 2117064"/>
                        <a:gd name="connsiteX1127" fmla="*/ 418102 w 1263758"/>
                        <a:gd name="connsiteY1127" fmla="*/ 570671 h 2117064"/>
                        <a:gd name="connsiteX1128" fmla="*/ 419452 w 1263758"/>
                        <a:gd name="connsiteY1128" fmla="*/ 572022 h 2117064"/>
                        <a:gd name="connsiteX1129" fmla="*/ 420353 w 1263758"/>
                        <a:gd name="connsiteY1129" fmla="*/ 574722 h 2117064"/>
                        <a:gd name="connsiteX1130" fmla="*/ 420353 w 1263758"/>
                        <a:gd name="connsiteY1130" fmla="*/ 577422 h 2117064"/>
                        <a:gd name="connsiteX1131" fmla="*/ 418552 w 1263758"/>
                        <a:gd name="connsiteY1131" fmla="*/ 583723 h 2117064"/>
                        <a:gd name="connsiteX1132" fmla="*/ 418102 w 1263758"/>
                        <a:gd name="connsiteY1132" fmla="*/ 587324 h 2117064"/>
                        <a:gd name="connsiteX1133" fmla="*/ 418552 w 1263758"/>
                        <a:gd name="connsiteY1133" fmla="*/ 589574 h 2117064"/>
                        <a:gd name="connsiteX1134" fmla="*/ 423053 w 1263758"/>
                        <a:gd name="connsiteY1134" fmla="*/ 591824 h 2117064"/>
                        <a:gd name="connsiteX1135" fmla="*/ 433404 w 1263758"/>
                        <a:gd name="connsiteY1135" fmla="*/ 587774 h 2117064"/>
                        <a:gd name="connsiteX1136" fmla="*/ 442405 w 1263758"/>
                        <a:gd name="connsiteY1136" fmla="*/ 597675 h 2117064"/>
                        <a:gd name="connsiteX1137" fmla="*/ 447356 w 1263758"/>
                        <a:gd name="connsiteY1137" fmla="*/ 609376 h 2117064"/>
                        <a:gd name="connsiteX1138" fmla="*/ 450956 w 1263758"/>
                        <a:gd name="connsiteY1138" fmla="*/ 613427 h 2117064"/>
                        <a:gd name="connsiteX1139" fmla="*/ 451406 w 1263758"/>
                        <a:gd name="connsiteY1139" fmla="*/ 615677 h 2117064"/>
                        <a:gd name="connsiteX1140" fmla="*/ 450506 w 1263758"/>
                        <a:gd name="connsiteY1140" fmla="*/ 617477 h 2117064"/>
                        <a:gd name="connsiteX1141" fmla="*/ 449606 w 1263758"/>
                        <a:gd name="connsiteY1141" fmla="*/ 622878 h 2117064"/>
                        <a:gd name="connsiteX1142" fmla="*/ 446456 w 1263758"/>
                        <a:gd name="connsiteY1142" fmla="*/ 626928 h 2117064"/>
                        <a:gd name="connsiteX1143" fmla="*/ 446006 w 1263758"/>
                        <a:gd name="connsiteY1143" fmla="*/ 628729 h 2117064"/>
                        <a:gd name="connsiteX1144" fmla="*/ 447356 w 1263758"/>
                        <a:gd name="connsiteY1144" fmla="*/ 633679 h 2117064"/>
                        <a:gd name="connsiteX1145" fmla="*/ 447356 w 1263758"/>
                        <a:gd name="connsiteY1145" fmla="*/ 636830 h 2117064"/>
                        <a:gd name="connsiteX1146" fmla="*/ 447356 w 1263758"/>
                        <a:gd name="connsiteY1146" fmla="*/ 640880 h 2117064"/>
                        <a:gd name="connsiteX1147" fmla="*/ 447806 w 1263758"/>
                        <a:gd name="connsiteY1147" fmla="*/ 643130 h 2117064"/>
                        <a:gd name="connsiteX1148" fmla="*/ 451856 w 1263758"/>
                        <a:gd name="connsiteY1148" fmla="*/ 645381 h 2117064"/>
                        <a:gd name="connsiteX1149" fmla="*/ 460858 w 1263758"/>
                        <a:gd name="connsiteY1149" fmla="*/ 662033 h 2117064"/>
                        <a:gd name="connsiteX1150" fmla="*/ 462658 w 1263758"/>
                        <a:gd name="connsiteY1150" fmla="*/ 666533 h 2117064"/>
                        <a:gd name="connsiteX1151" fmla="*/ 463558 w 1263758"/>
                        <a:gd name="connsiteY1151" fmla="*/ 672384 h 2117064"/>
                        <a:gd name="connsiteX1152" fmla="*/ 463558 w 1263758"/>
                        <a:gd name="connsiteY1152" fmla="*/ 674184 h 2117064"/>
                        <a:gd name="connsiteX1153" fmla="*/ 462208 w 1263758"/>
                        <a:gd name="connsiteY1153" fmla="*/ 677335 h 2117064"/>
                        <a:gd name="connsiteX1154" fmla="*/ 460858 w 1263758"/>
                        <a:gd name="connsiteY1154" fmla="*/ 686336 h 2117064"/>
                        <a:gd name="connsiteX1155" fmla="*/ 459957 w 1263758"/>
                        <a:gd name="connsiteY1155" fmla="*/ 688586 h 2117064"/>
                        <a:gd name="connsiteX1156" fmla="*/ 456357 w 1263758"/>
                        <a:gd name="connsiteY1156" fmla="*/ 690386 h 2117064"/>
                        <a:gd name="connsiteX1157" fmla="*/ 449606 w 1263758"/>
                        <a:gd name="connsiteY1157" fmla="*/ 691737 h 2117064"/>
                        <a:gd name="connsiteX1158" fmla="*/ 443305 w 1263758"/>
                        <a:gd name="connsiteY1158" fmla="*/ 694887 h 2117064"/>
                        <a:gd name="connsiteX1159" fmla="*/ 436555 w 1263758"/>
                        <a:gd name="connsiteY1159" fmla="*/ 690836 h 2117064"/>
                        <a:gd name="connsiteX1160" fmla="*/ 429804 w 1263758"/>
                        <a:gd name="connsiteY1160" fmla="*/ 684986 h 2117064"/>
                        <a:gd name="connsiteX1161" fmla="*/ 428004 w 1263758"/>
                        <a:gd name="connsiteY1161" fmla="*/ 680935 h 2117064"/>
                        <a:gd name="connsiteX1162" fmla="*/ 426203 w 1263758"/>
                        <a:gd name="connsiteY1162" fmla="*/ 675985 h 2117064"/>
                        <a:gd name="connsiteX1163" fmla="*/ 425753 w 1263758"/>
                        <a:gd name="connsiteY1163" fmla="*/ 674184 h 2117064"/>
                        <a:gd name="connsiteX1164" fmla="*/ 425303 w 1263758"/>
                        <a:gd name="connsiteY1164" fmla="*/ 666533 h 2117064"/>
                        <a:gd name="connsiteX1165" fmla="*/ 424853 w 1263758"/>
                        <a:gd name="connsiteY1165" fmla="*/ 664733 h 2117064"/>
                        <a:gd name="connsiteX1166" fmla="*/ 422153 w 1263758"/>
                        <a:gd name="connsiteY1166" fmla="*/ 660233 h 2117064"/>
                        <a:gd name="connsiteX1167" fmla="*/ 419902 w 1263758"/>
                        <a:gd name="connsiteY1167" fmla="*/ 653482 h 2117064"/>
                        <a:gd name="connsiteX1168" fmla="*/ 414952 w 1263758"/>
                        <a:gd name="connsiteY1168" fmla="*/ 653032 h 2117064"/>
                        <a:gd name="connsiteX1169" fmla="*/ 403700 w 1263758"/>
                        <a:gd name="connsiteY1169" fmla="*/ 646281 h 2117064"/>
                        <a:gd name="connsiteX1170" fmla="*/ 398750 w 1263758"/>
                        <a:gd name="connsiteY1170" fmla="*/ 644481 h 2117064"/>
                        <a:gd name="connsiteX1171" fmla="*/ 393799 w 1263758"/>
                        <a:gd name="connsiteY1171" fmla="*/ 644931 h 2117064"/>
                        <a:gd name="connsiteX1172" fmla="*/ 387048 w 1263758"/>
                        <a:gd name="connsiteY1172" fmla="*/ 647631 h 2117064"/>
                        <a:gd name="connsiteX1173" fmla="*/ 385698 w 1263758"/>
                        <a:gd name="connsiteY1173" fmla="*/ 646731 h 2117064"/>
                        <a:gd name="connsiteX1174" fmla="*/ 384348 w 1263758"/>
                        <a:gd name="connsiteY1174" fmla="*/ 644931 h 2117064"/>
                        <a:gd name="connsiteX1175" fmla="*/ 383448 w 1263758"/>
                        <a:gd name="connsiteY1175" fmla="*/ 641780 h 2117064"/>
                        <a:gd name="connsiteX1176" fmla="*/ 382998 w 1263758"/>
                        <a:gd name="connsiteY1176" fmla="*/ 639530 h 2117064"/>
                        <a:gd name="connsiteX1177" fmla="*/ 384348 w 1263758"/>
                        <a:gd name="connsiteY1177" fmla="*/ 635030 h 2117064"/>
                        <a:gd name="connsiteX1178" fmla="*/ 364095 w 1263758"/>
                        <a:gd name="connsiteY1178" fmla="*/ 640430 h 2117064"/>
                        <a:gd name="connsiteX1179" fmla="*/ 358245 w 1263758"/>
                        <a:gd name="connsiteY1179" fmla="*/ 646731 h 2117064"/>
                        <a:gd name="connsiteX1180" fmla="*/ 350144 w 1263758"/>
                        <a:gd name="connsiteY1180" fmla="*/ 645831 h 2117064"/>
                        <a:gd name="connsiteX1181" fmla="*/ 346093 w 1263758"/>
                        <a:gd name="connsiteY1181" fmla="*/ 643130 h 2117064"/>
                        <a:gd name="connsiteX1182" fmla="*/ 340693 w 1263758"/>
                        <a:gd name="connsiteY1182" fmla="*/ 637280 h 2117064"/>
                        <a:gd name="connsiteX1183" fmla="*/ 338442 w 1263758"/>
                        <a:gd name="connsiteY1183" fmla="*/ 631879 h 2117064"/>
                        <a:gd name="connsiteX1184" fmla="*/ 336192 w 1263758"/>
                        <a:gd name="connsiteY1184" fmla="*/ 624678 h 2117064"/>
                        <a:gd name="connsiteX1185" fmla="*/ 336192 w 1263758"/>
                        <a:gd name="connsiteY1185" fmla="*/ 619278 h 2117064"/>
                        <a:gd name="connsiteX1186" fmla="*/ 337992 w 1263758"/>
                        <a:gd name="connsiteY1186" fmla="*/ 615677 h 2117064"/>
                        <a:gd name="connsiteX1187" fmla="*/ 339792 w 1263758"/>
                        <a:gd name="connsiteY1187" fmla="*/ 613427 h 2117064"/>
                        <a:gd name="connsiteX1188" fmla="*/ 341593 w 1263758"/>
                        <a:gd name="connsiteY1188" fmla="*/ 612527 h 2117064"/>
                        <a:gd name="connsiteX1189" fmla="*/ 352394 w 1263758"/>
                        <a:gd name="connsiteY1189" fmla="*/ 616577 h 2117064"/>
                        <a:gd name="connsiteX1190" fmla="*/ 361845 w 1263758"/>
                        <a:gd name="connsiteY1190" fmla="*/ 618827 h 2117064"/>
                        <a:gd name="connsiteX1191" fmla="*/ 365896 w 1263758"/>
                        <a:gd name="connsiteY1191" fmla="*/ 616577 h 2117064"/>
                        <a:gd name="connsiteX1192" fmla="*/ 367696 w 1263758"/>
                        <a:gd name="connsiteY1192" fmla="*/ 610726 h 2117064"/>
                        <a:gd name="connsiteX1193" fmla="*/ 365446 w 1263758"/>
                        <a:gd name="connsiteY1193" fmla="*/ 607576 h 2117064"/>
                        <a:gd name="connsiteX1194" fmla="*/ 356444 w 1263758"/>
                        <a:gd name="connsiteY1194" fmla="*/ 606226 h 2117064"/>
                        <a:gd name="connsiteX1195" fmla="*/ 358245 w 1263758"/>
                        <a:gd name="connsiteY1195" fmla="*/ 603075 h 2117064"/>
                        <a:gd name="connsiteX1196" fmla="*/ 365896 w 1263758"/>
                        <a:gd name="connsiteY1196" fmla="*/ 599925 h 2117064"/>
                        <a:gd name="connsiteX1197" fmla="*/ 369946 w 1263758"/>
                        <a:gd name="connsiteY1197" fmla="*/ 594974 h 2117064"/>
                        <a:gd name="connsiteX1198" fmla="*/ 369046 w 1263758"/>
                        <a:gd name="connsiteY1198" fmla="*/ 593174 h 2117064"/>
                        <a:gd name="connsiteX1199" fmla="*/ 366796 w 1263758"/>
                        <a:gd name="connsiteY1199" fmla="*/ 591374 h 2117064"/>
                        <a:gd name="connsiteX1200" fmla="*/ 356444 w 1263758"/>
                        <a:gd name="connsiteY1200" fmla="*/ 591824 h 2117064"/>
                        <a:gd name="connsiteX1201" fmla="*/ 352844 w 1263758"/>
                        <a:gd name="connsiteY1201" fmla="*/ 590024 h 2117064"/>
                        <a:gd name="connsiteX1202" fmla="*/ 352844 w 1263758"/>
                        <a:gd name="connsiteY1202" fmla="*/ 588674 h 2117064"/>
                        <a:gd name="connsiteX1203" fmla="*/ 353744 w 1263758"/>
                        <a:gd name="connsiteY1203" fmla="*/ 586873 h 2117064"/>
                        <a:gd name="connsiteX1204" fmla="*/ 359595 w 1263758"/>
                        <a:gd name="connsiteY1204" fmla="*/ 576972 h 2117064"/>
                        <a:gd name="connsiteX1205" fmla="*/ 359145 w 1263758"/>
                        <a:gd name="connsiteY1205" fmla="*/ 575172 h 2117064"/>
                        <a:gd name="connsiteX1206" fmla="*/ 356444 w 1263758"/>
                        <a:gd name="connsiteY1206" fmla="*/ 572022 h 2117064"/>
                        <a:gd name="connsiteX1207" fmla="*/ 354194 w 1263758"/>
                        <a:gd name="connsiteY1207" fmla="*/ 567971 h 2117064"/>
                        <a:gd name="connsiteX1208" fmla="*/ 353294 w 1263758"/>
                        <a:gd name="connsiteY1208" fmla="*/ 567521 h 2117064"/>
                        <a:gd name="connsiteX1209" fmla="*/ 348344 w 1263758"/>
                        <a:gd name="connsiteY1209" fmla="*/ 571121 h 2117064"/>
                        <a:gd name="connsiteX1210" fmla="*/ 341143 w 1263758"/>
                        <a:gd name="connsiteY1210" fmla="*/ 585523 h 2117064"/>
                        <a:gd name="connsiteX1211" fmla="*/ 339342 w 1263758"/>
                        <a:gd name="connsiteY1211" fmla="*/ 587774 h 2117064"/>
                        <a:gd name="connsiteX1212" fmla="*/ 337542 w 1263758"/>
                        <a:gd name="connsiteY1212" fmla="*/ 587774 h 2117064"/>
                        <a:gd name="connsiteX1213" fmla="*/ 335742 w 1263758"/>
                        <a:gd name="connsiteY1213" fmla="*/ 585523 h 2117064"/>
                        <a:gd name="connsiteX1214" fmla="*/ 335742 w 1263758"/>
                        <a:gd name="connsiteY1214" fmla="*/ 582373 h 2117064"/>
                        <a:gd name="connsiteX1215" fmla="*/ 337542 w 1263758"/>
                        <a:gd name="connsiteY1215" fmla="*/ 578772 h 2117064"/>
                        <a:gd name="connsiteX1216" fmla="*/ 340693 w 1263758"/>
                        <a:gd name="connsiteY1216" fmla="*/ 567521 h 2117064"/>
                        <a:gd name="connsiteX1217" fmla="*/ 340243 w 1263758"/>
                        <a:gd name="connsiteY1217" fmla="*/ 563471 h 2117064"/>
                        <a:gd name="connsiteX1218" fmla="*/ 337092 w 1263758"/>
                        <a:gd name="connsiteY1218" fmla="*/ 560770 h 2117064"/>
                        <a:gd name="connsiteX1219" fmla="*/ 328541 w 1263758"/>
                        <a:gd name="connsiteY1219" fmla="*/ 562570 h 2117064"/>
                        <a:gd name="connsiteX1220" fmla="*/ 323590 w 1263758"/>
                        <a:gd name="connsiteY1220" fmla="*/ 562570 h 2117064"/>
                        <a:gd name="connsiteX1221" fmla="*/ 322690 w 1263758"/>
                        <a:gd name="connsiteY1221" fmla="*/ 559420 h 2117064"/>
                        <a:gd name="connsiteX1222" fmla="*/ 322690 w 1263758"/>
                        <a:gd name="connsiteY1222" fmla="*/ 553569 h 2117064"/>
                        <a:gd name="connsiteX1223" fmla="*/ 322690 w 1263758"/>
                        <a:gd name="connsiteY1223" fmla="*/ 547719 h 2117064"/>
                        <a:gd name="connsiteX1224" fmla="*/ 324041 w 1263758"/>
                        <a:gd name="connsiteY1224" fmla="*/ 538717 h 2117064"/>
                        <a:gd name="connsiteX1225" fmla="*/ 325841 w 1263758"/>
                        <a:gd name="connsiteY1225" fmla="*/ 531967 h 2117064"/>
                        <a:gd name="connsiteX1226" fmla="*/ 326741 w 1263758"/>
                        <a:gd name="connsiteY1226" fmla="*/ 529716 h 2117064"/>
                        <a:gd name="connsiteX1227" fmla="*/ 337992 w 1263758"/>
                        <a:gd name="connsiteY1227" fmla="*/ 531066 h 2117064"/>
                        <a:gd name="connsiteX1228" fmla="*/ 356895 w 1263758"/>
                        <a:gd name="connsiteY1228" fmla="*/ 527016 h 2117064"/>
                        <a:gd name="connsiteX1229" fmla="*/ 362295 w 1263758"/>
                        <a:gd name="connsiteY1229" fmla="*/ 526566 h 2117064"/>
                        <a:gd name="connsiteX1230" fmla="*/ 369946 w 1263758"/>
                        <a:gd name="connsiteY1230" fmla="*/ 532867 h 2117064"/>
                        <a:gd name="connsiteX1231" fmla="*/ 522965 w 1263758"/>
                        <a:gd name="connsiteY1231" fmla="*/ 619278 h 2117064"/>
                        <a:gd name="connsiteX1232" fmla="*/ 527916 w 1263758"/>
                        <a:gd name="connsiteY1232" fmla="*/ 621978 h 2117064"/>
                        <a:gd name="connsiteX1233" fmla="*/ 536467 w 1263758"/>
                        <a:gd name="connsiteY1233" fmla="*/ 620628 h 2117064"/>
                        <a:gd name="connsiteX1234" fmla="*/ 539617 w 1263758"/>
                        <a:gd name="connsiteY1234" fmla="*/ 622878 h 2117064"/>
                        <a:gd name="connsiteX1235" fmla="*/ 547718 w 1263758"/>
                        <a:gd name="connsiteY1235" fmla="*/ 630079 h 2117064"/>
                        <a:gd name="connsiteX1236" fmla="*/ 549969 w 1263758"/>
                        <a:gd name="connsiteY1236" fmla="*/ 634129 h 2117064"/>
                        <a:gd name="connsiteX1237" fmla="*/ 550419 w 1263758"/>
                        <a:gd name="connsiteY1237" fmla="*/ 637280 h 2117064"/>
                        <a:gd name="connsiteX1238" fmla="*/ 550419 w 1263758"/>
                        <a:gd name="connsiteY1238" fmla="*/ 639080 h 2117064"/>
                        <a:gd name="connsiteX1239" fmla="*/ 547718 w 1263758"/>
                        <a:gd name="connsiteY1239" fmla="*/ 642680 h 2117064"/>
                        <a:gd name="connsiteX1240" fmla="*/ 542318 w 1263758"/>
                        <a:gd name="connsiteY1240" fmla="*/ 648081 h 2117064"/>
                        <a:gd name="connsiteX1241" fmla="*/ 540968 w 1263758"/>
                        <a:gd name="connsiteY1241" fmla="*/ 652132 h 2117064"/>
                        <a:gd name="connsiteX1242" fmla="*/ 545918 w 1263758"/>
                        <a:gd name="connsiteY1242" fmla="*/ 657082 h 2117064"/>
                        <a:gd name="connsiteX1243" fmla="*/ 548168 w 1263758"/>
                        <a:gd name="connsiteY1243" fmla="*/ 661583 h 2117064"/>
                        <a:gd name="connsiteX1244" fmla="*/ 549069 w 1263758"/>
                        <a:gd name="connsiteY1244" fmla="*/ 664733 h 2117064"/>
                        <a:gd name="connsiteX1245" fmla="*/ 549069 w 1263758"/>
                        <a:gd name="connsiteY1245" fmla="*/ 667884 h 2117064"/>
                        <a:gd name="connsiteX1246" fmla="*/ 545918 w 1263758"/>
                        <a:gd name="connsiteY1246" fmla="*/ 676435 h 2117064"/>
                        <a:gd name="connsiteX1247" fmla="*/ 543668 w 1263758"/>
                        <a:gd name="connsiteY1247" fmla="*/ 679135 h 2117064"/>
                        <a:gd name="connsiteX1248" fmla="*/ 540068 w 1263758"/>
                        <a:gd name="connsiteY1248" fmla="*/ 678685 h 2117064"/>
                        <a:gd name="connsiteX1249" fmla="*/ 538267 w 1263758"/>
                        <a:gd name="connsiteY1249" fmla="*/ 679585 h 2117064"/>
                        <a:gd name="connsiteX1250" fmla="*/ 533767 w 1263758"/>
                        <a:gd name="connsiteY1250" fmla="*/ 683636 h 2117064"/>
                        <a:gd name="connsiteX1251" fmla="*/ 526566 w 1263758"/>
                        <a:gd name="connsiteY1251" fmla="*/ 687236 h 2117064"/>
                        <a:gd name="connsiteX1252" fmla="*/ 516665 w 1263758"/>
                        <a:gd name="connsiteY1252" fmla="*/ 688586 h 2117064"/>
                        <a:gd name="connsiteX1253" fmla="*/ 513964 w 1263758"/>
                        <a:gd name="connsiteY1253" fmla="*/ 690836 h 2117064"/>
                        <a:gd name="connsiteX1254" fmla="*/ 509014 w 1263758"/>
                        <a:gd name="connsiteY1254" fmla="*/ 694437 h 2117064"/>
                        <a:gd name="connsiteX1255" fmla="*/ 505863 w 1263758"/>
                        <a:gd name="connsiteY1255" fmla="*/ 694887 h 2117064"/>
                        <a:gd name="connsiteX1256" fmla="*/ 504963 w 1263758"/>
                        <a:gd name="connsiteY1256" fmla="*/ 692637 h 2117064"/>
                        <a:gd name="connsiteX1257" fmla="*/ 504513 w 1263758"/>
                        <a:gd name="connsiteY1257" fmla="*/ 689486 h 2117064"/>
                        <a:gd name="connsiteX1258" fmla="*/ 504963 w 1263758"/>
                        <a:gd name="connsiteY1258" fmla="*/ 687236 h 2117064"/>
                        <a:gd name="connsiteX1259" fmla="*/ 505863 w 1263758"/>
                        <a:gd name="connsiteY1259" fmla="*/ 684536 h 2117064"/>
                        <a:gd name="connsiteX1260" fmla="*/ 504063 w 1263758"/>
                        <a:gd name="connsiteY1260" fmla="*/ 681835 h 2117064"/>
                        <a:gd name="connsiteX1261" fmla="*/ 496862 w 1263758"/>
                        <a:gd name="connsiteY1261" fmla="*/ 676885 h 2117064"/>
                        <a:gd name="connsiteX1262" fmla="*/ 492812 w 1263758"/>
                        <a:gd name="connsiteY1262" fmla="*/ 670134 h 2117064"/>
                        <a:gd name="connsiteX1263" fmla="*/ 492362 w 1263758"/>
                        <a:gd name="connsiteY1263" fmla="*/ 667884 h 2117064"/>
                        <a:gd name="connsiteX1264" fmla="*/ 492362 w 1263758"/>
                        <a:gd name="connsiteY1264" fmla="*/ 666083 h 2117064"/>
                        <a:gd name="connsiteX1265" fmla="*/ 501363 w 1263758"/>
                        <a:gd name="connsiteY1265" fmla="*/ 664733 h 2117064"/>
                        <a:gd name="connsiteX1266" fmla="*/ 505413 w 1263758"/>
                        <a:gd name="connsiteY1266" fmla="*/ 663383 h 2117064"/>
                        <a:gd name="connsiteX1267" fmla="*/ 507213 w 1263758"/>
                        <a:gd name="connsiteY1267" fmla="*/ 661133 h 2117064"/>
                        <a:gd name="connsiteX1268" fmla="*/ 507663 w 1263758"/>
                        <a:gd name="connsiteY1268" fmla="*/ 659783 h 2117064"/>
                        <a:gd name="connsiteX1269" fmla="*/ 505863 w 1263758"/>
                        <a:gd name="connsiteY1269" fmla="*/ 659333 h 2117064"/>
                        <a:gd name="connsiteX1270" fmla="*/ 499562 w 1263758"/>
                        <a:gd name="connsiteY1270" fmla="*/ 654382 h 2117064"/>
                        <a:gd name="connsiteX1271" fmla="*/ 489211 w 1263758"/>
                        <a:gd name="connsiteY1271" fmla="*/ 651682 h 2117064"/>
                        <a:gd name="connsiteX1272" fmla="*/ 488761 w 1263758"/>
                        <a:gd name="connsiteY1272" fmla="*/ 648531 h 2117064"/>
                        <a:gd name="connsiteX1273" fmla="*/ 484261 w 1263758"/>
                        <a:gd name="connsiteY1273" fmla="*/ 641780 h 2117064"/>
                        <a:gd name="connsiteX1274" fmla="*/ 483810 w 1263758"/>
                        <a:gd name="connsiteY1274" fmla="*/ 635480 h 2117064"/>
                        <a:gd name="connsiteX1275" fmla="*/ 482910 w 1263758"/>
                        <a:gd name="connsiteY1275" fmla="*/ 633679 h 2117064"/>
                        <a:gd name="connsiteX1276" fmla="*/ 479760 w 1263758"/>
                        <a:gd name="connsiteY1276" fmla="*/ 630979 h 2117064"/>
                        <a:gd name="connsiteX1277" fmla="*/ 479310 w 1263758"/>
                        <a:gd name="connsiteY1277" fmla="*/ 630079 h 2117064"/>
                        <a:gd name="connsiteX1278" fmla="*/ 478410 w 1263758"/>
                        <a:gd name="connsiteY1278" fmla="*/ 626028 h 2117064"/>
                        <a:gd name="connsiteX1279" fmla="*/ 478410 w 1263758"/>
                        <a:gd name="connsiteY1279" fmla="*/ 623778 h 2117064"/>
                        <a:gd name="connsiteX1280" fmla="*/ 478410 w 1263758"/>
                        <a:gd name="connsiteY1280" fmla="*/ 621528 h 2117064"/>
                        <a:gd name="connsiteX1281" fmla="*/ 483810 w 1263758"/>
                        <a:gd name="connsiteY1281" fmla="*/ 617027 h 2117064"/>
                        <a:gd name="connsiteX1282" fmla="*/ 482910 w 1263758"/>
                        <a:gd name="connsiteY1282" fmla="*/ 613877 h 2117064"/>
                        <a:gd name="connsiteX1283" fmla="*/ 478860 w 1263758"/>
                        <a:gd name="connsiteY1283" fmla="*/ 602625 h 2117064"/>
                        <a:gd name="connsiteX1284" fmla="*/ 477960 w 1263758"/>
                        <a:gd name="connsiteY1284" fmla="*/ 596325 h 2117064"/>
                        <a:gd name="connsiteX1285" fmla="*/ 477960 w 1263758"/>
                        <a:gd name="connsiteY1285" fmla="*/ 594074 h 2117064"/>
                        <a:gd name="connsiteX1286" fmla="*/ 480660 w 1263758"/>
                        <a:gd name="connsiteY1286" fmla="*/ 590474 h 2117064"/>
                        <a:gd name="connsiteX1287" fmla="*/ 484261 w 1263758"/>
                        <a:gd name="connsiteY1287" fmla="*/ 590474 h 2117064"/>
                        <a:gd name="connsiteX1288" fmla="*/ 493712 w 1263758"/>
                        <a:gd name="connsiteY1288" fmla="*/ 591374 h 2117064"/>
                        <a:gd name="connsiteX1289" fmla="*/ 498212 w 1263758"/>
                        <a:gd name="connsiteY1289" fmla="*/ 592724 h 2117064"/>
                        <a:gd name="connsiteX1290" fmla="*/ 502713 w 1263758"/>
                        <a:gd name="connsiteY1290" fmla="*/ 595425 h 2117064"/>
                        <a:gd name="connsiteX1291" fmla="*/ 507663 w 1263758"/>
                        <a:gd name="connsiteY1291" fmla="*/ 599475 h 2117064"/>
                        <a:gd name="connsiteX1292" fmla="*/ 514864 w 1263758"/>
                        <a:gd name="connsiteY1292" fmla="*/ 603075 h 2117064"/>
                        <a:gd name="connsiteX1293" fmla="*/ 517115 w 1263758"/>
                        <a:gd name="connsiteY1293" fmla="*/ 605326 h 2117064"/>
                        <a:gd name="connsiteX1294" fmla="*/ 521615 w 1263758"/>
                        <a:gd name="connsiteY1294" fmla="*/ 612977 h 2117064"/>
                        <a:gd name="connsiteX1295" fmla="*/ 522065 w 1263758"/>
                        <a:gd name="connsiteY1295" fmla="*/ 615227 h 2117064"/>
                        <a:gd name="connsiteX1296" fmla="*/ 521615 w 1263758"/>
                        <a:gd name="connsiteY1296" fmla="*/ 617477 h 2117064"/>
                        <a:gd name="connsiteX1297" fmla="*/ 522965 w 1263758"/>
                        <a:gd name="connsiteY1297" fmla="*/ 619278 h 2117064"/>
                        <a:gd name="connsiteX1298" fmla="*/ 230429 w 1263758"/>
                        <a:gd name="connsiteY1298" fmla="*/ 641330 h 2117064"/>
                        <a:gd name="connsiteX1299" fmla="*/ 230429 w 1263758"/>
                        <a:gd name="connsiteY1299" fmla="*/ 602625 h 2117064"/>
                        <a:gd name="connsiteX1300" fmla="*/ 231779 w 1263758"/>
                        <a:gd name="connsiteY1300" fmla="*/ 603526 h 2117064"/>
                        <a:gd name="connsiteX1301" fmla="*/ 234479 w 1263758"/>
                        <a:gd name="connsiteY1301" fmla="*/ 606676 h 2117064"/>
                        <a:gd name="connsiteX1302" fmla="*/ 238080 w 1263758"/>
                        <a:gd name="connsiteY1302" fmla="*/ 612977 h 2117064"/>
                        <a:gd name="connsiteX1303" fmla="*/ 239430 w 1263758"/>
                        <a:gd name="connsiteY1303" fmla="*/ 612977 h 2117064"/>
                        <a:gd name="connsiteX1304" fmla="*/ 241230 w 1263758"/>
                        <a:gd name="connsiteY1304" fmla="*/ 614327 h 2117064"/>
                        <a:gd name="connsiteX1305" fmla="*/ 242130 w 1263758"/>
                        <a:gd name="connsiteY1305" fmla="*/ 616127 h 2117064"/>
                        <a:gd name="connsiteX1306" fmla="*/ 244380 w 1263758"/>
                        <a:gd name="connsiteY1306" fmla="*/ 624228 h 2117064"/>
                        <a:gd name="connsiteX1307" fmla="*/ 244831 w 1263758"/>
                        <a:gd name="connsiteY1307" fmla="*/ 628279 h 2117064"/>
                        <a:gd name="connsiteX1308" fmla="*/ 244831 w 1263758"/>
                        <a:gd name="connsiteY1308" fmla="*/ 633229 h 2117064"/>
                        <a:gd name="connsiteX1309" fmla="*/ 244380 w 1263758"/>
                        <a:gd name="connsiteY1309" fmla="*/ 637280 h 2117064"/>
                        <a:gd name="connsiteX1310" fmla="*/ 243480 w 1263758"/>
                        <a:gd name="connsiteY1310" fmla="*/ 640430 h 2117064"/>
                        <a:gd name="connsiteX1311" fmla="*/ 241680 w 1263758"/>
                        <a:gd name="connsiteY1311" fmla="*/ 642680 h 2117064"/>
                        <a:gd name="connsiteX1312" fmla="*/ 236730 w 1263758"/>
                        <a:gd name="connsiteY1312" fmla="*/ 644031 h 2117064"/>
                        <a:gd name="connsiteX1313" fmla="*/ 230429 w 1263758"/>
                        <a:gd name="connsiteY1313" fmla="*/ 641330 h 2117064"/>
                        <a:gd name="connsiteX1314" fmla="*/ 378947 w 1263758"/>
                        <a:gd name="connsiteY1314" fmla="*/ 659783 h 2117064"/>
                        <a:gd name="connsiteX1315" fmla="*/ 376697 w 1263758"/>
                        <a:gd name="connsiteY1315" fmla="*/ 662033 h 2117064"/>
                        <a:gd name="connsiteX1316" fmla="*/ 373997 w 1263758"/>
                        <a:gd name="connsiteY1316" fmla="*/ 660683 h 2117064"/>
                        <a:gd name="connsiteX1317" fmla="*/ 373547 w 1263758"/>
                        <a:gd name="connsiteY1317" fmla="*/ 659333 h 2117064"/>
                        <a:gd name="connsiteX1318" fmla="*/ 373547 w 1263758"/>
                        <a:gd name="connsiteY1318" fmla="*/ 657982 h 2117064"/>
                        <a:gd name="connsiteX1319" fmla="*/ 373997 w 1263758"/>
                        <a:gd name="connsiteY1319" fmla="*/ 656182 h 2117064"/>
                        <a:gd name="connsiteX1320" fmla="*/ 377147 w 1263758"/>
                        <a:gd name="connsiteY1320" fmla="*/ 649881 h 2117064"/>
                        <a:gd name="connsiteX1321" fmla="*/ 379847 w 1263758"/>
                        <a:gd name="connsiteY1321" fmla="*/ 647631 h 2117064"/>
                        <a:gd name="connsiteX1322" fmla="*/ 381648 w 1263758"/>
                        <a:gd name="connsiteY1322" fmla="*/ 647181 h 2117064"/>
                        <a:gd name="connsiteX1323" fmla="*/ 382998 w 1263758"/>
                        <a:gd name="connsiteY1323" fmla="*/ 649431 h 2117064"/>
                        <a:gd name="connsiteX1324" fmla="*/ 383898 w 1263758"/>
                        <a:gd name="connsiteY1324" fmla="*/ 652582 h 2117064"/>
                        <a:gd name="connsiteX1325" fmla="*/ 378947 w 1263758"/>
                        <a:gd name="connsiteY1325" fmla="*/ 659783 h 2117064"/>
                        <a:gd name="connsiteX1326" fmla="*/ 230429 w 1263758"/>
                        <a:gd name="connsiteY1326" fmla="*/ 681835 h 2117064"/>
                        <a:gd name="connsiteX1327" fmla="*/ 230429 w 1263758"/>
                        <a:gd name="connsiteY1327" fmla="*/ 665633 h 2117064"/>
                        <a:gd name="connsiteX1328" fmla="*/ 237630 w 1263758"/>
                        <a:gd name="connsiteY1328" fmla="*/ 666533 h 2117064"/>
                        <a:gd name="connsiteX1329" fmla="*/ 238530 w 1263758"/>
                        <a:gd name="connsiteY1329" fmla="*/ 666983 h 2117064"/>
                        <a:gd name="connsiteX1330" fmla="*/ 238530 w 1263758"/>
                        <a:gd name="connsiteY1330" fmla="*/ 668784 h 2117064"/>
                        <a:gd name="connsiteX1331" fmla="*/ 237180 w 1263758"/>
                        <a:gd name="connsiteY1331" fmla="*/ 674634 h 2117064"/>
                        <a:gd name="connsiteX1332" fmla="*/ 235379 w 1263758"/>
                        <a:gd name="connsiteY1332" fmla="*/ 678685 h 2117064"/>
                        <a:gd name="connsiteX1333" fmla="*/ 230429 w 1263758"/>
                        <a:gd name="connsiteY1333" fmla="*/ 681835 h 2117064"/>
                        <a:gd name="connsiteX1334" fmla="*/ 406401 w 1263758"/>
                        <a:gd name="connsiteY1334" fmla="*/ 705238 h 2117064"/>
                        <a:gd name="connsiteX1335" fmla="*/ 403700 w 1263758"/>
                        <a:gd name="connsiteY1335" fmla="*/ 706138 h 2117064"/>
                        <a:gd name="connsiteX1336" fmla="*/ 398300 w 1263758"/>
                        <a:gd name="connsiteY1336" fmla="*/ 705688 h 2117064"/>
                        <a:gd name="connsiteX1337" fmla="*/ 391999 w 1263758"/>
                        <a:gd name="connsiteY1337" fmla="*/ 702088 h 2117064"/>
                        <a:gd name="connsiteX1338" fmla="*/ 390199 w 1263758"/>
                        <a:gd name="connsiteY1338" fmla="*/ 698037 h 2117064"/>
                        <a:gd name="connsiteX1339" fmla="*/ 389749 w 1263758"/>
                        <a:gd name="connsiteY1339" fmla="*/ 691287 h 2117064"/>
                        <a:gd name="connsiteX1340" fmla="*/ 389749 w 1263758"/>
                        <a:gd name="connsiteY1340" fmla="*/ 687686 h 2117064"/>
                        <a:gd name="connsiteX1341" fmla="*/ 390199 w 1263758"/>
                        <a:gd name="connsiteY1341" fmla="*/ 686786 h 2117064"/>
                        <a:gd name="connsiteX1342" fmla="*/ 394249 w 1263758"/>
                        <a:gd name="connsiteY1342" fmla="*/ 685886 h 2117064"/>
                        <a:gd name="connsiteX1343" fmla="*/ 401450 w 1263758"/>
                        <a:gd name="connsiteY1343" fmla="*/ 684986 h 2117064"/>
                        <a:gd name="connsiteX1344" fmla="*/ 407301 w 1263758"/>
                        <a:gd name="connsiteY1344" fmla="*/ 685886 h 2117064"/>
                        <a:gd name="connsiteX1345" fmla="*/ 414052 w 1263758"/>
                        <a:gd name="connsiteY1345" fmla="*/ 689936 h 2117064"/>
                        <a:gd name="connsiteX1346" fmla="*/ 416752 w 1263758"/>
                        <a:gd name="connsiteY1346" fmla="*/ 692187 h 2117064"/>
                        <a:gd name="connsiteX1347" fmla="*/ 418102 w 1263758"/>
                        <a:gd name="connsiteY1347" fmla="*/ 693987 h 2117064"/>
                        <a:gd name="connsiteX1348" fmla="*/ 419902 w 1263758"/>
                        <a:gd name="connsiteY1348" fmla="*/ 697587 h 2117064"/>
                        <a:gd name="connsiteX1349" fmla="*/ 420353 w 1263758"/>
                        <a:gd name="connsiteY1349" fmla="*/ 698938 h 2117064"/>
                        <a:gd name="connsiteX1350" fmla="*/ 420803 w 1263758"/>
                        <a:gd name="connsiteY1350" fmla="*/ 701638 h 2117064"/>
                        <a:gd name="connsiteX1351" fmla="*/ 412252 w 1263758"/>
                        <a:gd name="connsiteY1351" fmla="*/ 702088 h 2117064"/>
                        <a:gd name="connsiteX1352" fmla="*/ 408201 w 1263758"/>
                        <a:gd name="connsiteY1352" fmla="*/ 702988 h 2117064"/>
                        <a:gd name="connsiteX1353" fmla="*/ 406401 w 1263758"/>
                        <a:gd name="connsiteY1353" fmla="*/ 705238 h 2117064"/>
                        <a:gd name="connsiteX1354" fmla="*/ 538267 w 1263758"/>
                        <a:gd name="connsiteY1354" fmla="*/ 695787 h 2117064"/>
                        <a:gd name="connsiteX1355" fmla="*/ 543668 w 1263758"/>
                        <a:gd name="connsiteY1355" fmla="*/ 699838 h 2117064"/>
                        <a:gd name="connsiteX1356" fmla="*/ 549519 w 1263758"/>
                        <a:gd name="connsiteY1356" fmla="*/ 697587 h 2117064"/>
                        <a:gd name="connsiteX1357" fmla="*/ 555820 w 1263758"/>
                        <a:gd name="connsiteY1357" fmla="*/ 697587 h 2117064"/>
                        <a:gd name="connsiteX1358" fmla="*/ 569771 w 1263758"/>
                        <a:gd name="connsiteY1358" fmla="*/ 699388 h 2117064"/>
                        <a:gd name="connsiteX1359" fmla="*/ 578772 w 1263758"/>
                        <a:gd name="connsiteY1359" fmla="*/ 698487 h 2117064"/>
                        <a:gd name="connsiteX1360" fmla="*/ 581023 w 1263758"/>
                        <a:gd name="connsiteY1360" fmla="*/ 698938 h 2117064"/>
                        <a:gd name="connsiteX1361" fmla="*/ 584623 w 1263758"/>
                        <a:gd name="connsiteY1361" fmla="*/ 701188 h 2117064"/>
                        <a:gd name="connsiteX1362" fmla="*/ 586423 w 1263758"/>
                        <a:gd name="connsiteY1362" fmla="*/ 704338 h 2117064"/>
                        <a:gd name="connsiteX1363" fmla="*/ 588223 w 1263758"/>
                        <a:gd name="connsiteY1363" fmla="*/ 709289 h 2117064"/>
                        <a:gd name="connsiteX1364" fmla="*/ 583723 w 1263758"/>
                        <a:gd name="connsiteY1364" fmla="*/ 712439 h 2117064"/>
                        <a:gd name="connsiteX1365" fmla="*/ 579672 w 1263758"/>
                        <a:gd name="connsiteY1365" fmla="*/ 727741 h 2117064"/>
                        <a:gd name="connsiteX1366" fmla="*/ 579222 w 1263758"/>
                        <a:gd name="connsiteY1366" fmla="*/ 728641 h 2117064"/>
                        <a:gd name="connsiteX1367" fmla="*/ 575172 w 1263758"/>
                        <a:gd name="connsiteY1367" fmla="*/ 728641 h 2117064"/>
                        <a:gd name="connsiteX1368" fmla="*/ 572922 w 1263758"/>
                        <a:gd name="connsiteY1368" fmla="*/ 729991 h 2117064"/>
                        <a:gd name="connsiteX1369" fmla="*/ 560770 w 1263758"/>
                        <a:gd name="connsiteY1369" fmla="*/ 727741 h 2117064"/>
                        <a:gd name="connsiteX1370" fmla="*/ 527466 w 1263758"/>
                        <a:gd name="connsiteY1370" fmla="*/ 726841 h 2117064"/>
                        <a:gd name="connsiteX1371" fmla="*/ 526116 w 1263758"/>
                        <a:gd name="connsiteY1371" fmla="*/ 725041 h 2117064"/>
                        <a:gd name="connsiteX1372" fmla="*/ 521615 w 1263758"/>
                        <a:gd name="connsiteY1372" fmla="*/ 716040 h 2117064"/>
                        <a:gd name="connsiteX1373" fmla="*/ 521165 w 1263758"/>
                        <a:gd name="connsiteY1373" fmla="*/ 712439 h 2117064"/>
                        <a:gd name="connsiteX1374" fmla="*/ 522065 w 1263758"/>
                        <a:gd name="connsiteY1374" fmla="*/ 708389 h 2117064"/>
                        <a:gd name="connsiteX1375" fmla="*/ 522965 w 1263758"/>
                        <a:gd name="connsiteY1375" fmla="*/ 705688 h 2117064"/>
                        <a:gd name="connsiteX1376" fmla="*/ 523865 w 1263758"/>
                        <a:gd name="connsiteY1376" fmla="*/ 704338 h 2117064"/>
                        <a:gd name="connsiteX1377" fmla="*/ 533767 w 1263758"/>
                        <a:gd name="connsiteY1377" fmla="*/ 697587 h 2117064"/>
                        <a:gd name="connsiteX1378" fmla="*/ 538267 w 1263758"/>
                        <a:gd name="connsiteY1378" fmla="*/ 695787 h 2117064"/>
                        <a:gd name="connsiteX1379" fmla="*/ 345643 w 1263758"/>
                        <a:gd name="connsiteY1379" fmla="*/ 759245 h 2117064"/>
                        <a:gd name="connsiteX1380" fmla="*/ 342493 w 1263758"/>
                        <a:gd name="connsiteY1380" fmla="*/ 761045 h 2117064"/>
                        <a:gd name="connsiteX1381" fmla="*/ 336192 w 1263758"/>
                        <a:gd name="connsiteY1381" fmla="*/ 756995 h 2117064"/>
                        <a:gd name="connsiteX1382" fmla="*/ 332141 w 1263758"/>
                        <a:gd name="connsiteY1382" fmla="*/ 755195 h 2117064"/>
                        <a:gd name="connsiteX1383" fmla="*/ 328541 w 1263758"/>
                        <a:gd name="connsiteY1383" fmla="*/ 748444 h 2117064"/>
                        <a:gd name="connsiteX1384" fmla="*/ 324941 w 1263758"/>
                        <a:gd name="connsiteY1384" fmla="*/ 738992 h 2117064"/>
                        <a:gd name="connsiteX1385" fmla="*/ 321790 w 1263758"/>
                        <a:gd name="connsiteY1385" fmla="*/ 728641 h 2117064"/>
                        <a:gd name="connsiteX1386" fmla="*/ 320890 w 1263758"/>
                        <a:gd name="connsiteY1386" fmla="*/ 722340 h 2117064"/>
                        <a:gd name="connsiteX1387" fmla="*/ 318640 w 1263758"/>
                        <a:gd name="connsiteY1387" fmla="*/ 718740 h 2117064"/>
                        <a:gd name="connsiteX1388" fmla="*/ 317740 w 1263758"/>
                        <a:gd name="connsiteY1388" fmla="*/ 712439 h 2117064"/>
                        <a:gd name="connsiteX1389" fmla="*/ 313689 w 1263758"/>
                        <a:gd name="connsiteY1389" fmla="*/ 702538 h 2117064"/>
                        <a:gd name="connsiteX1390" fmla="*/ 314139 w 1263758"/>
                        <a:gd name="connsiteY1390" fmla="*/ 701188 h 2117064"/>
                        <a:gd name="connsiteX1391" fmla="*/ 317740 w 1263758"/>
                        <a:gd name="connsiteY1391" fmla="*/ 699838 h 2117064"/>
                        <a:gd name="connsiteX1392" fmla="*/ 323590 w 1263758"/>
                        <a:gd name="connsiteY1392" fmla="*/ 701638 h 2117064"/>
                        <a:gd name="connsiteX1393" fmla="*/ 326291 w 1263758"/>
                        <a:gd name="connsiteY1393" fmla="*/ 705238 h 2117064"/>
                        <a:gd name="connsiteX1394" fmla="*/ 329891 w 1263758"/>
                        <a:gd name="connsiteY1394" fmla="*/ 711089 h 2117064"/>
                        <a:gd name="connsiteX1395" fmla="*/ 334392 w 1263758"/>
                        <a:gd name="connsiteY1395" fmla="*/ 720540 h 2117064"/>
                        <a:gd name="connsiteX1396" fmla="*/ 335742 w 1263758"/>
                        <a:gd name="connsiteY1396" fmla="*/ 724591 h 2117064"/>
                        <a:gd name="connsiteX1397" fmla="*/ 336192 w 1263758"/>
                        <a:gd name="connsiteY1397" fmla="*/ 729991 h 2117064"/>
                        <a:gd name="connsiteX1398" fmla="*/ 337092 w 1263758"/>
                        <a:gd name="connsiteY1398" fmla="*/ 733142 h 2117064"/>
                        <a:gd name="connsiteX1399" fmla="*/ 341143 w 1263758"/>
                        <a:gd name="connsiteY1399" fmla="*/ 733592 h 2117064"/>
                        <a:gd name="connsiteX1400" fmla="*/ 346093 w 1263758"/>
                        <a:gd name="connsiteY1400" fmla="*/ 740793 h 2117064"/>
                        <a:gd name="connsiteX1401" fmla="*/ 346993 w 1263758"/>
                        <a:gd name="connsiteY1401" fmla="*/ 743493 h 2117064"/>
                        <a:gd name="connsiteX1402" fmla="*/ 347893 w 1263758"/>
                        <a:gd name="connsiteY1402" fmla="*/ 749344 h 2117064"/>
                        <a:gd name="connsiteX1403" fmla="*/ 347893 w 1263758"/>
                        <a:gd name="connsiteY1403" fmla="*/ 752044 h 2117064"/>
                        <a:gd name="connsiteX1404" fmla="*/ 346993 w 1263758"/>
                        <a:gd name="connsiteY1404" fmla="*/ 757445 h 2117064"/>
                        <a:gd name="connsiteX1405" fmla="*/ 345643 w 1263758"/>
                        <a:gd name="connsiteY1405" fmla="*/ 759245 h 2117064"/>
                        <a:gd name="connsiteX1406" fmla="*/ 657982 w 1263758"/>
                        <a:gd name="connsiteY1406" fmla="*/ 747094 h 2117064"/>
                        <a:gd name="connsiteX1407" fmla="*/ 652582 w 1263758"/>
                        <a:gd name="connsiteY1407" fmla="*/ 752494 h 2117064"/>
                        <a:gd name="connsiteX1408" fmla="*/ 649881 w 1263758"/>
                        <a:gd name="connsiteY1408" fmla="*/ 752494 h 2117064"/>
                        <a:gd name="connsiteX1409" fmla="*/ 633679 w 1263758"/>
                        <a:gd name="connsiteY1409" fmla="*/ 741243 h 2117064"/>
                        <a:gd name="connsiteX1410" fmla="*/ 630529 w 1263758"/>
                        <a:gd name="connsiteY1410" fmla="*/ 735842 h 2117064"/>
                        <a:gd name="connsiteX1411" fmla="*/ 630079 w 1263758"/>
                        <a:gd name="connsiteY1411" fmla="*/ 732242 h 2117064"/>
                        <a:gd name="connsiteX1412" fmla="*/ 630079 w 1263758"/>
                        <a:gd name="connsiteY1412" fmla="*/ 726841 h 2117064"/>
                        <a:gd name="connsiteX1413" fmla="*/ 630079 w 1263758"/>
                        <a:gd name="connsiteY1413" fmla="*/ 719190 h 2117064"/>
                        <a:gd name="connsiteX1414" fmla="*/ 630979 w 1263758"/>
                        <a:gd name="connsiteY1414" fmla="*/ 714239 h 2117064"/>
                        <a:gd name="connsiteX1415" fmla="*/ 631879 w 1263758"/>
                        <a:gd name="connsiteY1415" fmla="*/ 712439 h 2117064"/>
                        <a:gd name="connsiteX1416" fmla="*/ 633679 w 1263758"/>
                        <a:gd name="connsiteY1416" fmla="*/ 710639 h 2117064"/>
                        <a:gd name="connsiteX1417" fmla="*/ 637280 w 1263758"/>
                        <a:gd name="connsiteY1417" fmla="*/ 709739 h 2117064"/>
                        <a:gd name="connsiteX1418" fmla="*/ 640880 w 1263758"/>
                        <a:gd name="connsiteY1418" fmla="*/ 710189 h 2117064"/>
                        <a:gd name="connsiteX1419" fmla="*/ 646281 w 1263758"/>
                        <a:gd name="connsiteY1419" fmla="*/ 711989 h 2117064"/>
                        <a:gd name="connsiteX1420" fmla="*/ 651681 w 1263758"/>
                        <a:gd name="connsiteY1420" fmla="*/ 715139 h 2117064"/>
                        <a:gd name="connsiteX1421" fmla="*/ 658882 w 1263758"/>
                        <a:gd name="connsiteY1421" fmla="*/ 725491 h 2117064"/>
                        <a:gd name="connsiteX1422" fmla="*/ 661583 w 1263758"/>
                        <a:gd name="connsiteY1422" fmla="*/ 730441 h 2117064"/>
                        <a:gd name="connsiteX1423" fmla="*/ 662033 w 1263758"/>
                        <a:gd name="connsiteY1423" fmla="*/ 736742 h 2117064"/>
                        <a:gd name="connsiteX1424" fmla="*/ 662033 w 1263758"/>
                        <a:gd name="connsiteY1424" fmla="*/ 740343 h 2117064"/>
                        <a:gd name="connsiteX1425" fmla="*/ 661583 w 1263758"/>
                        <a:gd name="connsiteY1425" fmla="*/ 743043 h 2117064"/>
                        <a:gd name="connsiteX1426" fmla="*/ 660683 w 1263758"/>
                        <a:gd name="connsiteY1426" fmla="*/ 744843 h 2117064"/>
                        <a:gd name="connsiteX1427" fmla="*/ 657982 w 1263758"/>
                        <a:gd name="connsiteY1427" fmla="*/ 747094 h 2117064"/>
                        <a:gd name="connsiteX1428" fmla="*/ 563470 w 1263758"/>
                        <a:gd name="connsiteY1428" fmla="*/ 780848 h 2117064"/>
                        <a:gd name="connsiteX1429" fmla="*/ 567521 w 1263758"/>
                        <a:gd name="connsiteY1429" fmla="*/ 781748 h 2117064"/>
                        <a:gd name="connsiteX1430" fmla="*/ 571121 w 1263758"/>
                        <a:gd name="connsiteY1430" fmla="*/ 780398 h 2117064"/>
                        <a:gd name="connsiteX1431" fmla="*/ 573822 w 1263758"/>
                        <a:gd name="connsiteY1431" fmla="*/ 780848 h 2117064"/>
                        <a:gd name="connsiteX1432" fmla="*/ 578322 w 1263758"/>
                        <a:gd name="connsiteY1432" fmla="*/ 784448 h 2117064"/>
                        <a:gd name="connsiteX1433" fmla="*/ 582373 w 1263758"/>
                        <a:gd name="connsiteY1433" fmla="*/ 790299 h 2117064"/>
                        <a:gd name="connsiteX1434" fmla="*/ 585523 w 1263758"/>
                        <a:gd name="connsiteY1434" fmla="*/ 792999 h 2117064"/>
                        <a:gd name="connsiteX1435" fmla="*/ 586423 w 1263758"/>
                        <a:gd name="connsiteY1435" fmla="*/ 794349 h 2117064"/>
                        <a:gd name="connsiteX1436" fmla="*/ 586873 w 1263758"/>
                        <a:gd name="connsiteY1436" fmla="*/ 795700 h 2117064"/>
                        <a:gd name="connsiteX1437" fmla="*/ 587323 w 1263758"/>
                        <a:gd name="connsiteY1437" fmla="*/ 800200 h 2117064"/>
                        <a:gd name="connsiteX1438" fmla="*/ 587323 w 1263758"/>
                        <a:gd name="connsiteY1438" fmla="*/ 802000 h 2117064"/>
                        <a:gd name="connsiteX1439" fmla="*/ 587323 w 1263758"/>
                        <a:gd name="connsiteY1439" fmla="*/ 803801 h 2117064"/>
                        <a:gd name="connsiteX1440" fmla="*/ 585973 w 1263758"/>
                        <a:gd name="connsiteY1440" fmla="*/ 807851 h 2117064"/>
                        <a:gd name="connsiteX1441" fmla="*/ 584623 w 1263758"/>
                        <a:gd name="connsiteY1441" fmla="*/ 812802 h 2117064"/>
                        <a:gd name="connsiteX1442" fmla="*/ 582373 w 1263758"/>
                        <a:gd name="connsiteY1442" fmla="*/ 816852 h 2117064"/>
                        <a:gd name="connsiteX1443" fmla="*/ 581023 w 1263758"/>
                        <a:gd name="connsiteY1443" fmla="*/ 820003 h 2117064"/>
                        <a:gd name="connsiteX1444" fmla="*/ 580123 w 1263758"/>
                        <a:gd name="connsiteY1444" fmla="*/ 824053 h 2117064"/>
                        <a:gd name="connsiteX1445" fmla="*/ 582373 w 1263758"/>
                        <a:gd name="connsiteY1445" fmla="*/ 821803 h 2117064"/>
                        <a:gd name="connsiteX1446" fmla="*/ 591374 w 1263758"/>
                        <a:gd name="connsiteY1446" fmla="*/ 808301 h 2117064"/>
                        <a:gd name="connsiteX1447" fmla="*/ 597225 w 1263758"/>
                        <a:gd name="connsiteY1447" fmla="*/ 810101 h 2117064"/>
                        <a:gd name="connsiteX1448" fmla="*/ 606226 w 1263758"/>
                        <a:gd name="connsiteY1448" fmla="*/ 808751 h 2117064"/>
                        <a:gd name="connsiteX1449" fmla="*/ 617027 w 1263758"/>
                        <a:gd name="connsiteY1449" fmla="*/ 803351 h 2117064"/>
                        <a:gd name="connsiteX1450" fmla="*/ 621978 w 1263758"/>
                        <a:gd name="connsiteY1450" fmla="*/ 802450 h 2117064"/>
                        <a:gd name="connsiteX1451" fmla="*/ 626928 w 1263758"/>
                        <a:gd name="connsiteY1451" fmla="*/ 802900 h 2117064"/>
                        <a:gd name="connsiteX1452" fmla="*/ 630979 w 1263758"/>
                        <a:gd name="connsiteY1452" fmla="*/ 804701 h 2117064"/>
                        <a:gd name="connsiteX1453" fmla="*/ 639080 w 1263758"/>
                        <a:gd name="connsiteY1453" fmla="*/ 811902 h 2117064"/>
                        <a:gd name="connsiteX1454" fmla="*/ 641780 w 1263758"/>
                        <a:gd name="connsiteY1454" fmla="*/ 815502 h 2117064"/>
                        <a:gd name="connsiteX1455" fmla="*/ 642680 w 1263758"/>
                        <a:gd name="connsiteY1455" fmla="*/ 818202 h 2117064"/>
                        <a:gd name="connsiteX1456" fmla="*/ 643130 w 1263758"/>
                        <a:gd name="connsiteY1456" fmla="*/ 820003 h 2117064"/>
                        <a:gd name="connsiteX1457" fmla="*/ 641330 w 1263758"/>
                        <a:gd name="connsiteY1457" fmla="*/ 822703 h 2117064"/>
                        <a:gd name="connsiteX1458" fmla="*/ 636380 w 1263758"/>
                        <a:gd name="connsiteY1458" fmla="*/ 820903 h 2117064"/>
                        <a:gd name="connsiteX1459" fmla="*/ 627829 w 1263758"/>
                        <a:gd name="connsiteY1459" fmla="*/ 819553 h 2117064"/>
                        <a:gd name="connsiteX1460" fmla="*/ 626478 w 1263758"/>
                        <a:gd name="connsiteY1460" fmla="*/ 818652 h 2117064"/>
                        <a:gd name="connsiteX1461" fmla="*/ 625128 w 1263758"/>
                        <a:gd name="connsiteY1461" fmla="*/ 818652 h 2117064"/>
                        <a:gd name="connsiteX1462" fmla="*/ 624228 w 1263758"/>
                        <a:gd name="connsiteY1462" fmla="*/ 819553 h 2117064"/>
                        <a:gd name="connsiteX1463" fmla="*/ 624678 w 1263758"/>
                        <a:gd name="connsiteY1463" fmla="*/ 823603 h 2117064"/>
                        <a:gd name="connsiteX1464" fmla="*/ 626478 w 1263758"/>
                        <a:gd name="connsiteY1464" fmla="*/ 824503 h 2117064"/>
                        <a:gd name="connsiteX1465" fmla="*/ 636830 w 1263758"/>
                        <a:gd name="connsiteY1465" fmla="*/ 825403 h 2117064"/>
                        <a:gd name="connsiteX1466" fmla="*/ 670134 w 1263758"/>
                        <a:gd name="connsiteY1466" fmla="*/ 837555 h 2117064"/>
                        <a:gd name="connsiteX1467" fmla="*/ 671484 w 1263758"/>
                        <a:gd name="connsiteY1467" fmla="*/ 841605 h 2117064"/>
                        <a:gd name="connsiteX1468" fmla="*/ 671034 w 1263758"/>
                        <a:gd name="connsiteY1468" fmla="*/ 843406 h 2117064"/>
                        <a:gd name="connsiteX1469" fmla="*/ 669684 w 1263758"/>
                        <a:gd name="connsiteY1469" fmla="*/ 845206 h 2117064"/>
                        <a:gd name="connsiteX1470" fmla="*/ 667433 w 1263758"/>
                        <a:gd name="connsiteY1470" fmla="*/ 847906 h 2117064"/>
                        <a:gd name="connsiteX1471" fmla="*/ 648081 w 1263758"/>
                        <a:gd name="connsiteY1471" fmla="*/ 850606 h 2117064"/>
                        <a:gd name="connsiteX1472" fmla="*/ 637280 w 1263758"/>
                        <a:gd name="connsiteY1472" fmla="*/ 848356 h 2117064"/>
                        <a:gd name="connsiteX1473" fmla="*/ 628279 w 1263758"/>
                        <a:gd name="connsiteY1473" fmla="*/ 844306 h 2117064"/>
                        <a:gd name="connsiteX1474" fmla="*/ 625128 w 1263758"/>
                        <a:gd name="connsiteY1474" fmla="*/ 845206 h 2117064"/>
                        <a:gd name="connsiteX1475" fmla="*/ 627829 w 1263758"/>
                        <a:gd name="connsiteY1475" fmla="*/ 850606 h 2117064"/>
                        <a:gd name="connsiteX1476" fmla="*/ 633229 w 1263758"/>
                        <a:gd name="connsiteY1476" fmla="*/ 852407 h 2117064"/>
                        <a:gd name="connsiteX1477" fmla="*/ 637730 w 1263758"/>
                        <a:gd name="connsiteY1477" fmla="*/ 855557 h 2117064"/>
                        <a:gd name="connsiteX1478" fmla="*/ 639530 w 1263758"/>
                        <a:gd name="connsiteY1478" fmla="*/ 858257 h 2117064"/>
                        <a:gd name="connsiteX1479" fmla="*/ 649431 w 1263758"/>
                        <a:gd name="connsiteY1479" fmla="*/ 860058 h 2117064"/>
                        <a:gd name="connsiteX1480" fmla="*/ 651231 w 1263758"/>
                        <a:gd name="connsiteY1480" fmla="*/ 862308 h 2117064"/>
                        <a:gd name="connsiteX1481" fmla="*/ 654382 w 1263758"/>
                        <a:gd name="connsiteY1481" fmla="*/ 867709 h 2117064"/>
                        <a:gd name="connsiteX1482" fmla="*/ 657082 w 1263758"/>
                        <a:gd name="connsiteY1482" fmla="*/ 868159 h 2117064"/>
                        <a:gd name="connsiteX1483" fmla="*/ 659783 w 1263758"/>
                        <a:gd name="connsiteY1483" fmla="*/ 871759 h 2117064"/>
                        <a:gd name="connsiteX1484" fmla="*/ 662033 w 1263758"/>
                        <a:gd name="connsiteY1484" fmla="*/ 878060 h 2117064"/>
                        <a:gd name="connsiteX1485" fmla="*/ 662933 w 1263758"/>
                        <a:gd name="connsiteY1485" fmla="*/ 878960 h 2117064"/>
                        <a:gd name="connsiteX1486" fmla="*/ 666083 w 1263758"/>
                        <a:gd name="connsiteY1486" fmla="*/ 878060 h 2117064"/>
                        <a:gd name="connsiteX1487" fmla="*/ 671034 w 1263758"/>
                        <a:gd name="connsiteY1487" fmla="*/ 883461 h 2117064"/>
                        <a:gd name="connsiteX1488" fmla="*/ 672384 w 1263758"/>
                        <a:gd name="connsiteY1488" fmla="*/ 886161 h 2117064"/>
                        <a:gd name="connsiteX1489" fmla="*/ 672384 w 1263758"/>
                        <a:gd name="connsiteY1489" fmla="*/ 888411 h 2117064"/>
                        <a:gd name="connsiteX1490" fmla="*/ 671484 w 1263758"/>
                        <a:gd name="connsiteY1490" fmla="*/ 891562 h 2117064"/>
                        <a:gd name="connsiteX1491" fmla="*/ 669234 w 1263758"/>
                        <a:gd name="connsiteY1491" fmla="*/ 896062 h 2117064"/>
                        <a:gd name="connsiteX1492" fmla="*/ 663833 w 1263758"/>
                        <a:gd name="connsiteY1492" fmla="*/ 901463 h 2117064"/>
                        <a:gd name="connsiteX1493" fmla="*/ 663383 w 1263758"/>
                        <a:gd name="connsiteY1493" fmla="*/ 903263 h 2117064"/>
                        <a:gd name="connsiteX1494" fmla="*/ 670134 w 1263758"/>
                        <a:gd name="connsiteY1494" fmla="*/ 902813 h 2117064"/>
                        <a:gd name="connsiteX1495" fmla="*/ 671484 w 1263758"/>
                        <a:gd name="connsiteY1495" fmla="*/ 903713 h 2117064"/>
                        <a:gd name="connsiteX1496" fmla="*/ 679135 w 1263758"/>
                        <a:gd name="connsiteY1496" fmla="*/ 913164 h 2117064"/>
                        <a:gd name="connsiteX1497" fmla="*/ 680035 w 1263758"/>
                        <a:gd name="connsiteY1497" fmla="*/ 913164 h 2117064"/>
                        <a:gd name="connsiteX1498" fmla="*/ 680485 w 1263758"/>
                        <a:gd name="connsiteY1498" fmla="*/ 912264 h 2117064"/>
                        <a:gd name="connsiteX1499" fmla="*/ 681385 w 1263758"/>
                        <a:gd name="connsiteY1499" fmla="*/ 909114 h 2117064"/>
                        <a:gd name="connsiteX1500" fmla="*/ 680935 w 1263758"/>
                        <a:gd name="connsiteY1500" fmla="*/ 905963 h 2117064"/>
                        <a:gd name="connsiteX1501" fmla="*/ 680035 w 1263758"/>
                        <a:gd name="connsiteY1501" fmla="*/ 901913 h 2117064"/>
                        <a:gd name="connsiteX1502" fmla="*/ 680485 w 1263758"/>
                        <a:gd name="connsiteY1502" fmla="*/ 898762 h 2117064"/>
                        <a:gd name="connsiteX1503" fmla="*/ 681835 w 1263758"/>
                        <a:gd name="connsiteY1503" fmla="*/ 896962 h 2117064"/>
                        <a:gd name="connsiteX1504" fmla="*/ 683185 w 1263758"/>
                        <a:gd name="connsiteY1504" fmla="*/ 896062 h 2117064"/>
                        <a:gd name="connsiteX1505" fmla="*/ 684536 w 1263758"/>
                        <a:gd name="connsiteY1505" fmla="*/ 896062 h 2117064"/>
                        <a:gd name="connsiteX1506" fmla="*/ 686336 w 1263758"/>
                        <a:gd name="connsiteY1506" fmla="*/ 897412 h 2117064"/>
                        <a:gd name="connsiteX1507" fmla="*/ 693987 w 1263758"/>
                        <a:gd name="connsiteY1507" fmla="*/ 908664 h 2117064"/>
                        <a:gd name="connsiteX1508" fmla="*/ 703888 w 1263758"/>
                        <a:gd name="connsiteY1508" fmla="*/ 903263 h 2117064"/>
                        <a:gd name="connsiteX1509" fmla="*/ 705688 w 1263758"/>
                        <a:gd name="connsiteY1509" fmla="*/ 905513 h 2117064"/>
                        <a:gd name="connsiteX1510" fmla="*/ 707038 w 1263758"/>
                        <a:gd name="connsiteY1510" fmla="*/ 910014 h 2117064"/>
                        <a:gd name="connsiteX1511" fmla="*/ 707938 w 1263758"/>
                        <a:gd name="connsiteY1511" fmla="*/ 910914 h 2117064"/>
                        <a:gd name="connsiteX1512" fmla="*/ 711539 w 1263758"/>
                        <a:gd name="connsiteY1512" fmla="*/ 901913 h 2117064"/>
                        <a:gd name="connsiteX1513" fmla="*/ 713789 w 1263758"/>
                        <a:gd name="connsiteY1513" fmla="*/ 899663 h 2117064"/>
                        <a:gd name="connsiteX1514" fmla="*/ 723240 w 1263758"/>
                        <a:gd name="connsiteY1514" fmla="*/ 910464 h 2117064"/>
                        <a:gd name="connsiteX1515" fmla="*/ 729091 w 1263758"/>
                        <a:gd name="connsiteY1515" fmla="*/ 912714 h 2117064"/>
                        <a:gd name="connsiteX1516" fmla="*/ 731341 w 1263758"/>
                        <a:gd name="connsiteY1516" fmla="*/ 914965 h 2117064"/>
                        <a:gd name="connsiteX1517" fmla="*/ 735392 w 1263758"/>
                        <a:gd name="connsiteY1517" fmla="*/ 917665 h 2117064"/>
                        <a:gd name="connsiteX1518" fmla="*/ 741243 w 1263758"/>
                        <a:gd name="connsiteY1518" fmla="*/ 918565 h 2117064"/>
                        <a:gd name="connsiteX1519" fmla="*/ 742143 w 1263758"/>
                        <a:gd name="connsiteY1519" fmla="*/ 914514 h 2117064"/>
                        <a:gd name="connsiteX1520" fmla="*/ 738542 w 1263758"/>
                        <a:gd name="connsiteY1520" fmla="*/ 909564 h 2117064"/>
                        <a:gd name="connsiteX1521" fmla="*/ 740793 w 1263758"/>
                        <a:gd name="connsiteY1521" fmla="*/ 907314 h 2117064"/>
                        <a:gd name="connsiteX1522" fmla="*/ 748894 w 1263758"/>
                        <a:gd name="connsiteY1522" fmla="*/ 902813 h 2117064"/>
                        <a:gd name="connsiteX1523" fmla="*/ 753394 w 1263758"/>
                        <a:gd name="connsiteY1523" fmla="*/ 903263 h 2117064"/>
                        <a:gd name="connsiteX1524" fmla="*/ 761495 w 1263758"/>
                        <a:gd name="connsiteY1524" fmla="*/ 896962 h 2117064"/>
                        <a:gd name="connsiteX1525" fmla="*/ 766446 w 1263758"/>
                        <a:gd name="connsiteY1525" fmla="*/ 896062 h 2117064"/>
                        <a:gd name="connsiteX1526" fmla="*/ 769596 w 1263758"/>
                        <a:gd name="connsiteY1526" fmla="*/ 896062 h 2117064"/>
                        <a:gd name="connsiteX1527" fmla="*/ 779497 w 1263758"/>
                        <a:gd name="connsiteY1527" fmla="*/ 886611 h 2117064"/>
                        <a:gd name="connsiteX1528" fmla="*/ 781748 w 1263758"/>
                        <a:gd name="connsiteY1528" fmla="*/ 885261 h 2117064"/>
                        <a:gd name="connsiteX1529" fmla="*/ 783548 w 1263758"/>
                        <a:gd name="connsiteY1529" fmla="*/ 881660 h 2117064"/>
                        <a:gd name="connsiteX1530" fmla="*/ 787598 w 1263758"/>
                        <a:gd name="connsiteY1530" fmla="*/ 882110 h 2117064"/>
                        <a:gd name="connsiteX1531" fmla="*/ 798400 w 1263758"/>
                        <a:gd name="connsiteY1531" fmla="*/ 887511 h 2117064"/>
                        <a:gd name="connsiteX1532" fmla="*/ 801550 w 1263758"/>
                        <a:gd name="connsiteY1532" fmla="*/ 887061 h 2117064"/>
                        <a:gd name="connsiteX1533" fmla="*/ 812802 w 1263758"/>
                        <a:gd name="connsiteY1533" fmla="*/ 881660 h 2117064"/>
                        <a:gd name="connsiteX1534" fmla="*/ 816852 w 1263758"/>
                        <a:gd name="connsiteY1534" fmla="*/ 880310 h 2117064"/>
                        <a:gd name="connsiteX1535" fmla="*/ 820903 w 1263758"/>
                        <a:gd name="connsiteY1535" fmla="*/ 880310 h 2117064"/>
                        <a:gd name="connsiteX1536" fmla="*/ 831704 w 1263758"/>
                        <a:gd name="connsiteY1536" fmla="*/ 883461 h 2117064"/>
                        <a:gd name="connsiteX1537" fmla="*/ 839805 w 1263758"/>
                        <a:gd name="connsiteY1537" fmla="*/ 886611 h 2117064"/>
                        <a:gd name="connsiteX1538" fmla="*/ 842505 w 1263758"/>
                        <a:gd name="connsiteY1538" fmla="*/ 888411 h 2117064"/>
                        <a:gd name="connsiteX1539" fmla="*/ 841605 w 1263758"/>
                        <a:gd name="connsiteY1539" fmla="*/ 892912 h 2117064"/>
                        <a:gd name="connsiteX1540" fmla="*/ 842055 w 1263758"/>
                        <a:gd name="connsiteY1540" fmla="*/ 894262 h 2117064"/>
                        <a:gd name="connsiteX1541" fmla="*/ 842955 w 1263758"/>
                        <a:gd name="connsiteY1541" fmla="*/ 895162 h 2117064"/>
                        <a:gd name="connsiteX1542" fmla="*/ 845656 w 1263758"/>
                        <a:gd name="connsiteY1542" fmla="*/ 896512 h 2117064"/>
                        <a:gd name="connsiteX1543" fmla="*/ 855557 w 1263758"/>
                        <a:gd name="connsiteY1543" fmla="*/ 896512 h 2117064"/>
                        <a:gd name="connsiteX1544" fmla="*/ 860058 w 1263758"/>
                        <a:gd name="connsiteY1544" fmla="*/ 897412 h 2117064"/>
                        <a:gd name="connsiteX1545" fmla="*/ 863658 w 1263758"/>
                        <a:gd name="connsiteY1545" fmla="*/ 901463 h 2117064"/>
                        <a:gd name="connsiteX1546" fmla="*/ 864558 w 1263758"/>
                        <a:gd name="connsiteY1546" fmla="*/ 903263 h 2117064"/>
                        <a:gd name="connsiteX1547" fmla="*/ 864558 w 1263758"/>
                        <a:gd name="connsiteY1547" fmla="*/ 905063 h 2117064"/>
                        <a:gd name="connsiteX1548" fmla="*/ 860958 w 1263758"/>
                        <a:gd name="connsiteY1548" fmla="*/ 909564 h 2117064"/>
                        <a:gd name="connsiteX1549" fmla="*/ 861408 w 1263758"/>
                        <a:gd name="connsiteY1549" fmla="*/ 910464 h 2117064"/>
                        <a:gd name="connsiteX1550" fmla="*/ 865008 w 1263758"/>
                        <a:gd name="connsiteY1550" fmla="*/ 911364 h 2117064"/>
                        <a:gd name="connsiteX1551" fmla="*/ 872659 w 1263758"/>
                        <a:gd name="connsiteY1551" fmla="*/ 911814 h 2117064"/>
                        <a:gd name="connsiteX1552" fmla="*/ 874459 w 1263758"/>
                        <a:gd name="connsiteY1552" fmla="*/ 912714 h 2117064"/>
                        <a:gd name="connsiteX1553" fmla="*/ 876259 w 1263758"/>
                        <a:gd name="connsiteY1553" fmla="*/ 918115 h 2117064"/>
                        <a:gd name="connsiteX1554" fmla="*/ 878060 w 1263758"/>
                        <a:gd name="connsiteY1554" fmla="*/ 925766 h 2117064"/>
                        <a:gd name="connsiteX1555" fmla="*/ 878060 w 1263758"/>
                        <a:gd name="connsiteY1555" fmla="*/ 928916 h 2117064"/>
                        <a:gd name="connsiteX1556" fmla="*/ 875359 w 1263758"/>
                        <a:gd name="connsiteY1556" fmla="*/ 933867 h 2117064"/>
                        <a:gd name="connsiteX1557" fmla="*/ 868159 w 1263758"/>
                        <a:gd name="connsiteY1557" fmla="*/ 940618 h 2117064"/>
                        <a:gd name="connsiteX1558" fmla="*/ 860058 w 1263758"/>
                        <a:gd name="connsiteY1558" fmla="*/ 946018 h 2117064"/>
                        <a:gd name="connsiteX1559" fmla="*/ 859607 w 1263758"/>
                        <a:gd name="connsiteY1559" fmla="*/ 947369 h 2117064"/>
                        <a:gd name="connsiteX1560" fmla="*/ 862308 w 1263758"/>
                        <a:gd name="connsiteY1560" fmla="*/ 950069 h 2117064"/>
                        <a:gd name="connsiteX1561" fmla="*/ 865008 w 1263758"/>
                        <a:gd name="connsiteY1561" fmla="*/ 951419 h 2117064"/>
                        <a:gd name="connsiteX1562" fmla="*/ 867258 w 1263758"/>
                        <a:gd name="connsiteY1562" fmla="*/ 950969 h 2117064"/>
                        <a:gd name="connsiteX1563" fmla="*/ 873559 w 1263758"/>
                        <a:gd name="connsiteY1563" fmla="*/ 948269 h 2117064"/>
                        <a:gd name="connsiteX1564" fmla="*/ 874909 w 1263758"/>
                        <a:gd name="connsiteY1564" fmla="*/ 948269 h 2117064"/>
                        <a:gd name="connsiteX1565" fmla="*/ 878060 w 1263758"/>
                        <a:gd name="connsiteY1565" fmla="*/ 950969 h 2117064"/>
                        <a:gd name="connsiteX1566" fmla="*/ 879410 w 1263758"/>
                        <a:gd name="connsiteY1566" fmla="*/ 953669 h 2117064"/>
                        <a:gd name="connsiteX1567" fmla="*/ 880760 w 1263758"/>
                        <a:gd name="connsiteY1567" fmla="*/ 956820 h 2117064"/>
                        <a:gd name="connsiteX1568" fmla="*/ 878510 w 1263758"/>
                        <a:gd name="connsiteY1568" fmla="*/ 959970 h 2117064"/>
                        <a:gd name="connsiteX1569" fmla="*/ 869059 w 1263758"/>
                        <a:gd name="connsiteY1569" fmla="*/ 963571 h 2117064"/>
                        <a:gd name="connsiteX1570" fmla="*/ 863658 w 1263758"/>
                        <a:gd name="connsiteY1570" fmla="*/ 958620 h 2117064"/>
                        <a:gd name="connsiteX1571" fmla="*/ 861858 w 1263758"/>
                        <a:gd name="connsiteY1571" fmla="*/ 957720 h 2117064"/>
                        <a:gd name="connsiteX1572" fmla="*/ 860507 w 1263758"/>
                        <a:gd name="connsiteY1572" fmla="*/ 958170 h 2117064"/>
                        <a:gd name="connsiteX1573" fmla="*/ 861408 w 1263758"/>
                        <a:gd name="connsiteY1573" fmla="*/ 960420 h 2117064"/>
                        <a:gd name="connsiteX1574" fmla="*/ 864108 w 1263758"/>
                        <a:gd name="connsiteY1574" fmla="*/ 964471 h 2117064"/>
                        <a:gd name="connsiteX1575" fmla="*/ 865008 w 1263758"/>
                        <a:gd name="connsiteY1575" fmla="*/ 967171 h 2117064"/>
                        <a:gd name="connsiteX1576" fmla="*/ 864108 w 1263758"/>
                        <a:gd name="connsiteY1576" fmla="*/ 968521 h 2117064"/>
                        <a:gd name="connsiteX1577" fmla="*/ 863658 w 1263758"/>
                        <a:gd name="connsiteY1577" fmla="*/ 971222 h 2117064"/>
                        <a:gd name="connsiteX1578" fmla="*/ 863658 w 1263758"/>
                        <a:gd name="connsiteY1578" fmla="*/ 974822 h 2117064"/>
                        <a:gd name="connsiteX1579" fmla="*/ 863658 w 1263758"/>
                        <a:gd name="connsiteY1579" fmla="*/ 978422 h 2117064"/>
                        <a:gd name="connsiteX1580" fmla="*/ 862758 w 1263758"/>
                        <a:gd name="connsiteY1580" fmla="*/ 984273 h 2117064"/>
                        <a:gd name="connsiteX1581" fmla="*/ 862308 w 1263758"/>
                        <a:gd name="connsiteY1581" fmla="*/ 984723 h 2117064"/>
                        <a:gd name="connsiteX1582" fmla="*/ 842055 w 1263758"/>
                        <a:gd name="connsiteY1582" fmla="*/ 986073 h 2117064"/>
                        <a:gd name="connsiteX1583" fmla="*/ 839805 w 1263758"/>
                        <a:gd name="connsiteY1583" fmla="*/ 986974 h 2117064"/>
                        <a:gd name="connsiteX1584" fmla="*/ 833954 w 1263758"/>
                        <a:gd name="connsiteY1584" fmla="*/ 991024 h 2117064"/>
                        <a:gd name="connsiteX1585" fmla="*/ 829454 w 1263758"/>
                        <a:gd name="connsiteY1585" fmla="*/ 993274 h 2117064"/>
                        <a:gd name="connsiteX1586" fmla="*/ 826753 w 1263758"/>
                        <a:gd name="connsiteY1586" fmla="*/ 993724 h 2117064"/>
                        <a:gd name="connsiteX1587" fmla="*/ 824053 w 1263758"/>
                        <a:gd name="connsiteY1587" fmla="*/ 992824 h 2117064"/>
                        <a:gd name="connsiteX1588" fmla="*/ 816852 w 1263758"/>
                        <a:gd name="connsiteY1588" fmla="*/ 988774 h 2117064"/>
                        <a:gd name="connsiteX1589" fmla="*/ 811901 w 1263758"/>
                        <a:gd name="connsiteY1589" fmla="*/ 989674 h 2117064"/>
                        <a:gd name="connsiteX1590" fmla="*/ 810101 w 1263758"/>
                        <a:gd name="connsiteY1590" fmla="*/ 989224 h 2117064"/>
                        <a:gd name="connsiteX1591" fmla="*/ 806051 w 1263758"/>
                        <a:gd name="connsiteY1591" fmla="*/ 986523 h 2117064"/>
                        <a:gd name="connsiteX1592" fmla="*/ 805151 w 1263758"/>
                        <a:gd name="connsiteY1592" fmla="*/ 985173 h 2117064"/>
                        <a:gd name="connsiteX1593" fmla="*/ 803350 w 1263758"/>
                        <a:gd name="connsiteY1593" fmla="*/ 981573 h 2117064"/>
                        <a:gd name="connsiteX1594" fmla="*/ 802000 w 1263758"/>
                        <a:gd name="connsiteY1594" fmla="*/ 976622 h 2117064"/>
                        <a:gd name="connsiteX1595" fmla="*/ 802000 w 1263758"/>
                        <a:gd name="connsiteY1595" fmla="*/ 973472 h 2117064"/>
                        <a:gd name="connsiteX1596" fmla="*/ 802450 w 1263758"/>
                        <a:gd name="connsiteY1596" fmla="*/ 968971 h 2117064"/>
                        <a:gd name="connsiteX1597" fmla="*/ 800650 w 1263758"/>
                        <a:gd name="connsiteY1597" fmla="*/ 963121 h 2117064"/>
                        <a:gd name="connsiteX1598" fmla="*/ 799300 w 1263758"/>
                        <a:gd name="connsiteY1598" fmla="*/ 963121 h 2117064"/>
                        <a:gd name="connsiteX1599" fmla="*/ 797950 w 1263758"/>
                        <a:gd name="connsiteY1599" fmla="*/ 962220 h 2117064"/>
                        <a:gd name="connsiteX1600" fmla="*/ 793899 w 1263758"/>
                        <a:gd name="connsiteY1600" fmla="*/ 957720 h 2117064"/>
                        <a:gd name="connsiteX1601" fmla="*/ 791649 w 1263758"/>
                        <a:gd name="connsiteY1601" fmla="*/ 956370 h 2117064"/>
                        <a:gd name="connsiteX1602" fmla="*/ 791199 w 1263758"/>
                        <a:gd name="connsiteY1602" fmla="*/ 957270 h 2117064"/>
                        <a:gd name="connsiteX1603" fmla="*/ 792099 w 1263758"/>
                        <a:gd name="connsiteY1603" fmla="*/ 960870 h 2117064"/>
                        <a:gd name="connsiteX1604" fmla="*/ 792549 w 1263758"/>
                        <a:gd name="connsiteY1604" fmla="*/ 962220 h 2117064"/>
                        <a:gd name="connsiteX1605" fmla="*/ 795249 w 1263758"/>
                        <a:gd name="connsiteY1605" fmla="*/ 964921 h 2117064"/>
                        <a:gd name="connsiteX1606" fmla="*/ 795699 w 1263758"/>
                        <a:gd name="connsiteY1606" fmla="*/ 968071 h 2117064"/>
                        <a:gd name="connsiteX1607" fmla="*/ 794799 w 1263758"/>
                        <a:gd name="connsiteY1607" fmla="*/ 975722 h 2117064"/>
                        <a:gd name="connsiteX1608" fmla="*/ 794349 w 1263758"/>
                        <a:gd name="connsiteY1608" fmla="*/ 977072 h 2117064"/>
                        <a:gd name="connsiteX1609" fmla="*/ 791649 w 1263758"/>
                        <a:gd name="connsiteY1609" fmla="*/ 982473 h 2117064"/>
                        <a:gd name="connsiteX1610" fmla="*/ 789849 w 1263758"/>
                        <a:gd name="connsiteY1610" fmla="*/ 984273 h 2117064"/>
                        <a:gd name="connsiteX1611" fmla="*/ 784448 w 1263758"/>
                        <a:gd name="connsiteY1611" fmla="*/ 984273 h 2117064"/>
                        <a:gd name="connsiteX1612" fmla="*/ 776347 w 1263758"/>
                        <a:gd name="connsiteY1612" fmla="*/ 988324 h 2117064"/>
                        <a:gd name="connsiteX1613" fmla="*/ 772297 w 1263758"/>
                        <a:gd name="connsiteY1613" fmla="*/ 988774 h 2117064"/>
                        <a:gd name="connsiteX1614" fmla="*/ 767346 w 1263758"/>
                        <a:gd name="connsiteY1614" fmla="*/ 987874 h 2117064"/>
                        <a:gd name="connsiteX1615" fmla="*/ 764195 w 1263758"/>
                        <a:gd name="connsiteY1615" fmla="*/ 986073 h 2117064"/>
                        <a:gd name="connsiteX1616" fmla="*/ 761945 w 1263758"/>
                        <a:gd name="connsiteY1616" fmla="*/ 983823 h 2117064"/>
                        <a:gd name="connsiteX1617" fmla="*/ 760145 w 1263758"/>
                        <a:gd name="connsiteY1617" fmla="*/ 981123 h 2117064"/>
                        <a:gd name="connsiteX1618" fmla="*/ 759245 w 1263758"/>
                        <a:gd name="connsiteY1618" fmla="*/ 981123 h 2117064"/>
                        <a:gd name="connsiteX1619" fmla="*/ 758795 w 1263758"/>
                        <a:gd name="connsiteY1619" fmla="*/ 987424 h 2117064"/>
                        <a:gd name="connsiteX1620" fmla="*/ 757895 w 1263758"/>
                        <a:gd name="connsiteY1620" fmla="*/ 988324 h 2117064"/>
                        <a:gd name="connsiteX1621" fmla="*/ 756095 w 1263758"/>
                        <a:gd name="connsiteY1621" fmla="*/ 988324 h 2117064"/>
                        <a:gd name="connsiteX1622" fmla="*/ 753394 w 1263758"/>
                        <a:gd name="connsiteY1622" fmla="*/ 986523 h 2117064"/>
                        <a:gd name="connsiteX1623" fmla="*/ 751144 w 1263758"/>
                        <a:gd name="connsiteY1623" fmla="*/ 982023 h 2117064"/>
                        <a:gd name="connsiteX1624" fmla="*/ 750244 w 1263758"/>
                        <a:gd name="connsiteY1624" fmla="*/ 982023 h 2117064"/>
                        <a:gd name="connsiteX1625" fmla="*/ 749794 w 1263758"/>
                        <a:gd name="connsiteY1625" fmla="*/ 984723 h 2117064"/>
                        <a:gd name="connsiteX1626" fmla="*/ 749344 w 1263758"/>
                        <a:gd name="connsiteY1626" fmla="*/ 986523 h 2117064"/>
                        <a:gd name="connsiteX1627" fmla="*/ 748894 w 1263758"/>
                        <a:gd name="connsiteY1627" fmla="*/ 987424 h 2117064"/>
                        <a:gd name="connsiteX1628" fmla="*/ 743493 w 1263758"/>
                        <a:gd name="connsiteY1628" fmla="*/ 990124 h 2117064"/>
                        <a:gd name="connsiteX1629" fmla="*/ 740343 w 1263758"/>
                        <a:gd name="connsiteY1629" fmla="*/ 990124 h 2117064"/>
                        <a:gd name="connsiteX1630" fmla="*/ 737192 w 1263758"/>
                        <a:gd name="connsiteY1630" fmla="*/ 986974 h 2117064"/>
                        <a:gd name="connsiteX1631" fmla="*/ 734942 w 1263758"/>
                        <a:gd name="connsiteY1631" fmla="*/ 987424 h 2117064"/>
                        <a:gd name="connsiteX1632" fmla="*/ 732241 w 1263758"/>
                        <a:gd name="connsiteY1632" fmla="*/ 989224 h 2117064"/>
                        <a:gd name="connsiteX1633" fmla="*/ 725491 w 1263758"/>
                        <a:gd name="connsiteY1633" fmla="*/ 986073 h 2117064"/>
                        <a:gd name="connsiteX1634" fmla="*/ 723690 w 1263758"/>
                        <a:gd name="connsiteY1634" fmla="*/ 986073 h 2117064"/>
                        <a:gd name="connsiteX1635" fmla="*/ 725041 w 1263758"/>
                        <a:gd name="connsiteY1635" fmla="*/ 991474 h 2117064"/>
                        <a:gd name="connsiteX1636" fmla="*/ 722790 w 1263758"/>
                        <a:gd name="connsiteY1636" fmla="*/ 992374 h 2117064"/>
                        <a:gd name="connsiteX1637" fmla="*/ 717840 w 1263758"/>
                        <a:gd name="connsiteY1637" fmla="*/ 992374 h 2117064"/>
                        <a:gd name="connsiteX1638" fmla="*/ 710189 w 1263758"/>
                        <a:gd name="connsiteY1638" fmla="*/ 990574 h 2117064"/>
                        <a:gd name="connsiteX1639" fmla="*/ 705238 w 1263758"/>
                        <a:gd name="connsiteY1639" fmla="*/ 993274 h 2117064"/>
                        <a:gd name="connsiteX1640" fmla="*/ 696687 w 1263758"/>
                        <a:gd name="connsiteY1640" fmla="*/ 991924 h 2117064"/>
                        <a:gd name="connsiteX1641" fmla="*/ 687686 w 1263758"/>
                        <a:gd name="connsiteY1641" fmla="*/ 991474 h 2117064"/>
                        <a:gd name="connsiteX1642" fmla="*/ 685886 w 1263758"/>
                        <a:gd name="connsiteY1642" fmla="*/ 990124 h 2117064"/>
                        <a:gd name="connsiteX1643" fmla="*/ 684536 w 1263758"/>
                        <a:gd name="connsiteY1643" fmla="*/ 987424 h 2117064"/>
                        <a:gd name="connsiteX1644" fmla="*/ 684536 w 1263758"/>
                        <a:gd name="connsiteY1644" fmla="*/ 985173 h 2117064"/>
                        <a:gd name="connsiteX1645" fmla="*/ 684986 w 1263758"/>
                        <a:gd name="connsiteY1645" fmla="*/ 982023 h 2117064"/>
                        <a:gd name="connsiteX1646" fmla="*/ 686336 w 1263758"/>
                        <a:gd name="connsiteY1646" fmla="*/ 977522 h 2117064"/>
                        <a:gd name="connsiteX1647" fmla="*/ 688586 w 1263758"/>
                        <a:gd name="connsiteY1647" fmla="*/ 971222 h 2117064"/>
                        <a:gd name="connsiteX1648" fmla="*/ 689486 w 1263758"/>
                        <a:gd name="connsiteY1648" fmla="*/ 968071 h 2117064"/>
                        <a:gd name="connsiteX1649" fmla="*/ 687686 w 1263758"/>
                        <a:gd name="connsiteY1649" fmla="*/ 966721 h 2117064"/>
                        <a:gd name="connsiteX1650" fmla="*/ 686336 w 1263758"/>
                        <a:gd name="connsiteY1650" fmla="*/ 964471 h 2117064"/>
                        <a:gd name="connsiteX1651" fmla="*/ 685436 w 1263758"/>
                        <a:gd name="connsiteY1651" fmla="*/ 964021 h 2117064"/>
                        <a:gd name="connsiteX1652" fmla="*/ 682285 w 1263758"/>
                        <a:gd name="connsiteY1652" fmla="*/ 966271 h 2117064"/>
                        <a:gd name="connsiteX1653" fmla="*/ 680035 w 1263758"/>
                        <a:gd name="connsiteY1653" fmla="*/ 973472 h 2117064"/>
                        <a:gd name="connsiteX1654" fmla="*/ 678685 w 1263758"/>
                        <a:gd name="connsiteY1654" fmla="*/ 975722 h 2117064"/>
                        <a:gd name="connsiteX1655" fmla="*/ 677785 w 1263758"/>
                        <a:gd name="connsiteY1655" fmla="*/ 973922 h 2117064"/>
                        <a:gd name="connsiteX1656" fmla="*/ 677335 w 1263758"/>
                        <a:gd name="connsiteY1656" fmla="*/ 969871 h 2117064"/>
                        <a:gd name="connsiteX1657" fmla="*/ 676435 w 1263758"/>
                        <a:gd name="connsiteY1657" fmla="*/ 967621 h 2117064"/>
                        <a:gd name="connsiteX1658" fmla="*/ 675534 w 1263758"/>
                        <a:gd name="connsiteY1658" fmla="*/ 967621 h 2117064"/>
                        <a:gd name="connsiteX1659" fmla="*/ 674634 w 1263758"/>
                        <a:gd name="connsiteY1659" fmla="*/ 968971 h 2117064"/>
                        <a:gd name="connsiteX1660" fmla="*/ 673734 w 1263758"/>
                        <a:gd name="connsiteY1660" fmla="*/ 971222 h 2117064"/>
                        <a:gd name="connsiteX1661" fmla="*/ 672384 w 1263758"/>
                        <a:gd name="connsiteY1661" fmla="*/ 972122 h 2117064"/>
                        <a:gd name="connsiteX1662" fmla="*/ 670584 w 1263758"/>
                        <a:gd name="connsiteY1662" fmla="*/ 971672 h 2117064"/>
                        <a:gd name="connsiteX1663" fmla="*/ 670134 w 1263758"/>
                        <a:gd name="connsiteY1663" fmla="*/ 972572 h 2117064"/>
                        <a:gd name="connsiteX1664" fmla="*/ 670584 w 1263758"/>
                        <a:gd name="connsiteY1664" fmla="*/ 975272 h 2117064"/>
                        <a:gd name="connsiteX1665" fmla="*/ 670584 w 1263758"/>
                        <a:gd name="connsiteY1665" fmla="*/ 977972 h 2117064"/>
                        <a:gd name="connsiteX1666" fmla="*/ 670584 w 1263758"/>
                        <a:gd name="connsiteY1666" fmla="*/ 980223 h 2117064"/>
                        <a:gd name="connsiteX1667" fmla="*/ 669234 w 1263758"/>
                        <a:gd name="connsiteY1667" fmla="*/ 982473 h 2117064"/>
                        <a:gd name="connsiteX1668" fmla="*/ 665183 w 1263758"/>
                        <a:gd name="connsiteY1668" fmla="*/ 985623 h 2117064"/>
                        <a:gd name="connsiteX1669" fmla="*/ 662933 w 1263758"/>
                        <a:gd name="connsiteY1669" fmla="*/ 986523 h 2117064"/>
                        <a:gd name="connsiteX1670" fmla="*/ 657082 w 1263758"/>
                        <a:gd name="connsiteY1670" fmla="*/ 986974 h 2117064"/>
                        <a:gd name="connsiteX1671" fmla="*/ 653482 w 1263758"/>
                        <a:gd name="connsiteY1671" fmla="*/ 986073 h 2117064"/>
                        <a:gd name="connsiteX1672" fmla="*/ 646281 w 1263758"/>
                        <a:gd name="connsiteY1672" fmla="*/ 982023 h 2117064"/>
                        <a:gd name="connsiteX1673" fmla="*/ 642230 w 1263758"/>
                        <a:gd name="connsiteY1673" fmla="*/ 982023 h 2117064"/>
                        <a:gd name="connsiteX1674" fmla="*/ 637280 w 1263758"/>
                        <a:gd name="connsiteY1674" fmla="*/ 975272 h 2117064"/>
                        <a:gd name="connsiteX1675" fmla="*/ 633229 w 1263758"/>
                        <a:gd name="connsiteY1675" fmla="*/ 973922 h 2117064"/>
                        <a:gd name="connsiteX1676" fmla="*/ 633229 w 1263758"/>
                        <a:gd name="connsiteY1676" fmla="*/ 971672 h 2117064"/>
                        <a:gd name="connsiteX1677" fmla="*/ 635029 w 1263758"/>
                        <a:gd name="connsiteY1677" fmla="*/ 967171 h 2117064"/>
                        <a:gd name="connsiteX1678" fmla="*/ 635029 w 1263758"/>
                        <a:gd name="connsiteY1678" fmla="*/ 965821 h 2117064"/>
                        <a:gd name="connsiteX1679" fmla="*/ 629629 w 1263758"/>
                        <a:gd name="connsiteY1679" fmla="*/ 972572 h 2117064"/>
                        <a:gd name="connsiteX1680" fmla="*/ 628729 w 1263758"/>
                        <a:gd name="connsiteY1680" fmla="*/ 974822 h 2117064"/>
                        <a:gd name="connsiteX1681" fmla="*/ 629179 w 1263758"/>
                        <a:gd name="connsiteY1681" fmla="*/ 979773 h 2117064"/>
                        <a:gd name="connsiteX1682" fmla="*/ 628279 w 1263758"/>
                        <a:gd name="connsiteY1682" fmla="*/ 980223 h 2117064"/>
                        <a:gd name="connsiteX1683" fmla="*/ 624678 w 1263758"/>
                        <a:gd name="connsiteY1683" fmla="*/ 978422 h 2117064"/>
                        <a:gd name="connsiteX1684" fmla="*/ 621078 w 1263758"/>
                        <a:gd name="connsiteY1684" fmla="*/ 979773 h 2117064"/>
                        <a:gd name="connsiteX1685" fmla="*/ 620177 w 1263758"/>
                        <a:gd name="connsiteY1685" fmla="*/ 979323 h 2117064"/>
                        <a:gd name="connsiteX1686" fmla="*/ 617477 w 1263758"/>
                        <a:gd name="connsiteY1686" fmla="*/ 975722 h 2117064"/>
                        <a:gd name="connsiteX1687" fmla="*/ 612977 w 1263758"/>
                        <a:gd name="connsiteY1687" fmla="*/ 972122 h 2117064"/>
                        <a:gd name="connsiteX1688" fmla="*/ 611176 w 1263758"/>
                        <a:gd name="connsiteY1688" fmla="*/ 968071 h 2117064"/>
                        <a:gd name="connsiteX1689" fmla="*/ 608026 w 1263758"/>
                        <a:gd name="connsiteY1689" fmla="*/ 955470 h 2117064"/>
                        <a:gd name="connsiteX1690" fmla="*/ 606676 w 1263758"/>
                        <a:gd name="connsiteY1690" fmla="*/ 946918 h 2117064"/>
                        <a:gd name="connsiteX1691" fmla="*/ 606676 w 1263758"/>
                        <a:gd name="connsiteY1691" fmla="*/ 945118 h 2117064"/>
                        <a:gd name="connsiteX1692" fmla="*/ 608926 w 1263758"/>
                        <a:gd name="connsiteY1692" fmla="*/ 942868 h 2117064"/>
                        <a:gd name="connsiteX1693" fmla="*/ 608476 w 1263758"/>
                        <a:gd name="connsiteY1693" fmla="*/ 941068 h 2117064"/>
                        <a:gd name="connsiteX1694" fmla="*/ 605776 w 1263758"/>
                        <a:gd name="connsiteY1694" fmla="*/ 936117 h 2117064"/>
                        <a:gd name="connsiteX1695" fmla="*/ 602625 w 1263758"/>
                        <a:gd name="connsiteY1695" fmla="*/ 932067 h 2117064"/>
                        <a:gd name="connsiteX1696" fmla="*/ 601725 w 1263758"/>
                        <a:gd name="connsiteY1696" fmla="*/ 929366 h 2117064"/>
                        <a:gd name="connsiteX1697" fmla="*/ 601275 w 1263758"/>
                        <a:gd name="connsiteY1697" fmla="*/ 926666 h 2117064"/>
                        <a:gd name="connsiteX1698" fmla="*/ 600825 w 1263758"/>
                        <a:gd name="connsiteY1698" fmla="*/ 922615 h 2117064"/>
                        <a:gd name="connsiteX1699" fmla="*/ 600825 w 1263758"/>
                        <a:gd name="connsiteY1699" fmla="*/ 919465 h 2117064"/>
                        <a:gd name="connsiteX1700" fmla="*/ 601275 w 1263758"/>
                        <a:gd name="connsiteY1700" fmla="*/ 917665 h 2117064"/>
                        <a:gd name="connsiteX1701" fmla="*/ 603075 w 1263758"/>
                        <a:gd name="connsiteY1701" fmla="*/ 911364 h 2117064"/>
                        <a:gd name="connsiteX1702" fmla="*/ 607576 w 1263758"/>
                        <a:gd name="connsiteY1702" fmla="*/ 900113 h 2117064"/>
                        <a:gd name="connsiteX1703" fmla="*/ 608026 w 1263758"/>
                        <a:gd name="connsiteY1703" fmla="*/ 897862 h 2117064"/>
                        <a:gd name="connsiteX1704" fmla="*/ 608476 w 1263758"/>
                        <a:gd name="connsiteY1704" fmla="*/ 896062 h 2117064"/>
                        <a:gd name="connsiteX1705" fmla="*/ 608026 w 1263758"/>
                        <a:gd name="connsiteY1705" fmla="*/ 890211 h 2117064"/>
                        <a:gd name="connsiteX1706" fmla="*/ 607126 w 1263758"/>
                        <a:gd name="connsiteY1706" fmla="*/ 884361 h 2117064"/>
                        <a:gd name="connsiteX1707" fmla="*/ 606226 w 1263758"/>
                        <a:gd name="connsiteY1707" fmla="*/ 879860 h 2117064"/>
                        <a:gd name="connsiteX1708" fmla="*/ 603525 w 1263758"/>
                        <a:gd name="connsiteY1708" fmla="*/ 874009 h 2117064"/>
                        <a:gd name="connsiteX1709" fmla="*/ 599925 w 1263758"/>
                        <a:gd name="connsiteY1709" fmla="*/ 867709 h 2117064"/>
                        <a:gd name="connsiteX1710" fmla="*/ 594974 w 1263758"/>
                        <a:gd name="connsiteY1710" fmla="*/ 856457 h 2117064"/>
                        <a:gd name="connsiteX1711" fmla="*/ 591374 w 1263758"/>
                        <a:gd name="connsiteY1711" fmla="*/ 847456 h 2117064"/>
                        <a:gd name="connsiteX1712" fmla="*/ 586873 w 1263758"/>
                        <a:gd name="connsiteY1712" fmla="*/ 834854 h 2117064"/>
                        <a:gd name="connsiteX1713" fmla="*/ 584623 w 1263758"/>
                        <a:gd name="connsiteY1713" fmla="*/ 833954 h 2117064"/>
                        <a:gd name="connsiteX1714" fmla="*/ 582373 w 1263758"/>
                        <a:gd name="connsiteY1714" fmla="*/ 834404 h 2117064"/>
                        <a:gd name="connsiteX1715" fmla="*/ 576972 w 1263758"/>
                        <a:gd name="connsiteY1715" fmla="*/ 838905 h 2117064"/>
                        <a:gd name="connsiteX1716" fmla="*/ 575172 w 1263758"/>
                        <a:gd name="connsiteY1716" fmla="*/ 841155 h 2117064"/>
                        <a:gd name="connsiteX1717" fmla="*/ 574722 w 1263758"/>
                        <a:gd name="connsiteY1717" fmla="*/ 842505 h 2117064"/>
                        <a:gd name="connsiteX1718" fmla="*/ 570671 w 1263758"/>
                        <a:gd name="connsiteY1718" fmla="*/ 842956 h 2117064"/>
                        <a:gd name="connsiteX1719" fmla="*/ 559420 w 1263758"/>
                        <a:gd name="connsiteY1719" fmla="*/ 841605 h 2117064"/>
                        <a:gd name="connsiteX1720" fmla="*/ 554919 w 1263758"/>
                        <a:gd name="connsiteY1720" fmla="*/ 840255 h 2117064"/>
                        <a:gd name="connsiteX1721" fmla="*/ 551769 w 1263758"/>
                        <a:gd name="connsiteY1721" fmla="*/ 840705 h 2117064"/>
                        <a:gd name="connsiteX1722" fmla="*/ 546368 w 1263758"/>
                        <a:gd name="connsiteY1722" fmla="*/ 843856 h 2117064"/>
                        <a:gd name="connsiteX1723" fmla="*/ 540518 w 1263758"/>
                        <a:gd name="connsiteY1723" fmla="*/ 843406 h 2117064"/>
                        <a:gd name="connsiteX1724" fmla="*/ 536917 w 1263758"/>
                        <a:gd name="connsiteY1724" fmla="*/ 834404 h 2117064"/>
                        <a:gd name="connsiteX1725" fmla="*/ 528366 w 1263758"/>
                        <a:gd name="connsiteY1725" fmla="*/ 829454 h 2117064"/>
                        <a:gd name="connsiteX1726" fmla="*/ 525666 w 1263758"/>
                        <a:gd name="connsiteY1726" fmla="*/ 826753 h 2117064"/>
                        <a:gd name="connsiteX1727" fmla="*/ 523865 w 1263758"/>
                        <a:gd name="connsiteY1727" fmla="*/ 823153 h 2117064"/>
                        <a:gd name="connsiteX1728" fmla="*/ 524316 w 1263758"/>
                        <a:gd name="connsiteY1728" fmla="*/ 820903 h 2117064"/>
                        <a:gd name="connsiteX1729" fmla="*/ 529266 w 1263758"/>
                        <a:gd name="connsiteY1729" fmla="*/ 818652 h 2117064"/>
                        <a:gd name="connsiteX1730" fmla="*/ 531066 w 1263758"/>
                        <a:gd name="connsiteY1730" fmla="*/ 816402 h 2117064"/>
                        <a:gd name="connsiteX1731" fmla="*/ 531966 w 1263758"/>
                        <a:gd name="connsiteY1731" fmla="*/ 814602 h 2117064"/>
                        <a:gd name="connsiteX1732" fmla="*/ 527466 w 1263758"/>
                        <a:gd name="connsiteY1732" fmla="*/ 816402 h 2117064"/>
                        <a:gd name="connsiteX1733" fmla="*/ 525216 w 1263758"/>
                        <a:gd name="connsiteY1733" fmla="*/ 815952 h 2117064"/>
                        <a:gd name="connsiteX1734" fmla="*/ 511264 w 1263758"/>
                        <a:gd name="connsiteY1734" fmla="*/ 803801 h 2117064"/>
                        <a:gd name="connsiteX1735" fmla="*/ 506763 w 1263758"/>
                        <a:gd name="connsiteY1735" fmla="*/ 801550 h 2117064"/>
                        <a:gd name="connsiteX1736" fmla="*/ 505863 w 1263758"/>
                        <a:gd name="connsiteY1736" fmla="*/ 800650 h 2117064"/>
                        <a:gd name="connsiteX1737" fmla="*/ 505413 w 1263758"/>
                        <a:gd name="connsiteY1737" fmla="*/ 799300 h 2117064"/>
                        <a:gd name="connsiteX1738" fmla="*/ 505413 w 1263758"/>
                        <a:gd name="connsiteY1738" fmla="*/ 797500 h 2117064"/>
                        <a:gd name="connsiteX1739" fmla="*/ 505863 w 1263758"/>
                        <a:gd name="connsiteY1739" fmla="*/ 794800 h 2117064"/>
                        <a:gd name="connsiteX1740" fmla="*/ 509914 w 1263758"/>
                        <a:gd name="connsiteY1740" fmla="*/ 798400 h 2117064"/>
                        <a:gd name="connsiteX1741" fmla="*/ 511714 w 1263758"/>
                        <a:gd name="connsiteY1741" fmla="*/ 798850 h 2117064"/>
                        <a:gd name="connsiteX1742" fmla="*/ 514864 w 1263758"/>
                        <a:gd name="connsiteY1742" fmla="*/ 797950 h 2117064"/>
                        <a:gd name="connsiteX1743" fmla="*/ 515765 w 1263758"/>
                        <a:gd name="connsiteY1743" fmla="*/ 795700 h 2117064"/>
                        <a:gd name="connsiteX1744" fmla="*/ 515314 w 1263758"/>
                        <a:gd name="connsiteY1744" fmla="*/ 794349 h 2117064"/>
                        <a:gd name="connsiteX1745" fmla="*/ 510364 w 1263758"/>
                        <a:gd name="connsiteY1745" fmla="*/ 790299 h 2117064"/>
                        <a:gd name="connsiteX1746" fmla="*/ 508113 w 1263758"/>
                        <a:gd name="connsiteY1746" fmla="*/ 787149 h 2117064"/>
                        <a:gd name="connsiteX1747" fmla="*/ 507213 w 1263758"/>
                        <a:gd name="connsiteY1747" fmla="*/ 784898 h 2117064"/>
                        <a:gd name="connsiteX1748" fmla="*/ 508113 w 1263758"/>
                        <a:gd name="connsiteY1748" fmla="*/ 781748 h 2117064"/>
                        <a:gd name="connsiteX1749" fmla="*/ 508564 w 1263758"/>
                        <a:gd name="connsiteY1749" fmla="*/ 779498 h 2117064"/>
                        <a:gd name="connsiteX1750" fmla="*/ 509914 w 1263758"/>
                        <a:gd name="connsiteY1750" fmla="*/ 778147 h 2117064"/>
                        <a:gd name="connsiteX1751" fmla="*/ 512614 w 1263758"/>
                        <a:gd name="connsiteY1751" fmla="*/ 777697 h 2117064"/>
                        <a:gd name="connsiteX1752" fmla="*/ 516214 w 1263758"/>
                        <a:gd name="connsiteY1752" fmla="*/ 776347 h 2117064"/>
                        <a:gd name="connsiteX1753" fmla="*/ 522965 w 1263758"/>
                        <a:gd name="connsiteY1753" fmla="*/ 771847 h 2117064"/>
                        <a:gd name="connsiteX1754" fmla="*/ 527466 w 1263758"/>
                        <a:gd name="connsiteY1754" fmla="*/ 770496 h 2117064"/>
                        <a:gd name="connsiteX1755" fmla="*/ 531966 w 1263758"/>
                        <a:gd name="connsiteY1755" fmla="*/ 770947 h 2117064"/>
                        <a:gd name="connsiteX1756" fmla="*/ 542768 w 1263758"/>
                        <a:gd name="connsiteY1756" fmla="*/ 775447 h 2117064"/>
                        <a:gd name="connsiteX1757" fmla="*/ 553569 w 1263758"/>
                        <a:gd name="connsiteY1757" fmla="*/ 780848 h 2117064"/>
                        <a:gd name="connsiteX1758" fmla="*/ 563470 w 1263758"/>
                        <a:gd name="connsiteY1758" fmla="*/ 780848 h 2117064"/>
                        <a:gd name="connsiteX1759" fmla="*/ 660232 w 1263758"/>
                        <a:gd name="connsiteY1759" fmla="*/ 818202 h 2117064"/>
                        <a:gd name="connsiteX1760" fmla="*/ 659332 w 1263758"/>
                        <a:gd name="connsiteY1760" fmla="*/ 819553 h 2117064"/>
                        <a:gd name="connsiteX1761" fmla="*/ 656182 w 1263758"/>
                        <a:gd name="connsiteY1761" fmla="*/ 819103 h 2117064"/>
                        <a:gd name="connsiteX1762" fmla="*/ 655282 w 1263758"/>
                        <a:gd name="connsiteY1762" fmla="*/ 820453 h 2117064"/>
                        <a:gd name="connsiteX1763" fmla="*/ 653482 w 1263758"/>
                        <a:gd name="connsiteY1763" fmla="*/ 819553 h 2117064"/>
                        <a:gd name="connsiteX1764" fmla="*/ 651231 w 1263758"/>
                        <a:gd name="connsiteY1764" fmla="*/ 816852 h 2117064"/>
                        <a:gd name="connsiteX1765" fmla="*/ 648531 w 1263758"/>
                        <a:gd name="connsiteY1765" fmla="*/ 811902 h 2117064"/>
                        <a:gd name="connsiteX1766" fmla="*/ 645381 w 1263758"/>
                        <a:gd name="connsiteY1766" fmla="*/ 804251 h 2117064"/>
                        <a:gd name="connsiteX1767" fmla="*/ 643130 w 1263758"/>
                        <a:gd name="connsiteY1767" fmla="*/ 797500 h 2117064"/>
                        <a:gd name="connsiteX1768" fmla="*/ 643130 w 1263758"/>
                        <a:gd name="connsiteY1768" fmla="*/ 795700 h 2117064"/>
                        <a:gd name="connsiteX1769" fmla="*/ 644031 w 1263758"/>
                        <a:gd name="connsiteY1769" fmla="*/ 792549 h 2117064"/>
                        <a:gd name="connsiteX1770" fmla="*/ 646281 w 1263758"/>
                        <a:gd name="connsiteY1770" fmla="*/ 790299 h 2117064"/>
                        <a:gd name="connsiteX1771" fmla="*/ 652132 w 1263758"/>
                        <a:gd name="connsiteY1771" fmla="*/ 787599 h 2117064"/>
                        <a:gd name="connsiteX1772" fmla="*/ 656182 w 1263758"/>
                        <a:gd name="connsiteY1772" fmla="*/ 787599 h 2117064"/>
                        <a:gd name="connsiteX1773" fmla="*/ 659783 w 1263758"/>
                        <a:gd name="connsiteY1773" fmla="*/ 792549 h 2117064"/>
                        <a:gd name="connsiteX1774" fmla="*/ 660683 w 1263758"/>
                        <a:gd name="connsiteY1774" fmla="*/ 794349 h 2117064"/>
                        <a:gd name="connsiteX1775" fmla="*/ 661133 w 1263758"/>
                        <a:gd name="connsiteY1775" fmla="*/ 796600 h 2117064"/>
                        <a:gd name="connsiteX1776" fmla="*/ 661133 w 1263758"/>
                        <a:gd name="connsiteY1776" fmla="*/ 798400 h 2117064"/>
                        <a:gd name="connsiteX1777" fmla="*/ 660683 w 1263758"/>
                        <a:gd name="connsiteY1777" fmla="*/ 800200 h 2117064"/>
                        <a:gd name="connsiteX1778" fmla="*/ 658882 w 1263758"/>
                        <a:gd name="connsiteY1778" fmla="*/ 804251 h 2117064"/>
                        <a:gd name="connsiteX1779" fmla="*/ 657982 w 1263758"/>
                        <a:gd name="connsiteY1779" fmla="*/ 806951 h 2117064"/>
                        <a:gd name="connsiteX1780" fmla="*/ 657982 w 1263758"/>
                        <a:gd name="connsiteY1780" fmla="*/ 809651 h 2117064"/>
                        <a:gd name="connsiteX1781" fmla="*/ 658432 w 1263758"/>
                        <a:gd name="connsiteY1781" fmla="*/ 813252 h 2117064"/>
                        <a:gd name="connsiteX1782" fmla="*/ 659332 w 1263758"/>
                        <a:gd name="connsiteY1782" fmla="*/ 815952 h 2117064"/>
                        <a:gd name="connsiteX1783" fmla="*/ 660232 w 1263758"/>
                        <a:gd name="connsiteY1783" fmla="*/ 817302 h 2117064"/>
                        <a:gd name="connsiteX1784" fmla="*/ 660232 w 1263758"/>
                        <a:gd name="connsiteY1784" fmla="*/ 818202 h 2117064"/>
                        <a:gd name="connsiteX1785" fmla="*/ 230429 w 1263758"/>
                        <a:gd name="connsiteY1785" fmla="*/ 960420 h 2117064"/>
                        <a:gd name="connsiteX1786" fmla="*/ 230429 w 1263758"/>
                        <a:gd name="connsiteY1786" fmla="*/ 957270 h 2117064"/>
                        <a:gd name="connsiteX1787" fmla="*/ 230429 w 1263758"/>
                        <a:gd name="connsiteY1787" fmla="*/ 912264 h 2117064"/>
                        <a:gd name="connsiteX1788" fmla="*/ 230429 w 1263758"/>
                        <a:gd name="connsiteY1788" fmla="*/ 903263 h 2117064"/>
                        <a:gd name="connsiteX1789" fmla="*/ 249781 w 1263758"/>
                        <a:gd name="connsiteY1789" fmla="*/ 905963 h 2117064"/>
                        <a:gd name="connsiteX1790" fmla="*/ 251581 w 1263758"/>
                        <a:gd name="connsiteY1790" fmla="*/ 905063 h 2117064"/>
                        <a:gd name="connsiteX1791" fmla="*/ 252932 w 1263758"/>
                        <a:gd name="connsiteY1791" fmla="*/ 902813 h 2117064"/>
                        <a:gd name="connsiteX1792" fmla="*/ 253832 w 1263758"/>
                        <a:gd name="connsiteY1792" fmla="*/ 898762 h 2117064"/>
                        <a:gd name="connsiteX1793" fmla="*/ 254282 w 1263758"/>
                        <a:gd name="connsiteY1793" fmla="*/ 895612 h 2117064"/>
                        <a:gd name="connsiteX1794" fmla="*/ 253832 w 1263758"/>
                        <a:gd name="connsiteY1794" fmla="*/ 891112 h 2117064"/>
                        <a:gd name="connsiteX1795" fmla="*/ 253382 w 1263758"/>
                        <a:gd name="connsiteY1795" fmla="*/ 888861 h 2117064"/>
                        <a:gd name="connsiteX1796" fmla="*/ 235379 w 1263758"/>
                        <a:gd name="connsiteY1796" fmla="*/ 874909 h 2117064"/>
                        <a:gd name="connsiteX1797" fmla="*/ 233579 w 1263758"/>
                        <a:gd name="connsiteY1797" fmla="*/ 869059 h 2117064"/>
                        <a:gd name="connsiteX1798" fmla="*/ 242580 w 1263758"/>
                        <a:gd name="connsiteY1798" fmla="*/ 860958 h 2117064"/>
                        <a:gd name="connsiteX1799" fmla="*/ 243030 w 1263758"/>
                        <a:gd name="connsiteY1799" fmla="*/ 859158 h 2117064"/>
                        <a:gd name="connsiteX1800" fmla="*/ 243030 w 1263758"/>
                        <a:gd name="connsiteY1800" fmla="*/ 856457 h 2117064"/>
                        <a:gd name="connsiteX1801" fmla="*/ 242580 w 1263758"/>
                        <a:gd name="connsiteY1801" fmla="*/ 853307 h 2117064"/>
                        <a:gd name="connsiteX1802" fmla="*/ 241230 w 1263758"/>
                        <a:gd name="connsiteY1802" fmla="*/ 850156 h 2117064"/>
                        <a:gd name="connsiteX1803" fmla="*/ 236280 w 1263758"/>
                        <a:gd name="connsiteY1803" fmla="*/ 844306 h 2117064"/>
                        <a:gd name="connsiteX1804" fmla="*/ 232229 w 1263758"/>
                        <a:gd name="connsiteY1804" fmla="*/ 843406 h 2117064"/>
                        <a:gd name="connsiteX1805" fmla="*/ 230429 w 1263758"/>
                        <a:gd name="connsiteY1805" fmla="*/ 841605 h 2117064"/>
                        <a:gd name="connsiteX1806" fmla="*/ 230429 w 1263758"/>
                        <a:gd name="connsiteY1806" fmla="*/ 820453 h 2117064"/>
                        <a:gd name="connsiteX1807" fmla="*/ 230879 w 1263758"/>
                        <a:gd name="connsiteY1807" fmla="*/ 820003 h 2117064"/>
                        <a:gd name="connsiteX1808" fmla="*/ 233579 w 1263758"/>
                        <a:gd name="connsiteY1808" fmla="*/ 816402 h 2117064"/>
                        <a:gd name="connsiteX1809" fmla="*/ 241230 w 1263758"/>
                        <a:gd name="connsiteY1809" fmla="*/ 801100 h 2117064"/>
                        <a:gd name="connsiteX1810" fmla="*/ 244831 w 1263758"/>
                        <a:gd name="connsiteY1810" fmla="*/ 794800 h 2117064"/>
                        <a:gd name="connsiteX1811" fmla="*/ 247531 w 1263758"/>
                        <a:gd name="connsiteY1811" fmla="*/ 791649 h 2117064"/>
                        <a:gd name="connsiteX1812" fmla="*/ 250231 w 1263758"/>
                        <a:gd name="connsiteY1812" fmla="*/ 789849 h 2117064"/>
                        <a:gd name="connsiteX1813" fmla="*/ 256082 w 1263758"/>
                        <a:gd name="connsiteY1813" fmla="*/ 788949 h 2117064"/>
                        <a:gd name="connsiteX1814" fmla="*/ 261933 w 1263758"/>
                        <a:gd name="connsiteY1814" fmla="*/ 794800 h 2117064"/>
                        <a:gd name="connsiteX1815" fmla="*/ 263283 w 1263758"/>
                        <a:gd name="connsiteY1815" fmla="*/ 795250 h 2117064"/>
                        <a:gd name="connsiteX1816" fmla="*/ 263733 w 1263758"/>
                        <a:gd name="connsiteY1816" fmla="*/ 796600 h 2117064"/>
                        <a:gd name="connsiteX1817" fmla="*/ 263283 w 1263758"/>
                        <a:gd name="connsiteY1817" fmla="*/ 799300 h 2117064"/>
                        <a:gd name="connsiteX1818" fmla="*/ 262383 w 1263758"/>
                        <a:gd name="connsiteY1818" fmla="*/ 802000 h 2117064"/>
                        <a:gd name="connsiteX1819" fmla="*/ 260132 w 1263758"/>
                        <a:gd name="connsiteY1819" fmla="*/ 806501 h 2117064"/>
                        <a:gd name="connsiteX1820" fmla="*/ 259682 w 1263758"/>
                        <a:gd name="connsiteY1820" fmla="*/ 808301 h 2117064"/>
                        <a:gd name="connsiteX1821" fmla="*/ 259682 w 1263758"/>
                        <a:gd name="connsiteY1821" fmla="*/ 810101 h 2117064"/>
                        <a:gd name="connsiteX1822" fmla="*/ 261033 w 1263758"/>
                        <a:gd name="connsiteY1822" fmla="*/ 814602 h 2117064"/>
                        <a:gd name="connsiteX1823" fmla="*/ 261483 w 1263758"/>
                        <a:gd name="connsiteY1823" fmla="*/ 817752 h 2117064"/>
                        <a:gd name="connsiteX1824" fmla="*/ 261933 w 1263758"/>
                        <a:gd name="connsiteY1824" fmla="*/ 822703 h 2117064"/>
                        <a:gd name="connsiteX1825" fmla="*/ 262383 w 1263758"/>
                        <a:gd name="connsiteY1825" fmla="*/ 823603 h 2117064"/>
                        <a:gd name="connsiteX1826" fmla="*/ 265983 w 1263758"/>
                        <a:gd name="connsiteY1826" fmla="*/ 827654 h 2117064"/>
                        <a:gd name="connsiteX1827" fmla="*/ 269134 w 1263758"/>
                        <a:gd name="connsiteY1827" fmla="*/ 833054 h 2117064"/>
                        <a:gd name="connsiteX1828" fmla="*/ 270484 w 1263758"/>
                        <a:gd name="connsiteY1828" fmla="*/ 841605 h 2117064"/>
                        <a:gd name="connsiteX1829" fmla="*/ 269134 w 1263758"/>
                        <a:gd name="connsiteY1829" fmla="*/ 844756 h 2117064"/>
                        <a:gd name="connsiteX1830" fmla="*/ 266433 w 1263758"/>
                        <a:gd name="connsiteY1830" fmla="*/ 848806 h 2117064"/>
                        <a:gd name="connsiteX1831" fmla="*/ 264633 w 1263758"/>
                        <a:gd name="connsiteY1831" fmla="*/ 852407 h 2117064"/>
                        <a:gd name="connsiteX1832" fmla="*/ 264183 w 1263758"/>
                        <a:gd name="connsiteY1832" fmla="*/ 855107 h 2117064"/>
                        <a:gd name="connsiteX1833" fmla="*/ 264633 w 1263758"/>
                        <a:gd name="connsiteY1833" fmla="*/ 856907 h 2117064"/>
                        <a:gd name="connsiteX1834" fmla="*/ 266433 w 1263758"/>
                        <a:gd name="connsiteY1834" fmla="*/ 857807 h 2117064"/>
                        <a:gd name="connsiteX1835" fmla="*/ 269134 w 1263758"/>
                        <a:gd name="connsiteY1835" fmla="*/ 858257 h 2117064"/>
                        <a:gd name="connsiteX1836" fmla="*/ 272284 w 1263758"/>
                        <a:gd name="connsiteY1836" fmla="*/ 857357 h 2117064"/>
                        <a:gd name="connsiteX1837" fmla="*/ 275884 w 1263758"/>
                        <a:gd name="connsiteY1837" fmla="*/ 857807 h 2117064"/>
                        <a:gd name="connsiteX1838" fmla="*/ 277685 w 1263758"/>
                        <a:gd name="connsiteY1838" fmla="*/ 859608 h 2117064"/>
                        <a:gd name="connsiteX1839" fmla="*/ 279035 w 1263758"/>
                        <a:gd name="connsiteY1839" fmla="*/ 863208 h 2117064"/>
                        <a:gd name="connsiteX1840" fmla="*/ 279035 w 1263758"/>
                        <a:gd name="connsiteY1840" fmla="*/ 865008 h 2117064"/>
                        <a:gd name="connsiteX1841" fmla="*/ 279035 w 1263758"/>
                        <a:gd name="connsiteY1841" fmla="*/ 866809 h 2117064"/>
                        <a:gd name="connsiteX1842" fmla="*/ 278585 w 1263758"/>
                        <a:gd name="connsiteY1842" fmla="*/ 868159 h 2117064"/>
                        <a:gd name="connsiteX1843" fmla="*/ 274084 w 1263758"/>
                        <a:gd name="connsiteY1843" fmla="*/ 876710 h 2117064"/>
                        <a:gd name="connsiteX1844" fmla="*/ 273184 w 1263758"/>
                        <a:gd name="connsiteY1844" fmla="*/ 879860 h 2117064"/>
                        <a:gd name="connsiteX1845" fmla="*/ 274534 w 1263758"/>
                        <a:gd name="connsiteY1845" fmla="*/ 880760 h 2117064"/>
                        <a:gd name="connsiteX1846" fmla="*/ 275434 w 1263758"/>
                        <a:gd name="connsiteY1846" fmla="*/ 880310 h 2117064"/>
                        <a:gd name="connsiteX1847" fmla="*/ 279935 w 1263758"/>
                        <a:gd name="connsiteY1847" fmla="*/ 873559 h 2117064"/>
                        <a:gd name="connsiteX1848" fmla="*/ 283535 w 1263758"/>
                        <a:gd name="connsiteY1848" fmla="*/ 871309 h 2117064"/>
                        <a:gd name="connsiteX1849" fmla="*/ 286236 w 1263758"/>
                        <a:gd name="connsiteY1849" fmla="*/ 870859 h 2117064"/>
                        <a:gd name="connsiteX1850" fmla="*/ 290736 w 1263758"/>
                        <a:gd name="connsiteY1850" fmla="*/ 872209 h 2117064"/>
                        <a:gd name="connsiteX1851" fmla="*/ 292537 w 1263758"/>
                        <a:gd name="connsiteY1851" fmla="*/ 873559 h 2117064"/>
                        <a:gd name="connsiteX1852" fmla="*/ 293887 w 1263758"/>
                        <a:gd name="connsiteY1852" fmla="*/ 874909 h 2117064"/>
                        <a:gd name="connsiteX1853" fmla="*/ 294337 w 1263758"/>
                        <a:gd name="connsiteY1853" fmla="*/ 876260 h 2117064"/>
                        <a:gd name="connsiteX1854" fmla="*/ 296137 w 1263758"/>
                        <a:gd name="connsiteY1854" fmla="*/ 882560 h 2117064"/>
                        <a:gd name="connsiteX1855" fmla="*/ 297487 w 1263758"/>
                        <a:gd name="connsiteY1855" fmla="*/ 890661 h 2117064"/>
                        <a:gd name="connsiteX1856" fmla="*/ 297487 w 1263758"/>
                        <a:gd name="connsiteY1856" fmla="*/ 889761 h 2117064"/>
                        <a:gd name="connsiteX1857" fmla="*/ 297487 w 1263758"/>
                        <a:gd name="connsiteY1857" fmla="*/ 885261 h 2117064"/>
                        <a:gd name="connsiteX1858" fmla="*/ 297937 w 1263758"/>
                        <a:gd name="connsiteY1858" fmla="*/ 881660 h 2117064"/>
                        <a:gd name="connsiteX1859" fmla="*/ 301988 w 1263758"/>
                        <a:gd name="connsiteY1859" fmla="*/ 879410 h 2117064"/>
                        <a:gd name="connsiteX1860" fmla="*/ 301988 w 1263758"/>
                        <a:gd name="connsiteY1860" fmla="*/ 878510 h 2117064"/>
                        <a:gd name="connsiteX1861" fmla="*/ 300638 w 1263758"/>
                        <a:gd name="connsiteY1861" fmla="*/ 876710 h 2117064"/>
                        <a:gd name="connsiteX1862" fmla="*/ 299287 w 1263758"/>
                        <a:gd name="connsiteY1862" fmla="*/ 874009 h 2117064"/>
                        <a:gd name="connsiteX1863" fmla="*/ 298387 w 1263758"/>
                        <a:gd name="connsiteY1863" fmla="*/ 869059 h 2117064"/>
                        <a:gd name="connsiteX1864" fmla="*/ 298837 w 1263758"/>
                        <a:gd name="connsiteY1864" fmla="*/ 867259 h 2117064"/>
                        <a:gd name="connsiteX1865" fmla="*/ 299738 w 1263758"/>
                        <a:gd name="connsiteY1865" fmla="*/ 865458 h 2117064"/>
                        <a:gd name="connsiteX1866" fmla="*/ 302438 w 1263758"/>
                        <a:gd name="connsiteY1866" fmla="*/ 860958 h 2117064"/>
                        <a:gd name="connsiteX1867" fmla="*/ 305588 w 1263758"/>
                        <a:gd name="connsiteY1867" fmla="*/ 858257 h 2117064"/>
                        <a:gd name="connsiteX1868" fmla="*/ 308289 w 1263758"/>
                        <a:gd name="connsiteY1868" fmla="*/ 857807 h 2117064"/>
                        <a:gd name="connsiteX1869" fmla="*/ 318640 w 1263758"/>
                        <a:gd name="connsiteY1869" fmla="*/ 862308 h 2117064"/>
                        <a:gd name="connsiteX1870" fmla="*/ 322690 w 1263758"/>
                        <a:gd name="connsiteY1870" fmla="*/ 865908 h 2117064"/>
                        <a:gd name="connsiteX1871" fmla="*/ 324491 w 1263758"/>
                        <a:gd name="connsiteY1871" fmla="*/ 867709 h 2117064"/>
                        <a:gd name="connsiteX1872" fmla="*/ 324941 w 1263758"/>
                        <a:gd name="connsiteY1872" fmla="*/ 869059 h 2117064"/>
                        <a:gd name="connsiteX1873" fmla="*/ 325841 w 1263758"/>
                        <a:gd name="connsiteY1873" fmla="*/ 873559 h 2117064"/>
                        <a:gd name="connsiteX1874" fmla="*/ 327641 w 1263758"/>
                        <a:gd name="connsiteY1874" fmla="*/ 885261 h 2117064"/>
                        <a:gd name="connsiteX1875" fmla="*/ 327641 w 1263758"/>
                        <a:gd name="connsiteY1875" fmla="*/ 888861 h 2117064"/>
                        <a:gd name="connsiteX1876" fmla="*/ 326741 w 1263758"/>
                        <a:gd name="connsiteY1876" fmla="*/ 894712 h 2117064"/>
                        <a:gd name="connsiteX1877" fmla="*/ 323590 w 1263758"/>
                        <a:gd name="connsiteY1877" fmla="*/ 905963 h 2117064"/>
                        <a:gd name="connsiteX1878" fmla="*/ 323140 w 1263758"/>
                        <a:gd name="connsiteY1878" fmla="*/ 913614 h 2117064"/>
                        <a:gd name="connsiteX1879" fmla="*/ 319540 w 1263758"/>
                        <a:gd name="connsiteY1879" fmla="*/ 932067 h 2117064"/>
                        <a:gd name="connsiteX1880" fmla="*/ 317290 w 1263758"/>
                        <a:gd name="connsiteY1880" fmla="*/ 937017 h 2117064"/>
                        <a:gd name="connsiteX1881" fmla="*/ 314589 w 1263758"/>
                        <a:gd name="connsiteY1881" fmla="*/ 940618 h 2117064"/>
                        <a:gd name="connsiteX1882" fmla="*/ 304238 w 1263758"/>
                        <a:gd name="connsiteY1882" fmla="*/ 946918 h 2117064"/>
                        <a:gd name="connsiteX1883" fmla="*/ 296137 w 1263758"/>
                        <a:gd name="connsiteY1883" fmla="*/ 953219 h 2117064"/>
                        <a:gd name="connsiteX1884" fmla="*/ 294337 w 1263758"/>
                        <a:gd name="connsiteY1884" fmla="*/ 954119 h 2117064"/>
                        <a:gd name="connsiteX1885" fmla="*/ 292086 w 1263758"/>
                        <a:gd name="connsiteY1885" fmla="*/ 954119 h 2117064"/>
                        <a:gd name="connsiteX1886" fmla="*/ 285336 w 1263758"/>
                        <a:gd name="connsiteY1886" fmla="*/ 951869 h 2117064"/>
                        <a:gd name="connsiteX1887" fmla="*/ 277685 w 1263758"/>
                        <a:gd name="connsiteY1887" fmla="*/ 947819 h 2117064"/>
                        <a:gd name="connsiteX1888" fmla="*/ 273184 w 1263758"/>
                        <a:gd name="connsiteY1888" fmla="*/ 948719 h 2117064"/>
                        <a:gd name="connsiteX1889" fmla="*/ 268684 w 1263758"/>
                        <a:gd name="connsiteY1889" fmla="*/ 951419 h 2117064"/>
                        <a:gd name="connsiteX1890" fmla="*/ 265983 w 1263758"/>
                        <a:gd name="connsiteY1890" fmla="*/ 952319 h 2117064"/>
                        <a:gd name="connsiteX1891" fmla="*/ 263283 w 1263758"/>
                        <a:gd name="connsiteY1891" fmla="*/ 951869 h 2117064"/>
                        <a:gd name="connsiteX1892" fmla="*/ 260583 w 1263758"/>
                        <a:gd name="connsiteY1892" fmla="*/ 950969 h 2117064"/>
                        <a:gd name="connsiteX1893" fmla="*/ 257432 w 1263758"/>
                        <a:gd name="connsiteY1893" fmla="*/ 948269 h 2117064"/>
                        <a:gd name="connsiteX1894" fmla="*/ 259232 w 1263758"/>
                        <a:gd name="connsiteY1894" fmla="*/ 946918 h 2117064"/>
                        <a:gd name="connsiteX1895" fmla="*/ 260132 w 1263758"/>
                        <a:gd name="connsiteY1895" fmla="*/ 945568 h 2117064"/>
                        <a:gd name="connsiteX1896" fmla="*/ 259232 w 1263758"/>
                        <a:gd name="connsiteY1896" fmla="*/ 944218 h 2117064"/>
                        <a:gd name="connsiteX1897" fmla="*/ 255632 w 1263758"/>
                        <a:gd name="connsiteY1897" fmla="*/ 942418 h 2117064"/>
                        <a:gd name="connsiteX1898" fmla="*/ 252032 w 1263758"/>
                        <a:gd name="connsiteY1898" fmla="*/ 946918 h 2117064"/>
                        <a:gd name="connsiteX1899" fmla="*/ 241230 w 1263758"/>
                        <a:gd name="connsiteY1899" fmla="*/ 957270 h 2117064"/>
                        <a:gd name="connsiteX1900" fmla="*/ 230429 w 1263758"/>
                        <a:gd name="connsiteY1900" fmla="*/ 960420 h 2117064"/>
                        <a:gd name="connsiteX1901" fmla="*/ 416302 w 1263758"/>
                        <a:gd name="connsiteY1901" fmla="*/ 811902 h 2117064"/>
                        <a:gd name="connsiteX1902" fmla="*/ 410901 w 1263758"/>
                        <a:gd name="connsiteY1902" fmla="*/ 812352 h 2117064"/>
                        <a:gd name="connsiteX1903" fmla="*/ 408201 w 1263758"/>
                        <a:gd name="connsiteY1903" fmla="*/ 811452 h 2117064"/>
                        <a:gd name="connsiteX1904" fmla="*/ 408201 w 1263758"/>
                        <a:gd name="connsiteY1904" fmla="*/ 809651 h 2117064"/>
                        <a:gd name="connsiteX1905" fmla="*/ 410451 w 1263758"/>
                        <a:gd name="connsiteY1905" fmla="*/ 807401 h 2117064"/>
                        <a:gd name="connsiteX1906" fmla="*/ 417652 w 1263758"/>
                        <a:gd name="connsiteY1906" fmla="*/ 803801 h 2117064"/>
                        <a:gd name="connsiteX1907" fmla="*/ 422153 w 1263758"/>
                        <a:gd name="connsiteY1907" fmla="*/ 797500 h 2117064"/>
                        <a:gd name="connsiteX1908" fmla="*/ 423953 w 1263758"/>
                        <a:gd name="connsiteY1908" fmla="*/ 796600 h 2117064"/>
                        <a:gd name="connsiteX1909" fmla="*/ 429804 w 1263758"/>
                        <a:gd name="connsiteY1909" fmla="*/ 795700 h 2117064"/>
                        <a:gd name="connsiteX1910" fmla="*/ 432954 w 1263758"/>
                        <a:gd name="connsiteY1910" fmla="*/ 795700 h 2117064"/>
                        <a:gd name="connsiteX1911" fmla="*/ 437005 w 1263758"/>
                        <a:gd name="connsiteY1911" fmla="*/ 797050 h 2117064"/>
                        <a:gd name="connsiteX1912" fmla="*/ 427103 w 1263758"/>
                        <a:gd name="connsiteY1912" fmla="*/ 804701 h 2117064"/>
                        <a:gd name="connsiteX1913" fmla="*/ 416302 w 1263758"/>
                        <a:gd name="connsiteY1913" fmla="*/ 811902 h 2117064"/>
                        <a:gd name="connsiteX1914" fmla="*/ 491011 w 1263758"/>
                        <a:gd name="connsiteY1914" fmla="*/ 821803 h 2117064"/>
                        <a:gd name="connsiteX1915" fmla="*/ 491461 w 1263758"/>
                        <a:gd name="connsiteY1915" fmla="*/ 825853 h 2117064"/>
                        <a:gd name="connsiteX1916" fmla="*/ 491011 w 1263758"/>
                        <a:gd name="connsiteY1916" fmla="*/ 829004 h 2117064"/>
                        <a:gd name="connsiteX1917" fmla="*/ 490111 w 1263758"/>
                        <a:gd name="connsiteY1917" fmla="*/ 831254 h 2117064"/>
                        <a:gd name="connsiteX1918" fmla="*/ 490111 w 1263758"/>
                        <a:gd name="connsiteY1918" fmla="*/ 833954 h 2117064"/>
                        <a:gd name="connsiteX1919" fmla="*/ 491011 w 1263758"/>
                        <a:gd name="connsiteY1919" fmla="*/ 836655 h 2117064"/>
                        <a:gd name="connsiteX1920" fmla="*/ 493712 w 1263758"/>
                        <a:gd name="connsiteY1920" fmla="*/ 843856 h 2117064"/>
                        <a:gd name="connsiteX1921" fmla="*/ 494612 w 1263758"/>
                        <a:gd name="connsiteY1921" fmla="*/ 847456 h 2117064"/>
                        <a:gd name="connsiteX1922" fmla="*/ 494612 w 1263758"/>
                        <a:gd name="connsiteY1922" fmla="*/ 851057 h 2117064"/>
                        <a:gd name="connsiteX1923" fmla="*/ 494612 w 1263758"/>
                        <a:gd name="connsiteY1923" fmla="*/ 853757 h 2117064"/>
                        <a:gd name="connsiteX1924" fmla="*/ 492812 w 1263758"/>
                        <a:gd name="connsiteY1924" fmla="*/ 858707 h 2117064"/>
                        <a:gd name="connsiteX1925" fmla="*/ 491911 w 1263758"/>
                        <a:gd name="connsiteY1925" fmla="*/ 865008 h 2117064"/>
                        <a:gd name="connsiteX1926" fmla="*/ 491911 w 1263758"/>
                        <a:gd name="connsiteY1926" fmla="*/ 868609 h 2117064"/>
                        <a:gd name="connsiteX1927" fmla="*/ 492812 w 1263758"/>
                        <a:gd name="connsiteY1927" fmla="*/ 874009 h 2117064"/>
                        <a:gd name="connsiteX1928" fmla="*/ 492812 w 1263758"/>
                        <a:gd name="connsiteY1928" fmla="*/ 876260 h 2117064"/>
                        <a:gd name="connsiteX1929" fmla="*/ 491011 w 1263758"/>
                        <a:gd name="connsiteY1929" fmla="*/ 880310 h 2117064"/>
                        <a:gd name="connsiteX1930" fmla="*/ 486961 w 1263758"/>
                        <a:gd name="connsiteY1930" fmla="*/ 883911 h 2117064"/>
                        <a:gd name="connsiteX1931" fmla="*/ 487411 w 1263758"/>
                        <a:gd name="connsiteY1931" fmla="*/ 885711 h 2117064"/>
                        <a:gd name="connsiteX1932" fmla="*/ 496412 w 1263758"/>
                        <a:gd name="connsiteY1932" fmla="*/ 890211 h 2117064"/>
                        <a:gd name="connsiteX1933" fmla="*/ 497312 w 1263758"/>
                        <a:gd name="connsiteY1933" fmla="*/ 891112 h 2117064"/>
                        <a:gd name="connsiteX1934" fmla="*/ 497312 w 1263758"/>
                        <a:gd name="connsiteY1934" fmla="*/ 901463 h 2117064"/>
                        <a:gd name="connsiteX1935" fmla="*/ 498662 w 1263758"/>
                        <a:gd name="connsiteY1935" fmla="*/ 912714 h 2117064"/>
                        <a:gd name="connsiteX1936" fmla="*/ 498212 w 1263758"/>
                        <a:gd name="connsiteY1936" fmla="*/ 912714 h 2117064"/>
                        <a:gd name="connsiteX1937" fmla="*/ 495962 w 1263758"/>
                        <a:gd name="connsiteY1937" fmla="*/ 909114 h 2117064"/>
                        <a:gd name="connsiteX1938" fmla="*/ 491911 w 1263758"/>
                        <a:gd name="connsiteY1938" fmla="*/ 905063 h 2117064"/>
                        <a:gd name="connsiteX1939" fmla="*/ 486961 w 1263758"/>
                        <a:gd name="connsiteY1939" fmla="*/ 912714 h 2117064"/>
                        <a:gd name="connsiteX1940" fmla="*/ 487411 w 1263758"/>
                        <a:gd name="connsiteY1940" fmla="*/ 925766 h 2117064"/>
                        <a:gd name="connsiteX1941" fmla="*/ 490561 w 1263758"/>
                        <a:gd name="connsiteY1941" fmla="*/ 931617 h 2117064"/>
                        <a:gd name="connsiteX1942" fmla="*/ 491461 w 1263758"/>
                        <a:gd name="connsiteY1942" fmla="*/ 934767 h 2117064"/>
                        <a:gd name="connsiteX1943" fmla="*/ 491011 w 1263758"/>
                        <a:gd name="connsiteY1943" fmla="*/ 936567 h 2117064"/>
                        <a:gd name="connsiteX1944" fmla="*/ 488311 w 1263758"/>
                        <a:gd name="connsiteY1944" fmla="*/ 937467 h 2117064"/>
                        <a:gd name="connsiteX1945" fmla="*/ 487411 w 1263758"/>
                        <a:gd name="connsiteY1945" fmla="*/ 937017 h 2117064"/>
                        <a:gd name="connsiteX1946" fmla="*/ 484711 w 1263758"/>
                        <a:gd name="connsiteY1946" fmla="*/ 934317 h 2117064"/>
                        <a:gd name="connsiteX1947" fmla="*/ 482910 w 1263758"/>
                        <a:gd name="connsiteY1947" fmla="*/ 930266 h 2117064"/>
                        <a:gd name="connsiteX1948" fmla="*/ 482460 w 1263758"/>
                        <a:gd name="connsiteY1948" fmla="*/ 930266 h 2117064"/>
                        <a:gd name="connsiteX1949" fmla="*/ 482010 w 1263758"/>
                        <a:gd name="connsiteY1949" fmla="*/ 932067 h 2117064"/>
                        <a:gd name="connsiteX1950" fmla="*/ 482460 w 1263758"/>
                        <a:gd name="connsiteY1950" fmla="*/ 933867 h 2117064"/>
                        <a:gd name="connsiteX1951" fmla="*/ 484261 w 1263758"/>
                        <a:gd name="connsiteY1951" fmla="*/ 937467 h 2117064"/>
                        <a:gd name="connsiteX1952" fmla="*/ 485161 w 1263758"/>
                        <a:gd name="connsiteY1952" fmla="*/ 941518 h 2117064"/>
                        <a:gd name="connsiteX1953" fmla="*/ 484261 w 1263758"/>
                        <a:gd name="connsiteY1953" fmla="*/ 942868 h 2117064"/>
                        <a:gd name="connsiteX1954" fmla="*/ 481560 w 1263758"/>
                        <a:gd name="connsiteY1954" fmla="*/ 943768 h 2117064"/>
                        <a:gd name="connsiteX1955" fmla="*/ 477960 w 1263758"/>
                        <a:gd name="connsiteY1955" fmla="*/ 943768 h 2117064"/>
                        <a:gd name="connsiteX1956" fmla="*/ 472109 w 1263758"/>
                        <a:gd name="connsiteY1956" fmla="*/ 945568 h 2117064"/>
                        <a:gd name="connsiteX1957" fmla="*/ 469409 w 1263758"/>
                        <a:gd name="connsiteY1957" fmla="*/ 946018 h 2117064"/>
                        <a:gd name="connsiteX1958" fmla="*/ 466708 w 1263758"/>
                        <a:gd name="connsiteY1958" fmla="*/ 945118 h 2117064"/>
                        <a:gd name="connsiteX1959" fmla="*/ 463108 w 1263758"/>
                        <a:gd name="connsiteY1959" fmla="*/ 944668 h 2117064"/>
                        <a:gd name="connsiteX1960" fmla="*/ 459957 w 1263758"/>
                        <a:gd name="connsiteY1960" fmla="*/ 945118 h 2117064"/>
                        <a:gd name="connsiteX1961" fmla="*/ 458157 w 1263758"/>
                        <a:gd name="connsiteY1961" fmla="*/ 944218 h 2117064"/>
                        <a:gd name="connsiteX1962" fmla="*/ 456357 w 1263758"/>
                        <a:gd name="connsiteY1962" fmla="*/ 942418 h 2117064"/>
                        <a:gd name="connsiteX1963" fmla="*/ 454557 w 1263758"/>
                        <a:gd name="connsiteY1963" fmla="*/ 942868 h 2117064"/>
                        <a:gd name="connsiteX1964" fmla="*/ 450056 w 1263758"/>
                        <a:gd name="connsiteY1964" fmla="*/ 947819 h 2117064"/>
                        <a:gd name="connsiteX1965" fmla="*/ 443305 w 1263758"/>
                        <a:gd name="connsiteY1965" fmla="*/ 946468 h 2117064"/>
                        <a:gd name="connsiteX1966" fmla="*/ 437005 w 1263758"/>
                        <a:gd name="connsiteY1966" fmla="*/ 946018 h 2117064"/>
                        <a:gd name="connsiteX1967" fmla="*/ 435654 w 1263758"/>
                        <a:gd name="connsiteY1967" fmla="*/ 944218 h 2117064"/>
                        <a:gd name="connsiteX1968" fmla="*/ 434304 w 1263758"/>
                        <a:gd name="connsiteY1968" fmla="*/ 941068 h 2117064"/>
                        <a:gd name="connsiteX1969" fmla="*/ 431604 w 1263758"/>
                        <a:gd name="connsiteY1969" fmla="*/ 931167 h 2117064"/>
                        <a:gd name="connsiteX1970" fmla="*/ 432054 w 1263758"/>
                        <a:gd name="connsiteY1970" fmla="*/ 928466 h 2117064"/>
                        <a:gd name="connsiteX1971" fmla="*/ 438805 w 1263758"/>
                        <a:gd name="connsiteY1971" fmla="*/ 927116 h 2117064"/>
                        <a:gd name="connsiteX1972" fmla="*/ 438805 w 1263758"/>
                        <a:gd name="connsiteY1972" fmla="*/ 926216 h 2117064"/>
                        <a:gd name="connsiteX1973" fmla="*/ 434304 w 1263758"/>
                        <a:gd name="connsiteY1973" fmla="*/ 922615 h 2117064"/>
                        <a:gd name="connsiteX1974" fmla="*/ 428904 w 1263758"/>
                        <a:gd name="connsiteY1974" fmla="*/ 919915 h 2117064"/>
                        <a:gd name="connsiteX1975" fmla="*/ 426653 w 1263758"/>
                        <a:gd name="connsiteY1975" fmla="*/ 917665 h 2117064"/>
                        <a:gd name="connsiteX1976" fmla="*/ 427103 w 1263758"/>
                        <a:gd name="connsiteY1976" fmla="*/ 913614 h 2117064"/>
                        <a:gd name="connsiteX1977" fmla="*/ 427103 w 1263758"/>
                        <a:gd name="connsiteY1977" fmla="*/ 912714 h 2117064"/>
                        <a:gd name="connsiteX1978" fmla="*/ 436104 w 1263758"/>
                        <a:gd name="connsiteY1978" fmla="*/ 908214 h 2117064"/>
                        <a:gd name="connsiteX1979" fmla="*/ 442855 w 1263758"/>
                        <a:gd name="connsiteY1979" fmla="*/ 899213 h 2117064"/>
                        <a:gd name="connsiteX1980" fmla="*/ 446906 w 1263758"/>
                        <a:gd name="connsiteY1980" fmla="*/ 895612 h 2117064"/>
                        <a:gd name="connsiteX1981" fmla="*/ 447356 w 1263758"/>
                        <a:gd name="connsiteY1981" fmla="*/ 893812 h 2117064"/>
                        <a:gd name="connsiteX1982" fmla="*/ 450956 w 1263758"/>
                        <a:gd name="connsiteY1982" fmla="*/ 892012 h 2117064"/>
                        <a:gd name="connsiteX1983" fmla="*/ 459057 w 1263758"/>
                        <a:gd name="connsiteY1983" fmla="*/ 890661 h 2117064"/>
                        <a:gd name="connsiteX1984" fmla="*/ 459507 w 1263758"/>
                        <a:gd name="connsiteY1984" fmla="*/ 887961 h 2117064"/>
                        <a:gd name="connsiteX1985" fmla="*/ 444205 w 1263758"/>
                        <a:gd name="connsiteY1985" fmla="*/ 889311 h 2117064"/>
                        <a:gd name="connsiteX1986" fmla="*/ 423503 w 1263758"/>
                        <a:gd name="connsiteY1986" fmla="*/ 894712 h 2117064"/>
                        <a:gd name="connsiteX1987" fmla="*/ 417202 w 1263758"/>
                        <a:gd name="connsiteY1987" fmla="*/ 897412 h 2117064"/>
                        <a:gd name="connsiteX1988" fmla="*/ 411801 w 1263758"/>
                        <a:gd name="connsiteY1988" fmla="*/ 896062 h 2117064"/>
                        <a:gd name="connsiteX1989" fmla="*/ 388849 w 1263758"/>
                        <a:gd name="connsiteY1989" fmla="*/ 904163 h 2117064"/>
                        <a:gd name="connsiteX1990" fmla="*/ 387948 w 1263758"/>
                        <a:gd name="connsiteY1990" fmla="*/ 904163 h 2117064"/>
                        <a:gd name="connsiteX1991" fmla="*/ 385698 w 1263758"/>
                        <a:gd name="connsiteY1991" fmla="*/ 901463 h 2117064"/>
                        <a:gd name="connsiteX1992" fmla="*/ 383448 w 1263758"/>
                        <a:gd name="connsiteY1992" fmla="*/ 896512 h 2117064"/>
                        <a:gd name="connsiteX1993" fmla="*/ 384798 w 1263758"/>
                        <a:gd name="connsiteY1993" fmla="*/ 893362 h 2117064"/>
                        <a:gd name="connsiteX1994" fmla="*/ 391549 w 1263758"/>
                        <a:gd name="connsiteY1994" fmla="*/ 887061 h 2117064"/>
                        <a:gd name="connsiteX1995" fmla="*/ 394699 w 1263758"/>
                        <a:gd name="connsiteY1995" fmla="*/ 881660 h 2117064"/>
                        <a:gd name="connsiteX1996" fmla="*/ 394249 w 1263758"/>
                        <a:gd name="connsiteY1996" fmla="*/ 878510 h 2117064"/>
                        <a:gd name="connsiteX1997" fmla="*/ 396950 w 1263758"/>
                        <a:gd name="connsiteY1997" fmla="*/ 873109 h 2117064"/>
                        <a:gd name="connsiteX1998" fmla="*/ 401450 w 1263758"/>
                        <a:gd name="connsiteY1998" fmla="*/ 872209 h 2117064"/>
                        <a:gd name="connsiteX1999" fmla="*/ 408651 w 1263758"/>
                        <a:gd name="connsiteY1999" fmla="*/ 876710 h 2117064"/>
                        <a:gd name="connsiteX2000" fmla="*/ 412252 w 1263758"/>
                        <a:gd name="connsiteY2000" fmla="*/ 881210 h 2117064"/>
                        <a:gd name="connsiteX2001" fmla="*/ 415852 w 1263758"/>
                        <a:gd name="connsiteY2001" fmla="*/ 883461 h 2117064"/>
                        <a:gd name="connsiteX2002" fmla="*/ 419002 w 1263758"/>
                        <a:gd name="connsiteY2002" fmla="*/ 883011 h 2117064"/>
                        <a:gd name="connsiteX2003" fmla="*/ 422153 w 1263758"/>
                        <a:gd name="connsiteY2003" fmla="*/ 879860 h 2117064"/>
                        <a:gd name="connsiteX2004" fmla="*/ 421253 w 1263758"/>
                        <a:gd name="connsiteY2004" fmla="*/ 879410 h 2117064"/>
                        <a:gd name="connsiteX2005" fmla="*/ 415852 w 1263758"/>
                        <a:gd name="connsiteY2005" fmla="*/ 881210 h 2117064"/>
                        <a:gd name="connsiteX2006" fmla="*/ 415402 w 1263758"/>
                        <a:gd name="connsiteY2006" fmla="*/ 880760 h 2117064"/>
                        <a:gd name="connsiteX2007" fmla="*/ 412702 w 1263758"/>
                        <a:gd name="connsiteY2007" fmla="*/ 875810 h 2117064"/>
                        <a:gd name="connsiteX2008" fmla="*/ 411351 w 1263758"/>
                        <a:gd name="connsiteY2008" fmla="*/ 872659 h 2117064"/>
                        <a:gd name="connsiteX2009" fmla="*/ 410451 w 1263758"/>
                        <a:gd name="connsiteY2009" fmla="*/ 869509 h 2117064"/>
                        <a:gd name="connsiteX2010" fmla="*/ 410451 w 1263758"/>
                        <a:gd name="connsiteY2010" fmla="*/ 867259 h 2117064"/>
                        <a:gd name="connsiteX2011" fmla="*/ 412252 w 1263758"/>
                        <a:gd name="connsiteY2011" fmla="*/ 863208 h 2117064"/>
                        <a:gd name="connsiteX2012" fmla="*/ 406401 w 1263758"/>
                        <a:gd name="connsiteY2012" fmla="*/ 861858 h 2117064"/>
                        <a:gd name="connsiteX2013" fmla="*/ 404150 w 1263758"/>
                        <a:gd name="connsiteY2013" fmla="*/ 858707 h 2117064"/>
                        <a:gd name="connsiteX2014" fmla="*/ 403250 w 1263758"/>
                        <a:gd name="connsiteY2014" fmla="*/ 855107 h 2117064"/>
                        <a:gd name="connsiteX2015" fmla="*/ 403700 w 1263758"/>
                        <a:gd name="connsiteY2015" fmla="*/ 853307 h 2117064"/>
                        <a:gd name="connsiteX2016" fmla="*/ 405501 w 1263758"/>
                        <a:gd name="connsiteY2016" fmla="*/ 848806 h 2117064"/>
                        <a:gd name="connsiteX2017" fmla="*/ 410451 w 1263758"/>
                        <a:gd name="connsiteY2017" fmla="*/ 842956 h 2117064"/>
                        <a:gd name="connsiteX2018" fmla="*/ 410001 w 1263758"/>
                        <a:gd name="connsiteY2018" fmla="*/ 841155 h 2117064"/>
                        <a:gd name="connsiteX2019" fmla="*/ 402350 w 1263758"/>
                        <a:gd name="connsiteY2019" fmla="*/ 841155 h 2117064"/>
                        <a:gd name="connsiteX2020" fmla="*/ 400550 w 1263758"/>
                        <a:gd name="connsiteY2020" fmla="*/ 840255 h 2117064"/>
                        <a:gd name="connsiteX2021" fmla="*/ 397400 w 1263758"/>
                        <a:gd name="connsiteY2021" fmla="*/ 836655 h 2117064"/>
                        <a:gd name="connsiteX2022" fmla="*/ 398300 w 1263758"/>
                        <a:gd name="connsiteY2022" fmla="*/ 832604 h 2117064"/>
                        <a:gd name="connsiteX2023" fmla="*/ 401450 w 1263758"/>
                        <a:gd name="connsiteY2023" fmla="*/ 826303 h 2117064"/>
                        <a:gd name="connsiteX2024" fmla="*/ 403700 w 1263758"/>
                        <a:gd name="connsiteY2024" fmla="*/ 822703 h 2117064"/>
                        <a:gd name="connsiteX2025" fmla="*/ 405051 w 1263758"/>
                        <a:gd name="connsiteY2025" fmla="*/ 821803 h 2117064"/>
                        <a:gd name="connsiteX2026" fmla="*/ 407301 w 1263758"/>
                        <a:gd name="connsiteY2026" fmla="*/ 821803 h 2117064"/>
                        <a:gd name="connsiteX2027" fmla="*/ 412702 w 1263758"/>
                        <a:gd name="connsiteY2027" fmla="*/ 824053 h 2117064"/>
                        <a:gd name="connsiteX2028" fmla="*/ 414502 w 1263758"/>
                        <a:gd name="connsiteY2028" fmla="*/ 825403 h 2117064"/>
                        <a:gd name="connsiteX2029" fmla="*/ 418552 w 1263758"/>
                        <a:gd name="connsiteY2029" fmla="*/ 831254 h 2117064"/>
                        <a:gd name="connsiteX2030" fmla="*/ 419452 w 1263758"/>
                        <a:gd name="connsiteY2030" fmla="*/ 834404 h 2117064"/>
                        <a:gd name="connsiteX2031" fmla="*/ 419452 w 1263758"/>
                        <a:gd name="connsiteY2031" fmla="*/ 837555 h 2117064"/>
                        <a:gd name="connsiteX2032" fmla="*/ 420353 w 1263758"/>
                        <a:gd name="connsiteY2032" fmla="*/ 839805 h 2117064"/>
                        <a:gd name="connsiteX2033" fmla="*/ 423503 w 1263758"/>
                        <a:gd name="connsiteY2033" fmla="*/ 843406 h 2117064"/>
                        <a:gd name="connsiteX2034" fmla="*/ 437905 w 1263758"/>
                        <a:gd name="connsiteY2034" fmla="*/ 860958 h 2117064"/>
                        <a:gd name="connsiteX2035" fmla="*/ 440605 w 1263758"/>
                        <a:gd name="connsiteY2035" fmla="*/ 865008 h 2117064"/>
                        <a:gd name="connsiteX2036" fmla="*/ 442405 w 1263758"/>
                        <a:gd name="connsiteY2036" fmla="*/ 866809 h 2117064"/>
                        <a:gd name="connsiteX2037" fmla="*/ 445556 w 1263758"/>
                        <a:gd name="connsiteY2037" fmla="*/ 868159 h 2117064"/>
                        <a:gd name="connsiteX2038" fmla="*/ 447356 w 1263758"/>
                        <a:gd name="connsiteY2038" fmla="*/ 867709 h 2117064"/>
                        <a:gd name="connsiteX2039" fmla="*/ 448706 w 1263758"/>
                        <a:gd name="connsiteY2039" fmla="*/ 866358 h 2117064"/>
                        <a:gd name="connsiteX2040" fmla="*/ 449156 w 1263758"/>
                        <a:gd name="connsiteY2040" fmla="*/ 864558 h 2117064"/>
                        <a:gd name="connsiteX2041" fmla="*/ 442855 w 1263758"/>
                        <a:gd name="connsiteY2041" fmla="*/ 858257 h 2117064"/>
                        <a:gd name="connsiteX2042" fmla="*/ 441505 w 1263758"/>
                        <a:gd name="connsiteY2042" fmla="*/ 855107 h 2117064"/>
                        <a:gd name="connsiteX2043" fmla="*/ 440155 w 1263758"/>
                        <a:gd name="connsiteY2043" fmla="*/ 850606 h 2117064"/>
                        <a:gd name="connsiteX2044" fmla="*/ 440605 w 1263758"/>
                        <a:gd name="connsiteY2044" fmla="*/ 849256 h 2117064"/>
                        <a:gd name="connsiteX2045" fmla="*/ 442405 w 1263758"/>
                        <a:gd name="connsiteY2045" fmla="*/ 848806 h 2117064"/>
                        <a:gd name="connsiteX2046" fmla="*/ 446906 w 1263758"/>
                        <a:gd name="connsiteY2046" fmla="*/ 849256 h 2117064"/>
                        <a:gd name="connsiteX2047" fmla="*/ 452307 w 1263758"/>
                        <a:gd name="connsiteY2047" fmla="*/ 847906 h 2117064"/>
                        <a:gd name="connsiteX2048" fmla="*/ 446456 w 1263758"/>
                        <a:gd name="connsiteY2048" fmla="*/ 846106 h 2117064"/>
                        <a:gd name="connsiteX2049" fmla="*/ 442405 w 1263758"/>
                        <a:gd name="connsiteY2049" fmla="*/ 843406 h 2117064"/>
                        <a:gd name="connsiteX2050" fmla="*/ 438355 w 1263758"/>
                        <a:gd name="connsiteY2050" fmla="*/ 843406 h 2117064"/>
                        <a:gd name="connsiteX2051" fmla="*/ 433404 w 1263758"/>
                        <a:gd name="connsiteY2051" fmla="*/ 839355 h 2117064"/>
                        <a:gd name="connsiteX2052" fmla="*/ 433404 w 1263758"/>
                        <a:gd name="connsiteY2052" fmla="*/ 838005 h 2117064"/>
                        <a:gd name="connsiteX2053" fmla="*/ 434754 w 1263758"/>
                        <a:gd name="connsiteY2053" fmla="*/ 836655 h 2117064"/>
                        <a:gd name="connsiteX2054" fmla="*/ 441505 w 1263758"/>
                        <a:gd name="connsiteY2054" fmla="*/ 834854 h 2117064"/>
                        <a:gd name="connsiteX2055" fmla="*/ 442855 w 1263758"/>
                        <a:gd name="connsiteY2055" fmla="*/ 833954 h 2117064"/>
                        <a:gd name="connsiteX2056" fmla="*/ 442855 w 1263758"/>
                        <a:gd name="connsiteY2056" fmla="*/ 832604 h 2117064"/>
                        <a:gd name="connsiteX2057" fmla="*/ 440605 w 1263758"/>
                        <a:gd name="connsiteY2057" fmla="*/ 829904 h 2117064"/>
                        <a:gd name="connsiteX2058" fmla="*/ 438805 w 1263758"/>
                        <a:gd name="connsiteY2058" fmla="*/ 828554 h 2117064"/>
                        <a:gd name="connsiteX2059" fmla="*/ 428904 w 1263758"/>
                        <a:gd name="connsiteY2059" fmla="*/ 825403 h 2117064"/>
                        <a:gd name="connsiteX2060" fmla="*/ 425303 w 1263758"/>
                        <a:gd name="connsiteY2060" fmla="*/ 821803 h 2117064"/>
                        <a:gd name="connsiteX2061" fmla="*/ 423953 w 1263758"/>
                        <a:gd name="connsiteY2061" fmla="*/ 820003 h 2117064"/>
                        <a:gd name="connsiteX2062" fmla="*/ 423503 w 1263758"/>
                        <a:gd name="connsiteY2062" fmla="*/ 818202 h 2117064"/>
                        <a:gd name="connsiteX2063" fmla="*/ 424853 w 1263758"/>
                        <a:gd name="connsiteY2063" fmla="*/ 813702 h 2117064"/>
                        <a:gd name="connsiteX2064" fmla="*/ 430254 w 1263758"/>
                        <a:gd name="connsiteY2064" fmla="*/ 808301 h 2117064"/>
                        <a:gd name="connsiteX2065" fmla="*/ 434304 w 1263758"/>
                        <a:gd name="connsiteY2065" fmla="*/ 805601 h 2117064"/>
                        <a:gd name="connsiteX2066" fmla="*/ 441055 w 1263758"/>
                        <a:gd name="connsiteY2066" fmla="*/ 803801 h 2117064"/>
                        <a:gd name="connsiteX2067" fmla="*/ 446456 w 1263758"/>
                        <a:gd name="connsiteY2067" fmla="*/ 804251 h 2117064"/>
                        <a:gd name="connsiteX2068" fmla="*/ 449606 w 1263758"/>
                        <a:gd name="connsiteY2068" fmla="*/ 805151 h 2117064"/>
                        <a:gd name="connsiteX2069" fmla="*/ 456807 w 1263758"/>
                        <a:gd name="connsiteY2069" fmla="*/ 814602 h 2117064"/>
                        <a:gd name="connsiteX2070" fmla="*/ 460408 w 1263758"/>
                        <a:gd name="connsiteY2070" fmla="*/ 820903 h 2117064"/>
                        <a:gd name="connsiteX2071" fmla="*/ 466258 w 1263758"/>
                        <a:gd name="connsiteY2071" fmla="*/ 820003 h 2117064"/>
                        <a:gd name="connsiteX2072" fmla="*/ 464458 w 1263758"/>
                        <a:gd name="connsiteY2072" fmla="*/ 813702 h 2117064"/>
                        <a:gd name="connsiteX2073" fmla="*/ 463558 w 1263758"/>
                        <a:gd name="connsiteY2073" fmla="*/ 806501 h 2117064"/>
                        <a:gd name="connsiteX2074" fmla="*/ 465358 w 1263758"/>
                        <a:gd name="connsiteY2074" fmla="*/ 803801 h 2117064"/>
                        <a:gd name="connsiteX2075" fmla="*/ 470309 w 1263758"/>
                        <a:gd name="connsiteY2075" fmla="*/ 799300 h 2117064"/>
                        <a:gd name="connsiteX2076" fmla="*/ 474359 w 1263758"/>
                        <a:gd name="connsiteY2076" fmla="*/ 801550 h 2117064"/>
                        <a:gd name="connsiteX2077" fmla="*/ 479310 w 1263758"/>
                        <a:gd name="connsiteY2077" fmla="*/ 807851 h 2117064"/>
                        <a:gd name="connsiteX2078" fmla="*/ 480210 w 1263758"/>
                        <a:gd name="connsiteY2078" fmla="*/ 810101 h 2117064"/>
                        <a:gd name="connsiteX2079" fmla="*/ 486061 w 1263758"/>
                        <a:gd name="connsiteY2079" fmla="*/ 814152 h 2117064"/>
                        <a:gd name="connsiteX2080" fmla="*/ 489661 w 1263758"/>
                        <a:gd name="connsiteY2080" fmla="*/ 815502 h 2117064"/>
                        <a:gd name="connsiteX2081" fmla="*/ 491461 w 1263758"/>
                        <a:gd name="connsiteY2081" fmla="*/ 817752 h 2117064"/>
                        <a:gd name="connsiteX2082" fmla="*/ 491011 w 1263758"/>
                        <a:gd name="connsiteY2082" fmla="*/ 821803 h 2117064"/>
                        <a:gd name="connsiteX2083" fmla="*/ 357345 w 1263758"/>
                        <a:gd name="connsiteY2083" fmla="*/ 811452 h 2117064"/>
                        <a:gd name="connsiteX2084" fmla="*/ 358245 w 1263758"/>
                        <a:gd name="connsiteY2084" fmla="*/ 811902 h 2117064"/>
                        <a:gd name="connsiteX2085" fmla="*/ 361395 w 1263758"/>
                        <a:gd name="connsiteY2085" fmla="*/ 810101 h 2117064"/>
                        <a:gd name="connsiteX2086" fmla="*/ 363645 w 1263758"/>
                        <a:gd name="connsiteY2086" fmla="*/ 809651 h 2117064"/>
                        <a:gd name="connsiteX2087" fmla="*/ 365896 w 1263758"/>
                        <a:gd name="connsiteY2087" fmla="*/ 813252 h 2117064"/>
                        <a:gd name="connsiteX2088" fmla="*/ 366346 w 1263758"/>
                        <a:gd name="connsiteY2088" fmla="*/ 815502 h 2117064"/>
                        <a:gd name="connsiteX2089" fmla="*/ 374897 w 1263758"/>
                        <a:gd name="connsiteY2089" fmla="*/ 820903 h 2117064"/>
                        <a:gd name="connsiteX2090" fmla="*/ 378047 w 1263758"/>
                        <a:gd name="connsiteY2090" fmla="*/ 823603 h 2117064"/>
                        <a:gd name="connsiteX2091" fmla="*/ 378497 w 1263758"/>
                        <a:gd name="connsiteY2091" fmla="*/ 825403 h 2117064"/>
                        <a:gd name="connsiteX2092" fmla="*/ 377597 w 1263758"/>
                        <a:gd name="connsiteY2092" fmla="*/ 827654 h 2117064"/>
                        <a:gd name="connsiteX2093" fmla="*/ 375347 w 1263758"/>
                        <a:gd name="connsiteY2093" fmla="*/ 830804 h 2117064"/>
                        <a:gd name="connsiteX2094" fmla="*/ 373097 w 1263758"/>
                        <a:gd name="connsiteY2094" fmla="*/ 833054 h 2117064"/>
                        <a:gd name="connsiteX2095" fmla="*/ 369496 w 1263758"/>
                        <a:gd name="connsiteY2095" fmla="*/ 834854 h 2117064"/>
                        <a:gd name="connsiteX2096" fmla="*/ 352394 w 1263758"/>
                        <a:gd name="connsiteY2096" fmla="*/ 835305 h 2117064"/>
                        <a:gd name="connsiteX2097" fmla="*/ 350594 w 1263758"/>
                        <a:gd name="connsiteY2097" fmla="*/ 834404 h 2117064"/>
                        <a:gd name="connsiteX2098" fmla="*/ 349694 w 1263758"/>
                        <a:gd name="connsiteY2098" fmla="*/ 831704 h 2117064"/>
                        <a:gd name="connsiteX2099" fmla="*/ 347443 w 1263758"/>
                        <a:gd name="connsiteY2099" fmla="*/ 821353 h 2117064"/>
                        <a:gd name="connsiteX2100" fmla="*/ 346093 w 1263758"/>
                        <a:gd name="connsiteY2100" fmla="*/ 815952 h 2117064"/>
                        <a:gd name="connsiteX2101" fmla="*/ 345643 w 1263758"/>
                        <a:gd name="connsiteY2101" fmla="*/ 811902 h 2117064"/>
                        <a:gd name="connsiteX2102" fmla="*/ 346093 w 1263758"/>
                        <a:gd name="connsiteY2102" fmla="*/ 809651 h 2117064"/>
                        <a:gd name="connsiteX2103" fmla="*/ 347893 w 1263758"/>
                        <a:gd name="connsiteY2103" fmla="*/ 807401 h 2117064"/>
                        <a:gd name="connsiteX2104" fmla="*/ 354194 w 1263758"/>
                        <a:gd name="connsiteY2104" fmla="*/ 804251 h 2117064"/>
                        <a:gd name="connsiteX2105" fmla="*/ 356895 w 1263758"/>
                        <a:gd name="connsiteY2105" fmla="*/ 804251 h 2117064"/>
                        <a:gd name="connsiteX2106" fmla="*/ 358695 w 1263758"/>
                        <a:gd name="connsiteY2106" fmla="*/ 805151 h 2117064"/>
                        <a:gd name="connsiteX2107" fmla="*/ 359595 w 1263758"/>
                        <a:gd name="connsiteY2107" fmla="*/ 806951 h 2117064"/>
                        <a:gd name="connsiteX2108" fmla="*/ 359595 w 1263758"/>
                        <a:gd name="connsiteY2108" fmla="*/ 809201 h 2117064"/>
                        <a:gd name="connsiteX2109" fmla="*/ 357345 w 1263758"/>
                        <a:gd name="connsiteY2109" fmla="*/ 811452 h 2117064"/>
                        <a:gd name="connsiteX2110" fmla="*/ 395149 w 1263758"/>
                        <a:gd name="connsiteY2110" fmla="*/ 862308 h 2117064"/>
                        <a:gd name="connsiteX2111" fmla="*/ 399650 w 1263758"/>
                        <a:gd name="connsiteY2111" fmla="*/ 867709 h 2117064"/>
                        <a:gd name="connsiteX2112" fmla="*/ 399650 w 1263758"/>
                        <a:gd name="connsiteY2112" fmla="*/ 869059 h 2117064"/>
                        <a:gd name="connsiteX2113" fmla="*/ 398750 w 1263758"/>
                        <a:gd name="connsiteY2113" fmla="*/ 869959 h 2117064"/>
                        <a:gd name="connsiteX2114" fmla="*/ 392899 w 1263758"/>
                        <a:gd name="connsiteY2114" fmla="*/ 872659 h 2117064"/>
                        <a:gd name="connsiteX2115" fmla="*/ 390649 w 1263758"/>
                        <a:gd name="connsiteY2115" fmla="*/ 874909 h 2117064"/>
                        <a:gd name="connsiteX2116" fmla="*/ 388849 w 1263758"/>
                        <a:gd name="connsiteY2116" fmla="*/ 880310 h 2117064"/>
                        <a:gd name="connsiteX2117" fmla="*/ 387498 w 1263758"/>
                        <a:gd name="connsiteY2117" fmla="*/ 882560 h 2117064"/>
                        <a:gd name="connsiteX2118" fmla="*/ 379847 w 1263758"/>
                        <a:gd name="connsiteY2118" fmla="*/ 883911 h 2117064"/>
                        <a:gd name="connsiteX2119" fmla="*/ 371747 w 1263758"/>
                        <a:gd name="connsiteY2119" fmla="*/ 883911 h 2117064"/>
                        <a:gd name="connsiteX2120" fmla="*/ 373097 w 1263758"/>
                        <a:gd name="connsiteY2120" fmla="*/ 878960 h 2117064"/>
                        <a:gd name="connsiteX2121" fmla="*/ 377597 w 1263758"/>
                        <a:gd name="connsiteY2121" fmla="*/ 870409 h 2117064"/>
                        <a:gd name="connsiteX2122" fmla="*/ 373997 w 1263758"/>
                        <a:gd name="connsiteY2122" fmla="*/ 866809 h 2117064"/>
                        <a:gd name="connsiteX2123" fmla="*/ 361845 w 1263758"/>
                        <a:gd name="connsiteY2123" fmla="*/ 872659 h 2117064"/>
                        <a:gd name="connsiteX2124" fmla="*/ 357345 w 1263758"/>
                        <a:gd name="connsiteY2124" fmla="*/ 869059 h 2117064"/>
                        <a:gd name="connsiteX2125" fmla="*/ 361395 w 1263758"/>
                        <a:gd name="connsiteY2125" fmla="*/ 860058 h 2117064"/>
                        <a:gd name="connsiteX2126" fmla="*/ 357345 w 1263758"/>
                        <a:gd name="connsiteY2126" fmla="*/ 859158 h 2117064"/>
                        <a:gd name="connsiteX2127" fmla="*/ 351944 w 1263758"/>
                        <a:gd name="connsiteY2127" fmla="*/ 859158 h 2117064"/>
                        <a:gd name="connsiteX2128" fmla="*/ 348344 w 1263758"/>
                        <a:gd name="connsiteY2128" fmla="*/ 853757 h 2117064"/>
                        <a:gd name="connsiteX2129" fmla="*/ 349694 w 1263758"/>
                        <a:gd name="connsiteY2129" fmla="*/ 847006 h 2117064"/>
                        <a:gd name="connsiteX2130" fmla="*/ 356895 w 1263758"/>
                        <a:gd name="connsiteY2130" fmla="*/ 843406 h 2117064"/>
                        <a:gd name="connsiteX2131" fmla="*/ 366346 w 1263758"/>
                        <a:gd name="connsiteY2131" fmla="*/ 840255 h 2117064"/>
                        <a:gd name="connsiteX2132" fmla="*/ 376247 w 1263758"/>
                        <a:gd name="connsiteY2132" fmla="*/ 835305 h 2117064"/>
                        <a:gd name="connsiteX2133" fmla="*/ 383898 w 1263758"/>
                        <a:gd name="connsiteY2133" fmla="*/ 835755 h 2117064"/>
                        <a:gd name="connsiteX2134" fmla="*/ 387048 w 1263758"/>
                        <a:gd name="connsiteY2134" fmla="*/ 838005 h 2117064"/>
                        <a:gd name="connsiteX2135" fmla="*/ 387948 w 1263758"/>
                        <a:gd name="connsiteY2135" fmla="*/ 845656 h 2117064"/>
                        <a:gd name="connsiteX2136" fmla="*/ 388849 w 1263758"/>
                        <a:gd name="connsiteY2136" fmla="*/ 854657 h 2117064"/>
                        <a:gd name="connsiteX2137" fmla="*/ 390199 w 1263758"/>
                        <a:gd name="connsiteY2137" fmla="*/ 855557 h 2117064"/>
                        <a:gd name="connsiteX2138" fmla="*/ 395149 w 1263758"/>
                        <a:gd name="connsiteY2138" fmla="*/ 862308 h 2117064"/>
                        <a:gd name="connsiteX2139" fmla="*/ 886611 w 1263758"/>
                        <a:gd name="connsiteY2139" fmla="*/ 869959 h 2117064"/>
                        <a:gd name="connsiteX2140" fmla="*/ 887061 w 1263758"/>
                        <a:gd name="connsiteY2140" fmla="*/ 874909 h 2117064"/>
                        <a:gd name="connsiteX2141" fmla="*/ 885711 w 1263758"/>
                        <a:gd name="connsiteY2141" fmla="*/ 874459 h 2117064"/>
                        <a:gd name="connsiteX2142" fmla="*/ 880760 w 1263758"/>
                        <a:gd name="connsiteY2142" fmla="*/ 877610 h 2117064"/>
                        <a:gd name="connsiteX2143" fmla="*/ 876710 w 1263758"/>
                        <a:gd name="connsiteY2143" fmla="*/ 878060 h 2117064"/>
                        <a:gd name="connsiteX2144" fmla="*/ 874909 w 1263758"/>
                        <a:gd name="connsiteY2144" fmla="*/ 876710 h 2117064"/>
                        <a:gd name="connsiteX2145" fmla="*/ 873559 w 1263758"/>
                        <a:gd name="connsiteY2145" fmla="*/ 873109 h 2117064"/>
                        <a:gd name="connsiteX2146" fmla="*/ 876710 w 1263758"/>
                        <a:gd name="connsiteY2146" fmla="*/ 866358 h 2117064"/>
                        <a:gd name="connsiteX2147" fmla="*/ 880310 w 1263758"/>
                        <a:gd name="connsiteY2147" fmla="*/ 861858 h 2117064"/>
                        <a:gd name="connsiteX2148" fmla="*/ 884811 w 1263758"/>
                        <a:gd name="connsiteY2148" fmla="*/ 854657 h 2117064"/>
                        <a:gd name="connsiteX2149" fmla="*/ 888411 w 1263758"/>
                        <a:gd name="connsiteY2149" fmla="*/ 849706 h 2117064"/>
                        <a:gd name="connsiteX2150" fmla="*/ 890211 w 1263758"/>
                        <a:gd name="connsiteY2150" fmla="*/ 850606 h 2117064"/>
                        <a:gd name="connsiteX2151" fmla="*/ 892011 w 1263758"/>
                        <a:gd name="connsiteY2151" fmla="*/ 853307 h 2117064"/>
                        <a:gd name="connsiteX2152" fmla="*/ 889761 w 1263758"/>
                        <a:gd name="connsiteY2152" fmla="*/ 860508 h 2117064"/>
                        <a:gd name="connsiteX2153" fmla="*/ 887511 w 1263758"/>
                        <a:gd name="connsiteY2153" fmla="*/ 864108 h 2117064"/>
                        <a:gd name="connsiteX2154" fmla="*/ 886611 w 1263758"/>
                        <a:gd name="connsiteY2154" fmla="*/ 869959 h 2117064"/>
                        <a:gd name="connsiteX2155" fmla="*/ 558520 w 1263758"/>
                        <a:gd name="connsiteY2155" fmla="*/ 885261 h 2117064"/>
                        <a:gd name="connsiteX2156" fmla="*/ 556270 w 1263758"/>
                        <a:gd name="connsiteY2156" fmla="*/ 885261 h 2117064"/>
                        <a:gd name="connsiteX2157" fmla="*/ 553569 w 1263758"/>
                        <a:gd name="connsiteY2157" fmla="*/ 883461 h 2117064"/>
                        <a:gd name="connsiteX2158" fmla="*/ 552669 w 1263758"/>
                        <a:gd name="connsiteY2158" fmla="*/ 881660 h 2117064"/>
                        <a:gd name="connsiteX2159" fmla="*/ 552219 w 1263758"/>
                        <a:gd name="connsiteY2159" fmla="*/ 878960 h 2117064"/>
                        <a:gd name="connsiteX2160" fmla="*/ 551769 w 1263758"/>
                        <a:gd name="connsiteY2160" fmla="*/ 875810 h 2117064"/>
                        <a:gd name="connsiteX2161" fmla="*/ 551319 w 1263758"/>
                        <a:gd name="connsiteY2161" fmla="*/ 873109 h 2117064"/>
                        <a:gd name="connsiteX2162" fmla="*/ 550419 w 1263758"/>
                        <a:gd name="connsiteY2162" fmla="*/ 871309 h 2117064"/>
                        <a:gd name="connsiteX2163" fmla="*/ 550419 w 1263758"/>
                        <a:gd name="connsiteY2163" fmla="*/ 869509 h 2117064"/>
                        <a:gd name="connsiteX2164" fmla="*/ 550869 w 1263758"/>
                        <a:gd name="connsiteY2164" fmla="*/ 868159 h 2117064"/>
                        <a:gd name="connsiteX2165" fmla="*/ 551769 w 1263758"/>
                        <a:gd name="connsiteY2165" fmla="*/ 867259 h 2117064"/>
                        <a:gd name="connsiteX2166" fmla="*/ 553569 w 1263758"/>
                        <a:gd name="connsiteY2166" fmla="*/ 866809 h 2117064"/>
                        <a:gd name="connsiteX2167" fmla="*/ 558070 w 1263758"/>
                        <a:gd name="connsiteY2167" fmla="*/ 863208 h 2117064"/>
                        <a:gd name="connsiteX2168" fmla="*/ 558970 w 1263758"/>
                        <a:gd name="connsiteY2168" fmla="*/ 863658 h 2117064"/>
                        <a:gd name="connsiteX2169" fmla="*/ 559420 w 1263758"/>
                        <a:gd name="connsiteY2169" fmla="*/ 865458 h 2117064"/>
                        <a:gd name="connsiteX2170" fmla="*/ 559870 w 1263758"/>
                        <a:gd name="connsiteY2170" fmla="*/ 870409 h 2117064"/>
                        <a:gd name="connsiteX2171" fmla="*/ 560320 w 1263758"/>
                        <a:gd name="connsiteY2171" fmla="*/ 873109 h 2117064"/>
                        <a:gd name="connsiteX2172" fmla="*/ 562120 w 1263758"/>
                        <a:gd name="connsiteY2172" fmla="*/ 878060 h 2117064"/>
                        <a:gd name="connsiteX2173" fmla="*/ 563020 w 1263758"/>
                        <a:gd name="connsiteY2173" fmla="*/ 881210 h 2117064"/>
                        <a:gd name="connsiteX2174" fmla="*/ 563020 w 1263758"/>
                        <a:gd name="connsiteY2174" fmla="*/ 882110 h 2117064"/>
                        <a:gd name="connsiteX2175" fmla="*/ 562570 w 1263758"/>
                        <a:gd name="connsiteY2175" fmla="*/ 883011 h 2117064"/>
                        <a:gd name="connsiteX2176" fmla="*/ 558520 w 1263758"/>
                        <a:gd name="connsiteY2176" fmla="*/ 885261 h 2117064"/>
                        <a:gd name="connsiteX2177" fmla="*/ 525666 w 1263758"/>
                        <a:gd name="connsiteY2177" fmla="*/ 905513 h 2117064"/>
                        <a:gd name="connsiteX2178" fmla="*/ 523865 w 1263758"/>
                        <a:gd name="connsiteY2178" fmla="*/ 908214 h 2117064"/>
                        <a:gd name="connsiteX2179" fmla="*/ 522065 w 1263758"/>
                        <a:gd name="connsiteY2179" fmla="*/ 908214 h 2117064"/>
                        <a:gd name="connsiteX2180" fmla="*/ 519815 w 1263758"/>
                        <a:gd name="connsiteY2180" fmla="*/ 905513 h 2117064"/>
                        <a:gd name="connsiteX2181" fmla="*/ 517115 w 1263758"/>
                        <a:gd name="connsiteY2181" fmla="*/ 906413 h 2117064"/>
                        <a:gd name="connsiteX2182" fmla="*/ 513514 w 1263758"/>
                        <a:gd name="connsiteY2182" fmla="*/ 911814 h 2117064"/>
                        <a:gd name="connsiteX2183" fmla="*/ 512164 w 1263758"/>
                        <a:gd name="connsiteY2183" fmla="*/ 914965 h 2117064"/>
                        <a:gd name="connsiteX2184" fmla="*/ 511264 w 1263758"/>
                        <a:gd name="connsiteY2184" fmla="*/ 916315 h 2117064"/>
                        <a:gd name="connsiteX2185" fmla="*/ 508564 w 1263758"/>
                        <a:gd name="connsiteY2185" fmla="*/ 917215 h 2117064"/>
                        <a:gd name="connsiteX2186" fmla="*/ 507213 w 1263758"/>
                        <a:gd name="connsiteY2186" fmla="*/ 916315 h 2117064"/>
                        <a:gd name="connsiteX2187" fmla="*/ 505863 w 1263758"/>
                        <a:gd name="connsiteY2187" fmla="*/ 913614 h 2117064"/>
                        <a:gd name="connsiteX2188" fmla="*/ 504963 w 1263758"/>
                        <a:gd name="connsiteY2188" fmla="*/ 909114 h 2117064"/>
                        <a:gd name="connsiteX2189" fmla="*/ 505863 w 1263758"/>
                        <a:gd name="connsiteY2189" fmla="*/ 905513 h 2117064"/>
                        <a:gd name="connsiteX2190" fmla="*/ 508564 w 1263758"/>
                        <a:gd name="connsiteY2190" fmla="*/ 903263 h 2117064"/>
                        <a:gd name="connsiteX2191" fmla="*/ 515765 w 1263758"/>
                        <a:gd name="connsiteY2191" fmla="*/ 899213 h 2117064"/>
                        <a:gd name="connsiteX2192" fmla="*/ 517565 w 1263758"/>
                        <a:gd name="connsiteY2192" fmla="*/ 897412 h 2117064"/>
                        <a:gd name="connsiteX2193" fmla="*/ 517565 w 1263758"/>
                        <a:gd name="connsiteY2193" fmla="*/ 895162 h 2117064"/>
                        <a:gd name="connsiteX2194" fmla="*/ 518015 w 1263758"/>
                        <a:gd name="connsiteY2194" fmla="*/ 893812 h 2117064"/>
                        <a:gd name="connsiteX2195" fmla="*/ 518465 w 1263758"/>
                        <a:gd name="connsiteY2195" fmla="*/ 893362 h 2117064"/>
                        <a:gd name="connsiteX2196" fmla="*/ 522965 w 1263758"/>
                        <a:gd name="connsiteY2196" fmla="*/ 896962 h 2117064"/>
                        <a:gd name="connsiteX2197" fmla="*/ 525216 w 1263758"/>
                        <a:gd name="connsiteY2197" fmla="*/ 899213 h 2117064"/>
                        <a:gd name="connsiteX2198" fmla="*/ 527016 w 1263758"/>
                        <a:gd name="connsiteY2198" fmla="*/ 901913 h 2117064"/>
                        <a:gd name="connsiteX2199" fmla="*/ 527016 w 1263758"/>
                        <a:gd name="connsiteY2199" fmla="*/ 902813 h 2117064"/>
                        <a:gd name="connsiteX2200" fmla="*/ 525666 w 1263758"/>
                        <a:gd name="connsiteY2200" fmla="*/ 905513 h 2117064"/>
                        <a:gd name="connsiteX2201" fmla="*/ 579222 w 1263758"/>
                        <a:gd name="connsiteY2201" fmla="*/ 946018 h 2117064"/>
                        <a:gd name="connsiteX2202" fmla="*/ 580573 w 1263758"/>
                        <a:gd name="connsiteY2202" fmla="*/ 952319 h 2117064"/>
                        <a:gd name="connsiteX2203" fmla="*/ 581023 w 1263758"/>
                        <a:gd name="connsiteY2203" fmla="*/ 955020 h 2117064"/>
                        <a:gd name="connsiteX2204" fmla="*/ 581023 w 1263758"/>
                        <a:gd name="connsiteY2204" fmla="*/ 960420 h 2117064"/>
                        <a:gd name="connsiteX2205" fmla="*/ 580573 w 1263758"/>
                        <a:gd name="connsiteY2205" fmla="*/ 967171 h 2117064"/>
                        <a:gd name="connsiteX2206" fmla="*/ 580123 w 1263758"/>
                        <a:gd name="connsiteY2206" fmla="*/ 968521 h 2117064"/>
                        <a:gd name="connsiteX2207" fmla="*/ 579672 w 1263758"/>
                        <a:gd name="connsiteY2207" fmla="*/ 968971 h 2117064"/>
                        <a:gd name="connsiteX2208" fmla="*/ 579222 w 1263758"/>
                        <a:gd name="connsiteY2208" fmla="*/ 970771 h 2117064"/>
                        <a:gd name="connsiteX2209" fmla="*/ 579222 w 1263758"/>
                        <a:gd name="connsiteY2209" fmla="*/ 973922 h 2117064"/>
                        <a:gd name="connsiteX2210" fmla="*/ 578772 w 1263758"/>
                        <a:gd name="connsiteY2210" fmla="*/ 975722 h 2117064"/>
                        <a:gd name="connsiteX2211" fmla="*/ 577422 w 1263758"/>
                        <a:gd name="connsiteY2211" fmla="*/ 976172 h 2117064"/>
                        <a:gd name="connsiteX2212" fmla="*/ 569771 w 1263758"/>
                        <a:gd name="connsiteY2212" fmla="*/ 977522 h 2117064"/>
                        <a:gd name="connsiteX2213" fmla="*/ 565271 w 1263758"/>
                        <a:gd name="connsiteY2213" fmla="*/ 977072 h 2117064"/>
                        <a:gd name="connsiteX2214" fmla="*/ 558070 w 1263758"/>
                        <a:gd name="connsiteY2214" fmla="*/ 977972 h 2117064"/>
                        <a:gd name="connsiteX2215" fmla="*/ 554469 w 1263758"/>
                        <a:gd name="connsiteY2215" fmla="*/ 977522 h 2117064"/>
                        <a:gd name="connsiteX2216" fmla="*/ 552219 w 1263758"/>
                        <a:gd name="connsiteY2216" fmla="*/ 976172 h 2117064"/>
                        <a:gd name="connsiteX2217" fmla="*/ 549069 w 1263758"/>
                        <a:gd name="connsiteY2217" fmla="*/ 973022 h 2117064"/>
                        <a:gd name="connsiteX2218" fmla="*/ 542318 w 1263758"/>
                        <a:gd name="connsiteY2218" fmla="*/ 965371 h 2117064"/>
                        <a:gd name="connsiteX2219" fmla="*/ 538717 w 1263758"/>
                        <a:gd name="connsiteY2219" fmla="*/ 964921 h 2117064"/>
                        <a:gd name="connsiteX2220" fmla="*/ 530166 w 1263758"/>
                        <a:gd name="connsiteY2220" fmla="*/ 962220 h 2117064"/>
                        <a:gd name="connsiteX2221" fmla="*/ 525216 w 1263758"/>
                        <a:gd name="connsiteY2221" fmla="*/ 954119 h 2117064"/>
                        <a:gd name="connsiteX2222" fmla="*/ 523415 w 1263758"/>
                        <a:gd name="connsiteY2222" fmla="*/ 952769 h 2117064"/>
                        <a:gd name="connsiteX2223" fmla="*/ 521615 w 1263758"/>
                        <a:gd name="connsiteY2223" fmla="*/ 955470 h 2117064"/>
                        <a:gd name="connsiteX2224" fmla="*/ 521165 w 1263758"/>
                        <a:gd name="connsiteY2224" fmla="*/ 955020 h 2117064"/>
                        <a:gd name="connsiteX2225" fmla="*/ 520715 w 1263758"/>
                        <a:gd name="connsiteY2225" fmla="*/ 953219 h 2117064"/>
                        <a:gd name="connsiteX2226" fmla="*/ 520265 w 1263758"/>
                        <a:gd name="connsiteY2226" fmla="*/ 950519 h 2117064"/>
                        <a:gd name="connsiteX2227" fmla="*/ 519365 w 1263758"/>
                        <a:gd name="connsiteY2227" fmla="*/ 949169 h 2117064"/>
                        <a:gd name="connsiteX2228" fmla="*/ 515765 w 1263758"/>
                        <a:gd name="connsiteY2228" fmla="*/ 950069 h 2117064"/>
                        <a:gd name="connsiteX2229" fmla="*/ 515314 w 1263758"/>
                        <a:gd name="connsiteY2229" fmla="*/ 949169 h 2117064"/>
                        <a:gd name="connsiteX2230" fmla="*/ 515314 w 1263758"/>
                        <a:gd name="connsiteY2230" fmla="*/ 946918 h 2117064"/>
                        <a:gd name="connsiteX2231" fmla="*/ 515314 w 1263758"/>
                        <a:gd name="connsiteY2231" fmla="*/ 944668 h 2117064"/>
                        <a:gd name="connsiteX2232" fmla="*/ 515765 w 1263758"/>
                        <a:gd name="connsiteY2232" fmla="*/ 941518 h 2117064"/>
                        <a:gd name="connsiteX2233" fmla="*/ 519815 w 1263758"/>
                        <a:gd name="connsiteY2233" fmla="*/ 932067 h 2117064"/>
                        <a:gd name="connsiteX2234" fmla="*/ 521615 w 1263758"/>
                        <a:gd name="connsiteY2234" fmla="*/ 931617 h 2117064"/>
                        <a:gd name="connsiteX2235" fmla="*/ 523865 w 1263758"/>
                        <a:gd name="connsiteY2235" fmla="*/ 929816 h 2117064"/>
                        <a:gd name="connsiteX2236" fmla="*/ 525216 w 1263758"/>
                        <a:gd name="connsiteY2236" fmla="*/ 924866 h 2117064"/>
                        <a:gd name="connsiteX2237" fmla="*/ 525216 w 1263758"/>
                        <a:gd name="connsiteY2237" fmla="*/ 919915 h 2117064"/>
                        <a:gd name="connsiteX2238" fmla="*/ 528816 w 1263758"/>
                        <a:gd name="connsiteY2238" fmla="*/ 912714 h 2117064"/>
                        <a:gd name="connsiteX2239" fmla="*/ 531066 w 1263758"/>
                        <a:gd name="connsiteY2239" fmla="*/ 910464 h 2117064"/>
                        <a:gd name="connsiteX2240" fmla="*/ 535117 w 1263758"/>
                        <a:gd name="connsiteY2240" fmla="*/ 905513 h 2117064"/>
                        <a:gd name="connsiteX2241" fmla="*/ 548168 w 1263758"/>
                        <a:gd name="connsiteY2241" fmla="*/ 897412 h 2117064"/>
                        <a:gd name="connsiteX2242" fmla="*/ 551769 w 1263758"/>
                        <a:gd name="connsiteY2242" fmla="*/ 896512 h 2117064"/>
                        <a:gd name="connsiteX2243" fmla="*/ 556720 w 1263758"/>
                        <a:gd name="connsiteY2243" fmla="*/ 896962 h 2117064"/>
                        <a:gd name="connsiteX2244" fmla="*/ 561220 w 1263758"/>
                        <a:gd name="connsiteY2244" fmla="*/ 899663 h 2117064"/>
                        <a:gd name="connsiteX2245" fmla="*/ 564821 w 1263758"/>
                        <a:gd name="connsiteY2245" fmla="*/ 903713 h 2117064"/>
                        <a:gd name="connsiteX2246" fmla="*/ 572022 w 1263758"/>
                        <a:gd name="connsiteY2246" fmla="*/ 914064 h 2117064"/>
                        <a:gd name="connsiteX2247" fmla="*/ 575172 w 1263758"/>
                        <a:gd name="connsiteY2247" fmla="*/ 920365 h 2117064"/>
                        <a:gd name="connsiteX2248" fmla="*/ 576972 w 1263758"/>
                        <a:gd name="connsiteY2248" fmla="*/ 926666 h 2117064"/>
                        <a:gd name="connsiteX2249" fmla="*/ 578772 w 1263758"/>
                        <a:gd name="connsiteY2249" fmla="*/ 930266 h 2117064"/>
                        <a:gd name="connsiteX2250" fmla="*/ 580573 w 1263758"/>
                        <a:gd name="connsiteY2250" fmla="*/ 937917 h 2117064"/>
                        <a:gd name="connsiteX2251" fmla="*/ 579672 w 1263758"/>
                        <a:gd name="connsiteY2251" fmla="*/ 941068 h 2117064"/>
                        <a:gd name="connsiteX2252" fmla="*/ 579222 w 1263758"/>
                        <a:gd name="connsiteY2252" fmla="*/ 945118 h 2117064"/>
                        <a:gd name="connsiteX2253" fmla="*/ 579222 w 1263758"/>
                        <a:gd name="connsiteY2253" fmla="*/ 946018 h 2117064"/>
                        <a:gd name="connsiteX2254" fmla="*/ 355094 w 1263758"/>
                        <a:gd name="connsiteY2254" fmla="*/ 945118 h 2117064"/>
                        <a:gd name="connsiteX2255" fmla="*/ 351044 w 1263758"/>
                        <a:gd name="connsiteY2255" fmla="*/ 945568 h 2117064"/>
                        <a:gd name="connsiteX2256" fmla="*/ 344293 w 1263758"/>
                        <a:gd name="connsiteY2256" fmla="*/ 942868 h 2117064"/>
                        <a:gd name="connsiteX2257" fmla="*/ 340243 w 1263758"/>
                        <a:gd name="connsiteY2257" fmla="*/ 937917 h 2117064"/>
                        <a:gd name="connsiteX2258" fmla="*/ 338892 w 1263758"/>
                        <a:gd name="connsiteY2258" fmla="*/ 935667 h 2117064"/>
                        <a:gd name="connsiteX2259" fmla="*/ 338892 w 1263758"/>
                        <a:gd name="connsiteY2259" fmla="*/ 934767 h 2117064"/>
                        <a:gd name="connsiteX2260" fmla="*/ 339792 w 1263758"/>
                        <a:gd name="connsiteY2260" fmla="*/ 933867 h 2117064"/>
                        <a:gd name="connsiteX2261" fmla="*/ 340693 w 1263758"/>
                        <a:gd name="connsiteY2261" fmla="*/ 930717 h 2117064"/>
                        <a:gd name="connsiteX2262" fmla="*/ 342943 w 1263758"/>
                        <a:gd name="connsiteY2262" fmla="*/ 921715 h 2117064"/>
                        <a:gd name="connsiteX2263" fmla="*/ 343843 w 1263758"/>
                        <a:gd name="connsiteY2263" fmla="*/ 919465 h 2117064"/>
                        <a:gd name="connsiteX2264" fmla="*/ 347443 w 1263758"/>
                        <a:gd name="connsiteY2264" fmla="*/ 914064 h 2117064"/>
                        <a:gd name="connsiteX2265" fmla="*/ 350144 w 1263758"/>
                        <a:gd name="connsiteY2265" fmla="*/ 912714 h 2117064"/>
                        <a:gd name="connsiteX2266" fmla="*/ 355995 w 1263758"/>
                        <a:gd name="connsiteY2266" fmla="*/ 913164 h 2117064"/>
                        <a:gd name="connsiteX2267" fmla="*/ 359145 w 1263758"/>
                        <a:gd name="connsiteY2267" fmla="*/ 915865 h 2117064"/>
                        <a:gd name="connsiteX2268" fmla="*/ 360495 w 1263758"/>
                        <a:gd name="connsiteY2268" fmla="*/ 917665 h 2117064"/>
                        <a:gd name="connsiteX2269" fmla="*/ 361395 w 1263758"/>
                        <a:gd name="connsiteY2269" fmla="*/ 919915 h 2117064"/>
                        <a:gd name="connsiteX2270" fmla="*/ 362295 w 1263758"/>
                        <a:gd name="connsiteY2270" fmla="*/ 924866 h 2117064"/>
                        <a:gd name="connsiteX2271" fmla="*/ 362745 w 1263758"/>
                        <a:gd name="connsiteY2271" fmla="*/ 928016 h 2117064"/>
                        <a:gd name="connsiteX2272" fmla="*/ 364546 w 1263758"/>
                        <a:gd name="connsiteY2272" fmla="*/ 931617 h 2117064"/>
                        <a:gd name="connsiteX2273" fmla="*/ 364996 w 1263758"/>
                        <a:gd name="connsiteY2273" fmla="*/ 933417 h 2117064"/>
                        <a:gd name="connsiteX2274" fmla="*/ 364996 w 1263758"/>
                        <a:gd name="connsiteY2274" fmla="*/ 935217 h 2117064"/>
                        <a:gd name="connsiteX2275" fmla="*/ 364546 w 1263758"/>
                        <a:gd name="connsiteY2275" fmla="*/ 937017 h 2117064"/>
                        <a:gd name="connsiteX2276" fmla="*/ 363645 w 1263758"/>
                        <a:gd name="connsiteY2276" fmla="*/ 938818 h 2117064"/>
                        <a:gd name="connsiteX2277" fmla="*/ 361395 w 1263758"/>
                        <a:gd name="connsiteY2277" fmla="*/ 941518 h 2117064"/>
                        <a:gd name="connsiteX2278" fmla="*/ 355094 w 1263758"/>
                        <a:gd name="connsiteY2278" fmla="*/ 945118 h 2117064"/>
                        <a:gd name="connsiteX2279" fmla="*/ 541868 w 1263758"/>
                        <a:gd name="connsiteY2279" fmla="*/ 987874 h 2117064"/>
                        <a:gd name="connsiteX2280" fmla="*/ 540968 w 1263758"/>
                        <a:gd name="connsiteY2280" fmla="*/ 988324 h 2117064"/>
                        <a:gd name="connsiteX2281" fmla="*/ 539167 w 1263758"/>
                        <a:gd name="connsiteY2281" fmla="*/ 987874 h 2117064"/>
                        <a:gd name="connsiteX2282" fmla="*/ 531966 w 1263758"/>
                        <a:gd name="connsiteY2282" fmla="*/ 984273 h 2117064"/>
                        <a:gd name="connsiteX2283" fmla="*/ 530616 w 1263758"/>
                        <a:gd name="connsiteY2283" fmla="*/ 982923 h 2117064"/>
                        <a:gd name="connsiteX2284" fmla="*/ 530166 w 1263758"/>
                        <a:gd name="connsiteY2284" fmla="*/ 982023 h 2117064"/>
                        <a:gd name="connsiteX2285" fmla="*/ 531966 w 1263758"/>
                        <a:gd name="connsiteY2285" fmla="*/ 980673 h 2117064"/>
                        <a:gd name="connsiteX2286" fmla="*/ 532417 w 1263758"/>
                        <a:gd name="connsiteY2286" fmla="*/ 979323 h 2117064"/>
                        <a:gd name="connsiteX2287" fmla="*/ 534217 w 1263758"/>
                        <a:gd name="connsiteY2287" fmla="*/ 977522 h 2117064"/>
                        <a:gd name="connsiteX2288" fmla="*/ 537367 w 1263758"/>
                        <a:gd name="connsiteY2288" fmla="*/ 977522 h 2117064"/>
                        <a:gd name="connsiteX2289" fmla="*/ 540518 w 1263758"/>
                        <a:gd name="connsiteY2289" fmla="*/ 981573 h 2117064"/>
                        <a:gd name="connsiteX2290" fmla="*/ 542318 w 1263758"/>
                        <a:gd name="connsiteY2290" fmla="*/ 985173 h 2117064"/>
                        <a:gd name="connsiteX2291" fmla="*/ 542318 w 1263758"/>
                        <a:gd name="connsiteY2291" fmla="*/ 986974 h 2117064"/>
                        <a:gd name="connsiteX2292" fmla="*/ 541868 w 1263758"/>
                        <a:gd name="connsiteY2292" fmla="*/ 987874 h 2117064"/>
                        <a:gd name="connsiteX2293" fmla="*/ 498662 w 1263758"/>
                        <a:gd name="connsiteY2293" fmla="*/ 986523 h 2117064"/>
                        <a:gd name="connsiteX2294" fmla="*/ 492362 w 1263758"/>
                        <a:gd name="connsiteY2294" fmla="*/ 991474 h 2117064"/>
                        <a:gd name="connsiteX2295" fmla="*/ 491011 w 1263758"/>
                        <a:gd name="connsiteY2295" fmla="*/ 989674 h 2117064"/>
                        <a:gd name="connsiteX2296" fmla="*/ 490561 w 1263758"/>
                        <a:gd name="connsiteY2296" fmla="*/ 987874 h 2117064"/>
                        <a:gd name="connsiteX2297" fmla="*/ 495512 w 1263758"/>
                        <a:gd name="connsiteY2297" fmla="*/ 980673 h 2117064"/>
                        <a:gd name="connsiteX2298" fmla="*/ 497762 w 1263758"/>
                        <a:gd name="connsiteY2298" fmla="*/ 978873 h 2117064"/>
                        <a:gd name="connsiteX2299" fmla="*/ 500013 w 1263758"/>
                        <a:gd name="connsiteY2299" fmla="*/ 981123 h 2117064"/>
                        <a:gd name="connsiteX2300" fmla="*/ 500462 w 1263758"/>
                        <a:gd name="connsiteY2300" fmla="*/ 982923 h 2117064"/>
                        <a:gd name="connsiteX2301" fmla="*/ 500013 w 1263758"/>
                        <a:gd name="connsiteY2301" fmla="*/ 984273 h 2117064"/>
                        <a:gd name="connsiteX2302" fmla="*/ 498662 w 1263758"/>
                        <a:gd name="connsiteY2302" fmla="*/ 986523 h 2117064"/>
                        <a:gd name="connsiteX2303" fmla="*/ 587323 w 1263758"/>
                        <a:gd name="connsiteY2303" fmla="*/ 1015327 h 2117064"/>
                        <a:gd name="connsiteX2304" fmla="*/ 595874 w 1263758"/>
                        <a:gd name="connsiteY2304" fmla="*/ 1018928 h 2117064"/>
                        <a:gd name="connsiteX2305" fmla="*/ 599925 w 1263758"/>
                        <a:gd name="connsiteY2305" fmla="*/ 1021178 h 2117064"/>
                        <a:gd name="connsiteX2306" fmla="*/ 601725 w 1263758"/>
                        <a:gd name="connsiteY2306" fmla="*/ 1022978 h 2117064"/>
                        <a:gd name="connsiteX2307" fmla="*/ 605326 w 1263758"/>
                        <a:gd name="connsiteY2307" fmla="*/ 1028379 h 2117064"/>
                        <a:gd name="connsiteX2308" fmla="*/ 607126 w 1263758"/>
                        <a:gd name="connsiteY2308" fmla="*/ 1029729 h 2117064"/>
                        <a:gd name="connsiteX2309" fmla="*/ 614327 w 1263758"/>
                        <a:gd name="connsiteY2309" fmla="*/ 1026579 h 2117064"/>
                        <a:gd name="connsiteX2310" fmla="*/ 619727 w 1263758"/>
                        <a:gd name="connsiteY2310" fmla="*/ 1025228 h 2117064"/>
                        <a:gd name="connsiteX2311" fmla="*/ 631429 w 1263758"/>
                        <a:gd name="connsiteY2311" fmla="*/ 1026579 h 2117064"/>
                        <a:gd name="connsiteX2312" fmla="*/ 641330 w 1263758"/>
                        <a:gd name="connsiteY2312" fmla="*/ 1031079 h 2117064"/>
                        <a:gd name="connsiteX2313" fmla="*/ 644931 w 1263758"/>
                        <a:gd name="connsiteY2313" fmla="*/ 1034229 h 2117064"/>
                        <a:gd name="connsiteX2314" fmla="*/ 647181 w 1263758"/>
                        <a:gd name="connsiteY2314" fmla="*/ 1037380 h 2117064"/>
                        <a:gd name="connsiteX2315" fmla="*/ 646731 w 1263758"/>
                        <a:gd name="connsiteY2315" fmla="*/ 1040530 h 2117064"/>
                        <a:gd name="connsiteX2316" fmla="*/ 644931 w 1263758"/>
                        <a:gd name="connsiteY2316" fmla="*/ 1045931 h 2117064"/>
                        <a:gd name="connsiteX2317" fmla="*/ 642680 w 1263758"/>
                        <a:gd name="connsiteY2317" fmla="*/ 1050882 h 2117064"/>
                        <a:gd name="connsiteX2318" fmla="*/ 638630 w 1263758"/>
                        <a:gd name="connsiteY2318" fmla="*/ 1058983 h 2117064"/>
                        <a:gd name="connsiteX2319" fmla="*/ 635029 w 1263758"/>
                        <a:gd name="connsiteY2319" fmla="*/ 1063033 h 2117064"/>
                        <a:gd name="connsiteX2320" fmla="*/ 634129 w 1263758"/>
                        <a:gd name="connsiteY2320" fmla="*/ 1064833 h 2117064"/>
                        <a:gd name="connsiteX2321" fmla="*/ 633679 w 1263758"/>
                        <a:gd name="connsiteY2321" fmla="*/ 1067534 h 2117064"/>
                        <a:gd name="connsiteX2322" fmla="*/ 632329 w 1263758"/>
                        <a:gd name="connsiteY2322" fmla="*/ 1071584 h 2117064"/>
                        <a:gd name="connsiteX2323" fmla="*/ 628279 w 1263758"/>
                        <a:gd name="connsiteY2323" fmla="*/ 1079685 h 2117064"/>
                        <a:gd name="connsiteX2324" fmla="*/ 627378 w 1263758"/>
                        <a:gd name="connsiteY2324" fmla="*/ 1081035 h 2117064"/>
                        <a:gd name="connsiteX2325" fmla="*/ 621978 w 1263758"/>
                        <a:gd name="connsiteY2325" fmla="*/ 1084636 h 2117064"/>
                        <a:gd name="connsiteX2326" fmla="*/ 623778 w 1263758"/>
                        <a:gd name="connsiteY2326" fmla="*/ 1086436 h 2117064"/>
                        <a:gd name="connsiteX2327" fmla="*/ 624678 w 1263758"/>
                        <a:gd name="connsiteY2327" fmla="*/ 1087786 h 2117064"/>
                        <a:gd name="connsiteX2328" fmla="*/ 623778 w 1263758"/>
                        <a:gd name="connsiteY2328" fmla="*/ 1091387 h 2117064"/>
                        <a:gd name="connsiteX2329" fmla="*/ 620177 w 1263758"/>
                        <a:gd name="connsiteY2329" fmla="*/ 1099938 h 2117064"/>
                        <a:gd name="connsiteX2330" fmla="*/ 616577 w 1263758"/>
                        <a:gd name="connsiteY2330" fmla="*/ 1108039 h 2117064"/>
                        <a:gd name="connsiteX2331" fmla="*/ 613877 w 1263758"/>
                        <a:gd name="connsiteY2331" fmla="*/ 1112989 h 2117064"/>
                        <a:gd name="connsiteX2332" fmla="*/ 609376 w 1263758"/>
                        <a:gd name="connsiteY2332" fmla="*/ 1119740 h 2117064"/>
                        <a:gd name="connsiteX2333" fmla="*/ 606676 w 1263758"/>
                        <a:gd name="connsiteY2333" fmla="*/ 1121540 h 2117064"/>
                        <a:gd name="connsiteX2334" fmla="*/ 603525 w 1263758"/>
                        <a:gd name="connsiteY2334" fmla="*/ 1121990 h 2117064"/>
                        <a:gd name="connsiteX2335" fmla="*/ 583273 w 1263758"/>
                        <a:gd name="connsiteY2335" fmla="*/ 1116140 h 2117064"/>
                        <a:gd name="connsiteX2336" fmla="*/ 578322 w 1263758"/>
                        <a:gd name="connsiteY2336" fmla="*/ 1116140 h 2117064"/>
                        <a:gd name="connsiteX2337" fmla="*/ 564821 w 1263758"/>
                        <a:gd name="connsiteY2337" fmla="*/ 1119290 h 2117064"/>
                        <a:gd name="connsiteX2338" fmla="*/ 566171 w 1263758"/>
                        <a:gd name="connsiteY2338" fmla="*/ 1120640 h 2117064"/>
                        <a:gd name="connsiteX2339" fmla="*/ 571121 w 1263758"/>
                        <a:gd name="connsiteY2339" fmla="*/ 1122891 h 2117064"/>
                        <a:gd name="connsiteX2340" fmla="*/ 574272 w 1263758"/>
                        <a:gd name="connsiteY2340" fmla="*/ 1125591 h 2117064"/>
                        <a:gd name="connsiteX2341" fmla="*/ 578322 w 1263758"/>
                        <a:gd name="connsiteY2341" fmla="*/ 1133242 h 2117064"/>
                        <a:gd name="connsiteX2342" fmla="*/ 578772 w 1263758"/>
                        <a:gd name="connsiteY2342" fmla="*/ 1135042 h 2117064"/>
                        <a:gd name="connsiteX2343" fmla="*/ 579222 w 1263758"/>
                        <a:gd name="connsiteY2343" fmla="*/ 1137292 h 2117064"/>
                        <a:gd name="connsiteX2344" fmla="*/ 579222 w 1263758"/>
                        <a:gd name="connsiteY2344" fmla="*/ 1141793 h 2117064"/>
                        <a:gd name="connsiteX2345" fmla="*/ 578772 w 1263758"/>
                        <a:gd name="connsiteY2345" fmla="*/ 1142693 h 2117064"/>
                        <a:gd name="connsiteX2346" fmla="*/ 572022 w 1263758"/>
                        <a:gd name="connsiteY2346" fmla="*/ 1154395 h 2117064"/>
                        <a:gd name="connsiteX2347" fmla="*/ 569771 w 1263758"/>
                        <a:gd name="connsiteY2347" fmla="*/ 1162946 h 2117064"/>
                        <a:gd name="connsiteX2348" fmla="*/ 568421 w 1263758"/>
                        <a:gd name="connsiteY2348" fmla="*/ 1170146 h 2117064"/>
                        <a:gd name="connsiteX2349" fmla="*/ 566171 w 1263758"/>
                        <a:gd name="connsiteY2349" fmla="*/ 1171947 h 2117064"/>
                        <a:gd name="connsiteX2350" fmla="*/ 558520 w 1263758"/>
                        <a:gd name="connsiteY2350" fmla="*/ 1168796 h 2117064"/>
                        <a:gd name="connsiteX2351" fmla="*/ 556270 w 1263758"/>
                        <a:gd name="connsiteY2351" fmla="*/ 1168796 h 2117064"/>
                        <a:gd name="connsiteX2352" fmla="*/ 547718 w 1263758"/>
                        <a:gd name="connsiteY2352" fmla="*/ 1171047 h 2117064"/>
                        <a:gd name="connsiteX2353" fmla="*/ 543668 w 1263758"/>
                        <a:gd name="connsiteY2353" fmla="*/ 1170146 h 2117064"/>
                        <a:gd name="connsiteX2354" fmla="*/ 544118 w 1263758"/>
                        <a:gd name="connsiteY2354" fmla="*/ 1159795 h 2117064"/>
                        <a:gd name="connsiteX2355" fmla="*/ 543668 w 1263758"/>
                        <a:gd name="connsiteY2355" fmla="*/ 1148544 h 2117064"/>
                        <a:gd name="connsiteX2356" fmla="*/ 542318 w 1263758"/>
                        <a:gd name="connsiteY2356" fmla="*/ 1137742 h 2117064"/>
                        <a:gd name="connsiteX2357" fmla="*/ 536017 w 1263758"/>
                        <a:gd name="connsiteY2357" fmla="*/ 1117940 h 2117064"/>
                        <a:gd name="connsiteX2358" fmla="*/ 535117 w 1263758"/>
                        <a:gd name="connsiteY2358" fmla="*/ 1114340 h 2117064"/>
                        <a:gd name="connsiteX2359" fmla="*/ 534667 w 1263758"/>
                        <a:gd name="connsiteY2359" fmla="*/ 1110289 h 2117064"/>
                        <a:gd name="connsiteX2360" fmla="*/ 534217 w 1263758"/>
                        <a:gd name="connsiteY2360" fmla="*/ 1106238 h 2117064"/>
                        <a:gd name="connsiteX2361" fmla="*/ 534217 w 1263758"/>
                        <a:gd name="connsiteY2361" fmla="*/ 1102188 h 2117064"/>
                        <a:gd name="connsiteX2362" fmla="*/ 534667 w 1263758"/>
                        <a:gd name="connsiteY2362" fmla="*/ 1093637 h 2117064"/>
                        <a:gd name="connsiteX2363" fmla="*/ 534667 w 1263758"/>
                        <a:gd name="connsiteY2363" fmla="*/ 1089136 h 2117064"/>
                        <a:gd name="connsiteX2364" fmla="*/ 534217 w 1263758"/>
                        <a:gd name="connsiteY2364" fmla="*/ 1077885 h 2117064"/>
                        <a:gd name="connsiteX2365" fmla="*/ 533317 w 1263758"/>
                        <a:gd name="connsiteY2365" fmla="*/ 1060783 h 2117064"/>
                        <a:gd name="connsiteX2366" fmla="*/ 533317 w 1263758"/>
                        <a:gd name="connsiteY2366" fmla="*/ 1054482 h 2117064"/>
                        <a:gd name="connsiteX2367" fmla="*/ 533317 w 1263758"/>
                        <a:gd name="connsiteY2367" fmla="*/ 1052232 h 2117064"/>
                        <a:gd name="connsiteX2368" fmla="*/ 533767 w 1263758"/>
                        <a:gd name="connsiteY2368" fmla="*/ 1050431 h 2117064"/>
                        <a:gd name="connsiteX2369" fmla="*/ 535117 w 1263758"/>
                        <a:gd name="connsiteY2369" fmla="*/ 1048181 h 2117064"/>
                        <a:gd name="connsiteX2370" fmla="*/ 537817 w 1263758"/>
                        <a:gd name="connsiteY2370" fmla="*/ 1046381 h 2117064"/>
                        <a:gd name="connsiteX2371" fmla="*/ 539167 w 1263758"/>
                        <a:gd name="connsiteY2371" fmla="*/ 1045931 h 2117064"/>
                        <a:gd name="connsiteX2372" fmla="*/ 547268 w 1263758"/>
                        <a:gd name="connsiteY2372" fmla="*/ 1051332 h 2117064"/>
                        <a:gd name="connsiteX2373" fmla="*/ 550869 w 1263758"/>
                        <a:gd name="connsiteY2373" fmla="*/ 1053132 h 2117064"/>
                        <a:gd name="connsiteX2374" fmla="*/ 553569 w 1263758"/>
                        <a:gd name="connsiteY2374" fmla="*/ 1053132 h 2117064"/>
                        <a:gd name="connsiteX2375" fmla="*/ 553569 w 1263758"/>
                        <a:gd name="connsiteY2375" fmla="*/ 1052682 h 2117064"/>
                        <a:gd name="connsiteX2376" fmla="*/ 551319 w 1263758"/>
                        <a:gd name="connsiteY2376" fmla="*/ 1051782 h 2117064"/>
                        <a:gd name="connsiteX2377" fmla="*/ 549069 w 1263758"/>
                        <a:gd name="connsiteY2377" fmla="*/ 1049531 h 2117064"/>
                        <a:gd name="connsiteX2378" fmla="*/ 545468 w 1263758"/>
                        <a:gd name="connsiteY2378" fmla="*/ 1042781 h 2117064"/>
                        <a:gd name="connsiteX2379" fmla="*/ 543668 w 1263758"/>
                        <a:gd name="connsiteY2379" fmla="*/ 1036930 h 2117064"/>
                        <a:gd name="connsiteX2380" fmla="*/ 543218 w 1263758"/>
                        <a:gd name="connsiteY2380" fmla="*/ 1035130 h 2117064"/>
                        <a:gd name="connsiteX2381" fmla="*/ 543218 w 1263758"/>
                        <a:gd name="connsiteY2381" fmla="*/ 1033329 h 2117064"/>
                        <a:gd name="connsiteX2382" fmla="*/ 543218 w 1263758"/>
                        <a:gd name="connsiteY2382" fmla="*/ 1031079 h 2117064"/>
                        <a:gd name="connsiteX2383" fmla="*/ 543668 w 1263758"/>
                        <a:gd name="connsiteY2383" fmla="*/ 1029279 h 2117064"/>
                        <a:gd name="connsiteX2384" fmla="*/ 545468 w 1263758"/>
                        <a:gd name="connsiteY2384" fmla="*/ 1026128 h 2117064"/>
                        <a:gd name="connsiteX2385" fmla="*/ 546818 w 1263758"/>
                        <a:gd name="connsiteY2385" fmla="*/ 1024778 h 2117064"/>
                        <a:gd name="connsiteX2386" fmla="*/ 552219 w 1263758"/>
                        <a:gd name="connsiteY2386" fmla="*/ 1021178 h 2117064"/>
                        <a:gd name="connsiteX2387" fmla="*/ 557620 w 1263758"/>
                        <a:gd name="connsiteY2387" fmla="*/ 1018928 h 2117064"/>
                        <a:gd name="connsiteX2388" fmla="*/ 569321 w 1263758"/>
                        <a:gd name="connsiteY2388" fmla="*/ 1017577 h 2117064"/>
                        <a:gd name="connsiteX2389" fmla="*/ 572471 w 1263758"/>
                        <a:gd name="connsiteY2389" fmla="*/ 1018477 h 2117064"/>
                        <a:gd name="connsiteX2390" fmla="*/ 577422 w 1263758"/>
                        <a:gd name="connsiteY2390" fmla="*/ 1014877 h 2117064"/>
                        <a:gd name="connsiteX2391" fmla="*/ 580573 w 1263758"/>
                        <a:gd name="connsiteY2391" fmla="*/ 1013977 h 2117064"/>
                        <a:gd name="connsiteX2392" fmla="*/ 587323 w 1263758"/>
                        <a:gd name="connsiteY2392" fmla="*/ 1015327 h 2117064"/>
                        <a:gd name="connsiteX2393" fmla="*/ 479310 w 1263758"/>
                        <a:gd name="connsiteY2393" fmla="*/ 1037830 h 2117064"/>
                        <a:gd name="connsiteX2394" fmla="*/ 473009 w 1263758"/>
                        <a:gd name="connsiteY2394" fmla="*/ 1039630 h 2117064"/>
                        <a:gd name="connsiteX2395" fmla="*/ 470309 w 1263758"/>
                        <a:gd name="connsiteY2395" fmla="*/ 1038730 h 2117064"/>
                        <a:gd name="connsiteX2396" fmla="*/ 468959 w 1263758"/>
                        <a:gd name="connsiteY2396" fmla="*/ 1040980 h 2117064"/>
                        <a:gd name="connsiteX2397" fmla="*/ 467608 w 1263758"/>
                        <a:gd name="connsiteY2397" fmla="*/ 1041880 h 2117064"/>
                        <a:gd name="connsiteX2398" fmla="*/ 464458 w 1263758"/>
                        <a:gd name="connsiteY2398" fmla="*/ 1042330 h 2117064"/>
                        <a:gd name="connsiteX2399" fmla="*/ 457707 w 1263758"/>
                        <a:gd name="connsiteY2399" fmla="*/ 1038730 h 2117064"/>
                        <a:gd name="connsiteX2400" fmla="*/ 455907 w 1263758"/>
                        <a:gd name="connsiteY2400" fmla="*/ 1037380 h 2117064"/>
                        <a:gd name="connsiteX2401" fmla="*/ 455007 w 1263758"/>
                        <a:gd name="connsiteY2401" fmla="*/ 1036030 h 2117064"/>
                        <a:gd name="connsiteX2402" fmla="*/ 455457 w 1263758"/>
                        <a:gd name="connsiteY2402" fmla="*/ 1034679 h 2117064"/>
                        <a:gd name="connsiteX2403" fmla="*/ 456807 w 1263758"/>
                        <a:gd name="connsiteY2403" fmla="*/ 1033329 h 2117064"/>
                        <a:gd name="connsiteX2404" fmla="*/ 462208 w 1263758"/>
                        <a:gd name="connsiteY2404" fmla="*/ 1031529 h 2117064"/>
                        <a:gd name="connsiteX2405" fmla="*/ 464008 w 1263758"/>
                        <a:gd name="connsiteY2405" fmla="*/ 1030179 h 2117064"/>
                        <a:gd name="connsiteX2406" fmla="*/ 464908 w 1263758"/>
                        <a:gd name="connsiteY2406" fmla="*/ 1028379 h 2117064"/>
                        <a:gd name="connsiteX2407" fmla="*/ 466258 w 1263758"/>
                        <a:gd name="connsiteY2407" fmla="*/ 1027029 h 2117064"/>
                        <a:gd name="connsiteX2408" fmla="*/ 468059 w 1263758"/>
                        <a:gd name="connsiteY2408" fmla="*/ 1026128 h 2117064"/>
                        <a:gd name="connsiteX2409" fmla="*/ 473009 w 1263758"/>
                        <a:gd name="connsiteY2409" fmla="*/ 1025228 h 2117064"/>
                        <a:gd name="connsiteX2410" fmla="*/ 484261 w 1263758"/>
                        <a:gd name="connsiteY2410" fmla="*/ 1019828 h 2117064"/>
                        <a:gd name="connsiteX2411" fmla="*/ 489661 w 1263758"/>
                        <a:gd name="connsiteY2411" fmla="*/ 1018928 h 2117064"/>
                        <a:gd name="connsiteX2412" fmla="*/ 491911 w 1263758"/>
                        <a:gd name="connsiteY2412" fmla="*/ 1019378 h 2117064"/>
                        <a:gd name="connsiteX2413" fmla="*/ 492362 w 1263758"/>
                        <a:gd name="connsiteY2413" fmla="*/ 1020728 h 2117064"/>
                        <a:gd name="connsiteX2414" fmla="*/ 492362 w 1263758"/>
                        <a:gd name="connsiteY2414" fmla="*/ 1022078 h 2117064"/>
                        <a:gd name="connsiteX2415" fmla="*/ 491911 w 1263758"/>
                        <a:gd name="connsiteY2415" fmla="*/ 1023428 h 2117064"/>
                        <a:gd name="connsiteX2416" fmla="*/ 490111 w 1263758"/>
                        <a:gd name="connsiteY2416" fmla="*/ 1027029 h 2117064"/>
                        <a:gd name="connsiteX2417" fmla="*/ 487861 w 1263758"/>
                        <a:gd name="connsiteY2417" fmla="*/ 1029729 h 2117064"/>
                        <a:gd name="connsiteX2418" fmla="*/ 482010 w 1263758"/>
                        <a:gd name="connsiteY2418" fmla="*/ 1036030 h 2117064"/>
                        <a:gd name="connsiteX2419" fmla="*/ 479310 w 1263758"/>
                        <a:gd name="connsiteY2419" fmla="*/ 1037830 h 2117064"/>
                        <a:gd name="connsiteX2420" fmla="*/ 442405 w 1263758"/>
                        <a:gd name="connsiteY2420" fmla="*/ 1031529 h 2117064"/>
                        <a:gd name="connsiteX2421" fmla="*/ 460408 w 1263758"/>
                        <a:gd name="connsiteY2421" fmla="*/ 1047731 h 2117064"/>
                        <a:gd name="connsiteX2422" fmla="*/ 463108 w 1263758"/>
                        <a:gd name="connsiteY2422" fmla="*/ 1046381 h 2117064"/>
                        <a:gd name="connsiteX2423" fmla="*/ 468509 w 1263758"/>
                        <a:gd name="connsiteY2423" fmla="*/ 1045481 h 2117064"/>
                        <a:gd name="connsiteX2424" fmla="*/ 474359 w 1263758"/>
                        <a:gd name="connsiteY2424" fmla="*/ 1043231 h 2117064"/>
                        <a:gd name="connsiteX2425" fmla="*/ 482010 w 1263758"/>
                        <a:gd name="connsiteY2425" fmla="*/ 1041430 h 2117064"/>
                        <a:gd name="connsiteX2426" fmla="*/ 486961 w 1263758"/>
                        <a:gd name="connsiteY2426" fmla="*/ 1037830 h 2117064"/>
                        <a:gd name="connsiteX2427" fmla="*/ 489211 w 1263758"/>
                        <a:gd name="connsiteY2427" fmla="*/ 1036930 h 2117064"/>
                        <a:gd name="connsiteX2428" fmla="*/ 492812 w 1263758"/>
                        <a:gd name="connsiteY2428" fmla="*/ 1036480 h 2117064"/>
                        <a:gd name="connsiteX2429" fmla="*/ 494612 w 1263758"/>
                        <a:gd name="connsiteY2429" fmla="*/ 1036480 h 2117064"/>
                        <a:gd name="connsiteX2430" fmla="*/ 500013 w 1263758"/>
                        <a:gd name="connsiteY2430" fmla="*/ 1038280 h 2117064"/>
                        <a:gd name="connsiteX2431" fmla="*/ 502263 w 1263758"/>
                        <a:gd name="connsiteY2431" fmla="*/ 1039630 h 2117064"/>
                        <a:gd name="connsiteX2432" fmla="*/ 503613 w 1263758"/>
                        <a:gd name="connsiteY2432" fmla="*/ 1040980 h 2117064"/>
                        <a:gd name="connsiteX2433" fmla="*/ 504963 w 1263758"/>
                        <a:gd name="connsiteY2433" fmla="*/ 1043681 h 2117064"/>
                        <a:gd name="connsiteX2434" fmla="*/ 507213 w 1263758"/>
                        <a:gd name="connsiteY2434" fmla="*/ 1049981 h 2117064"/>
                        <a:gd name="connsiteX2435" fmla="*/ 507663 w 1263758"/>
                        <a:gd name="connsiteY2435" fmla="*/ 1052232 h 2117064"/>
                        <a:gd name="connsiteX2436" fmla="*/ 507663 w 1263758"/>
                        <a:gd name="connsiteY2436" fmla="*/ 1052682 h 2117064"/>
                        <a:gd name="connsiteX2437" fmla="*/ 505863 w 1263758"/>
                        <a:gd name="connsiteY2437" fmla="*/ 1056732 h 2117064"/>
                        <a:gd name="connsiteX2438" fmla="*/ 504513 w 1263758"/>
                        <a:gd name="connsiteY2438" fmla="*/ 1058533 h 2117064"/>
                        <a:gd name="connsiteX2439" fmla="*/ 501813 w 1263758"/>
                        <a:gd name="connsiteY2439" fmla="*/ 1060333 h 2117064"/>
                        <a:gd name="connsiteX2440" fmla="*/ 499562 w 1263758"/>
                        <a:gd name="connsiteY2440" fmla="*/ 1060783 h 2117064"/>
                        <a:gd name="connsiteX2441" fmla="*/ 497762 w 1263758"/>
                        <a:gd name="connsiteY2441" fmla="*/ 1063483 h 2117064"/>
                        <a:gd name="connsiteX2442" fmla="*/ 495512 w 1263758"/>
                        <a:gd name="connsiteY2442" fmla="*/ 1062583 h 2117064"/>
                        <a:gd name="connsiteX2443" fmla="*/ 495062 w 1263758"/>
                        <a:gd name="connsiteY2443" fmla="*/ 1065283 h 2117064"/>
                        <a:gd name="connsiteX2444" fmla="*/ 495512 w 1263758"/>
                        <a:gd name="connsiteY2444" fmla="*/ 1066634 h 2117064"/>
                        <a:gd name="connsiteX2445" fmla="*/ 495962 w 1263758"/>
                        <a:gd name="connsiteY2445" fmla="*/ 1067534 h 2117064"/>
                        <a:gd name="connsiteX2446" fmla="*/ 497312 w 1263758"/>
                        <a:gd name="connsiteY2446" fmla="*/ 1067534 h 2117064"/>
                        <a:gd name="connsiteX2447" fmla="*/ 498662 w 1263758"/>
                        <a:gd name="connsiteY2447" fmla="*/ 1066634 h 2117064"/>
                        <a:gd name="connsiteX2448" fmla="*/ 501363 w 1263758"/>
                        <a:gd name="connsiteY2448" fmla="*/ 1067084 h 2117064"/>
                        <a:gd name="connsiteX2449" fmla="*/ 502713 w 1263758"/>
                        <a:gd name="connsiteY2449" fmla="*/ 1068884 h 2117064"/>
                        <a:gd name="connsiteX2450" fmla="*/ 504063 w 1263758"/>
                        <a:gd name="connsiteY2450" fmla="*/ 1071584 h 2117064"/>
                        <a:gd name="connsiteX2451" fmla="*/ 503163 w 1263758"/>
                        <a:gd name="connsiteY2451" fmla="*/ 1074285 h 2117064"/>
                        <a:gd name="connsiteX2452" fmla="*/ 498662 w 1263758"/>
                        <a:gd name="connsiteY2452" fmla="*/ 1077885 h 2117064"/>
                        <a:gd name="connsiteX2453" fmla="*/ 491911 w 1263758"/>
                        <a:gd name="connsiteY2453" fmla="*/ 1081935 h 2117064"/>
                        <a:gd name="connsiteX2454" fmla="*/ 481110 w 1263758"/>
                        <a:gd name="connsiteY2454" fmla="*/ 1093637 h 2117064"/>
                        <a:gd name="connsiteX2455" fmla="*/ 477060 w 1263758"/>
                        <a:gd name="connsiteY2455" fmla="*/ 1099038 h 2117064"/>
                        <a:gd name="connsiteX2456" fmla="*/ 476159 w 1263758"/>
                        <a:gd name="connsiteY2456" fmla="*/ 1100838 h 2117064"/>
                        <a:gd name="connsiteX2457" fmla="*/ 475709 w 1263758"/>
                        <a:gd name="connsiteY2457" fmla="*/ 1102638 h 2117064"/>
                        <a:gd name="connsiteX2458" fmla="*/ 475709 w 1263758"/>
                        <a:gd name="connsiteY2458" fmla="*/ 1105788 h 2117064"/>
                        <a:gd name="connsiteX2459" fmla="*/ 475709 w 1263758"/>
                        <a:gd name="connsiteY2459" fmla="*/ 1107139 h 2117064"/>
                        <a:gd name="connsiteX2460" fmla="*/ 477060 w 1263758"/>
                        <a:gd name="connsiteY2460" fmla="*/ 1107589 h 2117064"/>
                        <a:gd name="connsiteX2461" fmla="*/ 481110 w 1263758"/>
                        <a:gd name="connsiteY2461" fmla="*/ 1103538 h 2117064"/>
                        <a:gd name="connsiteX2462" fmla="*/ 483810 w 1263758"/>
                        <a:gd name="connsiteY2462" fmla="*/ 1101738 h 2117064"/>
                        <a:gd name="connsiteX2463" fmla="*/ 486511 w 1263758"/>
                        <a:gd name="connsiteY2463" fmla="*/ 1100838 h 2117064"/>
                        <a:gd name="connsiteX2464" fmla="*/ 491011 w 1263758"/>
                        <a:gd name="connsiteY2464" fmla="*/ 1100838 h 2117064"/>
                        <a:gd name="connsiteX2465" fmla="*/ 492812 w 1263758"/>
                        <a:gd name="connsiteY2465" fmla="*/ 1101288 h 2117064"/>
                        <a:gd name="connsiteX2466" fmla="*/ 496412 w 1263758"/>
                        <a:gd name="connsiteY2466" fmla="*/ 1103988 h 2117064"/>
                        <a:gd name="connsiteX2467" fmla="*/ 499562 w 1263758"/>
                        <a:gd name="connsiteY2467" fmla="*/ 1108039 h 2117064"/>
                        <a:gd name="connsiteX2468" fmla="*/ 500462 w 1263758"/>
                        <a:gd name="connsiteY2468" fmla="*/ 1109389 h 2117064"/>
                        <a:gd name="connsiteX2469" fmla="*/ 500013 w 1263758"/>
                        <a:gd name="connsiteY2469" fmla="*/ 1110739 h 2117064"/>
                        <a:gd name="connsiteX2470" fmla="*/ 498662 w 1263758"/>
                        <a:gd name="connsiteY2470" fmla="*/ 1112089 h 2117064"/>
                        <a:gd name="connsiteX2471" fmla="*/ 498662 w 1263758"/>
                        <a:gd name="connsiteY2471" fmla="*/ 1112989 h 2117064"/>
                        <a:gd name="connsiteX2472" fmla="*/ 501813 w 1263758"/>
                        <a:gd name="connsiteY2472" fmla="*/ 1114790 h 2117064"/>
                        <a:gd name="connsiteX2473" fmla="*/ 504963 w 1263758"/>
                        <a:gd name="connsiteY2473" fmla="*/ 1120190 h 2117064"/>
                        <a:gd name="connsiteX2474" fmla="*/ 504963 w 1263758"/>
                        <a:gd name="connsiteY2474" fmla="*/ 1123341 h 2117064"/>
                        <a:gd name="connsiteX2475" fmla="*/ 503613 w 1263758"/>
                        <a:gd name="connsiteY2475" fmla="*/ 1126491 h 2117064"/>
                        <a:gd name="connsiteX2476" fmla="*/ 503163 w 1263758"/>
                        <a:gd name="connsiteY2476" fmla="*/ 1128741 h 2117064"/>
                        <a:gd name="connsiteX2477" fmla="*/ 503613 w 1263758"/>
                        <a:gd name="connsiteY2477" fmla="*/ 1129641 h 2117064"/>
                        <a:gd name="connsiteX2478" fmla="*/ 505413 w 1263758"/>
                        <a:gd name="connsiteY2478" fmla="*/ 1129191 h 2117064"/>
                        <a:gd name="connsiteX2479" fmla="*/ 509464 w 1263758"/>
                        <a:gd name="connsiteY2479" fmla="*/ 1125591 h 2117064"/>
                        <a:gd name="connsiteX2480" fmla="*/ 513514 w 1263758"/>
                        <a:gd name="connsiteY2480" fmla="*/ 1123791 h 2117064"/>
                        <a:gd name="connsiteX2481" fmla="*/ 515314 w 1263758"/>
                        <a:gd name="connsiteY2481" fmla="*/ 1123791 h 2117064"/>
                        <a:gd name="connsiteX2482" fmla="*/ 516214 w 1263758"/>
                        <a:gd name="connsiteY2482" fmla="*/ 1124691 h 2117064"/>
                        <a:gd name="connsiteX2483" fmla="*/ 517115 w 1263758"/>
                        <a:gd name="connsiteY2483" fmla="*/ 1129641 h 2117064"/>
                        <a:gd name="connsiteX2484" fmla="*/ 518015 w 1263758"/>
                        <a:gd name="connsiteY2484" fmla="*/ 1135042 h 2117064"/>
                        <a:gd name="connsiteX2485" fmla="*/ 518015 w 1263758"/>
                        <a:gd name="connsiteY2485" fmla="*/ 1139543 h 2117064"/>
                        <a:gd name="connsiteX2486" fmla="*/ 517115 w 1263758"/>
                        <a:gd name="connsiteY2486" fmla="*/ 1143143 h 2117064"/>
                        <a:gd name="connsiteX2487" fmla="*/ 516214 w 1263758"/>
                        <a:gd name="connsiteY2487" fmla="*/ 1145843 h 2117064"/>
                        <a:gd name="connsiteX2488" fmla="*/ 513514 w 1263758"/>
                        <a:gd name="connsiteY2488" fmla="*/ 1149444 h 2117064"/>
                        <a:gd name="connsiteX2489" fmla="*/ 511264 w 1263758"/>
                        <a:gd name="connsiteY2489" fmla="*/ 1150794 h 2117064"/>
                        <a:gd name="connsiteX2490" fmla="*/ 509914 w 1263758"/>
                        <a:gd name="connsiteY2490" fmla="*/ 1150794 h 2117064"/>
                        <a:gd name="connsiteX2491" fmla="*/ 509914 w 1263758"/>
                        <a:gd name="connsiteY2491" fmla="*/ 1151244 h 2117064"/>
                        <a:gd name="connsiteX2492" fmla="*/ 512614 w 1263758"/>
                        <a:gd name="connsiteY2492" fmla="*/ 1154395 h 2117064"/>
                        <a:gd name="connsiteX2493" fmla="*/ 513964 w 1263758"/>
                        <a:gd name="connsiteY2493" fmla="*/ 1156645 h 2117064"/>
                        <a:gd name="connsiteX2494" fmla="*/ 514414 w 1263758"/>
                        <a:gd name="connsiteY2494" fmla="*/ 1158895 h 2117064"/>
                        <a:gd name="connsiteX2495" fmla="*/ 514414 w 1263758"/>
                        <a:gd name="connsiteY2495" fmla="*/ 1161145 h 2117064"/>
                        <a:gd name="connsiteX2496" fmla="*/ 513964 w 1263758"/>
                        <a:gd name="connsiteY2496" fmla="*/ 1162946 h 2117064"/>
                        <a:gd name="connsiteX2497" fmla="*/ 510814 w 1263758"/>
                        <a:gd name="connsiteY2497" fmla="*/ 1169696 h 2117064"/>
                        <a:gd name="connsiteX2498" fmla="*/ 510814 w 1263758"/>
                        <a:gd name="connsiteY2498" fmla="*/ 1170597 h 2117064"/>
                        <a:gd name="connsiteX2499" fmla="*/ 511714 w 1263758"/>
                        <a:gd name="connsiteY2499" fmla="*/ 1171047 h 2117064"/>
                        <a:gd name="connsiteX2500" fmla="*/ 513514 w 1263758"/>
                        <a:gd name="connsiteY2500" fmla="*/ 1175097 h 2117064"/>
                        <a:gd name="connsiteX2501" fmla="*/ 513964 w 1263758"/>
                        <a:gd name="connsiteY2501" fmla="*/ 1184098 h 2117064"/>
                        <a:gd name="connsiteX2502" fmla="*/ 506763 w 1263758"/>
                        <a:gd name="connsiteY2502" fmla="*/ 1186799 h 2117064"/>
                        <a:gd name="connsiteX2503" fmla="*/ 504963 w 1263758"/>
                        <a:gd name="connsiteY2503" fmla="*/ 1189049 h 2117064"/>
                        <a:gd name="connsiteX2504" fmla="*/ 503163 w 1263758"/>
                        <a:gd name="connsiteY2504" fmla="*/ 1192649 h 2117064"/>
                        <a:gd name="connsiteX2505" fmla="*/ 500913 w 1263758"/>
                        <a:gd name="connsiteY2505" fmla="*/ 1195350 h 2117064"/>
                        <a:gd name="connsiteX2506" fmla="*/ 495962 w 1263758"/>
                        <a:gd name="connsiteY2506" fmla="*/ 1198050 h 2117064"/>
                        <a:gd name="connsiteX2507" fmla="*/ 493262 w 1263758"/>
                        <a:gd name="connsiteY2507" fmla="*/ 1198500 h 2117064"/>
                        <a:gd name="connsiteX2508" fmla="*/ 480660 w 1263758"/>
                        <a:gd name="connsiteY2508" fmla="*/ 1196250 h 2117064"/>
                        <a:gd name="connsiteX2509" fmla="*/ 479310 w 1263758"/>
                        <a:gd name="connsiteY2509" fmla="*/ 1194900 h 2117064"/>
                        <a:gd name="connsiteX2510" fmla="*/ 478410 w 1263758"/>
                        <a:gd name="connsiteY2510" fmla="*/ 1192649 h 2117064"/>
                        <a:gd name="connsiteX2511" fmla="*/ 477960 w 1263758"/>
                        <a:gd name="connsiteY2511" fmla="*/ 1189499 h 2117064"/>
                        <a:gd name="connsiteX2512" fmla="*/ 477960 w 1263758"/>
                        <a:gd name="connsiteY2512" fmla="*/ 1186799 h 2117064"/>
                        <a:gd name="connsiteX2513" fmla="*/ 478410 w 1263758"/>
                        <a:gd name="connsiteY2513" fmla="*/ 1184998 h 2117064"/>
                        <a:gd name="connsiteX2514" fmla="*/ 478410 w 1263758"/>
                        <a:gd name="connsiteY2514" fmla="*/ 1184098 h 2117064"/>
                        <a:gd name="connsiteX2515" fmla="*/ 477960 w 1263758"/>
                        <a:gd name="connsiteY2515" fmla="*/ 1183648 h 2117064"/>
                        <a:gd name="connsiteX2516" fmla="*/ 476610 w 1263758"/>
                        <a:gd name="connsiteY2516" fmla="*/ 1185448 h 2117064"/>
                        <a:gd name="connsiteX2517" fmla="*/ 475259 w 1263758"/>
                        <a:gd name="connsiteY2517" fmla="*/ 1189049 h 2117064"/>
                        <a:gd name="connsiteX2518" fmla="*/ 476159 w 1263758"/>
                        <a:gd name="connsiteY2518" fmla="*/ 1193099 h 2117064"/>
                        <a:gd name="connsiteX2519" fmla="*/ 480210 w 1263758"/>
                        <a:gd name="connsiteY2519" fmla="*/ 1203901 h 2117064"/>
                        <a:gd name="connsiteX2520" fmla="*/ 481110 w 1263758"/>
                        <a:gd name="connsiteY2520" fmla="*/ 1208401 h 2117064"/>
                        <a:gd name="connsiteX2521" fmla="*/ 481110 w 1263758"/>
                        <a:gd name="connsiteY2521" fmla="*/ 1210201 h 2117064"/>
                        <a:gd name="connsiteX2522" fmla="*/ 481110 w 1263758"/>
                        <a:gd name="connsiteY2522" fmla="*/ 1211552 h 2117064"/>
                        <a:gd name="connsiteX2523" fmla="*/ 476610 w 1263758"/>
                        <a:gd name="connsiteY2523" fmla="*/ 1217852 h 2117064"/>
                        <a:gd name="connsiteX2524" fmla="*/ 473909 w 1263758"/>
                        <a:gd name="connsiteY2524" fmla="*/ 1220103 h 2117064"/>
                        <a:gd name="connsiteX2525" fmla="*/ 471209 w 1263758"/>
                        <a:gd name="connsiteY2525" fmla="*/ 1221003 h 2117064"/>
                        <a:gd name="connsiteX2526" fmla="*/ 468509 w 1263758"/>
                        <a:gd name="connsiteY2526" fmla="*/ 1220103 h 2117064"/>
                        <a:gd name="connsiteX2527" fmla="*/ 466258 w 1263758"/>
                        <a:gd name="connsiteY2527" fmla="*/ 1217402 h 2117064"/>
                        <a:gd name="connsiteX2528" fmla="*/ 464458 w 1263758"/>
                        <a:gd name="connsiteY2528" fmla="*/ 1216052 h 2117064"/>
                        <a:gd name="connsiteX2529" fmla="*/ 460408 w 1263758"/>
                        <a:gd name="connsiteY2529" fmla="*/ 1216052 h 2117064"/>
                        <a:gd name="connsiteX2530" fmla="*/ 459057 w 1263758"/>
                        <a:gd name="connsiteY2530" fmla="*/ 1214702 h 2117064"/>
                        <a:gd name="connsiteX2531" fmla="*/ 458157 w 1263758"/>
                        <a:gd name="connsiteY2531" fmla="*/ 1212452 h 2117064"/>
                        <a:gd name="connsiteX2532" fmla="*/ 455457 w 1263758"/>
                        <a:gd name="connsiteY2532" fmla="*/ 1203451 h 2117064"/>
                        <a:gd name="connsiteX2533" fmla="*/ 451856 w 1263758"/>
                        <a:gd name="connsiteY2533" fmla="*/ 1197150 h 2117064"/>
                        <a:gd name="connsiteX2534" fmla="*/ 448706 w 1263758"/>
                        <a:gd name="connsiteY2534" fmla="*/ 1189949 h 2117064"/>
                        <a:gd name="connsiteX2535" fmla="*/ 440605 w 1263758"/>
                        <a:gd name="connsiteY2535" fmla="*/ 1179598 h 2117064"/>
                        <a:gd name="connsiteX2536" fmla="*/ 436104 w 1263758"/>
                        <a:gd name="connsiteY2536" fmla="*/ 1173297 h 2117064"/>
                        <a:gd name="connsiteX2537" fmla="*/ 430254 w 1263758"/>
                        <a:gd name="connsiteY2537" fmla="*/ 1162946 h 2117064"/>
                        <a:gd name="connsiteX2538" fmla="*/ 428004 w 1263758"/>
                        <a:gd name="connsiteY2538" fmla="*/ 1160695 h 2117064"/>
                        <a:gd name="connsiteX2539" fmla="*/ 426203 w 1263758"/>
                        <a:gd name="connsiteY2539" fmla="*/ 1159795 h 2117064"/>
                        <a:gd name="connsiteX2540" fmla="*/ 422153 w 1263758"/>
                        <a:gd name="connsiteY2540" fmla="*/ 1158895 h 2117064"/>
                        <a:gd name="connsiteX2541" fmla="*/ 421253 w 1263758"/>
                        <a:gd name="connsiteY2541" fmla="*/ 1157545 h 2117064"/>
                        <a:gd name="connsiteX2542" fmla="*/ 419902 w 1263758"/>
                        <a:gd name="connsiteY2542" fmla="*/ 1153944 h 2117064"/>
                        <a:gd name="connsiteX2543" fmla="*/ 417652 w 1263758"/>
                        <a:gd name="connsiteY2543" fmla="*/ 1151244 h 2117064"/>
                        <a:gd name="connsiteX2544" fmla="*/ 416752 w 1263758"/>
                        <a:gd name="connsiteY2544" fmla="*/ 1150794 h 2117064"/>
                        <a:gd name="connsiteX2545" fmla="*/ 415402 w 1263758"/>
                        <a:gd name="connsiteY2545" fmla="*/ 1151244 h 2117064"/>
                        <a:gd name="connsiteX2546" fmla="*/ 411801 w 1263758"/>
                        <a:gd name="connsiteY2546" fmla="*/ 1153494 h 2117064"/>
                        <a:gd name="connsiteX2547" fmla="*/ 406851 w 1263758"/>
                        <a:gd name="connsiteY2547" fmla="*/ 1150794 h 2117064"/>
                        <a:gd name="connsiteX2548" fmla="*/ 405951 w 1263758"/>
                        <a:gd name="connsiteY2548" fmla="*/ 1148994 h 2117064"/>
                        <a:gd name="connsiteX2549" fmla="*/ 405501 w 1263758"/>
                        <a:gd name="connsiteY2549" fmla="*/ 1145843 h 2117064"/>
                        <a:gd name="connsiteX2550" fmla="*/ 405051 w 1263758"/>
                        <a:gd name="connsiteY2550" fmla="*/ 1144043 h 2117064"/>
                        <a:gd name="connsiteX2551" fmla="*/ 403250 w 1263758"/>
                        <a:gd name="connsiteY2551" fmla="*/ 1142693 h 2117064"/>
                        <a:gd name="connsiteX2552" fmla="*/ 401900 w 1263758"/>
                        <a:gd name="connsiteY2552" fmla="*/ 1138643 h 2117064"/>
                        <a:gd name="connsiteX2553" fmla="*/ 392899 w 1263758"/>
                        <a:gd name="connsiteY2553" fmla="*/ 1130992 h 2117064"/>
                        <a:gd name="connsiteX2554" fmla="*/ 387498 w 1263758"/>
                        <a:gd name="connsiteY2554" fmla="*/ 1121990 h 2117064"/>
                        <a:gd name="connsiteX2555" fmla="*/ 386598 w 1263758"/>
                        <a:gd name="connsiteY2555" fmla="*/ 1118840 h 2117064"/>
                        <a:gd name="connsiteX2556" fmla="*/ 386598 w 1263758"/>
                        <a:gd name="connsiteY2556" fmla="*/ 1117490 h 2117064"/>
                        <a:gd name="connsiteX2557" fmla="*/ 387048 w 1263758"/>
                        <a:gd name="connsiteY2557" fmla="*/ 1112989 h 2117064"/>
                        <a:gd name="connsiteX2558" fmla="*/ 388399 w 1263758"/>
                        <a:gd name="connsiteY2558" fmla="*/ 1108039 h 2117064"/>
                        <a:gd name="connsiteX2559" fmla="*/ 390199 w 1263758"/>
                        <a:gd name="connsiteY2559" fmla="*/ 1103088 h 2117064"/>
                        <a:gd name="connsiteX2560" fmla="*/ 391099 w 1263758"/>
                        <a:gd name="connsiteY2560" fmla="*/ 1101288 h 2117064"/>
                        <a:gd name="connsiteX2561" fmla="*/ 394699 w 1263758"/>
                        <a:gd name="connsiteY2561" fmla="*/ 1097237 h 2117064"/>
                        <a:gd name="connsiteX2562" fmla="*/ 397400 w 1263758"/>
                        <a:gd name="connsiteY2562" fmla="*/ 1096337 h 2117064"/>
                        <a:gd name="connsiteX2563" fmla="*/ 401450 w 1263758"/>
                        <a:gd name="connsiteY2563" fmla="*/ 1096787 h 2117064"/>
                        <a:gd name="connsiteX2564" fmla="*/ 403700 w 1263758"/>
                        <a:gd name="connsiteY2564" fmla="*/ 1097687 h 2117064"/>
                        <a:gd name="connsiteX2565" fmla="*/ 405501 w 1263758"/>
                        <a:gd name="connsiteY2565" fmla="*/ 1100388 h 2117064"/>
                        <a:gd name="connsiteX2566" fmla="*/ 406401 w 1263758"/>
                        <a:gd name="connsiteY2566" fmla="*/ 1103538 h 2117064"/>
                        <a:gd name="connsiteX2567" fmla="*/ 407301 w 1263758"/>
                        <a:gd name="connsiteY2567" fmla="*/ 1105788 h 2117064"/>
                        <a:gd name="connsiteX2568" fmla="*/ 410001 w 1263758"/>
                        <a:gd name="connsiteY2568" fmla="*/ 1108039 h 2117064"/>
                        <a:gd name="connsiteX2569" fmla="*/ 411801 w 1263758"/>
                        <a:gd name="connsiteY2569" fmla="*/ 1109839 h 2117064"/>
                        <a:gd name="connsiteX2570" fmla="*/ 414052 w 1263758"/>
                        <a:gd name="connsiteY2570" fmla="*/ 1114340 h 2117064"/>
                        <a:gd name="connsiteX2571" fmla="*/ 415852 w 1263758"/>
                        <a:gd name="connsiteY2571" fmla="*/ 1119740 h 2117064"/>
                        <a:gd name="connsiteX2572" fmla="*/ 417652 w 1263758"/>
                        <a:gd name="connsiteY2572" fmla="*/ 1121540 h 2117064"/>
                        <a:gd name="connsiteX2573" fmla="*/ 421703 w 1263758"/>
                        <a:gd name="connsiteY2573" fmla="*/ 1121990 h 2117064"/>
                        <a:gd name="connsiteX2574" fmla="*/ 425753 w 1263758"/>
                        <a:gd name="connsiteY2574" fmla="*/ 1121090 h 2117064"/>
                        <a:gd name="connsiteX2575" fmla="*/ 434304 w 1263758"/>
                        <a:gd name="connsiteY2575" fmla="*/ 1117940 h 2117064"/>
                        <a:gd name="connsiteX2576" fmla="*/ 434754 w 1263758"/>
                        <a:gd name="connsiteY2576" fmla="*/ 1117490 h 2117064"/>
                        <a:gd name="connsiteX2577" fmla="*/ 435204 w 1263758"/>
                        <a:gd name="connsiteY2577" fmla="*/ 1115690 h 2117064"/>
                        <a:gd name="connsiteX2578" fmla="*/ 436104 w 1263758"/>
                        <a:gd name="connsiteY2578" fmla="*/ 1103538 h 2117064"/>
                        <a:gd name="connsiteX2579" fmla="*/ 436555 w 1263758"/>
                        <a:gd name="connsiteY2579" fmla="*/ 1103538 h 2117064"/>
                        <a:gd name="connsiteX2580" fmla="*/ 439705 w 1263758"/>
                        <a:gd name="connsiteY2580" fmla="*/ 1109389 h 2117064"/>
                        <a:gd name="connsiteX2581" fmla="*/ 440605 w 1263758"/>
                        <a:gd name="connsiteY2581" fmla="*/ 1109839 h 2117064"/>
                        <a:gd name="connsiteX2582" fmla="*/ 441955 w 1263758"/>
                        <a:gd name="connsiteY2582" fmla="*/ 1108489 h 2117064"/>
                        <a:gd name="connsiteX2583" fmla="*/ 442855 w 1263758"/>
                        <a:gd name="connsiteY2583" fmla="*/ 1105788 h 2117064"/>
                        <a:gd name="connsiteX2584" fmla="*/ 442855 w 1263758"/>
                        <a:gd name="connsiteY2584" fmla="*/ 1104438 h 2117064"/>
                        <a:gd name="connsiteX2585" fmla="*/ 441055 w 1263758"/>
                        <a:gd name="connsiteY2585" fmla="*/ 1097687 h 2117064"/>
                        <a:gd name="connsiteX2586" fmla="*/ 440155 w 1263758"/>
                        <a:gd name="connsiteY2586" fmla="*/ 1094987 h 2117064"/>
                        <a:gd name="connsiteX2587" fmla="*/ 439255 w 1263758"/>
                        <a:gd name="connsiteY2587" fmla="*/ 1093187 h 2117064"/>
                        <a:gd name="connsiteX2588" fmla="*/ 438355 w 1263758"/>
                        <a:gd name="connsiteY2588" fmla="*/ 1092737 h 2117064"/>
                        <a:gd name="connsiteX2589" fmla="*/ 436104 w 1263758"/>
                        <a:gd name="connsiteY2589" fmla="*/ 1093187 h 2117064"/>
                        <a:gd name="connsiteX2590" fmla="*/ 434304 w 1263758"/>
                        <a:gd name="connsiteY2590" fmla="*/ 1091837 h 2117064"/>
                        <a:gd name="connsiteX2591" fmla="*/ 433854 w 1263758"/>
                        <a:gd name="connsiteY2591" fmla="*/ 1090037 h 2117064"/>
                        <a:gd name="connsiteX2592" fmla="*/ 434304 w 1263758"/>
                        <a:gd name="connsiteY2592" fmla="*/ 1087336 h 2117064"/>
                        <a:gd name="connsiteX2593" fmla="*/ 435204 w 1263758"/>
                        <a:gd name="connsiteY2593" fmla="*/ 1084636 h 2117064"/>
                        <a:gd name="connsiteX2594" fmla="*/ 436104 w 1263758"/>
                        <a:gd name="connsiteY2594" fmla="*/ 1083286 h 2117064"/>
                        <a:gd name="connsiteX2595" fmla="*/ 438355 w 1263758"/>
                        <a:gd name="connsiteY2595" fmla="*/ 1082386 h 2117064"/>
                        <a:gd name="connsiteX2596" fmla="*/ 440605 w 1263758"/>
                        <a:gd name="connsiteY2596" fmla="*/ 1083286 h 2117064"/>
                        <a:gd name="connsiteX2597" fmla="*/ 443756 w 1263758"/>
                        <a:gd name="connsiteY2597" fmla="*/ 1086436 h 2117064"/>
                        <a:gd name="connsiteX2598" fmla="*/ 446006 w 1263758"/>
                        <a:gd name="connsiteY2598" fmla="*/ 1087336 h 2117064"/>
                        <a:gd name="connsiteX2599" fmla="*/ 449156 w 1263758"/>
                        <a:gd name="connsiteY2599" fmla="*/ 1086436 h 2117064"/>
                        <a:gd name="connsiteX2600" fmla="*/ 445106 w 1263758"/>
                        <a:gd name="connsiteY2600" fmla="*/ 1084636 h 2117064"/>
                        <a:gd name="connsiteX2601" fmla="*/ 439705 w 1263758"/>
                        <a:gd name="connsiteY2601" fmla="*/ 1076985 h 2117064"/>
                        <a:gd name="connsiteX2602" fmla="*/ 437455 w 1263758"/>
                        <a:gd name="connsiteY2602" fmla="*/ 1075635 h 2117064"/>
                        <a:gd name="connsiteX2603" fmla="*/ 434754 w 1263758"/>
                        <a:gd name="connsiteY2603" fmla="*/ 1078785 h 2117064"/>
                        <a:gd name="connsiteX2604" fmla="*/ 432954 w 1263758"/>
                        <a:gd name="connsiteY2604" fmla="*/ 1080135 h 2117064"/>
                        <a:gd name="connsiteX2605" fmla="*/ 429354 w 1263758"/>
                        <a:gd name="connsiteY2605" fmla="*/ 1081485 h 2117064"/>
                        <a:gd name="connsiteX2606" fmla="*/ 426653 w 1263758"/>
                        <a:gd name="connsiteY2606" fmla="*/ 1081935 h 2117064"/>
                        <a:gd name="connsiteX2607" fmla="*/ 414952 w 1263758"/>
                        <a:gd name="connsiteY2607" fmla="*/ 1070234 h 2117064"/>
                        <a:gd name="connsiteX2608" fmla="*/ 414502 w 1263758"/>
                        <a:gd name="connsiteY2608" fmla="*/ 1069334 h 2117064"/>
                        <a:gd name="connsiteX2609" fmla="*/ 413602 w 1263758"/>
                        <a:gd name="connsiteY2609" fmla="*/ 1066183 h 2117064"/>
                        <a:gd name="connsiteX2610" fmla="*/ 413602 w 1263758"/>
                        <a:gd name="connsiteY2610" fmla="*/ 1064833 h 2117064"/>
                        <a:gd name="connsiteX2611" fmla="*/ 414952 w 1263758"/>
                        <a:gd name="connsiteY2611" fmla="*/ 1062583 h 2117064"/>
                        <a:gd name="connsiteX2612" fmla="*/ 418102 w 1263758"/>
                        <a:gd name="connsiteY2612" fmla="*/ 1059883 h 2117064"/>
                        <a:gd name="connsiteX2613" fmla="*/ 422603 w 1263758"/>
                        <a:gd name="connsiteY2613" fmla="*/ 1058082 h 2117064"/>
                        <a:gd name="connsiteX2614" fmla="*/ 425753 w 1263758"/>
                        <a:gd name="connsiteY2614" fmla="*/ 1057632 h 2117064"/>
                        <a:gd name="connsiteX2615" fmla="*/ 428453 w 1263758"/>
                        <a:gd name="connsiteY2615" fmla="*/ 1059883 h 2117064"/>
                        <a:gd name="connsiteX2616" fmla="*/ 432054 w 1263758"/>
                        <a:gd name="connsiteY2616" fmla="*/ 1065733 h 2117064"/>
                        <a:gd name="connsiteX2617" fmla="*/ 435204 w 1263758"/>
                        <a:gd name="connsiteY2617" fmla="*/ 1068884 h 2117064"/>
                        <a:gd name="connsiteX2618" fmla="*/ 435654 w 1263758"/>
                        <a:gd name="connsiteY2618" fmla="*/ 1067534 h 2117064"/>
                        <a:gd name="connsiteX2619" fmla="*/ 435204 w 1263758"/>
                        <a:gd name="connsiteY2619" fmla="*/ 1064383 h 2117064"/>
                        <a:gd name="connsiteX2620" fmla="*/ 433854 w 1263758"/>
                        <a:gd name="connsiteY2620" fmla="*/ 1059433 h 2117064"/>
                        <a:gd name="connsiteX2621" fmla="*/ 432954 w 1263758"/>
                        <a:gd name="connsiteY2621" fmla="*/ 1058082 h 2117064"/>
                        <a:gd name="connsiteX2622" fmla="*/ 430254 w 1263758"/>
                        <a:gd name="connsiteY2622" fmla="*/ 1056732 h 2117064"/>
                        <a:gd name="connsiteX2623" fmla="*/ 428004 w 1263758"/>
                        <a:gd name="connsiteY2623" fmla="*/ 1053132 h 2117064"/>
                        <a:gd name="connsiteX2624" fmla="*/ 426653 w 1263758"/>
                        <a:gd name="connsiteY2624" fmla="*/ 1050431 h 2117064"/>
                        <a:gd name="connsiteX2625" fmla="*/ 426203 w 1263758"/>
                        <a:gd name="connsiteY2625" fmla="*/ 1047731 h 2117064"/>
                        <a:gd name="connsiteX2626" fmla="*/ 426203 w 1263758"/>
                        <a:gd name="connsiteY2626" fmla="*/ 1045031 h 2117064"/>
                        <a:gd name="connsiteX2627" fmla="*/ 426653 w 1263758"/>
                        <a:gd name="connsiteY2627" fmla="*/ 1043231 h 2117064"/>
                        <a:gd name="connsiteX2628" fmla="*/ 427553 w 1263758"/>
                        <a:gd name="connsiteY2628" fmla="*/ 1042330 h 2117064"/>
                        <a:gd name="connsiteX2629" fmla="*/ 436555 w 1263758"/>
                        <a:gd name="connsiteY2629" fmla="*/ 1039630 h 2117064"/>
                        <a:gd name="connsiteX2630" fmla="*/ 442855 w 1263758"/>
                        <a:gd name="connsiteY2630" fmla="*/ 1042781 h 2117064"/>
                        <a:gd name="connsiteX2631" fmla="*/ 446906 w 1263758"/>
                        <a:gd name="connsiteY2631" fmla="*/ 1043231 h 2117064"/>
                        <a:gd name="connsiteX2632" fmla="*/ 448706 w 1263758"/>
                        <a:gd name="connsiteY2632" fmla="*/ 1039180 h 2117064"/>
                        <a:gd name="connsiteX2633" fmla="*/ 448256 w 1263758"/>
                        <a:gd name="connsiteY2633" fmla="*/ 1038280 h 2117064"/>
                        <a:gd name="connsiteX2634" fmla="*/ 446006 w 1263758"/>
                        <a:gd name="connsiteY2634" fmla="*/ 1039180 h 2117064"/>
                        <a:gd name="connsiteX2635" fmla="*/ 443756 w 1263758"/>
                        <a:gd name="connsiteY2635" fmla="*/ 1039180 h 2117064"/>
                        <a:gd name="connsiteX2636" fmla="*/ 442405 w 1263758"/>
                        <a:gd name="connsiteY2636" fmla="*/ 1036930 h 2117064"/>
                        <a:gd name="connsiteX2637" fmla="*/ 442405 w 1263758"/>
                        <a:gd name="connsiteY2637" fmla="*/ 1035580 h 2117064"/>
                        <a:gd name="connsiteX2638" fmla="*/ 444205 w 1263758"/>
                        <a:gd name="connsiteY2638" fmla="*/ 1032429 h 2117064"/>
                        <a:gd name="connsiteX2639" fmla="*/ 442405 w 1263758"/>
                        <a:gd name="connsiteY2639" fmla="*/ 1031529 h 2117064"/>
                        <a:gd name="connsiteX2640" fmla="*/ 726841 w 1263758"/>
                        <a:gd name="connsiteY2640" fmla="*/ 1239005 h 2117064"/>
                        <a:gd name="connsiteX2641" fmla="*/ 727741 w 1263758"/>
                        <a:gd name="connsiteY2641" fmla="*/ 1240355 h 2117064"/>
                        <a:gd name="connsiteX2642" fmla="*/ 732692 w 1263758"/>
                        <a:gd name="connsiteY2642" fmla="*/ 1238555 h 2117064"/>
                        <a:gd name="connsiteX2643" fmla="*/ 736742 w 1263758"/>
                        <a:gd name="connsiteY2643" fmla="*/ 1236305 h 2117064"/>
                        <a:gd name="connsiteX2644" fmla="*/ 743043 w 1263758"/>
                        <a:gd name="connsiteY2644" fmla="*/ 1231354 h 2117064"/>
                        <a:gd name="connsiteX2645" fmla="*/ 747093 w 1263758"/>
                        <a:gd name="connsiteY2645" fmla="*/ 1229554 h 2117064"/>
                        <a:gd name="connsiteX2646" fmla="*/ 758795 w 1263758"/>
                        <a:gd name="connsiteY2646" fmla="*/ 1229554 h 2117064"/>
                        <a:gd name="connsiteX2647" fmla="*/ 760595 w 1263758"/>
                        <a:gd name="connsiteY2647" fmla="*/ 1230454 h 2117064"/>
                        <a:gd name="connsiteX2648" fmla="*/ 759695 w 1263758"/>
                        <a:gd name="connsiteY2648" fmla="*/ 1233604 h 2117064"/>
                        <a:gd name="connsiteX2649" fmla="*/ 759245 w 1263758"/>
                        <a:gd name="connsiteY2649" fmla="*/ 1234504 h 2117064"/>
                        <a:gd name="connsiteX2650" fmla="*/ 759695 w 1263758"/>
                        <a:gd name="connsiteY2650" fmla="*/ 1235855 h 2117064"/>
                        <a:gd name="connsiteX2651" fmla="*/ 761045 w 1263758"/>
                        <a:gd name="connsiteY2651" fmla="*/ 1237655 h 2117064"/>
                        <a:gd name="connsiteX2652" fmla="*/ 763745 w 1263758"/>
                        <a:gd name="connsiteY2652" fmla="*/ 1239455 h 2117064"/>
                        <a:gd name="connsiteX2653" fmla="*/ 764646 w 1263758"/>
                        <a:gd name="connsiteY2653" fmla="*/ 1237655 h 2117064"/>
                        <a:gd name="connsiteX2654" fmla="*/ 765546 w 1263758"/>
                        <a:gd name="connsiteY2654" fmla="*/ 1233604 h 2117064"/>
                        <a:gd name="connsiteX2655" fmla="*/ 767346 w 1263758"/>
                        <a:gd name="connsiteY2655" fmla="*/ 1216052 h 2117064"/>
                        <a:gd name="connsiteX2656" fmla="*/ 768246 w 1263758"/>
                        <a:gd name="connsiteY2656" fmla="*/ 1210652 h 2117064"/>
                        <a:gd name="connsiteX2657" fmla="*/ 768696 w 1263758"/>
                        <a:gd name="connsiteY2657" fmla="*/ 1205701 h 2117064"/>
                        <a:gd name="connsiteX2658" fmla="*/ 768696 w 1263758"/>
                        <a:gd name="connsiteY2658" fmla="*/ 1200750 h 2117064"/>
                        <a:gd name="connsiteX2659" fmla="*/ 767796 w 1263758"/>
                        <a:gd name="connsiteY2659" fmla="*/ 1197600 h 2117064"/>
                        <a:gd name="connsiteX2660" fmla="*/ 764646 w 1263758"/>
                        <a:gd name="connsiteY2660" fmla="*/ 1195800 h 2117064"/>
                        <a:gd name="connsiteX2661" fmla="*/ 760595 w 1263758"/>
                        <a:gd name="connsiteY2661" fmla="*/ 1196250 h 2117064"/>
                        <a:gd name="connsiteX2662" fmla="*/ 758345 w 1263758"/>
                        <a:gd name="connsiteY2662" fmla="*/ 1195800 h 2117064"/>
                        <a:gd name="connsiteX2663" fmla="*/ 755644 w 1263758"/>
                        <a:gd name="connsiteY2663" fmla="*/ 1194900 h 2117064"/>
                        <a:gd name="connsiteX2664" fmla="*/ 753844 w 1263758"/>
                        <a:gd name="connsiteY2664" fmla="*/ 1193549 h 2117064"/>
                        <a:gd name="connsiteX2665" fmla="*/ 752494 w 1263758"/>
                        <a:gd name="connsiteY2665" fmla="*/ 1191749 h 2117064"/>
                        <a:gd name="connsiteX2666" fmla="*/ 750244 w 1263758"/>
                        <a:gd name="connsiteY2666" fmla="*/ 1185898 h 2117064"/>
                        <a:gd name="connsiteX2667" fmla="*/ 748444 w 1263758"/>
                        <a:gd name="connsiteY2667" fmla="*/ 1182298 h 2117064"/>
                        <a:gd name="connsiteX2668" fmla="*/ 743943 w 1263758"/>
                        <a:gd name="connsiteY2668" fmla="*/ 1175997 h 2117064"/>
                        <a:gd name="connsiteX2669" fmla="*/ 741693 w 1263758"/>
                        <a:gd name="connsiteY2669" fmla="*/ 1173747 h 2117064"/>
                        <a:gd name="connsiteX2670" fmla="*/ 742593 w 1263758"/>
                        <a:gd name="connsiteY2670" fmla="*/ 1171497 h 2117064"/>
                        <a:gd name="connsiteX2671" fmla="*/ 746643 w 1263758"/>
                        <a:gd name="connsiteY2671" fmla="*/ 1168796 h 2117064"/>
                        <a:gd name="connsiteX2672" fmla="*/ 749344 w 1263758"/>
                        <a:gd name="connsiteY2672" fmla="*/ 1166096 h 2117064"/>
                        <a:gd name="connsiteX2673" fmla="*/ 752494 w 1263758"/>
                        <a:gd name="connsiteY2673" fmla="*/ 1158445 h 2117064"/>
                        <a:gd name="connsiteX2674" fmla="*/ 754294 w 1263758"/>
                        <a:gd name="connsiteY2674" fmla="*/ 1157095 h 2117064"/>
                        <a:gd name="connsiteX2675" fmla="*/ 760595 w 1263758"/>
                        <a:gd name="connsiteY2675" fmla="*/ 1157995 h 2117064"/>
                        <a:gd name="connsiteX2676" fmla="*/ 769146 w 1263758"/>
                        <a:gd name="connsiteY2676" fmla="*/ 1164296 h 2117064"/>
                        <a:gd name="connsiteX2677" fmla="*/ 774547 w 1263758"/>
                        <a:gd name="connsiteY2677" fmla="*/ 1169696 h 2117064"/>
                        <a:gd name="connsiteX2678" fmla="*/ 775897 w 1263758"/>
                        <a:gd name="connsiteY2678" fmla="*/ 1170146 h 2117064"/>
                        <a:gd name="connsiteX2679" fmla="*/ 775897 w 1263758"/>
                        <a:gd name="connsiteY2679" fmla="*/ 1169246 h 2117064"/>
                        <a:gd name="connsiteX2680" fmla="*/ 774547 w 1263758"/>
                        <a:gd name="connsiteY2680" fmla="*/ 1166546 h 2117064"/>
                        <a:gd name="connsiteX2681" fmla="*/ 768246 w 1263758"/>
                        <a:gd name="connsiteY2681" fmla="*/ 1159795 h 2117064"/>
                        <a:gd name="connsiteX2682" fmla="*/ 765546 w 1263758"/>
                        <a:gd name="connsiteY2682" fmla="*/ 1154845 h 2117064"/>
                        <a:gd name="connsiteX2683" fmla="*/ 764195 w 1263758"/>
                        <a:gd name="connsiteY2683" fmla="*/ 1151244 h 2117064"/>
                        <a:gd name="connsiteX2684" fmla="*/ 764646 w 1263758"/>
                        <a:gd name="connsiteY2684" fmla="*/ 1149894 h 2117064"/>
                        <a:gd name="connsiteX2685" fmla="*/ 768246 w 1263758"/>
                        <a:gd name="connsiteY2685" fmla="*/ 1148544 h 2117064"/>
                        <a:gd name="connsiteX2686" fmla="*/ 768696 w 1263758"/>
                        <a:gd name="connsiteY2686" fmla="*/ 1146744 h 2117064"/>
                        <a:gd name="connsiteX2687" fmla="*/ 763745 w 1263758"/>
                        <a:gd name="connsiteY2687" fmla="*/ 1144493 h 2117064"/>
                        <a:gd name="connsiteX2688" fmla="*/ 761495 w 1263758"/>
                        <a:gd name="connsiteY2688" fmla="*/ 1144493 h 2117064"/>
                        <a:gd name="connsiteX2689" fmla="*/ 759695 w 1263758"/>
                        <a:gd name="connsiteY2689" fmla="*/ 1145843 h 2117064"/>
                        <a:gd name="connsiteX2690" fmla="*/ 757445 w 1263758"/>
                        <a:gd name="connsiteY2690" fmla="*/ 1145843 h 2117064"/>
                        <a:gd name="connsiteX2691" fmla="*/ 753394 w 1263758"/>
                        <a:gd name="connsiteY2691" fmla="*/ 1143143 h 2117064"/>
                        <a:gd name="connsiteX2692" fmla="*/ 752494 w 1263758"/>
                        <a:gd name="connsiteY2692" fmla="*/ 1141343 h 2117064"/>
                        <a:gd name="connsiteX2693" fmla="*/ 750244 w 1263758"/>
                        <a:gd name="connsiteY2693" fmla="*/ 1136842 h 2117064"/>
                        <a:gd name="connsiteX2694" fmla="*/ 748894 w 1263758"/>
                        <a:gd name="connsiteY2694" fmla="*/ 1132792 h 2117064"/>
                        <a:gd name="connsiteX2695" fmla="*/ 747543 w 1263758"/>
                        <a:gd name="connsiteY2695" fmla="*/ 1130091 h 2117064"/>
                        <a:gd name="connsiteX2696" fmla="*/ 747093 w 1263758"/>
                        <a:gd name="connsiteY2696" fmla="*/ 1127841 h 2117064"/>
                        <a:gd name="connsiteX2697" fmla="*/ 746643 w 1263758"/>
                        <a:gd name="connsiteY2697" fmla="*/ 1121540 h 2117064"/>
                        <a:gd name="connsiteX2698" fmla="*/ 746643 w 1263758"/>
                        <a:gd name="connsiteY2698" fmla="*/ 1117940 h 2117064"/>
                        <a:gd name="connsiteX2699" fmla="*/ 747093 w 1263758"/>
                        <a:gd name="connsiteY2699" fmla="*/ 1114790 h 2117064"/>
                        <a:gd name="connsiteX2700" fmla="*/ 747993 w 1263758"/>
                        <a:gd name="connsiteY2700" fmla="*/ 1112089 h 2117064"/>
                        <a:gd name="connsiteX2701" fmla="*/ 750694 w 1263758"/>
                        <a:gd name="connsiteY2701" fmla="*/ 1107139 h 2117064"/>
                        <a:gd name="connsiteX2702" fmla="*/ 752044 w 1263758"/>
                        <a:gd name="connsiteY2702" fmla="*/ 1105788 h 2117064"/>
                        <a:gd name="connsiteX2703" fmla="*/ 754744 w 1263758"/>
                        <a:gd name="connsiteY2703" fmla="*/ 1105338 h 2117064"/>
                        <a:gd name="connsiteX2704" fmla="*/ 760595 w 1263758"/>
                        <a:gd name="connsiteY2704" fmla="*/ 1107589 h 2117064"/>
                        <a:gd name="connsiteX2705" fmla="*/ 776347 w 1263758"/>
                        <a:gd name="connsiteY2705" fmla="*/ 1116590 h 2117064"/>
                        <a:gd name="connsiteX2706" fmla="*/ 775897 w 1263758"/>
                        <a:gd name="connsiteY2706" fmla="*/ 1113889 h 2117064"/>
                        <a:gd name="connsiteX2707" fmla="*/ 758345 w 1263758"/>
                        <a:gd name="connsiteY2707" fmla="*/ 1101738 h 2117064"/>
                        <a:gd name="connsiteX2708" fmla="*/ 752044 w 1263758"/>
                        <a:gd name="connsiteY2708" fmla="*/ 1098588 h 2117064"/>
                        <a:gd name="connsiteX2709" fmla="*/ 750694 w 1263758"/>
                        <a:gd name="connsiteY2709" fmla="*/ 1094087 h 2117064"/>
                        <a:gd name="connsiteX2710" fmla="*/ 760145 w 1263758"/>
                        <a:gd name="connsiteY2710" fmla="*/ 1076985 h 2117064"/>
                        <a:gd name="connsiteX2711" fmla="*/ 768696 w 1263758"/>
                        <a:gd name="connsiteY2711" fmla="*/ 1072934 h 2117064"/>
                        <a:gd name="connsiteX2712" fmla="*/ 772747 w 1263758"/>
                        <a:gd name="connsiteY2712" fmla="*/ 1067984 h 2117064"/>
                        <a:gd name="connsiteX2713" fmla="*/ 779497 w 1263758"/>
                        <a:gd name="connsiteY2713" fmla="*/ 1067984 h 2117064"/>
                        <a:gd name="connsiteX2714" fmla="*/ 785798 w 1263758"/>
                        <a:gd name="connsiteY2714" fmla="*/ 1071134 h 2117064"/>
                        <a:gd name="connsiteX2715" fmla="*/ 785798 w 1263758"/>
                        <a:gd name="connsiteY2715" fmla="*/ 1070234 h 2117064"/>
                        <a:gd name="connsiteX2716" fmla="*/ 782648 w 1263758"/>
                        <a:gd name="connsiteY2716" fmla="*/ 1064383 h 2117064"/>
                        <a:gd name="connsiteX2717" fmla="*/ 783098 w 1263758"/>
                        <a:gd name="connsiteY2717" fmla="*/ 1063033 h 2117064"/>
                        <a:gd name="connsiteX2718" fmla="*/ 786698 w 1263758"/>
                        <a:gd name="connsiteY2718" fmla="*/ 1059433 h 2117064"/>
                        <a:gd name="connsiteX2719" fmla="*/ 793449 w 1263758"/>
                        <a:gd name="connsiteY2719" fmla="*/ 1055382 h 2117064"/>
                        <a:gd name="connsiteX2720" fmla="*/ 801550 w 1263758"/>
                        <a:gd name="connsiteY2720" fmla="*/ 1052232 h 2117064"/>
                        <a:gd name="connsiteX2721" fmla="*/ 803350 w 1263758"/>
                        <a:gd name="connsiteY2721" fmla="*/ 1050431 h 2117064"/>
                        <a:gd name="connsiteX2722" fmla="*/ 805601 w 1263758"/>
                        <a:gd name="connsiteY2722" fmla="*/ 1049081 h 2117064"/>
                        <a:gd name="connsiteX2723" fmla="*/ 809651 w 1263758"/>
                        <a:gd name="connsiteY2723" fmla="*/ 1048181 h 2117064"/>
                        <a:gd name="connsiteX2724" fmla="*/ 819102 w 1263758"/>
                        <a:gd name="connsiteY2724" fmla="*/ 1047731 h 2117064"/>
                        <a:gd name="connsiteX2725" fmla="*/ 824503 w 1263758"/>
                        <a:gd name="connsiteY2725" fmla="*/ 1048181 h 2117064"/>
                        <a:gd name="connsiteX2726" fmla="*/ 831704 w 1263758"/>
                        <a:gd name="connsiteY2726" fmla="*/ 1050882 h 2117064"/>
                        <a:gd name="connsiteX2727" fmla="*/ 835754 w 1263758"/>
                        <a:gd name="connsiteY2727" fmla="*/ 1055382 h 2117064"/>
                        <a:gd name="connsiteX2728" fmla="*/ 837105 w 1263758"/>
                        <a:gd name="connsiteY2728" fmla="*/ 1058082 h 2117064"/>
                        <a:gd name="connsiteX2729" fmla="*/ 839355 w 1263758"/>
                        <a:gd name="connsiteY2729" fmla="*/ 1067084 h 2117064"/>
                        <a:gd name="connsiteX2730" fmla="*/ 841155 w 1263758"/>
                        <a:gd name="connsiteY2730" fmla="*/ 1079235 h 2117064"/>
                        <a:gd name="connsiteX2731" fmla="*/ 843856 w 1263758"/>
                        <a:gd name="connsiteY2731" fmla="*/ 1084186 h 2117064"/>
                        <a:gd name="connsiteX2732" fmla="*/ 848356 w 1263758"/>
                        <a:gd name="connsiteY2732" fmla="*/ 1086886 h 2117064"/>
                        <a:gd name="connsiteX2733" fmla="*/ 851506 w 1263758"/>
                        <a:gd name="connsiteY2733" fmla="*/ 1090037 h 2117064"/>
                        <a:gd name="connsiteX2734" fmla="*/ 853307 w 1263758"/>
                        <a:gd name="connsiteY2734" fmla="*/ 1093187 h 2117064"/>
                        <a:gd name="connsiteX2735" fmla="*/ 853757 w 1263758"/>
                        <a:gd name="connsiteY2735" fmla="*/ 1097237 h 2117064"/>
                        <a:gd name="connsiteX2736" fmla="*/ 852857 w 1263758"/>
                        <a:gd name="connsiteY2736" fmla="*/ 1102188 h 2117064"/>
                        <a:gd name="connsiteX2737" fmla="*/ 853307 w 1263758"/>
                        <a:gd name="connsiteY2737" fmla="*/ 1107139 h 2117064"/>
                        <a:gd name="connsiteX2738" fmla="*/ 855107 w 1263758"/>
                        <a:gd name="connsiteY2738" fmla="*/ 1112089 h 2117064"/>
                        <a:gd name="connsiteX2739" fmla="*/ 856457 w 1263758"/>
                        <a:gd name="connsiteY2739" fmla="*/ 1114790 h 2117064"/>
                        <a:gd name="connsiteX2740" fmla="*/ 859607 w 1263758"/>
                        <a:gd name="connsiteY2740" fmla="*/ 1117940 h 2117064"/>
                        <a:gd name="connsiteX2741" fmla="*/ 859607 w 1263758"/>
                        <a:gd name="connsiteY2741" fmla="*/ 1119740 h 2117064"/>
                        <a:gd name="connsiteX2742" fmla="*/ 858707 w 1263758"/>
                        <a:gd name="connsiteY2742" fmla="*/ 1121540 h 2117064"/>
                        <a:gd name="connsiteX2743" fmla="*/ 856457 w 1263758"/>
                        <a:gd name="connsiteY2743" fmla="*/ 1124241 h 2117064"/>
                        <a:gd name="connsiteX2744" fmla="*/ 851056 w 1263758"/>
                        <a:gd name="connsiteY2744" fmla="*/ 1132792 h 2117064"/>
                        <a:gd name="connsiteX2745" fmla="*/ 844306 w 1263758"/>
                        <a:gd name="connsiteY2745" fmla="*/ 1142243 h 2117064"/>
                        <a:gd name="connsiteX2746" fmla="*/ 839355 w 1263758"/>
                        <a:gd name="connsiteY2746" fmla="*/ 1150344 h 2117064"/>
                        <a:gd name="connsiteX2747" fmla="*/ 838905 w 1263758"/>
                        <a:gd name="connsiteY2747" fmla="*/ 1152594 h 2117064"/>
                        <a:gd name="connsiteX2748" fmla="*/ 849256 w 1263758"/>
                        <a:gd name="connsiteY2748" fmla="*/ 1139993 h 2117064"/>
                        <a:gd name="connsiteX2749" fmla="*/ 852407 w 1263758"/>
                        <a:gd name="connsiteY2749" fmla="*/ 1140443 h 2117064"/>
                        <a:gd name="connsiteX2750" fmla="*/ 852407 w 1263758"/>
                        <a:gd name="connsiteY2750" fmla="*/ 1142243 h 2117064"/>
                        <a:gd name="connsiteX2751" fmla="*/ 850156 w 1263758"/>
                        <a:gd name="connsiteY2751" fmla="*/ 1148544 h 2117064"/>
                        <a:gd name="connsiteX2752" fmla="*/ 847456 w 1263758"/>
                        <a:gd name="connsiteY2752" fmla="*/ 1153944 h 2117064"/>
                        <a:gd name="connsiteX2753" fmla="*/ 844756 w 1263758"/>
                        <a:gd name="connsiteY2753" fmla="*/ 1157545 h 2117064"/>
                        <a:gd name="connsiteX2754" fmla="*/ 845206 w 1263758"/>
                        <a:gd name="connsiteY2754" fmla="*/ 1158895 h 2117064"/>
                        <a:gd name="connsiteX2755" fmla="*/ 850156 w 1263758"/>
                        <a:gd name="connsiteY2755" fmla="*/ 1165196 h 2117064"/>
                        <a:gd name="connsiteX2756" fmla="*/ 849256 w 1263758"/>
                        <a:gd name="connsiteY2756" fmla="*/ 1166096 h 2117064"/>
                        <a:gd name="connsiteX2757" fmla="*/ 847006 w 1263758"/>
                        <a:gd name="connsiteY2757" fmla="*/ 1165646 h 2117064"/>
                        <a:gd name="connsiteX2758" fmla="*/ 846106 w 1263758"/>
                        <a:gd name="connsiteY2758" fmla="*/ 1166096 h 2117064"/>
                        <a:gd name="connsiteX2759" fmla="*/ 845206 w 1263758"/>
                        <a:gd name="connsiteY2759" fmla="*/ 1166996 h 2117064"/>
                        <a:gd name="connsiteX2760" fmla="*/ 844756 w 1263758"/>
                        <a:gd name="connsiteY2760" fmla="*/ 1168796 h 2117064"/>
                        <a:gd name="connsiteX2761" fmla="*/ 844756 w 1263758"/>
                        <a:gd name="connsiteY2761" fmla="*/ 1171047 h 2117064"/>
                        <a:gd name="connsiteX2762" fmla="*/ 845206 w 1263758"/>
                        <a:gd name="connsiteY2762" fmla="*/ 1174197 h 2117064"/>
                        <a:gd name="connsiteX2763" fmla="*/ 845206 w 1263758"/>
                        <a:gd name="connsiteY2763" fmla="*/ 1176447 h 2117064"/>
                        <a:gd name="connsiteX2764" fmla="*/ 844756 w 1263758"/>
                        <a:gd name="connsiteY2764" fmla="*/ 1177797 h 2117064"/>
                        <a:gd name="connsiteX2765" fmla="*/ 845206 w 1263758"/>
                        <a:gd name="connsiteY2765" fmla="*/ 1178247 h 2117064"/>
                        <a:gd name="connsiteX2766" fmla="*/ 846556 w 1263758"/>
                        <a:gd name="connsiteY2766" fmla="*/ 1177797 h 2117064"/>
                        <a:gd name="connsiteX2767" fmla="*/ 847906 w 1263758"/>
                        <a:gd name="connsiteY2767" fmla="*/ 1176447 h 2117064"/>
                        <a:gd name="connsiteX2768" fmla="*/ 850156 w 1263758"/>
                        <a:gd name="connsiteY2768" fmla="*/ 1172397 h 2117064"/>
                        <a:gd name="connsiteX2769" fmla="*/ 856907 w 1263758"/>
                        <a:gd name="connsiteY2769" fmla="*/ 1161145 h 2117064"/>
                        <a:gd name="connsiteX2770" fmla="*/ 861408 w 1263758"/>
                        <a:gd name="connsiteY2770" fmla="*/ 1157095 h 2117064"/>
                        <a:gd name="connsiteX2771" fmla="*/ 862758 w 1263758"/>
                        <a:gd name="connsiteY2771" fmla="*/ 1156645 h 2117064"/>
                        <a:gd name="connsiteX2772" fmla="*/ 866808 w 1263758"/>
                        <a:gd name="connsiteY2772" fmla="*/ 1159345 h 2117064"/>
                        <a:gd name="connsiteX2773" fmla="*/ 867708 w 1263758"/>
                        <a:gd name="connsiteY2773" fmla="*/ 1159345 h 2117064"/>
                        <a:gd name="connsiteX2774" fmla="*/ 863208 w 1263758"/>
                        <a:gd name="connsiteY2774" fmla="*/ 1150794 h 2117064"/>
                        <a:gd name="connsiteX2775" fmla="*/ 862758 w 1263758"/>
                        <a:gd name="connsiteY2775" fmla="*/ 1148544 h 2117064"/>
                        <a:gd name="connsiteX2776" fmla="*/ 863658 w 1263758"/>
                        <a:gd name="connsiteY2776" fmla="*/ 1145393 h 2117064"/>
                        <a:gd name="connsiteX2777" fmla="*/ 864108 w 1263758"/>
                        <a:gd name="connsiteY2777" fmla="*/ 1144493 h 2117064"/>
                        <a:gd name="connsiteX2778" fmla="*/ 866358 w 1263758"/>
                        <a:gd name="connsiteY2778" fmla="*/ 1142243 h 2117064"/>
                        <a:gd name="connsiteX2779" fmla="*/ 868609 w 1263758"/>
                        <a:gd name="connsiteY2779" fmla="*/ 1140893 h 2117064"/>
                        <a:gd name="connsiteX2780" fmla="*/ 869959 w 1263758"/>
                        <a:gd name="connsiteY2780" fmla="*/ 1141343 h 2117064"/>
                        <a:gd name="connsiteX2781" fmla="*/ 871759 w 1263758"/>
                        <a:gd name="connsiteY2781" fmla="*/ 1145843 h 2117064"/>
                        <a:gd name="connsiteX2782" fmla="*/ 872659 w 1263758"/>
                        <a:gd name="connsiteY2782" fmla="*/ 1148994 h 2117064"/>
                        <a:gd name="connsiteX2783" fmla="*/ 874009 w 1263758"/>
                        <a:gd name="connsiteY2783" fmla="*/ 1150344 h 2117064"/>
                        <a:gd name="connsiteX2784" fmla="*/ 877160 w 1263758"/>
                        <a:gd name="connsiteY2784" fmla="*/ 1148544 h 2117064"/>
                        <a:gd name="connsiteX2785" fmla="*/ 879410 w 1263758"/>
                        <a:gd name="connsiteY2785" fmla="*/ 1144943 h 2117064"/>
                        <a:gd name="connsiteX2786" fmla="*/ 882110 w 1263758"/>
                        <a:gd name="connsiteY2786" fmla="*/ 1147194 h 2117064"/>
                        <a:gd name="connsiteX2787" fmla="*/ 886161 w 1263758"/>
                        <a:gd name="connsiteY2787" fmla="*/ 1153044 h 2117064"/>
                        <a:gd name="connsiteX2788" fmla="*/ 885711 w 1263758"/>
                        <a:gd name="connsiteY2788" fmla="*/ 1158895 h 2117064"/>
                        <a:gd name="connsiteX2789" fmla="*/ 885711 w 1263758"/>
                        <a:gd name="connsiteY2789" fmla="*/ 1164746 h 2117064"/>
                        <a:gd name="connsiteX2790" fmla="*/ 885711 w 1263758"/>
                        <a:gd name="connsiteY2790" fmla="*/ 1168796 h 2117064"/>
                        <a:gd name="connsiteX2791" fmla="*/ 890661 w 1263758"/>
                        <a:gd name="connsiteY2791" fmla="*/ 1176447 h 2117064"/>
                        <a:gd name="connsiteX2792" fmla="*/ 894262 w 1263758"/>
                        <a:gd name="connsiteY2792" fmla="*/ 1179598 h 2117064"/>
                        <a:gd name="connsiteX2793" fmla="*/ 894712 w 1263758"/>
                        <a:gd name="connsiteY2793" fmla="*/ 1179598 h 2117064"/>
                        <a:gd name="connsiteX2794" fmla="*/ 894712 w 1263758"/>
                        <a:gd name="connsiteY2794" fmla="*/ 1178247 h 2117064"/>
                        <a:gd name="connsiteX2795" fmla="*/ 893812 w 1263758"/>
                        <a:gd name="connsiteY2795" fmla="*/ 1175547 h 2117064"/>
                        <a:gd name="connsiteX2796" fmla="*/ 892011 w 1263758"/>
                        <a:gd name="connsiteY2796" fmla="*/ 1172847 h 2117064"/>
                        <a:gd name="connsiteX2797" fmla="*/ 890211 w 1263758"/>
                        <a:gd name="connsiteY2797" fmla="*/ 1168796 h 2117064"/>
                        <a:gd name="connsiteX2798" fmla="*/ 890661 w 1263758"/>
                        <a:gd name="connsiteY2798" fmla="*/ 1165646 h 2117064"/>
                        <a:gd name="connsiteX2799" fmla="*/ 891561 w 1263758"/>
                        <a:gd name="connsiteY2799" fmla="*/ 1154395 h 2117064"/>
                        <a:gd name="connsiteX2800" fmla="*/ 894262 w 1263758"/>
                        <a:gd name="connsiteY2800" fmla="*/ 1148544 h 2117064"/>
                        <a:gd name="connsiteX2801" fmla="*/ 896962 w 1263758"/>
                        <a:gd name="connsiteY2801" fmla="*/ 1149894 h 2117064"/>
                        <a:gd name="connsiteX2802" fmla="*/ 900113 w 1263758"/>
                        <a:gd name="connsiteY2802" fmla="*/ 1153494 h 2117064"/>
                        <a:gd name="connsiteX2803" fmla="*/ 902813 w 1263758"/>
                        <a:gd name="connsiteY2803" fmla="*/ 1153944 h 2117064"/>
                        <a:gd name="connsiteX2804" fmla="*/ 906863 w 1263758"/>
                        <a:gd name="connsiteY2804" fmla="*/ 1153494 h 2117064"/>
                        <a:gd name="connsiteX2805" fmla="*/ 914964 w 1263758"/>
                        <a:gd name="connsiteY2805" fmla="*/ 1160695 h 2117064"/>
                        <a:gd name="connsiteX2806" fmla="*/ 919465 w 1263758"/>
                        <a:gd name="connsiteY2806" fmla="*/ 1160695 h 2117064"/>
                        <a:gd name="connsiteX2807" fmla="*/ 919015 w 1263758"/>
                        <a:gd name="connsiteY2807" fmla="*/ 1157995 h 2117064"/>
                        <a:gd name="connsiteX2808" fmla="*/ 915865 w 1263758"/>
                        <a:gd name="connsiteY2808" fmla="*/ 1156645 h 2117064"/>
                        <a:gd name="connsiteX2809" fmla="*/ 910914 w 1263758"/>
                        <a:gd name="connsiteY2809" fmla="*/ 1152594 h 2117064"/>
                        <a:gd name="connsiteX2810" fmla="*/ 903263 w 1263758"/>
                        <a:gd name="connsiteY2810" fmla="*/ 1148094 h 2117064"/>
                        <a:gd name="connsiteX2811" fmla="*/ 899662 w 1263758"/>
                        <a:gd name="connsiteY2811" fmla="*/ 1142693 h 2117064"/>
                        <a:gd name="connsiteX2812" fmla="*/ 899212 w 1263758"/>
                        <a:gd name="connsiteY2812" fmla="*/ 1139993 h 2117064"/>
                        <a:gd name="connsiteX2813" fmla="*/ 899212 w 1263758"/>
                        <a:gd name="connsiteY2813" fmla="*/ 1137292 h 2117064"/>
                        <a:gd name="connsiteX2814" fmla="*/ 899662 w 1263758"/>
                        <a:gd name="connsiteY2814" fmla="*/ 1135042 h 2117064"/>
                        <a:gd name="connsiteX2815" fmla="*/ 900563 w 1263758"/>
                        <a:gd name="connsiteY2815" fmla="*/ 1132792 h 2117064"/>
                        <a:gd name="connsiteX2816" fmla="*/ 901913 w 1263758"/>
                        <a:gd name="connsiteY2816" fmla="*/ 1130542 h 2117064"/>
                        <a:gd name="connsiteX2817" fmla="*/ 909114 w 1263758"/>
                        <a:gd name="connsiteY2817" fmla="*/ 1124241 h 2117064"/>
                        <a:gd name="connsiteX2818" fmla="*/ 914514 w 1263758"/>
                        <a:gd name="connsiteY2818" fmla="*/ 1121540 h 2117064"/>
                        <a:gd name="connsiteX2819" fmla="*/ 918565 w 1263758"/>
                        <a:gd name="connsiteY2819" fmla="*/ 1120640 h 2117064"/>
                        <a:gd name="connsiteX2820" fmla="*/ 925316 w 1263758"/>
                        <a:gd name="connsiteY2820" fmla="*/ 1120640 h 2117064"/>
                        <a:gd name="connsiteX2821" fmla="*/ 932967 w 1263758"/>
                        <a:gd name="connsiteY2821" fmla="*/ 1121540 h 2117064"/>
                        <a:gd name="connsiteX2822" fmla="*/ 937017 w 1263758"/>
                        <a:gd name="connsiteY2822" fmla="*/ 1123341 h 2117064"/>
                        <a:gd name="connsiteX2823" fmla="*/ 941968 w 1263758"/>
                        <a:gd name="connsiteY2823" fmla="*/ 1127841 h 2117064"/>
                        <a:gd name="connsiteX2824" fmla="*/ 947819 w 1263758"/>
                        <a:gd name="connsiteY2824" fmla="*/ 1132342 h 2117064"/>
                        <a:gd name="connsiteX2825" fmla="*/ 950069 w 1263758"/>
                        <a:gd name="connsiteY2825" fmla="*/ 1133242 h 2117064"/>
                        <a:gd name="connsiteX2826" fmla="*/ 952769 w 1263758"/>
                        <a:gd name="connsiteY2826" fmla="*/ 1133242 h 2117064"/>
                        <a:gd name="connsiteX2827" fmla="*/ 955469 w 1263758"/>
                        <a:gd name="connsiteY2827" fmla="*/ 1132342 h 2117064"/>
                        <a:gd name="connsiteX2828" fmla="*/ 958170 w 1263758"/>
                        <a:gd name="connsiteY2828" fmla="*/ 1132792 h 2117064"/>
                        <a:gd name="connsiteX2829" fmla="*/ 966721 w 1263758"/>
                        <a:gd name="connsiteY2829" fmla="*/ 1139093 h 2117064"/>
                        <a:gd name="connsiteX2830" fmla="*/ 968971 w 1263758"/>
                        <a:gd name="connsiteY2830" fmla="*/ 1142243 h 2117064"/>
                        <a:gd name="connsiteX2831" fmla="*/ 970321 w 1263758"/>
                        <a:gd name="connsiteY2831" fmla="*/ 1146294 h 2117064"/>
                        <a:gd name="connsiteX2832" fmla="*/ 971221 w 1263758"/>
                        <a:gd name="connsiteY2832" fmla="*/ 1150344 h 2117064"/>
                        <a:gd name="connsiteX2833" fmla="*/ 971671 w 1263758"/>
                        <a:gd name="connsiteY2833" fmla="*/ 1153944 h 2117064"/>
                        <a:gd name="connsiteX2834" fmla="*/ 971221 w 1263758"/>
                        <a:gd name="connsiteY2834" fmla="*/ 1157095 h 2117064"/>
                        <a:gd name="connsiteX2835" fmla="*/ 964020 w 1263758"/>
                        <a:gd name="connsiteY2835" fmla="*/ 1170146 h 2117064"/>
                        <a:gd name="connsiteX2836" fmla="*/ 960870 w 1263758"/>
                        <a:gd name="connsiteY2836" fmla="*/ 1172397 h 2117064"/>
                        <a:gd name="connsiteX2837" fmla="*/ 958620 w 1263758"/>
                        <a:gd name="connsiteY2837" fmla="*/ 1177347 h 2117064"/>
                        <a:gd name="connsiteX2838" fmla="*/ 955469 w 1263758"/>
                        <a:gd name="connsiteY2838" fmla="*/ 1186349 h 2117064"/>
                        <a:gd name="connsiteX2839" fmla="*/ 952769 w 1263758"/>
                        <a:gd name="connsiteY2839" fmla="*/ 1191299 h 2117064"/>
                        <a:gd name="connsiteX2840" fmla="*/ 952319 w 1263758"/>
                        <a:gd name="connsiteY2840" fmla="*/ 1192199 h 2117064"/>
                        <a:gd name="connsiteX2841" fmla="*/ 952769 w 1263758"/>
                        <a:gd name="connsiteY2841" fmla="*/ 1192649 h 2117064"/>
                        <a:gd name="connsiteX2842" fmla="*/ 954569 w 1263758"/>
                        <a:gd name="connsiteY2842" fmla="*/ 1190399 h 2117064"/>
                        <a:gd name="connsiteX2843" fmla="*/ 957270 w 1263758"/>
                        <a:gd name="connsiteY2843" fmla="*/ 1184098 h 2117064"/>
                        <a:gd name="connsiteX2844" fmla="*/ 959070 w 1263758"/>
                        <a:gd name="connsiteY2844" fmla="*/ 1178698 h 2117064"/>
                        <a:gd name="connsiteX2845" fmla="*/ 962670 w 1263758"/>
                        <a:gd name="connsiteY2845" fmla="*/ 1174197 h 2117064"/>
                        <a:gd name="connsiteX2846" fmla="*/ 968521 w 1263758"/>
                        <a:gd name="connsiteY2846" fmla="*/ 1168796 h 2117064"/>
                        <a:gd name="connsiteX2847" fmla="*/ 973922 w 1263758"/>
                        <a:gd name="connsiteY2847" fmla="*/ 1166096 h 2117064"/>
                        <a:gd name="connsiteX2848" fmla="*/ 978422 w 1263758"/>
                        <a:gd name="connsiteY2848" fmla="*/ 1166546 h 2117064"/>
                        <a:gd name="connsiteX2849" fmla="*/ 982023 w 1263758"/>
                        <a:gd name="connsiteY2849" fmla="*/ 1167446 h 2117064"/>
                        <a:gd name="connsiteX2850" fmla="*/ 985173 w 1263758"/>
                        <a:gd name="connsiteY2850" fmla="*/ 1168796 h 2117064"/>
                        <a:gd name="connsiteX2851" fmla="*/ 986973 w 1263758"/>
                        <a:gd name="connsiteY2851" fmla="*/ 1169696 h 2117064"/>
                        <a:gd name="connsiteX2852" fmla="*/ 987423 w 1263758"/>
                        <a:gd name="connsiteY2852" fmla="*/ 1170597 h 2117064"/>
                        <a:gd name="connsiteX2853" fmla="*/ 988774 w 1263758"/>
                        <a:gd name="connsiteY2853" fmla="*/ 1174647 h 2117064"/>
                        <a:gd name="connsiteX2854" fmla="*/ 988774 w 1263758"/>
                        <a:gd name="connsiteY2854" fmla="*/ 1177347 h 2117064"/>
                        <a:gd name="connsiteX2855" fmla="*/ 987874 w 1263758"/>
                        <a:gd name="connsiteY2855" fmla="*/ 1180498 h 2117064"/>
                        <a:gd name="connsiteX2856" fmla="*/ 986523 w 1263758"/>
                        <a:gd name="connsiteY2856" fmla="*/ 1184098 h 2117064"/>
                        <a:gd name="connsiteX2857" fmla="*/ 980222 w 1263758"/>
                        <a:gd name="connsiteY2857" fmla="*/ 1188149 h 2117064"/>
                        <a:gd name="connsiteX2858" fmla="*/ 976622 w 1263758"/>
                        <a:gd name="connsiteY2858" fmla="*/ 1191299 h 2117064"/>
                        <a:gd name="connsiteX2859" fmla="*/ 974372 w 1263758"/>
                        <a:gd name="connsiteY2859" fmla="*/ 1192199 h 2117064"/>
                        <a:gd name="connsiteX2860" fmla="*/ 967621 w 1263758"/>
                        <a:gd name="connsiteY2860" fmla="*/ 1193099 h 2117064"/>
                        <a:gd name="connsiteX2861" fmla="*/ 968071 w 1263758"/>
                        <a:gd name="connsiteY2861" fmla="*/ 1194449 h 2117064"/>
                        <a:gd name="connsiteX2862" fmla="*/ 973022 w 1263758"/>
                        <a:gd name="connsiteY2862" fmla="*/ 1196250 h 2117064"/>
                        <a:gd name="connsiteX2863" fmla="*/ 978422 w 1263758"/>
                        <a:gd name="connsiteY2863" fmla="*/ 1195800 h 2117064"/>
                        <a:gd name="connsiteX2864" fmla="*/ 978422 w 1263758"/>
                        <a:gd name="connsiteY2864" fmla="*/ 1197600 h 2117064"/>
                        <a:gd name="connsiteX2865" fmla="*/ 975722 w 1263758"/>
                        <a:gd name="connsiteY2865" fmla="*/ 1202551 h 2117064"/>
                        <a:gd name="connsiteX2866" fmla="*/ 974822 w 1263758"/>
                        <a:gd name="connsiteY2866" fmla="*/ 1207051 h 2117064"/>
                        <a:gd name="connsiteX2867" fmla="*/ 975722 w 1263758"/>
                        <a:gd name="connsiteY2867" fmla="*/ 1210652 h 2117064"/>
                        <a:gd name="connsiteX2868" fmla="*/ 975722 w 1263758"/>
                        <a:gd name="connsiteY2868" fmla="*/ 1213802 h 2117064"/>
                        <a:gd name="connsiteX2869" fmla="*/ 973922 w 1263758"/>
                        <a:gd name="connsiteY2869" fmla="*/ 1220103 h 2117064"/>
                        <a:gd name="connsiteX2870" fmla="*/ 971671 w 1263758"/>
                        <a:gd name="connsiteY2870" fmla="*/ 1225503 h 2117064"/>
                        <a:gd name="connsiteX2871" fmla="*/ 972572 w 1263758"/>
                        <a:gd name="connsiteY2871" fmla="*/ 1226404 h 2117064"/>
                        <a:gd name="connsiteX2872" fmla="*/ 977522 w 1263758"/>
                        <a:gd name="connsiteY2872" fmla="*/ 1218303 h 2117064"/>
                        <a:gd name="connsiteX2873" fmla="*/ 978872 w 1263758"/>
                        <a:gd name="connsiteY2873" fmla="*/ 1209751 h 2117064"/>
                        <a:gd name="connsiteX2874" fmla="*/ 981123 w 1263758"/>
                        <a:gd name="connsiteY2874" fmla="*/ 1202101 h 2117064"/>
                        <a:gd name="connsiteX2875" fmla="*/ 983373 w 1263758"/>
                        <a:gd name="connsiteY2875" fmla="*/ 1198050 h 2117064"/>
                        <a:gd name="connsiteX2876" fmla="*/ 985173 w 1263758"/>
                        <a:gd name="connsiteY2876" fmla="*/ 1196250 h 2117064"/>
                        <a:gd name="connsiteX2877" fmla="*/ 991024 w 1263758"/>
                        <a:gd name="connsiteY2877" fmla="*/ 1195800 h 2117064"/>
                        <a:gd name="connsiteX2878" fmla="*/ 994174 w 1263758"/>
                        <a:gd name="connsiteY2878" fmla="*/ 1191299 h 2117064"/>
                        <a:gd name="connsiteX2879" fmla="*/ 996875 w 1263758"/>
                        <a:gd name="connsiteY2879" fmla="*/ 1189949 h 2117064"/>
                        <a:gd name="connsiteX2880" fmla="*/ 997775 w 1263758"/>
                        <a:gd name="connsiteY2880" fmla="*/ 1189949 h 2117064"/>
                        <a:gd name="connsiteX2881" fmla="*/ 1000025 w 1263758"/>
                        <a:gd name="connsiteY2881" fmla="*/ 1191749 h 2117064"/>
                        <a:gd name="connsiteX2882" fmla="*/ 1000025 w 1263758"/>
                        <a:gd name="connsiteY2882" fmla="*/ 1193549 h 2117064"/>
                        <a:gd name="connsiteX2883" fmla="*/ 996875 w 1263758"/>
                        <a:gd name="connsiteY2883" fmla="*/ 1201650 h 2117064"/>
                        <a:gd name="connsiteX2884" fmla="*/ 989674 w 1263758"/>
                        <a:gd name="connsiteY2884" fmla="*/ 1214702 h 2117064"/>
                        <a:gd name="connsiteX2885" fmla="*/ 992374 w 1263758"/>
                        <a:gd name="connsiteY2885" fmla="*/ 1213352 h 2117064"/>
                        <a:gd name="connsiteX2886" fmla="*/ 994174 w 1263758"/>
                        <a:gd name="connsiteY2886" fmla="*/ 1210201 h 2117064"/>
                        <a:gd name="connsiteX2887" fmla="*/ 996875 w 1263758"/>
                        <a:gd name="connsiteY2887" fmla="*/ 1207051 h 2117064"/>
                        <a:gd name="connsiteX2888" fmla="*/ 1000025 w 1263758"/>
                        <a:gd name="connsiteY2888" fmla="*/ 1202551 h 2117064"/>
                        <a:gd name="connsiteX2889" fmla="*/ 1001825 w 1263758"/>
                        <a:gd name="connsiteY2889" fmla="*/ 1206601 h 2117064"/>
                        <a:gd name="connsiteX2890" fmla="*/ 1004976 w 1263758"/>
                        <a:gd name="connsiteY2890" fmla="*/ 1209751 h 2117064"/>
                        <a:gd name="connsiteX2891" fmla="*/ 1006776 w 1263758"/>
                        <a:gd name="connsiteY2891" fmla="*/ 1216952 h 2117064"/>
                        <a:gd name="connsiteX2892" fmla="*/ 1009476 w 1263758"/>
                        <a:gd name="connsiteY2892" fmla="*/ 1220553 h 2117064"/>
                        <a:gd name="connsiteX2893" fmla="*/ 1011276 w 1263758"/>
                        <a:gd name="connsiteY2893" fmla="*/ 1223253 h 2117064"/>
                        <a:gd name="connsiteX2894" fmla="*/ 1010826 w 1263758"/>
                        <a:gd name="connsiteY2894" fmla="*/ 1218753 h 2117064"/>
                        <a:gd name="connsiteX2895" fmla="*/ 1008126 w 1263758"/>
                        <a:gd name="connsiteY2895" fmla="*/ 1209751 h 2117064"/>
                        <a:gd name="connsiteX2896" fmla="*/ 1009026 w 1263758"/>
                        <a:gd name="connsiteY2896" fmla="*/ 1206151 h 2117064"/>
                        <a:gd name="connsiteX2897" fmla="*/ 1010826 w 1263758"/>
                        <a:gd name="connsiteY2897" fmla="*/ 1204351 h 2117064"/>
                        <a:gd name="connsiteX2898" fmla="*/ 1016677 w 1263758"/>
                        <a:gd name="connsiteY2898" fmla="*/ 1196700 h 2117064"/>
                        <a:gd name="connsiteX2899" fmla="*/ 1020728 w 1263758"/>
                        <a:gd name="connsiteY2899" fmla="*/ 1199400 h 2117064"/>
                        <a:gd name="connsiteX2900" fmla="*/ 1023428 w 1263758"/>
                        <a:gd name="connsiteY2900" fmla="*/ 1201650 h 2117064"/>
                        <a:gd name="connsiteX2901" fmla="*/ 1024778 w 1263758"/>
                        <a:gd name="connsiteY2901" fmla="*/ 1201200 h 2117064"/>
                        <a:gd name="connsiteX2902" fmla="*/ 1027928 w 1263758"/>
                        <a:gd name="connsiteY2902" fmla="*/ 1201650 h 2117064"/>
                        <a:gd name="connsiteX2903" fmla="*/ 1033329 w 1263758"/>
                        <a:gd name="connsiteY2903" fmla="*/ 1203001 h 2117064"/>
                        <a:gd name="connsiteX2904" fmla="*/ 1038280 w 1263758"/>
                        <a:gd name="connsiteY2904" fmla="*/ 1205251 h 2117064"/>
                        <a:gd name="connsiteX2905" fmla="*/ 1043230 w 1263758"/>
                        <a:gd name="connsiteY2905" fmla="*/ 1208401 h 2117064"/>
                        <a:gd name="connsiteX2906" fmla="*/ 1047281 w 1263758"/>
                        <a:gd name="connsiteY2906" fmla="*/ 1212002 h 2117064"/>
                        <a:gd name="connsiteX2907" fmla="*/ 1049981 w 1263758"/>
                        <a:gd name="connsiteY2907" fmla="*/ 1216052 h 2117064"/>
                        <a:gd name="connsiteX2908" fmla="*/ 1051781 w 1263758"/>
                        <a:gd name="connsiteY2908" fmla="*/ 1218753 h 2117064"/>
                        <a:gd name="connsiteX2909" fmla="*/ 1052232 w 1263758"/>
                        <a:gd name="connsiteY2909" fmla="*/ 1220103 h 2117064"/>
                        <a:gd name="connsiteX2910" fmla="*/ 1053132 w 1263758"/>
                        <a:gd name="connsiteY2910" fmla="*/ 1224153 h 2117064"/>
                        <a:gd name="connsiteX2911" fmla="*/ 1052682 w 1263758"/>
                        <a:gd name="connsiteY2911" fmla="*/ 1224153 h 2117064"/>
                        <a:gd name="connsiteX2912" fmla="*/ 1049081 w 1263758"/>
                        <a:gd name="connsiteY2912" fmla="*/ 1230004 h 2117064"/>
                        <a:gd name="connsiteX2913" fmla="*/ 1046831 w 1263758"/>
                        <a:gd name="connsiteY2913" fmla="*/ 1232704 h 2117064"/>
                        <a:gd name="connsiteX2914" fmla="*/ 1044581 w 1263758"/>
                        <a:gd name="connsiteY2914" fmla="*/ 1234055 h 2117064"/>
                        <a:gd name="connsiteX2915" fmla="*/ 1039180 w 1263758"/>
                        <a:gd name="connsiteY2915" fmla="*/ 1232704 h 2117064"/>
                        <a:gd name="connsiteX2916" fmla="*/ 1037380 w 1263758"/>
                        <a:gd name="connsiteY2916" fmla="*/ 1233604 h 2117064"/>
                        <a:gd name="connsiteX2917" fmla="*/ 1035579 w 1263758"/>
                        <a:gd name="connsiteY2917" fmla="*/ 1235405 h 2117064"/>
                        <a:gd name="connsiteX2918" fmla="*/ 1029729 w 1263758"/>
                        <a:gd name="connsiteY2918" fmla="*/ 1243506 h 2117064"/>
                        <a:gd name="connsiteX2919" fmla="*/ 1026578 w 1263758"/>
                        <a:gd name="connsiteY2919" fmla="*/ 1247106 h 2117064"/>
                        <a:gd name="connsiteX2920" fmla="*/ 1023428 w 1263758"/>
                        <a:gd name="connsiteY2920" fmla="*/ 1249356 h 2117064"/>
                        <a:gd name="connsiteX2921" fmla="*/ 1022528 w 1263758"/>
                        <a:gd name="connsiteY2921" fmla="*/ 1250707 h 2117064"/>
                        <a:gd name="connsiteX2922" fmla="*/ 1029279 w 1263758"/>
                        <a:gd name="connsiteY2922" fmla="*/ 1250707 h 2117064"/>
                        <a:gd name="connsiteX2923" fmla="*/ 1031079 w 1263758"/>
                        <a:gd name="connsiteY2923" fmla="*/ 1248456 h 2117064"/>
                        <a:gd name="connsiteX2924" fmla="*/ 1032429 w 1263758"/>
                        <a:gd name="connsiteY2924" fmla="*/ 1243956 h 2117064"/>
                        <a:gd name="connsiteX2925" fmla="*/ 1035579 w 1263758"/>
                        <a:gd name="connsiteY2925" fmla="*/ 1239005 h 2117064"/>
                        <a:gd name="connsiteX2926" fmla="*/ 1041430 w 1263758"/>
                        <a:gd name="connsiteY2926" fmla="*/ 1236755 h 2117064"/>
                        <a:gd name="connsiteX2927" fmla="*/ 1049531 w 1263758"/>
                        <a:gd name="connsiteY2927" fmla="*/ 1241255 h 2117064"/>
                        <a:gd name="connsiteX2928" fmla="*/ 1053582 w 1263758"/>
                        <a:gd name="connsiteY2928" fmla="*/ 1241255 h 2117064"/>
                        <a:gd name="connsiteX2929" fmla="*/ 1056732 w 1263758"/>
                        <a:gd name="connsiteY2929" fmla="*/ 1236755 h 2117064"/>
                        <a:gd name="connsiteX2930" fmla="*/ 1059883 w 1263758"/>
                        <a:gd name="connsiteY2930" fmla="*/ 1233604 h 2117064"/>
                        <a:gd name="connsiteX2931" fmla="*/ 1061233 w 1263758"/>
                        <a:gd name="connsiteY2931" fmla="*/ 1233154 h 2117064"/>
                        <a:gd name="connsiteX2932" fmla="*/ 1062133 w 1263758"/>
                        <a:gd name="connsiteY2932" fmla="*/ 1233604 h 2117064"/>
                        <a:gd name="connsiteX2933" fmla="*/ 1064833 w 1263758"/>
                        <a:gd name="connsiteY2933" fmla="*/ 1236755 h 2117064"/>
                        <a:gd name="connsiteX2934" fmla="*/ 1065733 w 1263758"/>
                        <a:gd name="connsiteY2934" fmla="*/ 1239905 h 2117064"/>
                        <a:gd name="connsiteX2935" fmla="*/ 1065733 w 1263758"/>
                        <a:gd name="connsiteY2935" fmla="*/ 1246656 h 2117064"/>
                        <a:gd name="connsiteX2936" fmla="*/ 1065283 w 1263758"/>
                        <a:gd name="connsiteY2936" fmla="*/ 1248906 h 2117064"/>
                        <a:gd name="connsiteX2937" fmla="*/ 1063033 w 1263758"/>
                        <a:gd name="connsiteY2937" fmla="*/ 1253857 h 2117064"/>
                        <a:gd name="connsiteX2938" fmla="*/ 1057632 w 1263758"/>
                        <a:gd name="connsiteY2938" fmla="*/ 1261508 h 2117064"/>
                        <a:gd name="connsiteX2939" fmla="*/ 1054032 w 1263758"/>
                        <a:gd name="connsiteY2939" fmla="*/ 1264208 h 2117064"/>
                        <a:gd name="connsiteX2940" fmla="*/ 1049981 w 1263758"/>
                        <a:gd name="connsiteY2940" fmla="*/ 1265558 h 2117064"/>
                        <a:gd name="connsiteX2941" fmla="*/ 1045481 w 1263758"/>
                        <a:gd name="connsiteY2941" fmla="*/ 1268259 h 2117064"/>
                        <a:gd name="connsiteX2942" fmla="*/ 1044131 w 1263758"/>
                        <a:gd name="connsiteY2942" fmla="*/ 1270509 h 2117064"/>
                        <a:gd name="connsiteX2943" fmla="*/ 1042780 w 1263758"/>
                        <a:gd name="connsiteY2943" fmla="*/ 1273209 h 2117064"/>
                        <a:gd name="connsiteX2944" fmla="*/ 1041430 w 1263758"/>
                        <a:gd name="connsiteY2944" fmla="*/ 1275010 h 2117064"/>
                        <a:gd name="connsiteX2945" fmla="*/ 1039630 w 1263758"/>
                        <a:gd name="connsiteY2945" fmla="*/ 1276810 h 2117064"/>
                        <a:gd name="connsiteX2946" fmla="*/ 1042330 w 1263758"/>
                        <a:gd name="connsiteY2946" fmla="*/ 1279060 h 2117064"/>
                        <a:gd name="connsiteX2947" fmla="*/ 1043230 w 1263758"/>
                        <a:gd name="connsiteY2947" fmla="*/ 1279060 h 2117064"/>
                        <a:gd name="connsiteX2948" fmla="*/ 1044131 w 1263758"/>
                        <a:gd name="connsiteY2948" fmla="*/ 1277710 h 2117064"/>
                        <a:gd name="connsiteX2949" fmla="*/ 1046831 w 1263758"/>
                        <a:gd name="connsiteY2949" fmla="*/ 1272309 h 2117064"/>
                        <a:gd name="connsiteX2950" fmla="*/ 1048631 w 1263758"/>
                        <a:gd name="connsiteY2950" fmla="*/ 1270059 h 2117064"/>
                        <a:gd name="connsiteX2951" fmla="*/ 1049531 w 1263758"/>
                        <a:gd name="connsiteY2951" fmla="*/ 1269609 h 2117064"/>
                        <a:gd name="connsiteX2952" fmla="*/ 1050431 w 1263758"/>
                        <a:gd name="connsiteY2952" fmla="*/ 1270059 h 2117064"/>
                        <a:gd name="connsiteX2953" fmla="*/ 1051331 w 1263758"/>
                        <a:gd name="connsiteY2953" fmla="*/ 1270959 h 2117064"/>
                        <a:gd name="connsiteX2954" fmla="*/ 1052232 w 1263758"/>
                        <a:gd name="connsiteY2954" fmla="*/ 1272759 h 2117064"/>
                        <a:gd name="connsiteX2955" fmla="*/ 1052232 w 1263758"/>
                        <a:gd name="connsiteY2955" fmla="*/ 1277710 h 2117064"/>
                        <a:gd name="connsiteX2956" fmla="*/ 1049081 w 1263758"/>
                        <a:gd name="connsiteY2956" fmla="*/ 1296612 h 2117064"/>
                        <a:gd name="connsiteX2957" fmla="*/ 1049531 w 1263758"/>
                        <a:gd name="connsiteY2957" fmla="*/ 1296612 h 2117064"/>
                        <a:gd name="connsiteX2958" fmla="*/ 1051331 w 1263758"/>
                        <a:gd name="connsiteY2958" fmla="*/ 1291662 h 2117064"/>
                        <a:gd name="connsiteX2959" fmla="*/ 1057182 w 1263758"/>
                        <a:gd name="connsiteY2959" fmla="*/ 1272309 h 2117064"/>
                        <a:gd name="connsiteX2960" fmla="*/ 1058532 w 1263758"/>
                        <a:gd name="connsiteY2960" fmla="*/ 1268259 h 2117064"/>
                        <a:gd name="connsiteX2961" fmla="*/ 1061233 w 1263758"/>
                        <a:gd name="connsiteY2961" fmla="*/ 1264208 h 2117064"/>
                        <a:gd name="connsiteX2962" fmla="*/ 1067533 w 1263758"/>
                        <a:gd name="connsiteY2962" fmla="*/ 1258358 h 2117064"/>
                        <a:gd name="connsiteX2963" fmla="*/ 1072484 w 1263758"/>
                        <a:gd name="connsiteY2963" fmla="*/ 1255207 h 2117064"/>
                        <a:gd name="connsiteX2964" fmla="*/ 1077885 w 1263758"/>
                        <a:gd name="connsiteY2964" fmla="*/ 1252507 h 2117064"/>
                        <a:gd name="connsiteX2965" fmla="*/ 1080585 w 1263758"/>
                        <a:gd name="connsiteY2965" fmla="*/ 1251607 h 2117064"/>
                        <a:gd name="connsiteX2966" fmla="*/ 1083735 w 1263758"/>
                        <a:gd name="connsiteY2966" fmla="*/ 1252507 h 2117064"/>
                        <a:gd name="connsiteX2967" fmla="*/ 1085986 w 1263758"/>
                        <a:gd name="connsiteY2967" fmla="*/ 1255657 h 2117064"/>
                        <a:gd name="connsiteX2968" fmla="*/ 1088686 w 1263758"/>
                        <a:gd name="connsiteY2968" fmla="*/ 1256107 h 2117064"/>
                        <a:gd name="connsiteX2969" fmla="*/ 1092286 w 1263758"/>
                        <a:gd name="connsiteY2969" fmla="*/ 1255207 h 2117064"/>
                        <a:gd name="connsiteX2970" fmla="*/ 1094537 w 1263758"/>
                        <a:gd name="connsiteY2970" fmla="*/ 1255657 h 2117064"/>
                        <a:gd name="connsiteX2971" fmla="*/ 1097237 w 1263758"/>
                        <a:gd name="connsiteY2971" fmla="*/ 1257007 h 2117064"/>
                        <a:gd name="connsiteX2972" fmla="*/ 1099487 w 1263758"/>
                        <a:gd name="connsiteY2972" fmla="*/ 1259258 h 2117064"/>
                        <a:gd name="connsiteX2973" fmla="*/ 1103088 w 1263758"/>
                        <a:gd name="connsiteY2973" fmla="*/ 1261958 h 2117064"/>
                        <a:gd name="connsiteX2974" fmla="*/ 1111639 w 1263758"/>
                        <a:gd name="connsiteY2974" fmla="*/ 1266909 h 2117064"/>
                        <a:gd name="connsiteX2975" fmla="*/ 1112539 w 1263758"/>
                        <a:gd name="connsiteY2975" fmla="*/ 1267809 h 2117064"/>
                        <a:gd name="connsiteX2976" fmla="*/ 1113439 w 1263758"/>
                        <a:gd name="connsiteY2976" fmla="*/ 1269609 h 2117064"/>
                        <a:gd name="connsiteX2977" fmla="*/ 1114339 w 1263758"/>
                        <a:gd name="connsiteY2977" fmla="*/ 1272309 h 2117064"/>
                        <a:gd name="connsiteX2978" fmla="*/ 1114339 w 1263758"/>
                        <a:gd name="connsiteY2978" fmla="*/ 1275010 h 2117064"/>
                        <a:gd name="connsiteX2979" fmla="*/ 1112989 w 1263758"/>
                        <a:gd name="connsiteY2979" fmla="*/ 1277710 h 2117064"/>
                        <a:gd name="connsiteX2980" fmla="*/ 1111639 w 1263758"/>
                        <a:gd name="connsiteY2980" fmla="*/ 1279510 h 2117064"/>
                        <a:gd name="connsiteX2981" fmla="*/ 1109839 w 1263758"/>
                        <a:gd name="connsiteY2981" fmla="*/ 1279960 h 2117064"/>
                        <a:gd name="connsiteX2982" fmla="*/ 1108038 w 1263758"/>
                        <a:gd name="connsiteY2982" fmla="*/ 1281310 h 2117064"/>
                        <a:gd name="connsiteX2983" fmla="*/ 1104888 w 1263758"/>
                        <a:gd name="connsiteY2983" fmla="*/ 1284911 h 2117064"/>
                        <a:gd name="connsiteX2984" fmla="*/ 1103988 w 1263758"/>
                        <a:gd name="connsiteY2984" fmla="*/ 1285361 h 2117064"/>
                        <a:gd name="connsiteX2985" fmla="*/ 1099037 w 1263758"/>
                        <a:gd name="connsiteY2985" fmla="*/ 1287161 h 2117064"/>
                        <a:gd name="connsiteX2986" fmla="*/ 1094537 w 1263758"/>
                        <a:gd name="connsiteY2986" fmla="*/ 1288061 h 2117064"/>
                        <a:gd name="connsiteX2987" fmla="*/ 1091837 w 1263758"/>
                        <a:gd name="connsiteY2987" fmla="*/ 1289411 h 2117064"/>
                        <a:gd name="connsiteX2988" fmla="*/ 1086436 w 1263758"/>
                        <a:gd name="connsiteY2988" fmla="*/ 1293462 h 2117064"/>
                        <a:gd name="connsiteX2989" fmla="*/ 1078785 w 1263758"/>
                        <a:gd name="connsiteY2989" fmla="*/ 1300663 h 2117064"/>
                        <a:gd name="connsiteX2990" fmla="*/ 1078785 w 1263758"/>
                        <a:gd name="connsiteY2990" fmla="*/ 1302463 h 2117064"/>
                        <a:gd name="connsiteX2991" fmla="*/ 1081935 w 1263758"/>
                        <a:gd name="connsiteY2991" fmla="*/ 1303363 h 2117064"/>
                        <a:gd name="connsiteX2992" fmla="*/ 1084636 w 1263758"/>
                        <a:gd name="connsiteY2992" fmla="*/ 1302463 h 2117064"/>
                        <a:gd name="connsiteX2993" fmla="*/ 1088236 w 1263758"/>
                        <a:gd name="connsiteY2993" fmla="*/ 1297512 h 2117064"/>
                        <a:gd name="connsiteX2994" fmla="*/ 1091386 w 1263758"/>
                        <a:gd name="connsiteY2994" fmla="*/ 1295712 h 2117064"/>
                        <a:gd name="connsiteX2995" fmla="*/ 1096337 w 1263758"/>
                        <a:gd name="connsiteY2995" fmla="*/ 1294362 h 2117064"/>
                        <a:gd name="connsiteX2996" fmla="*/ 1103088 w 1263758"/>
                        <a:gd name="connsiteY2996" fmla="*/ 1293012 h 2117064"/>
                        <a:gd name="connsiteX2997" fmla="*/ 1106238 w 1263758"/>
                        <a:gd name="connsiteY2997" fmla="*/ 1293012 h 2117064"/>
                        <a:gd name="connsiteX2998" fmla="*/ 1106688 w 1263758"/>
                        <a:gd name="connsiteY2998" fmla="*/ 1293462 h 2117064"/>
                        <a:gd name="connsiteX2999" fmla="*/ 1107138 w 1263758"/>
                        <a:gd name="connsiteY2999" fmla="*/ 1294812 h 2117064"/>
                        <a:gd name="connsiteX3000" fmla="*/ 1107589 w 1263758"/>
                        <a:gd name="connsiteY3000" fmla="*/ 1297062 h 2117064"/>
                        <a:gd name="connsiteX3001" fmla="*/ 1106238 w 1263758"/>
                        <a:gd name="connsiteY3001" fmla="*/ 1299763 h 2117064"/>
                        <a:gd name="connsiteX3002" fmla="*/ 1104888 w 1263758"/>
                        <a:gd name="connsiteY3002" fmla="*/ 1301113 h 2117064"/>
                        <a:gd name="connsiteX3003" fmla="*/ 1101288 w 1263758"/>
                        <a:gd name="connsiteY3003" fmla="*/ 1307414 h 2117064"/>
                        <a:gd name="connsiteX3004" fmla="*/ 1103538 w 1263758"/>
                        <a:gd name="connsiteY3004" fmla="*/ 1309214 h 2117064"/>
                        <a:gd name="connsiteX3005" fmla="*/ 1106688 w 1263758"/>
                        <a:gd name="connsiteY3005" fmla="*/ 1310114 h 2117064"/>
                        <a:gd name="connsiteX3006" fmla="*/ 1108489 w 1263758"/>
                        <a:gd name="connsiteY3006" fmla="*/ 1308314 h 2117064"/>
                        <a:gd name="connsiteX3007" fmla="*/ 1110289 w 1263758"/>
                        <a:gd name="connsiteY3007" fmla="*/ 1304263 h 2117064"/>
                        <a:gd name="connsiteX3008" fmla="*/ 1112089 w 1263758"/>
                        <a:gd name="connsiteY3008" fmla="*/ 1302013 h 2117064"/>
                        <a:gd name="connsiteX3009" fmla="*/ 1114339 w 1263758"/>
                        <a:gd name="connsiteY3009" fmla="*/ 1301563 h 2117064"/>
                        <a:gd name="connsiteX3010" fmla="*/ 1116140 w 1263758"/>
                        <a:gd name="connsiteY3010" fmla="*/ 1300663 h 2117064"/>
                        <a:gd name="connsiteX3011" fmla="*/ 1117940 w 1263758"/>
                        <a:gd name="connsiteY3011" fmla="*/ 1299313 h 2117064"/>
                        <a:gd name="connsiteX3012" fmla="*/ 1118390 w 1263758"/>
                        <a:gd name="connsiteY3012" fmla="*/ 1298413 h 2117064"/>
                        <a:gd name="connsiteX3013" fmla="*/ 1116140 w 1263758"/>
                        <a:gd name="connsiteY3013" fmla="*/ 1296612 h 2117064"/>
                        <a:gd name="connsiteX3014" fmla="*/ 1116140 w 1263758"/>
                        <a:gd name="connsiteY3014" fmla="*/ 1295262 h 2117064"/>
                        <a:gd name="connsiteX3015" fmla="*/ 1117040 w 1263758"/>
                        <a:gd name="connsiteY3015" fmla="*/ 1292112 h 2117064"/>
                        <a:gd name="connsiteX3016" fmla="*/ 1118840 w 1263758"/>
                        <a:gd name="connsiteY3016" fmla="*/ 1288961 h 2117064"/>
                        <a:gd name="connsiteX3017" fmla="*/ 1120640 w 1263758"/>
                        <a:gd name="connsiteY3017" fmla="*/ 1286711 h 2117064"/>
                        <a:gd name="connsiteX3018" fmla="*/ 1121990 w 1263758"/>
                        <a:gd name="connsiteY3018" fmla="*/ 1286711 h 2117064"/>
                        <a:gd name="connsiteX3019" fmla="*/ 1126491 w 1263758"/>
                        <a:gd name="connsiteY3019" fmla="*/ 1288961 h 2117064"/>
                        <a:gd name="connsiteX3020" fmla="*/ 1129641 w 1263758"/>
                        <a:gd name="connsiteY3020" fmla="*/ 1293012 h 2117064"/>
                        <a:gd name="connsiteX3021" fmla="*/ 1137292 w 1263758"/>
                        <a:gd name="connsiteY3021" fmla="*/ 1304713 h 2117064"/>
                        <a:gd name="connsiteX3022" fmla="*/ 1138192 w 1263758"/>
                        <a:gd name="connsiteY3022" fmla="*/ 1306964 h 2117064"/>
                        <a:gd name="connsiteX3023" fmla="*/ 1140893 w 1263758"/>
                        <a:gd name="connsiteY3023" fmla="*/ 1315515 h 2117064"/>
                        <a:gd name="connsiteX3024" fmla="*/ 1141343 w 1263758"/>
                        <a:gd name="connsiteY3024" fmla="*/ 1319115 h 2117064"/>
                        <a:gd name="connsiteX3025" fmla="*/ 1140893 w 1263758"/>
                        <a:gd name="connsiteY3025" fmla="*/ 1321816 h 2117064"/>
                        <a:gd name="connsiteX3026" fmla="*/ 1140443 w 1263758"/>
                        <a:gd name="connsiteY3026" fmla="*/ 1323616 h 2117064"/>
                        <a:gd name="connsiteX3027" fmla="*/ 1139542 w 1263758"/>
                        <a:gd name="connsiteY3027" fmla="*/ 1324066 h 2117064"/>
                        <a:gd name="connsiteX3028" fmla="*/ 1137742 w 1263758"/>
                        <a:gd name="connsiteY3028" fmla="*/ 1324066 h 2117064"/>
                        <a:gd name="connsiteX3029" fmla="*/ 1127841 w 1263758"/>
                        <a:gd name="connsiteY3029" fmla="*/ 1320465 h 2117064"/>
                        <a:gd name="connsiteX3030" fmla="*/ 1123340 w 1263758"/>
                        <a:gd name="connsiteY3030" fmla="*/ 1320915 h 2117064"/>
                        <a:gd name="connsiteX3031" fmla="*/ 1121540 w 1263758"/>
                        <a:gd name="connsiteY3031" fmla="*/ 1321816 h 2117064"/>
                        <a:gd name="connsiteX3032" fmla="*/ 1119740 w 1263758"/>
                        <a:gd name="connsiteY3032" fmla="*/ 1323166 h 2117064"/>
                        <a:gd name="connsiteX3033" fmla="*/ 1118390 w 1263758"/>
                        <a:gd name="connsiteY3033" fmla="*/ 1324966 h 2117064"/>
                        <a:gd name="connsiteX3034" fmla="*/ 1117490 w 1263758"/>
                        <a:gd name="connsiteY3034" fmla="*/ 1327216 h 2117064"/>
                        <a:gd name="connsiteX3035" fmla="*/ 1115689 w 1263758"/>
                        <a:gd name="connsiteY3035" fmla="*/ 1328566 h 2117064"/>
                        <a:gd name="connsiteX3036" fmla="*/ 1109389 w 1263758"/>
                        <a:gd name="connsiteY3036" fmla="*/ 1328566 h 2117064"/>
                        <a:gd name="connsiteX3037" fmla="*/ 1105788 w 1263758"/>
                        <a:gd name="connsiteY3037" fmla="*/ 1329916 h 2117064"/>
                        <a:gd name="connsiteX3038" fmla="*/ 1099487 w 1263758"/>
                        <a:gd name="connsiteY3038" fmla="*/ 1333067 h 2117064"/>
                        <a:gd name="connsiteX3039" fmla="*/ 1097237 w 1263758"/>
                        <a:gd name="connsiteY3039" fmla="*/ 1334867 h 2117064"/>
                        <a:gd name="connsiteX3040" fmla="*/ 1096787 w 1263758"/>
                        <a:gd name="connsiteY3040" fmla="*/ 1337117 h 2117064"/>
                        <a:gd name="connsiteX3041" fmla="*/ 1100388 w 1263758"/>
                        <a:gd name="connsiteY3041" fmla="*/ 1336667 h 2117064"/>
                        <a:gd name="connsiteX3042" fmla="*/ 1106688 w 1263758"/>
                        <a:gd name="connsiteY3042" fmla="*/ 1333967 h 2117064"/>
                        <a:gd name="connsiteX3043" fmla="*/ 1112539 w 1263758"/>
                        <a:gd name="connsiteY3043" fmla="*/ 1333067 h 2117064"/>
                        <a:gd name="connsiteX3044" fmla="*/ 1121990 w 1263758"/>
                        <a:gd name="connsiteY3044" fmla="*/ 1339368 h 2117064"/>
                        <a:gd name="connsiteX3045" fmla="*/ 1125141 w 1263758"/>
                        <a:gd name="connsiteY3045" fmla="*/ 1340268 h 2117064"/>
                        <a:gd name="connsiteX3046" fmla="*/ 1126941 w 1263758"/>
                        <a:gd name="connsiteY3046" fmla="*/ 1339368 h 2117064"/>
                        <a:gd name="connsiteX3047" fmla="*/ 1129191 w 1263758"/>
                        <a:gd name="connsiteY3047" fmla="*/ 1338918 h 2117064"/>
                        <a:gd name="connsiteX3048" fmla="*/ 1136842 w 1263758"/>
                        <a:gd name="connsiteY3048" fmla="*/ 1339368 h 2117064"/>
                        <a:gd name="connsiteX3049" fmla="*/ 1139542 w 1263758"/>
                        <a:gd name="connsiteY3049" fmla="*/ 1340268 h 2117064"/>
                        <a:gd name="connsiteX3050" fmla="*/ 1143593 w 1263758"/>
                        <a:gd name="connsiteY3050" fmla="*/ 1342518 h 2117064"/>
                        <a:gd name="connsiteX3051" fmla="*/ 1149444 w 1263758"/>
                        <a:gd name="connsiteY3051" fmla="*/ 1347469 h 2117064"/>
                        <a:gd name="connsiteX3052" fmla="*/ 1150794 w 1263758"/>
                        <a:gd name="connsiteY3052" fmla="*/ 1348819 h 2117064"/>
                        <a:gd name="connsiteX3053" fmla="*/ 1151244 w 1263758"/>
                        <a:gd name="connsiteY3053" fmla="*/ 1350169 h 2117064"/>
                        <a:gd name="connsiteX3054" fmla="*/ 1151244 w 1263758"/>
                        <a:gd name="connsiteY3054" fmla="*/ 1351969 h 2117064"/>
                        <a:gd name="connsiteX3055" fmla="*/ 1151244 w 1263758"/>
                        <a:gd name="connsiteY3055" fmla="*/ 1356020 h 2117064"/>
                        <a:gd name="connsiteX3056" fmla="*/ 1150794 w 1263758"/>
                        <a:gd name="connsiteY3056" fmla="*/ 1357370 h 2117064"/>
                        <a:gd name="connsiteX3057" fmla="*/ 1148544 w 1263758"/>
                        <a:gd name="connsiteY3057" fmla="*/ 1358270 h 2117064"/>
                        <a:gd name="connsiteX3058" fmla="*/ 1139992 w 1263758"/>
                        <a:gd name="connsiteY3058" fmla="*/ 1357370 h 2117064"/>
                        <a:gd name="connsiteX3059" fmla="*/ 1137292 w 1263758"/>
                        <a:gd name="connsiteY3059" fmla="*/ 1356470 h 2117064"/>
                        <a:gd name="connsiteX3060" fmla="*/ 1134142 w 1263758"/>
                        <a:gd name="connsiteY3060" fmla="*/ 1357370 h 2117064"/>
                        <a:gd name="connsiteX3061" fmla="*/ 1131441 w 1263758"/>
                        <a:gd name="connsiteY3061" fmla="*/ 1356920 h 2117064"/>
                        <a:gd name="connsiteX3062" fmla="*/ 1128291 w 1263758"/>
                        <a:gd name="connsiteY3062" fmla="*/ 1355120 h 2117064"/>
                        <a:gd name="connsiteX3063" fmla="*/ 1124691 w 1263758"/>
                        <a:gd name="connsiteY3063" fmla="*/ 1352419 h 2117064"/>
                        <a:gd name="connsiteX3064" fmla="*/ 1119290 w 1263758"/>
                        <a:gd name="connsiteY3064" fmla="*/ 1355120 h 2117064"/>
                        <a:gd name="connsiteX3065" fmla="*/ 1114789 w 1263758"/>
                        <a:gd name="connsiteY3065" fmla="*/ 1353319 h 2117064"/>
                        <a:gd name="connsiteX3066" fmla="*/ 1110289 w 1263758"/>
                        <a:gd name="connsiteY3066" fmla="*/ 1354670 h 2117064"/>
                        <a:gd name="connsiteX3067" fmla="*/ 1101288 w 1263758"/>
                        <a:gd name="connsiteY3067" fmla="*/ 1360970 h 2117064"/>
                        <a:gd name="connsiteX3068" fmla="*/ 1102188 w 1263758"/>
                        <a:gd name="connsiteY3068" fmla="*/ 1361871 h 2117064"/>
                        <a:gd name="connsiteX3069" fmla="*/ 1114339 w 1263758"/>
                        <a:gd name="connsiteY3069" fmla="*/ 1356470 h 2117064"/>
                        <a:gd name="connsiteX3070" fmla="*/ 1116590 w 1263758"/>
                        <a:gd name="connsiteY3070" fmla="*/ 1356920 h 2117064"/>
                        <a:gd name="connsiteX3071" fmla="*/ 1120640 w 1263758"/>
                        <a:gd name="connsiteY3071" fmla="*/ 1358720 h 2117064"/>
                        <a:gd name="connsiteX3072" fmla="*/ 1126941 w 1263758"/>
                        <a:gd name="connsiteY3072" fmla="*/ 1362771 h 2117064"/>
                        <a:gd name="connsiteX3073" fmla="*/ 1128741 w 1263758"/>
                        <a:gd name="connsiteY3073" fmla="*/ 1364571 h 2117064"/>
                        <a:gd name="connsiteX3074" fmla="*/ 1128741 w 1263758"/>
                        <a:gd name="connsiteY3074" fmla="*/ 1370872 h 2117064"/>
                        <a:gd name="connsiteX3075" fmla="*/ 1127841 w 1263758"/>
                        <a:gd name="connsiteY3075" fmla="*/ 1374922 h 2117064"/>
                        <a:gd name="connsiteX3076" fmla="*/ 1126041 w 1263758"/>
                        <a:gd name="connsiteY3076" fmla="*/ 1379423 h 2117064"/>
                        <a:gd name="connsiteX3077" fmla="*/ 1123340 w 1263758"/>
                        <a:gd name="connsiteY3077" fmla="*/ 1378973 h 2117064"/>
                        <a:gd name="connsiteX3078" fmla="*/ 1116590 w 1263758"/>
                        <a:gd name="connsiteY3078" fmla="*/ 1376272 h 2117064"/>
                        <a:gd name="connsiteX3079" fmla="*/ 1113889 w 1263758"/>
                        <a:gd name="connsiteY3079" fmla="*/ 1375822 h 2117064"/>
                        <a:gd name="connsiteX3080" fmla="*/ 1112089 w 1263758"/>
                        <a:gd name="connsiteY3080" fmla="*/ 1376272 h 2117064"/>
                        <a:gd name="connsiteX3081" fmla="*/ 1109389 w 1263758"/>
                        <a:gd name="connsiteY3081" fmla="*/ 1378073 h 2117064"/>
                        <a:gd name="connsiteX3082" fmla="*/ 1108038 w 1263758"/>
                        <a:gd name="connsiteY3082" fmla="*/ 1378073 h 2117064"/>
                        <a:gd name="connsiteX3083" fmla="*/ 1097687 w 1263758"/>
                        <a:gd name="connsiteY3083" fmla="*/ 1374472 h 2117064"/>
                        <a:gd name="connsiteX3084" fmla="*/ 1095437 w 1263758"/>
                        <a:gd name="connsiteY3084" fmla="*/ 1374472 h 2117064"/>
                        <a:gd name="connsiteX3085" fmla="*/ 1094987 w 1263758"/>
                        <a:gd name="connsiteY3085" fmla="*/ 1374922 h 2117064"/>
                        <a:gd name="connsiteX3086" fmla="*/ 1095437 w 1263758"/>
                        <a:gd name="connsiteY3086" fmla="*/ 1375822 h 2117064"/>
                        <a:gd name="connsiteX3087" fmla="*/ 1104888 w 1263758"/>
                        <a:gd name="connsiteY3087" fmla="*/ 1381673 h 2117064"/>
                        <a:gd name="connsiteX3088" fmla="*/ 1112089 w 1263758"/>
                        <a:gd name="connsiteY3088" fmla="*/ 1382123 h 2117064"/>
                        <a:gd name="connsiteX3089" fmla="*/ 1116590 w 1263758"/>
                        <a:gd name="connsiteY3089" fmla="*/ 1383023 h 2117064"/>
                        <a:gd name="connsiteX3090" fmla="*/ 1119290 w 1263758"/>
                        <a:gd name="connsiteY3090" fmla="*/ 1384823 h 2117064"/>
                        <a:gd name="connsiteX3091" fmla="*/ 1120640 w 1263758"/>
                        <a:gd name="connsiteY3091" fmla="*/ 1386174 h 2117064"/>
                        <a:gd name="connsiteX3092" fmla="*/ 1120640 w 1263758"/>
                        <a:gd name="connsiteY3092" fmla="*/ 1389774 h 2117064"/>
                        <a:gd name="connsiteX3093" fmla="*/ 1122890 w 1263758"/>
                        <a:gd name="connsiteY3093" fmla="*/ 1393374 h 2117064"/>
                        <a:gd name="connsiteX3094" fmla="*/ 1125141 w 1263758"/>
                        <a:gd name="connsiteY3094" fmla="*/ 1394725 h 2117064"/>
                        <a:gd name="connsiteX3095" fmla="*/ 1126491 w 1263758"/>
                        <a:gd name="connsiteY3095" fmla="*/ 1394725 h 2117064"/>
                        <a:gd name="connsiteX3096" fmla="*/ 1128741 w 1263758"/>
                        <a:gd name="connsiteY3096" fmla="*/ 1393374 h 2117064"/>
                        <a:gd name="connsiteX3097" fmla="*/ 1130991 w 1263758"/>
                        <a:gd name="connsiteY3097" fmla="*/ 1393374 h 2117064"/>
                        <a:gd name="connsiteX3098" fmla="*/ 1132792 w 1263758"/>
                        <a:gd name="connsiteY3098" fmla="*/ 1394274 h 2117064"/>
                        <a:gd name="connsiteX3099" fmla="*/ 1135042 w 1263758"/>
                        <a:gd name="connsiteY3099" fmla="*/ 1396525 h 2117064"/>
                        <a:gd name="connsiteX3100" fmla="*/ 1137742 w 1263758"/>
                        <a:gd name="connsiteY3100" fmla="*/ 1396975 h 2117064"/>
                        <a:gd name="connsiteX3101" fmla="*/ 1140443 w 1263758"/>
                        <a:gd name="connsiteY3101" fmla="*/ 1398325 h 2117064"/>
                        <a:gd name="connsiteX3102" fmla="*/ 1142243 w 1263758"/>
                        <a:gd name="connsiteY3102" fmla="*/ 1398775 h 2117064"/>
                        <a:gd name="connsiteX3103" fmla="*/ 1147644 w 1263758"/>
                        <a:gd name="connsiteY3103" fmla="*/ 1398325 h 2117064"/>
                        <a:gd name="connsiteX3104" fmla="*/ 1149894 w 1263758"/>
                        <a:gd name="connsiteY3104" fmla="*/ 1399225 h 2117064"/>
                        <a:gd name="connsiteX3105" fmla="*/ 1150344 w 1263758"/>
                        <a:gd name="connsiteY3105" fmla="*/ 1400125 h 2117064"/>
                        <a:gd name="connsiteX3106" fmla="*/ 1149444 w 1263758"/>
                        <a:gd name="connsiteY3106" fmla="*/ 1401475 h 2117064"/>
                        <a:gd name="connsiteX3107" fmla="*/ 1144493 w 1263758"/>
                        <a:gd name="connsiteY3107" fmla="*/ 1404176 h 2117064"/>
                        <a:gd name="connsiteX3108" fmla="*/ 1143593 w 1263758"/>
                        <a:gd name="connsiteY3108" fmla="*/ 1406876 h 2117064"/>
                        <a:gd name="connsiteX3109" fmla="*/ 1146293 w 1263758"/>
                        <a:gd name="connsiteY3109" fmla="*/ 1410477 h 2117064"/>
                        <a:gd name="connsiteX3110" fmla="*/ 1147644 w 1263758"/>
                        <a:gd name="connsiteY3110" fmla="*/ 1413177 h 2117064"/>
                        <a:gd name="connsiteX3111" fmla="*/ 1147644 w 1263758"/>
                        <a:gd name="connsiteY3111" fmla="*/ 1415427 h 2117064"/>
                        <a:gd name="connsiteX3112" fmla="*/ 1146293 w 1263758"/>
                        <a:gd name="connsiteY3112" fmla="*/ 1419928 h 2117064"/>
                        <a:gd name="connsiteX3113" fmla="*/ 1145843 w 1263758"/>
                        <a:gd name="connsiteY3113" fmla="*/ 1421728 h 2117064"/>
                        <a:gd name="connsiteX3114" fmla="*/ 1146293 w 1263758"/>
                        <a:gd name="connsiteY3114" fmla="*/ 1421728 h 2117064"/>
                        <a:gd name="connsiteX3115" fmla="*/ 1149894 w 1263758"/>
                        <a:gd name="connsiteY3115" fmla="*/ 1418128 h 2117064"/>
                        <a:gd name="connsiteX3116" fmla="*/ 1150344 w 1263758"/>
                        <a:gd name="connsiteY3116" fmla="*/ 1418578 h 2117064"/>
                        <a:gd name="connsiteX3117" fmla="*/ 1150794 w 1263758"/>
                        <a:gd name="connsiteY3117" fmla="*/ 1423978 h 2117064"/>
                        <a:gd name="connsiteX3118" fmla="*/ 1151244 w 1263758"/>
                        <a:gd name="connsiteY3118" fmla="*/ 1423528 h 2117064"/>
                        <a:gd name="connsiteX3119" fmla="*/ 1152594 w 1263758"/>
                        <a:gd name="connsiteY3119" fmla="*/ 1419028 h 2117064"/>
                        <a:gd name="connsiteX3120" fmla="*/ 1152144 w 1263758"/>
                        <a:gd name="connsiteY3120" fmla="*/ 1413177 h 2117064"/>
                        <a:gd name="connsiteX3121" fmla="*/ 1154394 w 1263758"/>
                        <a:gd name="connsiteY3121" fmla="*/ 1410927 h 2117064"/>
                        <a:gd name="connsiteX3122" fmla="*/ 1161145 w 1263758"/>
                        <a:gd name="connsiteY3122" fmla="*/ 1409126 h 2117064"/>
                        <a:gd name="connsiteX3123" fmla="*/ 1159795 w 1263758"/>
                        <a:gd name="connsiteY3123" fmla="*/ 1418128 h 2117064"/>
                        <a:gd name="connsiteX3124" fmla="*/ 1159795 w 1263758"/>
                        <a:gd name="connsiteY3124" fmla="*/ 1422628 h 2117064"/>
                        <a:gd name="connsiteX3125" fmla="*/ 1156644 w 1263758"/>
                        <a:gd name="connsiteY3125" fmla="*/ 1430279 h 2117064"/>
                        <a:gd name="connsiteX3126" fmla="*/ 1154394 w 1263758"/>
                        <a:gd name="connsiteY3126" fmla="*/ 1432979 h 2117064"/>
                        <a:gd name="connsiteX3127" fmla="*/ 1154394 w 1263758"/>
                        <a:gd name="connsiteY3127" fmla="*/ 1433429 h 2117064"/>
                        <a:gd name="connsiteX3128" fmla="*/ 1156195 w 1263758"/>
                        <a:gd name="connsiteY3128" fmla="*/ 1434330 h 2117064"/>
                        <a:gd name="connsiteX3129" fmla="*/ 1157095 w 1263758"/>
                        <a:gd name="connsiteY3129" fmla="*/ 1434330 h 2117064"/>
                        <a:gd name="connsiteX3130" fmla="*/ 1157995 w 1263758"/>
                        <a:gd name="connsiteY3130" fmla="*/ 1432979 h 2117064"/>
                        <a:gd name="connsiteX3131" fmla="*/ 1160695 w 1263758"/>
                        <a:gd name="connsiteY3131" fmla="*/ 1427129 h 2117064"/>
                        <a:gd name="connsiteX3132" fmla="*/ 1165646 w 1263758"/>
                        <a:gd name="connsiteY3132" fmla="*/ 1420828 h 2117064"/>
                        <a:gd name="connsiteX3133" fmla="*/ 1166546 w 1263758"/>
                        <a:gd name="connsiteY3133" fmla="*/ 1420828 h 2117064"/>
                        <a:gd name="connsiteX3134" fmla="*/ 1166546 w 1263758"/>
                        <a:gd name="connsiteY3134" fmla="*/ 1423078 h 2117064"/>
                        <a:gd name="connsiteX3135" fmla="*/ 1166096 w 1263758"/>
                        <a:gd name="connsiteY3135" fmla="*/ 1427129 h 2117064"/>
                        <a:gd name="connsiteX3136" fmla="*/ 1168346 w 1263758"/>
                        <a:gd name="connsiteY3136" fmla="*/ 1428929 h 2117064"/>
                        <a:gd name="connsiteX3137" fmla="*/ 1170596 w 1263758"/>
                        <a:gd name="connsiteY3137" fmla="*/ 1427129 h 2117064"/>
                        <a:gd name="connsiteX3138" fmla="*/ 1171947 w 1263758"/>
                        <a:gd name="connsiteY3138" fmla="*/ 1425328 h 2117064"/>
                        <a:gd name="connsiteX3139" fmla="*/ 1174647 w 1263758"/>
                        <a:gd name="connsiteY3139" fmla="*/ 1425778 h 2117064"/>
                        <a:gd name="connsiteX3140" fmla="*/ 1175997 w 1263758"/>
                        <a:gd name="connsiteY3140" fmla="*/ 1426679 h 2117064"/>
                        <a:gd name="connsiteX3141" fmla="*/ 1176447 w 1263758"/>
                        <a:gd name="connsiteY3141" fmla="*/ 1428479 h 2117064"/>
                        <a:gd name="connsiteX3142" fmla="*/ 1175097 w 1263758"/>
                        <a:gd name="connsiteY3142" fmla="*/ 1436130 h 2117064"/>
                        <a:gd name="connsiteX3143" fmla="*/ 1175547 w 1263758"/>
                        <a:gd name="connsiteY3143" fmla="*/ 1437930 h 2117064"/>
                        <a:gd name="connsiteX3144" fmla="*/ 1178697 w 1263758"/>
                        <a:gd name="connsiteY3144" fmla="*/ 1442881 h 2117064"/>
                        <a:gd name="connsiteX3145" fmla="*/ 1179147 w 1263758"/>
                        <a:gd name="connsiteY3145" fmla="*/ 1442431 h 2117064"/>
                        <a:gd name="connsiteX3146" fmla="*/ 1178697 w 1263758"/>
                        <a:gd name="connsiteY3146" fmla="*/ 1440180 h 2117064"/>
                        <a:gd name="connsiteX3147" fmla="*/ 1178247 w 1263758"/>
                        <a:gd name="connsiteY3147" fmla="*/ 1434330 h 2117064"/>
                        <a:gd name="connsiteX3148" fmla="*/ 1178697 w 1263758"/>
                        <a:gd name="connsiteY3148" fmla="*/ 1431629 h 2117064"/>
                        <a:gd name="connsiteX3149" fmla="*/ 1180948 w 1263758"/>
                        <a:gd name="connsiteY3149" fmla="*/ 1428029 h 2117064"/>
                        <a:gd name="connsiteX3150" fmla="*/ 1185898 w 1263758"/>
                        <a:gd name="connsiteY3150" fmla="*/ 1423078 h 2117064"/>
                        <a:gd name="connsiteX3151" fmla="*/ 1187698 w 1263758"/>
                        <a:gd name="connsiteY3151" fmla="*/ 1422178 h 2117064"/>
                        <a:gd name="connsiteX3152" fmla="*/ 1189049 w 1263758"/>
                        <a:gd name="connsiteY3152" fmla="*/ 1422628 h 2117064"/>
                        <a:gd name="connsiteX3153" fmla="*/ 1190849 w 1263758"/>
                        <a:gd name="connsiteY3153" fmla="*/ 1424878 h 2117064"/>
                        <a:gd name="connsiteX3154" fmla="*/ 1190399 w 1263758"/>
                        <a:gd name="connsiteY3154" fmla="*/ 1426228 h 2117064"/>
                        <a:gd name="connsiteX3155" fmla="*/ 1188599 w 1263758"/>
                        <a:gd name="connsiteY3155" fmla="*/ 1427579 h 2117064"/>
                        <a:gd name="connsiteX3156" fmla="*/ 1187249 w 1263758"/>
                        <a:gd name="connsiteY3156" fmla="*/ 1430279 h 2117064"/>
                        <a:gd name="connsiteX3157" fmla="*/ 1183198 w 1263758"/>
                        <a:gd name="connsiteY3157" fmla="*/ 1431179 h 2117064"/>
                        <a:gd name="connsiteX3158" fmla="*/ 1184098 w 1263758"/>
                        <a:gd name="connsiteY3158" fmla="*/ 1433429 h 2117064"/>
                        <a:gd name="connsiteX3159" fmla="*/ 1188148 w 1263758"/>
                        <a:gd name="connsiteY3159" fmla="*/ 1433429 h 2117064"/>
                        <a:gd name="connsiteX3160" fmla="*/ 1192199 w 1263758"/>
                        <a:gd name="connsiteY3160" fmla="*/ 1430279 h 2117064"/>
                        <a:gd name="connsiteX3161" fmla="*/ 1194449 w 1263758"/>
                        <a:gd name="connsiteY3161" fmla="*/ 1431629 h 2117064"/>
                        <a:gd name="connsiteX3162" fmla="*/ 1197150 w 1263758"/>
                        <a:gd name="connsiteY3162" fmla="*/ 1435680 h 2117064"/>
                        <a:gd name="connsiteX3163" fmla="*/ 1202100 w 1263758"/>
                        <a:gd name="connsiteY3163" fmla="*/ 1442431 h 2117064"/>
                        <a:gd name="connsiteX3164" fmla="*/ 1204801 w 1263758"/>
                        <a:gd name="connsiteY3164" fmla="*/ 1440630 h 2117064"/>
                        <a:gd name="connsiteX3165" fmla="*/ 1208401 w 1263758"/>
                        <a:gd name="connsiteY3165" fmla="*/ 1445581 h 2117064"/>
                        <a:gd name="connsiteX3166" fmla="*/ 1203450 w 1263758"/>
                        <a:gd name="connsiteY3166" fmla="*/ 1449631 h 2117064"/>
                        <a:gd name="connsiteX3167" fmla="*/ 1204801 w 1263758"/>
                        <a:gd name="connsiteY3167" fmla="*/ 1457732 h 2117064"/>
                        <a:gd name="connsiteX3168" fmla="*/ 1198500 w 1263758"/>
                        <a:gd name="connsiteY3168" fmla="*/ 1457282 h 2117064"/>
                        <a:gd name="connsiteX3169" fmla="*/ 1194899 w 1263758"/>
                        <a:gd name="connsiteY3169" fmla="*/ 1457732 h 2117064"/>
                        <a:gd name="connsiteX3170" fmla="*/ 1192649 w 1263758"/>
                        <a:gd name="connsiteY3170" fmla="*/ 1456832 h 2117064"/>
                        <a:gd name="connsiteX3171" fmla="*/ 1189949 w 1263758"/>
                        <a:gd name="connsiteY3171" fmla="*/ 1457282 h 2117064"/>
                        <a:gd name="connsiteX3172" fmla="*/ 1192199 w 1263758"/>
                        <a:gd name="connsiteY3172" fmla="*/ 1459083 h 2117064"/>
                        <a:gd name="connsiteX3173" fmla="*/ 1196700 w 1263758"/>
                        <a:gd name="connsiteY3173" fmla="*/ 1459983 h 2117064"/>
                        <a:gd name="connsiteX3174" fmla="*/ 1197150 w 1263758"/>
                        <a:gd name="connsiteY3174" fmla="*/ 1462233 h 2117064"/>
                        <a:gd name="connsiteX3175" fmla="*/ 1200750 w 1263758"/>
                        <a:gd name="connsiteY3175" fmla="*/ 1462233 h 2117064"/>
                        <a:gd name="connsiteX3176" fmla="*/ 1203450 w 1263758"/>
                        <a:gd name="connsiteY3176" fmla="*/ 1461783 h 2117064"/>
                        <a:gd name="connsiteX3177" fmla="*/ 1208401 w 1263758"/>
                        <a:gd name="connsiteY3177" fmla="*/ 1461783 h 2117064"/>
                        <a:gd name="connsiteX3178" fmla="*/ 1208851 w 1263758"/>
                        <a:gd name="connsiteY3178" fmla="*/ 1459083 h 2117064"/>
                        <a:gd name="connsiteX3179" fmla="*/ 1212002 w 1263758"/>
                        <a:gd name="connsiteY3179" fmla="*/ 1457282 h 2117064"/>
                        <a:gd name="connsiteX3180" fmla="*/ 1213802 w 1263758"/>
                        <a:gd name="connsiteY3180" fmla="*/ 1455482 h 2117064"/>
                        <a:gd name="connsiteX3181" fmla="*/ 1215152 w 1263758"/>
                        <a:gd name="connsiteY3181" fmla="*/ 1456382 h 2117064"/>
                        <a:gd name="connsiteX3182" fmla="*/ 1219652 w 1263758"/>
                        <a:gd name="connsiteY3182" fmla="*/ 1457732 h 2117064"/>
                        <a:gd name="connsiteX3183" fmla="*/ 1225503 w 1263758"/>
                        <a:gd name="connsiteY3183" fmla="*/ 1463133 h 2117064"/>
                        <a:gd name="connsiteX3184" fmla="*/ 1223703 w 1263758"/>
                        <a:gd name="connsiteY3184" fmla="*/ 1467184 h 2117064"/>
                        <a:gd name="connsiteX3185" fmla="*/ 1222803 w 1263758"/>
                        <a:gd name="connsiteY3185" fmla="*/ 1470334 h 2117064"/>
                        <a:gd name="connsiteX3186" fmla="*/ 1221903 w 1263758"/>
                        <a:gd name="connsiteY3186" fmla="*/ 1473034 h 2117064"/>
                        <a:gd name="connsiteX3187" fmla="*/ 1221453 w 1263758"/>
                        <a:gd name="connsiteY3187" fmla="*/ 1475285 h 2117064"/>
                        <a:gd name="connsiteX3188" fmla="*/ 1220553 w 1263758"/>
                        <a:gd name="connsiteY3188" fmla="*/ 1477085 h 2117064"/>
                        <a:gd name="connsiteX3189" fmla="*/ 1212002 w 1263758"/>
                        <a:gd name="connsiteY3189" fmla="*/ 1486536 h 2117064"/>
                        <a:gd name="connsiteX3190" fmla="*/ 1213352 w 1263758"/>
                        <a:gd name="connsiteY3190" fmla="*/ 1486536 h 2117064"/>
                        <a:gd name="connsiteX3191" fmla="*/ 1216952 w 1263758"/>
                        <a:gd name="connsiteY3191" fmla="*/ 1484286 h 2117064"/>
                        <a:gd name="connsiteX3192" fmla="*/ 1223703 w 1263758"/>
                        <a:gd name="connsiteY3192" fmla="*/ 1481135 h 2117064"/>
                        <a:gd name="connsiteX3193" fmla="*/ 1227754 w 1263758"/>
                        <a:gd name="connsiteY3193" fmla="*/ 1479785 h 2117064"/>
                        <a:gd name="connsiteX3194" fmla="*/ 1230454 w 1263758"/>
                        <a:gd name="connsiteY3194" fmla="*/ 1480685 h 2117064"/>
                        <a:gd name="connsiteX3195" fmla="*/ 1231804 w 1263758"/>
                        <a:gd name="connsiteY3195" fmla="*/ 1480685 h 2117064"/>
                        <a:gd name="connsiteX3196" fmla="*/ 1233154 w 1263758"/>
                        <a:gd name="connsiteY3196" fmla="*/ 1479335 h 2117064"/>
                        <a:gd name="connsiteX3197" fmla="*/ 1235404 w 1263758"/>
                        <a:gd name="connsiteY3197" fmla="*/ 1480685 h 2117064"/>
                        <a:gd name="connsiteX3198" fmla="*/ 1240355 w 1263758"/>
                        <a:gd name="connsiteY3198" fmla="*/ 1482035 h 2117064"/>
                        <a:gd name="connsiteX3199" fmla="*/ 1245756 w 1263758"/>
                        <a:gd name="connsiteY3199" fmla="*/ 1474385 h 2117064"/>
                        <a:gd name="connsiteX3200" fmla="*/ 1248906 w 1263758"/>
                        <a:gd name="connsiteY3200" fmla="*/ 1475735 h 2117064"/>
                        <a:gd name="connsiteX3201" fmla="*/ 1252056 w 1263758"/>
                        <a:gd name="connsiteY3201" fmla="*/ 1480685 h 2117064"/>
                        <a:gd name="connsiteX3202" fmla="*/ 1258807 w 1263758"/>
                        <a:gd name="connsiteY3202" fmla="*/ 1488786 h 2117064"/>
                        <a:gd name="connsiteX3203" fmla="*/ 1262408 w 1263758"/>
                        <a:gd name="connsiteY3203" fmla="*/ 1493737 h 2117064"/>
                        <a:gd name="connsiteX3204" fmla="*/ 1263758 w 1263758"/>
                        <a:gd name="connsiteY3204" fmla="*/ 1495987 h 2117064"/>
                        <a:gd name="connsiteX3205" fmla="*/ 1263758 w 1263758"/>
                        <a:gd name="connsiteY3205" fmla="*/ 1498238 h 2117064"/>
                        <a:gd name="connsiteX3206" fmla="*/ 1260608 w 1263758"/>
                        <a:gd name="connsiteY3206" fmla="*/ 1500488 h 2117064"/>
                        <a:gd name="connsiteX3207" fmla="*/ 1258807 w 1263758"/>
                        <a:gd name="connsiteY3207" fmla="*/ 1500938 h 2117064"/>
                        <a:gd name="connsiteX3208" fmla="*/ 1254757 w 1263758"/>
                        <a:gd name="connsiteY3208" fmla="*/ 1496887 h 2117064"/>
                        <a:gd name="connsiteX3209" fmla="*/ 1250706 w 1263758"/>
                        <a:gd name="connsiteY3209" fmla="*/ 1494637 h 2117064"/>
                        <a:gd name="connsiteX3210" fmla="*/ 1248456 w 1263758"/>
                        <a:gd name="connsiteY3210" fmla="*/ 1495087 h 2117064"/>
                        <a:gd name="connsiteX3211" fmla="*/ 1246206 w 1263758"/>
                        <a:gd name="connsiteY3211" fmla="*/ 1496887 h 2117064"/>
                        <a:gd name="connsiteX3212" fmla="*/ 1247106 w 1263758"/>
                        <a:gd name="connsiteY3212" fmla="*/ 1497787 h 2117064"/>
                        <a:gd name="connsiteX3213" fmla="*/ 1256557 w 1263758"/>
                        <a:gd name="connsiteY3213" fmla="*/ 1504538 h 2117064"/>
                        <a:gd name="connsiteX3214" fmla="*/ 1258357 w 1263758"/>
                        <a:gd name="connsiteY3214" fmla="*/ 1509489 h 2117064"/>
                        <a:gd name="connsiteX3215" fmla="*/ 1258357 w 1263758"/>
                        <a:gd name="connsiteY3215" fmla="*/ 1511739 h 2117064"/>
                        <a:gd name="connsiteX3216" fmla="*/ 1252056 w 1263758"/>
                        <a:gd name="connsiteY3216" fmla="*/ 1514890 h 2117064"/>
                        <a:gd name="connsiteX3217" fmla="*/ 1250256 w 1263758"/>
                        <a:gd name="connsiteY3217" fmla="*/ 1514890 h 2117064"/>
                        <a:gd name="connsiteX3218" fmla="*/ 1245756 w 1263758"/>
                        <a:gd name="connsiteY3218" fmla="*/ 1513539 h 2117064"/>
                        <a:gd name="connsiteX3219" fmla="*/ 1243055 w 1263758"/>
                        <a:gd name="connsiteY3219" fmla="*/ 1510839 h 2117064"/>
                        <a:gd name="connsiteX3220" fmla="*/ 1240805 w 1263758"/>
                        <a:gd name="connsiteY3220" fmla="*/ 1509939 h 2117064"/>
                        <a:gd name="connsiteX3221" fmla="*/ 1238105 w 1263758"/>
                        <a:gd name="connsiteY3221" fmla="*/ 1509489 h 2117064"/>
                        <a:gd name="connsiteX3222" fmla="*/ 1237205 w 1263758"/>
                        <a:gd name="connsiteY3222" fmla="*/ 1509939 h 2117064"/>
                        <a:gd name="connsiteX3223" fmla="*/ 1240355 w 1263758"/>
                        <a:gd name="connsiteY3223" fmla="*/ 1514890 h 2117064"/>
                        <a:gd name="connsiteX3224" fmla="*/ 1239905 w 1263758"/>
                        <a:gd name="connsiteY3224" fmla="*/ 1516240 h 2117064"/>
                        <a:gd name="connsiteX3225" fmla="*/ 1238105 w 1263758"/>
                        <a:gd name="connsiteY3225" fmla="*/ 1517140 h 2117064"/>
                        <a:gd name="connsiteX3226" fmla="*/ 1237205 w 1263758"/>
                        <a:gd name="connsiteY3226" fmla="*/ 1519390 h 2117064"/>
                        <a:gd name="connsiteX3227" fmla="*/ 1243506 w 1263758"/>
                        <a:gd name="connsiteY3227" fmla="*/ 1523441 h 2117064"/>
                        <a:gd name="connsiteX3228" fmla="*/ 1248006 w 1263758"/>
                        <a:gd name="connsiteY3228" fmla="*/ 1527491 h 2117064"/>
                        <a:gd name="connsiteX3229" fmla="*/ 1248906 w 1263758"/>
                        <a:gd name="connsiteY3229" fmla="*/ 1529291 h 2117064"/>
                        <a:gd name="connsiteX3230" fmla="*/ 1245756 w 1263758"/>
                        <a:gd name="connsiteY3230" fmla="*/ 1530642 h 2117064"/>
                        <a:gd name="connsiteX3231" fmla="*/ 1243506 w 1263758"/>
                        <a:gd name="connsiteY3231" fmla="*/ 1531092 h 2117064"/>
                        <a:gd name="connsiteX3232" fmla="*/ 1238555 w 1263758"/>
                        <a:gd name="connsiteY3232" fmla="*/ 1530642 h 2117064"/>
                        <a:gd name="connsiteX3233" fmla="*/ 1235855 w 1263758"/>
                        <a:gd name="connsiteY3233" fmla="*/ 1529741 h 2117064"/>
                        <a:gd name="connsiteX3234" fmla="*/ 1234954 w 1263758"/>
                        <a:gd name="connsiteY3234" fmla="*/ 1530642 h 2117064"/>
                        <a:gd name="connsiteX3235" fmla="*/ 1237655 w 1263758"/>
                        <a:gd name="connsiteY3235" fmla="*/ 1532892 h 2117064"/>
                        <a:gd name="connsiteX3236" fmla="*/ 1238555 w 1263758"/>
                        <a:gd name="connsiteY3236" fmla="*/ 1534242 h 2117064"/>
                        <a:gd name="connsiteX3237" fmla="*/ 1239455 w 1263758"/>
                        <a:gd name="connsiteY3237" fmla="*/ 1536492 h 2117064"/>
                        <a:gd name="connsiteX3238" fmla="*/ 1239905 w 1263758"/>
                        <a:gd name="connsiteY3238" fmla="*/ 1538292 h 2117064"/>
                        <a:gd name="connsiteX3239" fmla="*/ 1239905 w 1263758"/>
                        <a:gd name="connsiteY3239" fmla="*/ 1540093 h 2117064"/>
                        <a:gd name="connsiteX3240" fmla="*/ 1237655 w 1263758"/>
                        <a:gd name="connsiteY3240" fmla="*/ 1541443 h 2117064"/>
                        <a:gd name="connsiteX3241" fmla="*/ 1234954 w 1263758"/>
                        <a:gd name="connsiteY3241" fmla="*/ 1545493 h 2117064"/>
                        <a:gd name="connsiteX3242" fmla="*/ 1234054 w 1263758"/>
                        <a:gd name="connsiteY3242" fmla="*/ 1549994 h 2117064"/>
                        <a:gd name="connsiteX3243" fmla="*/ 1231804 w 1263758"/>
                        <a:gd name="connsiteY3243" fmla="*/ 1550444 h 2117064"/>
                        <a:gd name="connsiteX3244" fmla="*/ 1230904 w 1263758"/>
                        <a:gd name="connsiteY3244" fmla="*/ 1549544 h 2117064"/>
                        <a:gd name="connsiteX3245" fmla="*/ 1227754 w 1263758"/>
                        <a:gd name="connsiteY3245" fmla="*/ 1550894 h 2117064"/>
                        <a:gd name="connsiteX3246" fmla="*/ 1223703 w 1263758"/>
                        <a:gd name="connsiteY3246" fmla="*/ 1549094 h 2117064"/>
                        <a:gd name="connsiteX3247" fmla="*/ 1222353 w 1263758"/>
                        <a:gd name="connsiteY3247" fmla="*/ 1547294 h 2117064"/>
                        <a:gd name="connsiteX3248" fmla="*/ 1217852 w 1263758"/>
                        <a:gd name="connsiteY3248" fmla="*/ 1539193 h 2117064"/>
                        <a:gd name="connsiteX3249" fmla="*/ 1217852 w 1263758"/>
                        <a:gd name="connsiteY3249" fmla="*/ 1540093 h 2117064"/>
                        <a:gd name="connsiteX3250" fmla="*/ 1219202 w 1263758"/>
                        <a:gd name="connsiteY3250" fmla="*/ 1544143 h 2117064"/>
                        <a:gd name="connsiteX3251" fmla="*/ 1218752 w 1263758"/>
                        <a:gd name="connsiteY3251" fmla="*/ 1546394 h 2117064"/>
                        <a:gd name="connsiteX3252" fmla="*/ 1213802 w 1263758"/>
                        <a:gd name="connsiteY3252" fmla="*/ 1548194 h 2117064"/>
                        <a:gd name="connsiteX3253" fmla="*/ 1213802 w 1263758"/>
                        <a:gd name="connsiteY3253" fmla="*/ 1549094 h 2117064"/>
                        <a:gd name="connsiteX3254" fmla="*/ 1216952 w 1263758"/>
                        <a:gd name="connsiteY3254" fmla="*/ 1550444 h 2117064"/>
                        <a:gd name="connsiteX3255" fmla="*/ 1220553 w 1263758"/>
                        <a:gd name="connsiteY3255" fmla="*/ 1551344 h 2117064"/>
                        <a:gd name="connsiteX3256" fmla="*/ 1220103 w 1263758"/>
                        <a:gd name="connsiteY3256" fmla="*/ 1554945 h 2117064"/>
                        <a:gd name="connsiteX3257" fmla="*/ 1220103 w 1263758"/>
                        <a:gd name="connsiteY3257" fmla="*/ 1570697 h 2117064"/>
                        <a:gd name="connsiteX3258" fmla="*/ 1219202 w 1263758"/>
                        <a:gd name="connsiteY3258" fmla="*/ 1576097 h 2117064"/>
                        <a:gd name="connsiteX3259" fmla="*/ 1217402 w 1263758"/>
                        <a:gd name="connsiteY3259" fmla="*/ 1581048 h 2117064"/>
                        <a:gd name="connsiteX3260" fmla="*/ 1214702 w 1263758"/>
                        <a:gd name="connsiteY3260" fmla="*/ 1585548 h 2117064"/>
                        <a:gd name="connsiteX3261" fmla="*/ 1212002 w 1263758"/>
                        <a:gd name="connsiteY3261" fmla="*/ 1582398 h 2117064"/>
                        <a:gd name="connsiteX3262" fmla="*/ 1211101 w 1263758"/>
                        <a:gd name="connsiteY3262" fmla="*/ 1579248 h 2117064"/>
                        <a:gd name="connsiteX3263" fmla="*/ 1210201 w 1263758"/>
                        <a:gd name="connsiteY3263" fmla="*/ 1577447 h 2117064"/>
                        <a:gd name="connsiteX3264" fmla="*/ 1208851 w 1263758"/>
                        <a:gd name="connsiteY3264" fmla="*/ 1576097 h 2117064"/>
                        <a:gd name="connsiteX3265" fmla="*/ 1207051 w 1263758"/>
                        <a:gd name="connsiteY3265" fmla="*/ 1575647 h 2117064"/>
                        <a:gd name="connsiteX3266" fmla="*/ 1205251 w 1263758"/>
                        <a:gd name="connsiteY3266" fmla="*/ 1575647 h 2117064"/>
                        <a:gd name="connsiteX3267" fmla="*/ 1203450 w 1263758"/>
                        <a:gd name="connsiteY3267" fmla="*/ 1578348 h 2117064"/>
                        <a:gd name="connsiteX3268" fmla="*/ 1201200 w 1263758"/>
                        <a:gd name="connsiteY3268" fmla="*/ 1576097 h 2117064"/>
                        <a:gd name="connsiteX3269" fmla="*/ 1199400 w 1263758"/>
                        <a:gd name="connsiteY3269" fmla="*/ 1572947 h 2117064"/>
                        <a:gd name="connsiteX3270" fmla="*/ 1200300 w 1263758"/>
                        <a:gd name="connsiteY3270" fmla="*/ 1565296 h 2117064"/>
                        <a:gd name="connsiteX3271" fmla="*/ 1201200 w 1263758"/>
                        <a:gd name="connsiteY3271" fmla="*/ 1561245 h 2117064"/>
                        <a:gd name="connsiteX3272" fmla="*/ 1200750 w 1263758"/>
                        <a:gd name="connsiteY3272" fmla="*/ 1561245 h 2117064"/>
                        <a:gd name="connsiteX3273" fmla="*/ 1199400 w 1263758"/>
                        <a:gd name="connsiteY3273" fmla="*/ 1563046 h 2117064"/>
                        <a:gd name="connsiteX3274" fmla="*/ 1196700 w 1263758"/>
                        <a:gd name="connsiteY3274" fmla="*/ 1568896 h 2117064"/>
                        <a:gd name="connsiteX3275" fmla="*/ 1194899 w 1263758"/>
                        <a:gd name="connsiteY3275" fmla="*/ 1575647 h 2117064"/>
                        <a:gd name="connsiteX3276" fmla="*/ 1192649 w 1263758"/>
                        <a:gd name="connsiteY3276" fmla="*/ 1572947 h 2117064"/>
                        <a:gd name="connsiteX3277" fmla="*/ 1190399 w 1263758"/>
                        <a:gd name="connsiteY3277" fmla="*/ 1569796 h 2117064"/>
                        <a:gd name="connsiteX3278" fmla="*/ 1188599 w 1263758"/>
                        <a:gd name="connsiteY3278" fmla="*/ 1566646 h 2117064"/>
                        <a:gd name="connsiteX3279" fmla="*/ 1185898 w 1263758"/>
                        <a:gd name="connsiteY3279" fmla="*/ 1562596 h 2117064"/>
                        <a:gd name="connsiteX3280" fmla="*/ 1183198 w 1263758"/>
                        <a:gd name="connsiteY3280" fmla="*/ 1558095 h 2117064"/>
                        <a:gd name="connsiteX3281" fmla="*/ 1181848 w 1263758"/>
                        <a:gd name="connsiteY3281" fmla="*/ 1552694 h 2117064"/>
                        <a:gd name="connsiteX3282" fmla="*/ 1181398 w 1263758"/>
                        <a:gd name="connsiteY3282" fmla="*/ 1551794 h 2117064"/>
                        <a:gd name="connsiteX3283" fmla="*/ 1179598 w 1263758"/>
                        <a:gd name="connsiteY3283" fmla="*/ 1547294 h 2117064"/>
                        <a:gd name="connsiteX3284" fmla="*/ 1179147 w 1263758"/>
                        <a:gd name="connsiteY3284" fmla="*/ 1545944 h 2117064"/>
                        <a:gd name="connsiteX3285" fmla="*/ 1178697 w 1263758"/>
                        <a:gd name="connsiteY3285" fmla="*/ 1545493 h 2117064"/>
                        <a:gd name="connsiteX3286" fmla="*/ 1177347 w 1263758"/>
                        <a:gd name="connsiteY3286" fmla="*/ 1542793 h 2117064"/>
                        <a:gd name="connsiteX3287" fmla="*/ 1177797 w 1263758"/>
                        <a:gd name="connsiteY3287" fmla="*/ 1539643 h 2117064"/>
                        <a:gd name="connsiteX3288" fmla="*/ 1180047 w 1263758"/>
                        <a:gd name="connsiteY3288" fmla="*/ 1536042 h 2117064"/>
                        <a:gd name="connsiteX3289" fmla="*/ 1181848 w 1263758"/>
                        <a:gd name="connsiteY3289" fmla="*/ 1533342 h 2117064"/>
                        <a:gd name="connsiteX3290" fmla="*/ 1184998 w 1263758"/>
                        <a:gd name="connsiteY3290" fmla="*/ 1530642 h 2117064"/>
                        <a:gd name="connsiteX3291" fmla="*/ 1188599 w 1263758"/>
                        <a:gd name="connsiteY3291" fmla="*/ 1529291 h 2117064"/>
                        <a:gd name="connsiteX3292" fmla="*/ 1190399 w 1263758"/>
                        <a:gd name="connsiteY3292" fmla="*/ 1526141 h 2117064"/>
                        <a:gd name="connsiteX3293" fmla="*/ 1192649 w 1263758"/>
                        <a:gd name="connsiteY3293" fmla="*/ 1520290 h 2117064"/>
                        <a:gd name="connsiteX3294" fmla="*/ 1194899 w 1263758"/>
                        <a:gd name="connsiteY3294" fmla="*/ 1516240 h 2117064"/>
                        <a:gd name="connsiteX3295" fmla="*/ 1197600 w 1263758"/>
                        <a:gd name="connsiteY3295" fmla="*/ 1513989 h 2117064"/>
                        <a:gd name="connsiteX3296" fmla="*/ 1196250 w 1263758"/>
                        <a:gd name="connsiteY3296" fmla="*/ 1513539 h 2117064"/>
                        <a:gd name="connsiteX3297" fmla="*/ 1193099 w 1263758"/>
                        <a:gd name="connsiteY3297" fmla="*/ 1515790 h 2117064"/>
                        <a:gd name="connsiteX3298" fmla="*/ 1190849 w 1263758"/>
                        <a:gd name="connsiteY3298" fmla="*/ 1518940 h 2117064"/>
                        <a:gd name="connsiteX3299" fmla="*/ 1188148 w 1263758"/>
                        <a:gd name="connsiteY3299" fmla="*/ 1523891 h 2117064"/>
                        <a:gd name="connsiteX3300" fmla="*/ 1185448 w 1263758"/>
                        <a:gd name="connsiteY3300" fmla="*/ 1527041 h 2117064"/>
                        <a:gd name="connsiteX3301" fmla="*/ 1179147 w 1263758"/>
                        <a:gd name="connsiteY3301" fmla="*/ 1530642 h 2117064"/>
                        <a:gd name="connsiteX3302" fmla="*/ 1176897 w 1263758"/>
                        <a:gd name="connsiteY3302" fmla="*/ 1531542 h 2117064"/>
                        <a:gd name="connsiteX3303" fmla="*/ 1174197 w 1263758"/>
                        <a:gd name="connsiteY3303" fmla="*/ 1531992 h 2117064"/>
                        <a:gd name="connsiteX3304" fmla="*/ 1168346 w 1263758"/>
                        <a:gd name="connsiteY3304" fmla="*/ 1531542 h 2117064"/>
                        <a:gd name="connsiteX3305" fmla="*/ 1166996 w 1263758"/>
                        <a:gd name="connsiteY3305" fmla="*/ 1530192 h 2117064"/>
                        <a:gd name="connsiteX3306" fmla="*/ 1167896 w 1263758"/>
                        <a:gd name="connsiteY3306" fmla="*/ 1526591 h 2117064"/>
                        <a:gd name="connsiteX3307" fmla="*/ 1171947 w 1263758"/>
                        <a:gd name="connsiteY3307" fmla="*/ 1520290 h 2117064"/>
                        <a:gd name="connsiteX3308" fmla="*/ 1171046 w 1263758"/>
                        <a:gd name="connsiteY3308" fmla="*/ 1519840 h 2117064"/>
                        <a:gd name="connsiteX3309" fmla="*/ 1169696 w 1263758"/>
                        <a:gd name="connsiteY3309" fmla="*/ 1522091 h 2117064"/>
                        <a:gd name="connsiteX3310" fmla="*/ 1167446 w 1263758"/>
                        <a:gd name="connsiteY3310" fmla="*/ 1523441 h 2117064"/>
                        <a:gd name="connsiteX3311" fmla="*/ 1165646 w 1263758"/>
                        <a:gd name="connsiteY3311" fmla="*/ 1524341 h 2117064"/>
                        <a:gd name="connsiteX3312" fmla="*/ 1162945 w 1263758"/>
                        <a:gd name="connsiteY3312" fmla="*/ 1523891 h 2117064"/>
                        <a:gd name="connsiteX3313" fmla="*/ 1159795 w 1263758"/>
                        <a:gd name="connsiteY3313" fmla="*/ 1519840 h 2117064"/>
                        <a:gd name="connsiteX3314" fmla="*/ 1158445 w 1263758"/>
                        <a:gd name="connsiteY3314" fmla="*/ 1518490 h 2117064"/>
                        <a:gd name="connsiteX3315" fmla="*/ 1155294 w 1263758"/>
                        <a:gd name="connsiteY3315" fmla="*/ 1517140 h 2117064"/>
                        <a:gd name="connsiteX3316" fmla="*/ 1153944 w 1263758"/>
                        <a:gd name="connsiteY3316" fmla="*/ 1515790 h 2117064"/>
                        <a:gd name="connsiteX3317" fmla="*/ 1148994 w 1263758"/>
                        <a:gd name="connsiteY3317" fmla="*/ 1506339 h 2117064"/>
                        <a:gd name="connsiteX3318" fmla="*/ 1147193 w 1263758"/>
                        <a:gd name="connsiteY3318" fmla="*/ 1503188 h 2117064"/>
                        <a:gd name="connsiteX3319" fmla="*/ 1146743 w 1263758"/>
                        <a:gd name="connsiteY3319" fmla="*/ 1500488 h 2117064"/>
                        <a:gd name="connsiteX3320" fmla="*/ 1144943 w 1263758"/>
                        <a:gd name="connsiteY3320" fmla="*/ 1498238 h 2117064"/>
                        <a:gd name="connsiteX3321" fmla="*/ 1142243 w 1263758"/>
                        <a:gd name="connsiteY3321" fmla="*/ 1496437 h 2117064"/>
                        <a:gd name="connsiteX3322" fmla="*/ 1141793 w 1263758"/>
                        <a:gd name="connsiteY3322" fmla="*/ 1496887 h 2117064"/>
                        <a:gd name="connsiteX3323" fmla="*/ 1142693 w 1263758"/>
                        <a:gd name="connsiteY3323" fmla="*/ 1499138 h 2117064"/>
                        <a:gd name="connsiteX3324" fmla="*/ 1142693 w 1263758"/>
                        <a:gd name="connsiteY3324" fmla="*/ 1500938 h 2117064"/>
                        <a:gd name="connsiteX3325" fmla="*/ 1140443 w 1263758"/>
                        <a:gd name="connsiteY3325" fmla="*/ 1502288 h 2117064"/>
                        <a:gd name="connsiteX3326" fmla="*/ 1138192 w 1263758"/>
                        <a:gd name="connsiteY3326" fmla="*/ 1501838 h 2117064"/>
                        <a:gd name="connsiteX3327" fmla="*/ 1135492 w 1263758"/>
                        <a:gd name="connsiteY3327" fmla="*/ 1500038 h 2117064"/>
                        <a:gd name="connsiteX3328" fmla="*/ 1135492 w 1263758"/>
                        <a:gd name="connsiteY3328" fmla="*/ 1502738 h 2117064"/>
                        <a:gd name="connsiteX3329" fmla="*/ 1138192 w 1263758"/>
                        <a:gd name="connsiteY3329" fmla="*/ 1507239 h 2117064"/>
                        <a:gd name="connsiteX3330" fmla="*/ 1138192 w 1263758"/>
                        <a:gd name="connsiteY3330" fmla="*/ 1513089 h 2117064"/>
                        <a:gd name="connsiteX3331" fmla="*/ 1137292 w 1263758"/>
                        <a:gd name="connsiteY3331" fmla="*/ 1513539 h 2117064"/>
                        <a:gd name="connsiteX3332" fmla="*/ 1135492 w 1263758"/>
                        <a:gd name="connsiteY3332" fmla="*/ 1513989 h 2117064"/>
                        <a:gd name="connsiteX3333" fmla="*/ 1134142 w 1263758"/>
                        <a:gd name="connsiteY3333" fmla="*/ 1513089 h 2117064"/>
                        <a:gd name="connsiteX3334" fmla="*/ 1130091 w 1263758"/>
                        <a:gd name="connsiteY3334" fmla="*/ 1508589 h 2117064"/>
                        <a:gd name="connsiteX3335" fmla="*/ 1126041 w 1263758"/>
                        <a:gd name="connsiteY3335" fmla="*/ 1505438 h 2117064"/>
                        <a:gd name="connsiteX3336" fmla="*/ 1123340 w 1263758"/>
                        <a:gd name="connsiteY3336" fmla="*/ 1503638 h 2117064"/>
                        <a:gd name="connsiteX3337" fmla="*/ 1122890 w 1263758"/>
                        <a:gd name="connsiteY3337" fmla="*/ 1504988 h 2117064"/>
                        <a:gd name="connsiteX3338" fmla="*/ 1124691 w 1263758"/>
                        <a:gd name="connsiteY3338" fmla="*/ 1510389 h 2117064"/>
                        <a:gd name="connsiteX3339" fmla="*/ 1126941 w 1263758"/>
                        <a:gd name="connsiteY3339" fmla="*/ 1515790 h 2117064"/>
                        <a:gd name="connsiteX3340" fmla="*/ 1130091 w 1263758"/>
                        <a:gd name="connsiteY3340" fmla="*/ 1520290 h 2117064"/>
                        <a:gd name="connsiteX3341" fmla="*/ 1135492 w 1263758"/>
                        <a:gd name="connsiteY3341" fmla="*/ 1525241 h 2117064"/>
                        <a:gd name="connsiteX3342" fmla="*/ 1137742 w 1263758"/>
                        <a:gd name="connsiteY3342" fmla="*/ 1527941 h 2117064"/>
                        <a:gd name="connsiteX3343" fmla="*/ 1135942 w 1263758"/>
                        <a:gd name="connsiteY3343" fmla="*/ 1531992 h 2117064"/>
                        <a:gd name="connsiteX3344" fmla="*/ 1134142 w 1263758"/>
                        <a:gd name="connsiteY3344" fmla="*/ 1533342 h 2117064"/>
                        <a:gd name="connsiteX3345" fmla="*/ 1133242 w 1263758"/>
                        <a:gd name="connsiteY3345" fmla="*/ 1533792 h 2117064"/>
                        <a:gd name="connsiteX3346" fmla="*/ 1130091 w 1263758"/>
                        <a:gd name="connsiteY3346" fmla="*/ 1533792 h 2117064"/>
                        <a:gd name="connsiteX3347" fmla="*/ 1124241 w 1263758"/>
                        <a:gd name="connsiteY3347" fmla="*/ 1531542 h 2117064"/>
                        <a:gd name="connsiteX3348" fmla="*/ 1121540 w 1263758"/>
                        <a:gd name="connsiteY3348" fmla="*/ 1528841 h 2117064"/>
                        <a:gd name="connsiteX3349" fmla="*/ 1117490 w 1263758"/>
                        <a:gd name="connsiteY3349" fmla="*/ 1522991 h 2117064"/>
                        <a:gd name="connsiteX3350" fmla="*/ 1111189 w 1263758"/>
                        <a:gd name="connsiteY3350" fmla="*/ 1516690 h 2117064"/>
                        <a:gd name="connsiteX3351" fmla="*/ 1109839 w 1263758"/>
                        <a:gd name="connsiteY3351" fmla="*/ 1516690 h 2117064"/>
                        <a:gd name="connsiteX3352" fmla="*/ 1105338 w 1263758"/>
                        <a:gd name="connsiteY3352" fmla="*/ 1519390 h 2117064"/>
                        <a:gd name="connsiteX3353" fmla="*/ 1106238 w 1263758"/>
                        <a:gd name="connsiteY3353" fmla="*/ 1519840 h 2117064"/>
                        <a:gd name="connsiteX3354" fmla="*/ 1109389 w 1263758"/>
                        <a:gd name="connsiteY3354" fmla="*/ 1519840 h 2117064"/>
                        <a:gd name="connsiteX3355" fmla="*/ 1111639 w 1263758"/>
                        <a:gd name="connsiteY3355" fmla="*/ 1520740 h 2117064"/>
                        <a:gd name="connsiteX3356" fmla="*/ 1117040 w 1263758"/>
                        <a:gd name="connsiteY3356" fmla="*/ 1525691 h 2117064"/>
                        <a:gd name="connsiteX3357" fmla="*/ 1117490 w 1263758"/>
                        <a:gd name="connsiteY3357" fmla="*/ 1527941 h 2117064"/>
                        <a:gd name="connsiteX3358" fmla="*/ 1115689 w 1263758"/>
                        <a:gd name="connsiteY3358" fmla="*/ 1530192 h 2117064"/>
                        <a:gd name="connsiteX3359" fmla="*/ 1115689 w 1263758"/>
                        <a:gd name="connsiteY3359" fmla="*/ 1532892 h 2117064"/>
                        <a:gd name="connsiteX3360" fmla="*/ 1117040 w 1263758"/>
                        <a:gd name="connsiteY3360" fmla="*/ 1536492 h 2117064"/>
                        <a:gd name="connsiteX3361" fmla="*/ 1118390 w 1263758"/>
                        <a:gd name="connsiteY3361" fmla="*/ 1538743 h 2117064"/>
                        <a:gd name="connsiteX3362" fmla="*/ 1121540 w 1263758"/>
                        <a:gd name="connsiteY3362" fmla="*/ 1540543 h 2117064"/>
                        <a:gd name="connsiteX3363" fmla="*/ 1122890 w 1263758"/>
                        <a:gd name="connsiteY3363" fmla="*/ 1540543 h 2117064"/>
                        <a:gd name="connsiteX3364" fmla="*/ 1123340 w 1263758"/>
                        <a:gd name="connsiteY3364" fmla="*/ 1541443 h 2117064"/>
                        <a:gd name="connsiteX3365" fmla="*/ 1121540 w 1263758"/>
                        <a:gd name="connsiteY3365" fmla="*/ 1549094 h 2117064"/>
                        <a:gd name="connsiteX3366" fmla="*/ 1121540 w 1263758"/>
                        <a:gd name="connsiteY3366" fmla="*/ 1551344 h 2117064"/>
                        <a:gd name="connsiteX3367" fmla="*/ 1121990 w 1263758"/>
                        <a:gd name="connsiteY3367" fmla="*/ 1552244 h 2117064"/>
                        <a:gd name="connsiteX3368" fmla="*/ 1122440 w 1263758"/>
                        <a:gd name="connsiteY3368" fmla="*/ 1552244 h 2117064"/>
                        <a:gd name="connsiteX3369" fmla="*/ 1126491 w 1263758"/>
                        <a:gd name="connsiteY3369" fmla="*/ 1549094 h 2117064"/>
                        <a:gd name="connsiteX3370" fmla="*/ 1128291 w 1263758"/>
                        <a:gd name="connsiteY3370" fmla="*/ 1548194 h 2117064"/>
                        <a:gd name="connsiteX3371" fmla="*/ 1129641 w 1263758"/>
                        <a:gd name="connsiteY3371" fmla="*/ 1548194 h 2117064"/>
                        <a:gd name="connsiteX3372" fmla="*/ 1131441 w 1263758"/>
                        <a:gd name="connsiteY3372" fmla="*/ 1549094 h 2117064"/>
                        <a:gd name="connsiteX3373" fmla="*/ 1133242 w 1263758"/>
                        <a:gd name="connsiteY3373" fmla="*/ 1550894 h 2117064"/>
                        <a:gd name="connsiteX3374" fmla="*/ 1134592 w 1263758"/>
                        <a:gd name="connsiteY3374" fmla="*/ 1552694 h 2117064"/>
                        <a:gd name="connsiteX3375" fmla="*/ 1135042 w 1263758"/>
                        <a:gd name="connsiteY3375" fmla="*/ 1554945 h 2117064"/>
                        <a:gd name="connsiteX3376" fmla="*/ 1135492 w 1263758"/>
                        <a:gd name="connsiteY3376" fmla="*/ 1556295 h 2117064"/>
                        <a:gd name="connsiteX3377" fmla="*/ 1139542 w 1263758"/>
                        <a:gd name="connsiteY3377" fmla="*/ 1558545 h 2117064"/>
                        <a:gd name="connsiteX3378" fmla="*/ 1139092 w 1263758"/>
                        <a:gd name="connsiteY3378" fmla="*/ 1559445 h 2117064"/>
                        <a:gd name="connsiteX3379" fmla="*/ 1135042 w 1263758"/>
                        <a:gd name="connsiteY3379" fmla="*/ 1562596 h 2117064"/>
                        <a:gd name="connsiteX3380" fmla="*/ 1135042 w 1263758"/>
                        <a:gd name="connsiteY3380" fmla="*/ 1563046 h 2117064"/>
                        <a:gd name="connsiteX3381" fmla="*/ 1135942 w 1263758"/>
                        <a:gd name="connsiteY3381" fmla="*/ 1563496 h 2117064"/>
                        <a:gd name="connsiteX3382" fmla="*/ 1138642 w 1263758"/>
                        <a:gd name="connsiteY3382" fmla="*/ 1565296 h 2117064"/>
                        <a:gd name="connsiteX3383" fmla="*/ 1140893 w 1263758"/>
                        <a:gd name="connsiteY3383" fmla="*/ 1568446 h 2117064"/>
                        <a:gd name="connsiteX3384" fmla="*/ 1142243 w 1263758"/>
                        <a:gd name="connsiteY3384" fmla="*/ 1572047 h 2117064"/>
                        <a:gd name="connsiteX3385" fmla="*/ 1142693 w 1263758"/>
                        <a:gd name="connsiteY3385" fmla="*/ 1573847 h 2117064"/>
                        <a:gd name="connsiteX3386" fmla="*/ 1142693 w 1263758"/>
                        <a:gd name="connsiteY3386" fmla="*/ 1575647 h 2117064"/>
                        <a:gd name="connsiteX3387" fmla="*/ 1143143 w 1263758"/>
                        <a:gd name="connsiteY3387" fmla="*/ 1576547 h 2117064"/>
                        <a:gd name="connsiteX3388" fmla="*/ 1144493 w 1263758"/>
                        <a:gd name="connsiteY3388" fmla="*/ 1576547 h 2117064"/>
                        <a:gd name="connsiteX3389" fmla="*/ 1144943 w 1263758"/>
                        <a:gd name="connsiteY3389" fmla="*/ 1576097 h 2117064"/>
                        <a:gd name="connsiteX3390" fmla="*/ 1145393 w 1263758"/>
                        <a:gd name="connsiteY3390" fmla="*/ 1576097 h 2117064"/>
                        <a:gd name="connsiteX3391" fmla="*/ 1145843 w 1263758"/>
                        <a:gd name="connsiteY3391" fmla="*/ 1576997 h 2117064"/>
                        <a:gd name="connsiteX3392" fmla="*/ 1146293 w 1263758"/>
                        <a:gd name="connsiteY3392" fmla="*/ 1579698 h 2117064"/>
                        <a:gd name="connsiteX3393" fmla="*/ 1147644 w 1263758"/>
                        <a:gd name="connsiteY3393" fmla="*/ 1587799 h 2117064"/>
                        <a:gd name="connsiteX3394" fmla="*/ 1148544 w 1263758"/>
                        <a:gd name="connsiteY3394" fmla="*/ 1590049 h 2117064"/>
                        <a:gd name="connsiteX3395" fmla="*/ 1148994 w 1263758"/>
                        <a:gd name="connsiteY3395" fmla="*/ 1590049 h 2117064"/>
                        <a:gd name="connsiteX3396" fmla="*/ 1148994 w 1263758"/>
                        <a:gd name="connsiteY3396" fmla="*/ 1581948 h 2117064"/>
                        <a:gd name="connsiteX3397" fmla="*/ 1149444 w 1263758"/>
                        <a:gd name="connsiteY3397" fmla="*/ 1580598 h 2117064"/>
                        <a:gd name="connsiteX3398" fmla="*/ 1152144 w 1263758"/>
                        <a:gd name="connsiteY3398" fmla="*/ 1581948 h 2117064"/>
                        <a:gd name="connsiteX3399" fmla="*/ 1155744 w 1263758"/>
                        <a:gd name="connsiteY3399" fmla="*/ 1585098 h 2117064"/>
                        <a:gd name="connsiteX3400" fmla="*/ 1158445 w 1263758"/>
                        <a:gd name="connsiteY3400" fmla="*/ 1587799 h 2117064"/>
                        <a:gd name="connsiteX3401" fmla="*/ 1158895 w 1263758"/>
                        <a:gd name="connsiteY3401" fmla="*/ 1589149 h 2117064"/>
                        <a:gd name="connsiteX3402" fmla="*/ 1157095 w 1263758"/>
                        <a:gd name="connsiteY3402" fmla="*/ 1591849 h 2117064"/>
                        <a:gd name="connsiteX3403" fmla="*/ 1157545 w 1263758"/>
                        <a:gd name="connsiteY3403" fmla="*/ 1592749 h 2117064"/>
                        <a:gd name="connsiteX3404" fmla="*/ 1158895 w 1263758"/>
                        <a:gd name="connsiteY3404" fmla="*/ 1594550 h 2117064"/>
                        <a:gd name="connsiteX3405" fmla="*/ 1160245 w 1263758"/>
                        <a:gd name="connsiteY3405" fmla="*/ 1594100 h 2117064"/>
                        <a:gd name="connsiteX3406" fmla="*/ 1161145 w 1263758"/>
                        <a:gd name="connsiteY3406" fmla="*/ 1591399 h 2117064"/>
                        <a:gd name="connsiteX3407" fmla="*/ 1162945 w 1263758"/>
                        <a:gd name="connsiteY3407" fmla="*/ 1588699 h 2117064"/>
                        <a:gd name="connsiteX3408" fmla="*/ 1164746 w 1263758"/>
                        <a:gd name="connsiteY3408" fmla="*/ 1586899 h 2117064"/>
                        <a:gd name="connsiteX3409" fmla="*/ 1168346 w 1263758"/>
                        <a:gd name="connsiteY3409" fmla="*/ 1588699 h 2117064"/>
                        <a:gd name="connsiteX3410" fmla="*/ 1171497 w 1263758"/>
                        <a:gd name="connsiteY3410" fmla="*/ 1592749 h 2117064"/>
                        <a:gd name="connsiteX3411" fmla="*/ 1171947 w 1263758"/>
                        <a:gd name="connsiteY3411" fmla="*/ 1594100 h 2117064"/>
                        <a:gd name="connsiteX3412" fmla="*/ 1173747 w 1263758"/>
                        <a:gd name="connsiteY3412" fmla="*/ 1595900 h 2117064"/>
                        <a:gd name="connsiteX3413" fmla="*/ 1175547 w 1263758"/>
                        <a:gd name="connsiteY3413" fmla="*/ 1595000 h 2117064"/>
                        <a:gd name="connsiteX3414" fmla="*/ 1178697 w 1263758"/>
                        <a:gd name="connsiteY3414" fmla="*/ 1599500 h 2117064"/>
                        <a:gd name="connsiteX3415" fmla="*/ 1176897 w 1263758"/>
                        <a:gd name="connsiteY3415" fmla="*/ 1601750 h 2117064"/>
                        <a:gd name="connsiteX3416" fmla="*/ 1173297 w 1263758"/>
                        <a:gd name="connsiteY3416" fmla="*/ 1604901 h 2117064"/>
                        <a:gd name="connsiteX3417" fmla="*/ 1172847 w 1263758"/>
                        <a:gd name="connsiteY3417" fmla="*/ 1605801 h 2117064"/>
                        <a:gd name="connsiteX3418" fmla="*/ 1173747 w 1263758"/>
                        <a:gd name="connsiteY3418" fmla="*/ 1605351 h 2117064"/>
                        <a:gd name="connsiteX3419" fmla="*/ 1180498 w 1263758"/>
                        <a:gd name="connsiteY3419" fmla="*/ 1605351 h 2117064"/>
                        <a:gd name="connsiteX3420" fmla="*/ 1182298 w 1263758"/>
                        <a:gd name="connsiteY3420" fmla="*/ 1606701 h 2117064"/>
                        <a:gd name="connsiteX3421" fmla="*/ 1182748 w 1263758"/>
                        <a:gd name="connsiteY3421" fmla="*/ 1608951 h 2117064"/>
                        <a:gd name="connsiteX3422" fmla="*/ 1179598 w 1263758"/>
                        <a:gd name="connsiteY3422" fmla="*/ 1615702 h 2117064"/>
                        <a:gd name="connsiteX3423" fmla="*/ 1176897 w 1263758"/>
                        <a:gd name="connsiteY3423" fmla="*/ 1615252 h 2117064"/>
                        <a:gd name="connsiteX3424" fmla="*/ 1173297 w 1263758"/>
                        <a:gd name="connsiteY3424" fmla="*/ 1615252 h 2117064"/>
                        <a:gd name="connsiteX3425" fmla="*/ 1171497 w 1263758"/>
                        <a:gd name="connsiteY3425" fmla="*/ 1615702 h 2117064"/>
                        <a:gd name="connsiteX3426" fmla="*/ 1171947 w 1263758"/>
                        <a:gd name="connsiteY3426" fmla="*/ 1616602 h 2117064"/>
                        <a:gd name="connsiteX3427" fmla="*/ 1176897 w 1263758"/>
                        <a:gd name="connsiteY3427" fmla="*/ 1619753 h 2117064"/>
                        <a:gd name="connsiteX3428" fmla="*/ 1178247 w 1263758"/>
                        <a:gd name="connsiteY3428" fmla="*/ 1622003 h 2117064"/>
                        <a:gd name="connsiteX3429" fmla="*/ 1180047 w 1263758"/>
                        <a:gd name="connsiteY3429" fmla="*/ 1624703 h 2117064"/>
                        <a:gd name="connsiteX3430" fmla="*/ 1180948 w 1263758"/>
                        <a:gd name="connsiteY3430" fmla="*/ 1626954 h 2117064"/>
                        <a:gd name="connsiteX3431" fmla="*/ 1180948 w 1263758"/>
                        <a:gd name="connsiteY3431" fmla="*/ 1627854 h 2117064"/>
                        <a:gd name="connsiteX3432" fmla="*/ 1180047 w 1263758"/>
                        <a:gd name="connsiteY3432" fmla="*/ 1629204 h 2117064"/>
                        <a:gd name="connsiteX3433" fmla="*/ 1180498 w 1263758"/>
                        <a:gd name="connsiteY3433" fmla="*/ 1629654 h 2117064"/>
                        <a:gd name="connsiteX3434" fmla="*/ 1184098 w 1263758"/>
                        <a:gd name="connsiteY3434" fmla="*/ 1630554 h 2117064"/>
                        <a:gd name="connsiteX3435" fmla="*/ 1186348 w 1263758"/>
                        <a:gd name="connsiteY3435" fmla="*/ 1629654 h 2117064"/>
                        <a:gd name="connsiteX3436" fmla="*/ 1189049 w 1263758"/>
                        <a:gd name="connsiteY3436" fmla="*/ 1629204 h 2117064"/>
                        <a:gd name="connsiteX3437" fmla="*/ 1191299 w 1263758"/>
                        <a:gd name="connsiteY3437" fmla="*/ 1629654 h 2117064"/>
                        <a:gd name="connsiteX3438" fmla="*/ 1191299 w 1263758"/>
                        <a:gd name="connsiteY3438" fmla="*/ 1630554 h 2117064"/>
                        <a:gd name="connsiteX3439" fmla="*/ 1190849 w 1263758"/>
                        <a:gd name="connsiteY3439" fmla="*/ 1632804 h 2117064"/>
                        <a:gd name="connsiteX3440" fmla="*/ 1188599 w 1263758"/>
                        <a:gd name="connsiteY3440" fmla="*/ 1635055 h 2117064"/>
                        <a:gd name="connsiteX3441" fmla="*/ 1189049 w 1263758"/>
                        <a:gd name="connsiteY3441" fmla="*/ 1635505 h 2117064"/>
                        <a:gd name="connsiteX3442" fmla="*/ 1191749 w 1263758"/>
                        <a:gd name="connsiteY3442" fmla="*/ 1635055 h 2117064"/>
                        <a:gd name="connsiteX3443" fmla="*/ 1193099 w 1263758"/>
                        <a:gd name="connsiteY3443" fmla="*/ 1635955 h 2117064"/>
                        <a:gd name="connsiteX3444" fmla="*/ 1194899 w 1263758"/>
                        <a:gd name="connsiteY3444" fmla="*/ 1640905 h 2117064"/>
                        <a:gd name="connsiteX3445" fmla="*/ 1196700 w 1263758"/>
                        <a:gd name="connsiteY3445" fmla="*/ 1644956 h 2117064"/>
                        <a:gd name="connsiteX3446" fmla="*/ 1195349 w 1263758"/>
                        <a:gd name="connsiteY3446" fmla="*/ 1645856 h 2117064"/>
                        <a:gd name="connsiteX3447" fmla="*/ 1193549 w 1263758"/>
                        <a:gd name="connsiteY3447" fmla="*/ 1646306 h 2117064"/>
                        <a:gd name="connsiteX3448" fmla="*/ 1193999 w 1263758"/>
                        <a:gd name="connsiteY3448" fmla="*/ 1651257 h 2117064"/>
                        <a:gd name="connsiteX3449" fmla="*/ 1194899 w 1263758"/>
                        <a:gd name="connsiteY3449" fmla="*/ 1656657 h 2117064"/>
                        <a:gd name="connsiteX3450" fmla="*/ 1194899 w 1263758"/>
                        <a:gd name="connsiteY3450" fmla="*/ 1661608 h 2117064"/>
                        <a:gd name="connsiteX3451" fmla="*/ 1194449 w 1263758"/>
                        <a:gd name="connsiteY3451" fmla="*/ 1666109 h 2117064"/>
                        <a:gd name="connsiteX3452" fmla="*/ 1193099 w 1263758"/>
                        <a:gd name="connsiteY3452" fmla="*/ 1667009 h 2117064"/>
                        <a:gd name="connsiteX3453" fmla="*/ 1191299 w 1263758"/>
                        <a:gd name="connsiteY3453" fmla="*/ 1667009 h 2117064"/>
                        <a:gd name="connsiteX3454" fmla="*/ 1190849 w 1263758"/>
                        <a:gd name="connsiteY3454" fmla="*/ 1666109 h 2117064"/>
                        <a:gd name="connsiteX3455" fmla="*/ 1186798 w 1263758"/>
                        <a:gd name="connsiteY3455" fmla="*/ 1653057 h 2117064"/>
                        <a:gd name="connsiteX3456" fmla="*/ 1185898 w 1263758"/>
                        <a:gd name="connsiteY3456" fmla="*/ 1650807 h 2117064"/>
                        <a:gd name="connsiteX3457" fmla="*/ 1184548 w 1263758"/>
                        <a:gd name="connsiteY3457" fmla="*/ 1648556 h 2117064"/>
                        <a:gd name="connsiteX3458" fmla="*/ 1180047 w 1263758"/>
                        <a:gd name="connsiteY3458" fmla="*/ 1642706 h 2117064"/>
                        <a:gd name="connsiteX3459" fmla="*/ 1180047 w 1263758"/>
                        <a:gd name="connsiteY3459" fmla="*/ 1643606 h 2117064"/>
                        <a:gd name="connsiteX3460" fmla="*/ 1180948 w 1263758"/>
                        <a:gd name="connsiteY3460" fmla="*/ 1646306 h 2117064"/>
                        <a:gd name="connsiteX3461" fmla="*/ 1181848 w 1263758"/>
                        <a:gd name="connsiteY3461" fmla="*/ 1650357 h 2117064"/>
                        <a:gd name="connsiteX3462" fmla="*/ 1183198 w 1263758"/>
                        <a:gd name="connsiteY3462" fmla="*/ 1658458 h 2117064"/>
                        <a:gd name="connsiteX3463" fmla="*/ 1183648 w 1263758"/>
                        <a:gd name="connsiteY3463" fmla="*/ 1663408 h 2117064"/>
                        <a:gd name="connsiteX3464" fmla="*/ 1183198 w 1263758"/>
                        <a:gd name="connsiteY3464" fmla="*/ 1665208 h 2117064"/>
                        <a:gd name="connsiteX3465" fmla="*/ 1182298 w 1263758"/>
                        <a:gd name="connsiteY3465" fmla="*/ 1665659 h 2117064"/>
                        <a:gd name="connsiteX3466" fmla="*/ 1183198 w 1263758"/>
                        <a:gd name="connsiteY3466" fmla="*/ 1665208 h 2117064"/>
                        <a:gd name="connsiteX3467" fmla="*/ 1183648 w 1263758"/>
                        <a:gd name="connsiteY3467" fmla="*/ 1666559 h 2117064"/>
                        <a:gd name="connsiteX3468" fmla="*/ 1186798 w 1263758"/>
                        <a:gd name="connsiteY3468" fmla="*/ 1671509 h 2117064"/>
                        <a:gd name="connsiteX3469" fmla="*/ 1188599 w 1263758"/>
                        <a:gd name="connsiteY3469" fmla="*/ 1674660 h 2117064"/>
                        <a:gd name="connsiteX3470" fmla="*/ 1189499 w 1263758"/>
                        <a:gd name="connsiteY3470" fmla="*/ 1677810 h 2117064"/>
                        <a:gd name="connsiteX3471" fmla="*/ 1190399 w 1263758"/>
                        <a:gd name="connsiteY3471" fmla="*/ 1680060 h 2117064"/>
                        <a:gd name="connsiteX3472" fmla="*/ 1191299 w 1263758"/>
                        <a:gd name="connsiteY3472" fmla="*/ 1680960 h 2117064"/>
                        <a:gd name="connsiteX3473" fmla="*/ 1190849 w 1263758"/>
                        <a:gd name="connsiteY3473" fmla="*/ 1681861 h 2117064"/>
                        <a:gd name="connsiteX3474" fmla="*/ 1189499 w 1263758"/>
                        <a:gd name="connsiteY3474" fmla="*/ 1682761 h 2117064"/>
                        <a:gd name="connsiteX3475" fmla="*/ 1187698 w 1263758"/>
                        <a:gd name="connsiteY3475" fmla="*/ 1683211 h 2117064"/>
                        <a:gd name="connsiteX3476" fmla="*/ 1186348 w 1263758"/>
                        <a:gd name="connsiteY3476" fmla="*/ 1682761 h 2117064"/>
                        <a:gd name="connsiteX3477" fmla="*/ 1181848 w 1263758"/>
                        <a:gd name="connsiteY3477" fmla="*/ 1679610 h 2117064"/>
                        <a:gd name="connsiteX3478" fmla="*/ 1181398 w 1263758"/>
                        <a:gd name="connsiteY3478" fmla="*/ 1680510 h 2117064"/>
                        <a:gd name="connsiteX3479" fmla="*/ 1183648 w 1263758"/>
                        <a:gd name="connsiteY3479" fmla="*/ 1691312 h 2117064"/>
                        <a:gd name="connsiteX3480" fmla="*/ 1183648 w 1263758"/>
                        <a:gd name="connsiteY3480" fmla="*/ 1694012 h 2117064"/>
                        <a:gd name="connsiteX3481" fmla="*/ 1182298 w 1263758"/>
                        <a:gd name="connsiteY3481" fmla="*/ 1694912 h 2117064"/>
                        <a:gd name="connsiteX3482" fmla="*/ 1180948 w 1263758"/>
                        <a:gd name="connsiteY3482" fmla="*/ 1694012 h 2117064"/>
                        <a:gd name="connsiteX3483" fmla="*/ 1179147 w 1263758"/>
                        <a:gd name="connsiteY3483" fmla="*/ 1690862 h 2117064"/>
                        <a:gd name="connsiteX3484" fmla="*/ 1176447 w 1263758"/>
                        <a:gd name="connsiteY3484" fmla="*/ 1687261 h 2117064"/>
                        <a:gd name="connsiteX3485" fmla="*/ 1172847 w 1263758"/>
                        <a:gd name="connsiteY3485" fmla="*/ 1683661 h 2117064"/>
                        <a:gd name="connsiteX3486" fmla="*/ 1169246 w 1263758"/>
                        <a:gd name="connsiteY3486" fmla="*/ 1680510 h 2117064"/>
                        <a:gd name="connsiteX3487" fmla="*/ 1168346 w 1263758"/>
                        <a:gd name="connsiteY3487" fmla="*/ 1680510 h 2117064"/>
                        <a:gd name="connsiteX3488" fmla="*/ 1167896 w 1263758"/>
                        <a:gd name="connsiteY3488" fmla="*/ 1681410 h 2117064"/>
                        <a:gd name="connsiteX3489" fmla="*/ 1167446 w 1263758"/>
                        <a:gd name="connsiteY3489" fmla="*/ 1681410 h 2117064"/>
                        <a:gd name="connsiteX3490" fmla="*/ 1166996 w 1263758"/>
                        <a:gd name="connsiteY3490" fmla="*/ 1680960 h 2117064"/>
                        <a:gd name="connsiteX3491" fmla="*/ 1165646 w 1263758"/>
                        <a:gd name="connsiteY3491" fmla="*/ 1678710 h 2117064"/>
                        <a:gd name="connsiteX3492" fmla="*/ 1164295 w 1263758"/>
                        <a:gd name="connsiteY3492" fmla="*/ 1677360 h 2117064"/>
                        <a:gd name="connsiteX3493" fmla="*/ 1158895 w 1263758"/>
                        <a:gd name="connsiteY3493" fmla="*/ 1672409 h 2117064"/>
                        <a:gd name="connsiteX3494" fmla="*/ 1158445 w 1263758"/>
                        <a:gd name="connsiteY3494" fmla="*/ 1672409 h 2117064"/>
                        <a:gd name="connsiteX3495" fmla="*/ 1158895 w 1263758"/>
                        <a:gd name="connsiteY3495" fmla="*/ 1673759 h 2117064"/>
                        <a:gd name="connsiteX3496" fmla="*/ 1159345 w 1263758"/>
                        <a:gd name="connsiteY3496" fmla="*/ 1676910 h 2117064"/>
                        <a:gd name="connsiteX3497" fmla="*/ 1158895 w 1263758"/>
                        <a:gd name="connsiteY3497" fmla="*/ 1677810 h 2117064"/>
                        <a:gd name="connsiteX3498" fmla="*/ 1157545 w 1263758"/>
                        <a:gd name="connsiteY3498" fmla="*/ 1677360 h 2117064"/>
                        <a:gd name="connsiteX3499" fmla="*/ 1154844 w 1263758"/>
                        <a:gd name="connsiteY3499" fmla="*/ 1676010 h 2117064"/>
                        <a:gd name="connsiteX3500" fmla="*/ 1153044 w 1263758"/>
                        <a:gd name="connsiteY3500" fmla="*/ 1672859 h 2117064"/>
                        <a:gd name="connsiteX3501" fmla="*/ 1150794 w 1263758"/>
                        <a:gd name="connsiteY3501" fmla="*/ 1667009 h 2117064"/>
                        <a:gd name="connsiteX3502" fmla="*/ 1149444 w 1263758"/>
                        <a:gd name="connsiteY3502" fmla="*/ 1664758 h 2117064"/>
                        <a:gd name="connsiteX3503" fmla="*/ 1149444 w 1263758"/>
                        <a:gd name="connsiteY3503" fmla="*/ 1666109 h 2117064"/>
                        <a:gd name="connsiteX3504" fmla="*/ 1149894 w 1263758"/>
                        <a:gd name="connsiteY3504" fmla="*/ 1671509 h 2117064"/>
                        <a:gd name="connsiteX3505" fmla="*/ 1149894 w 1263758"/>
                        <a:gd name="connsiteY3505" fmla="*/ 1673309 h 2117064"/>
                        <a:gd name="connsiteX3506" fmla="*/ 1148544 w 1263758"/>
                        <a:gd name="connsiteY3506" fmla="*/ 1673759 h 2117064"/>
                        <a:gd name="connsiteX3507" fmla="*/ 1148094 w 1263758"/>
                        <a:gd name="connsiteY3507" fmla="*/ 1673309 h 2117064"/>
                        <a:gd name="connsiteX3508" fmla="*/ 1147644 w 1263758"/>
                        <a:gd name="connsiteY3508" fmla="*/ 1671959 h 2117064"/>
                        <a:gd name="connsiteX3509" fmla="*/ 1147193 w 1263758"/>
                        <a:gd name="connsiteY3509" fmla="*/ 1669709 h 2117064"/>
                        <a:gd name="connsiteX3510" fmla="*/ 1145843 w 1263758"/>
                        <a:gd name="connsiteY3510" fmla="*/ 1667909 h 2117064"/>
                        <a:gd name="connsiteX3511" fmla="*/ 1144043 w 1263758"/>
                        <a:gd name="connsiteY3511" fmla="*/ 1666559 h 2117064"/>
                        <a:gd name="connsiteX3512" fmla="*/ 1143143 w 1263758"/>
                        <a:gd name="connsiteY3512" fmla="*/ 1665208 h 2117064"/>
                        <a:gd name="connsiteX3513" fmla="*/ 1142693 w 1263758"/>
                        <a:gd name="connsiteY3513" fmla="*/ 1662958 h 2117064"/>
                        <a:gd name="connsiteX3514" fmla="*/ 1142243 w 1263758"/>
                        <a:gd name="connsiteY3514" fmla="*/ 1662508 h 2117064"/>
                        <a:gd name="connsiteX3515" fmla="*/ 1138642 w 1263758"/>
                        <a:gd name="connsiteY3515" fmla="*/ 1662958 h 2117064"/>
                        <a:gd name="connsiteX3516" fmla="*/ 1136842 w 1263758"/>
                        <a:gd name="connsiteY3516" fmla="*/ 1661158 h 2117064"/>
                        <a:gd name="connsiteX3517" fmla="*/ 1131892 w 1263758"/>
                        <a:gd name="connsiteY3517" fmla="*/ 1654407 h 2117064"/>
                        <a:gd name="connsiteX3518" fmla="*/ 1127391 w 1263758"/>
                        <a:gd name="connsiteY3518" fmla="*/ 1647206 h 2117064"/>
                        <a:gd name="connsiteX3519" fmla="*/ 1124691 w 1263758"/>
                        <a:gd name="connsiteY3519" fmla="*/ 1643156 h 2117064"/>
                        <a:gd name="connsiteX3520" fmla="*/ 1123790 w 1263758"/>
                        <a:gd name="connsiteY3520" fmla="*/ 1642256 h 2117064"/>
                        <a:gd name="connsiteX3521" fmla="*/ 1125141 w 1263758"/>
                        <a:gd name="connsiteY3521" fmla="*/ 1646756 h 2117064"/>
                        <a:gd name="connsiteX3522" fmla="*/ 1126941 w 1263758"/>
                        <a:gd name="connsiteY3522" fmla="*/ 1653507 h 2117064"/>
                        <a:gd name="connsiteX3523" fmla="*/ 1127391 w 1263758"/>
                        <a:gd name="connsiteY3523" fmla="*/ 1656657 h 2117064"/>
                        <a:gd name="connsiteX3524" fmla="*/ 1126491 w 1263758"/>
                        <a:gd name="connsiteY3524" fmla="*/ 1656657 h 2117064"/>
                        <a:gd name="connsiteX3525" fmla="*/ 1124691 w 1263758"/>
                        <a:gd name="connsiteY3525" fmla="*/ 1655307 h 2117064"/>
                        <a:gd name="connsiteX3526" fmla="*/ 1116140 w 1263758"/>
                        <a:gd name="connsiteY3526" fmla="*/ 1646306 h 2117064"/>
                        <a:gd name="connsiteX3527" fmla="*/ 1110739 w 1263758"/>
                        <a:gd name="connsiteY3527" fmla="*/ 1642256 h 2117064"/>
                        <a:gd name="connsiteX3528" fmla="*/ 1107589 w 1263758"/>
                        <a:gd name="connsiteY3528" fmla="*/ 1641356 h 2117064"/>
                        <a:gd name="connsiteX3529" fmla="*/ 1102638 w 1263758"/>
                        <a:gd name="connsiteY3529" fmla="*/ 1640905 h 2117064"/>
                        <a:gd name="connsiteX3530" fmla="*/ 1101738 w 1263758"/>
                        <a:gd name="connsiteY3530" fmla="*/ 1643156 h 2117064"/>
                        <a:gd name="connsiteX3531" fmla="*/ 1104438 w 1263758"/>
                        <a:gd name="connsiteY3531" fmla="*/ 1648106 h 2117064"/>
                        <a:gd name="connsiteX3532" fmla="*/ 1107138 w 1263758"/>
                        <a:gd name="connsiteY3532" fmla="*/ 1652157 h 2117064"/>
                        <a:gd name="connsiteX3533" fmla="*/ 1109389 w 1263758"/>
                        <a:gd name="connsiteY3533" fmla="*/ 1654857 h 2117064"/>
                        <a:gd name="connsiteX3534" fmla="*/ 1113439 w 1263758"/>
                        <a:gd name="connsiteY3534" fmla="*/ 1659808 h 2117064"/>
                        <a:gd name="connsiteX3535" fmla="*/ 1117040 w 1263758"/>
                        <a:gd name="connsiteY3535" fmla="*/ 1666109 h 2117064"/>
                        <a:gd name="connsiteX3536" fmla="*/ 1118390 w 1263758"/>
                        <a:gd name="connsiteY3536" fmla="*/ 1667909 h 2117064"/>
                        <a:gd name="connsiteX3537" fmla="*/ 1123340 w 1263758"/>
                        <a:gd name="connsiteY3537" fmla="*/ 1670609 h 2117064"/>
                        <a:gd name="connsiteX3538" fmla="*/ 1126041 w 1263758"/>
                        <a:gd name="connsiteY3538" fmla="*/ 1671509 h 2117064"/>
                        <a:gd name="connsiteX3539" fmla="*/ 1128741 w 1263758"/>
                        <a:gd name="connsiteY3539" fmla="*/ 1671509 h 2117064"/>
                        <a:gd name="connsiteX3540" fmla="*/ 1129191 w 1263758"/>
                        <a:gd name="connsiteY3540" fmla="*/ 1672409 h 2117064"/>
                        <a:gd name="connsiteX3541" fmla="*/ 1127841 w 1263758"/>
                        <a:gd name="connsiteY3541" fmla="*/ 1674210 h 2117064"/>
                        <a:gd name="connsiteX3542" fmla="*/ 1127391 w 1263758"/>
                        <a:gd name="connsiteY3542" fmla="*/ 1675560 h 2117064"/>
                        <a:gd name="connsiteX3543" fmla="*/ 1133242 w 1263758"/>
                        <a:gd name="connsiteY3543" fmla="*/ 1678260 h 2117064"/>
                        <a:gd name="connsiteX3544" fmla="*/ 1135492 w 1263758"/>
                        <a:gd name="connsiteY3544" fmla="*/ 1680060 h 2117064"/>
                        <a:gd name="connsiteX3545" fmla="*/ 1137742 w 1263758"/>
                        <a:gd name="connsiteY3545" fmla="*/ 1682761 h 2117064"/>
                        <a:gd name="connsiteX3546" fmla="*/ 1139092 w 1263758"/>
                        <a:gd name="connsiteY3546" fmla="*/ 1683211 h 2117064"/>
                        <a:gd name="connsiteX3547" fmla="*/ 1144043 w 1263758"/>
                        <a:gd name="connsiteY3547" fmla="*/ 1689962 h 2117064"/>
                        <a:gd name="connsiteX3548" fmla="*/ 1145393 w 1263758"/>
                        <a:gd name="connsiteY3548" fmla="*/ 1690862 h 2117064"/>
                        <a:gd name="connsiteX3549" fmla="*/ 1149894 w 1263758"/>
                        <a:gd name="connsiteY3549" fmla="*/ 1693112 h 2117064"/>
                        <a:gd name="connsiteX3550" fmla="*/ 1151244 w 1263758"/>
                        <a:gd name="connsiteY3550" fmla="*/ 1694462 h 2117064"/>
                        <a:gd name="connsiteX3551" fmla="*/ 1153494 w 1263758"/>
                        <a:gd name="connsiteY3551" fmla="*/ 1698513 h 2117064"/>
                        <a:gd name="connsiteX3552" fmla="*/ 1154844 w 1263758"/>
                        <a:gd name="connsiteY3552" fmla="*/ 1700763 h 2117064"/>
                        <a:gd name="connsiteX3553" fmla="*/ 1157095 w 1263758"/>
                        <a:gd name="connsiteY3553" fmla="*/ 1705713 h 2117064"/>
                        <a:gd name="connsiteX3554" fmla="*/ 1158895 w 1263758"/>
                        <a:gd name="connsiteY3554" fmla="*/ 1707964 h 2117064"/>
                        <a:gd name="connsiteX3555" fmla="*/ 1162945 w 1263758"/>
                        <a:gd name="connsiteY3555" fmla="*/ 1710664 h 2117064"/>
                        <a:gd name="connsiteX3556" fmla="*/ 1164746 w 1263758"/>
                        <a:gd name="connsiteY3556" fmla="*/ 1711564 h 2117064"/>
                        <a:gd name="connsiteX3557" fmla="*/ 1165646 w 1263758"/>
                        <a:gd name="connsiteY3557" fmla="*/ 1712464 h 2117064"/>
                        <a:gd name="connsiteX3558" fmla="*/ 1165196 w 1263758"/>
                        <a:gd name="connsiteY3558" fmla="*/ 1714715 h 2117064"/>
                        <a:gd name="connsiteX3559" fmla="*/ 1164746 w 1263758"/>
                        <a:gd name="connsiteY3559" fmla="*/ 1715615 h 2117064"/>
                        <a:gd name="connsiteX3560" fmla="*/ 1162495 w 1263758"/>
                        <a:gd name="connsiteY3560" fmla="*/ 1717415 h 2117064"/>
                        <a:gd name="connsiteX3561" fmla="*/ 1162945 w 1263758"/>
                        <a:gd name="connsiteY3561" fmla="*/ 1719665 h 2117064"/>
                        <a:gd name="connsiteX3562" fmla="*/ 1164295 w 1263758"/>
                        <a:gd name="connsiteY3562" fmla="*/ 1723716 h 2117064"/>
                        <a:gd name="connsiteX3563" fmla="*/ 1164295 w 1263758"/>
                        <a:gd name="connsiteY3563" fmla="*/ 1725966 h 2117064"/>
                        <a:gd name="connsiteX3564" fmla="*/ 1160695 w 1263758"/>
                        <a:gd name="connsiteY3564" fmla="*/ 1728216 h 2117064"/>
                        <a:gd name="connsiteX3565" fmla="*/ 1157995 w 1263758"/>
                        <a:gd name="connsiteY3565" fmla="*/ 1729116 h 2117064"/>
                        <a:gd name="connsiteX3566" fmla="*/ 1156644 w 1263758"/>
                        <a:gd name="connsiteY3566" fmla="*/ 1729116 h 2117064"/>
                        <a:gd name="connsiteX3567" fmla="*/ 1154394 w 1263758"/>
                        <a:gd name="connsiteY3567" fmla="*/ 1728216 h 2117064"/>
                        <a:gd name="connsiteX3568" fmla="*/ 1151694 w 1263758"/>
                        <a:gd name="connsiteY3568" fmla="*/ 1726866 h 2117064"/>
                        <a:gd name="connsiteX3569" fmla="*/ 1146293 w 1263758"/>
                        <a:gd name="connsiteY3569" fmla="*/ 1722816 h 2117064"/>
                        <a:gd name="connsiteX3570" fmla="*/ 1138192 w 1263758"/>
                        <a:gd name="connsiteY3570" fmla="*/ 1720115 h 2117064"/>
                        <a:gd name="connsiteX3571" fmla="*/ 1135042 w 1263758"/>
                        <a:gd name="connsiteY3571" fmla="*/ 1718765 h 2117064"/>
                        <a:gd name="connsiteX3572" fmla="*/ 1134142 w 1263758"/>
                        <a:gd name="connsiteY3572" fmla="*/ 1717415 h 2117064"/>
                        <a:gd name="connsiteX3573" fmla="*/ 1132792 w 1263758"/>
                        <a:gd name="connsiteY3573" fmla="*/ 1716515 h 2117064"/>
                        <a:gd name="connsiteX3574" fmla="*/ 1112989 w 1263758"/>
                        <a:gd name="connsiteY3574" fmla="*/ 1712914 h 2117064"/>
                        <a:gd name="connsiteX3575" fmla="*/ 1109839 w 1263758"/>
                        <a:gd name="connsiteY3575" fmla="*/ 1712014 h 2117064"/>
                        <a:gd name="connsiteX3576" fmla="*/ 1107589 w 1263758"/>
                        <a:gd name="connsiteY3576" fmla="*/ 1710664 h 2117064"/>
                        <a:gd name="connsiteX3577" fmla="*/ 1105788 w 1263758"/>
                        <a:gd name="connsiteY3577" fmla="*/ 1708864 h 2117064"/>
                        <a:gd name="connsiteX3578" fmla="*/ 1098137 w 1263758"/>
                        <a:gd name="connsiteY3578" fmla="*/ 1704813 h 2117064"/>
                        <a:gd name="connsiteX3579" fmla="*/ 1097237 w 1263758"/>
                        <a:gd name="connsiteY3579" fmla="*/ 1703913 h 2117064"/>
                        <a:gd name="connsiteX3580" fmla="*/ 1092286 w 1263758"/>
                        <a:gd name="connsiteY3580" fmla="*/ 1697162 h 2117064"/>
                        <a:gd name="connsiteX3581" fmla="*/ 1088686 w 1263758"/>
                        <a:gd name="connsiteY3581" fmla="*/ 1689061 h 2117064"/>
                        <a:gd name="connsiteX3582" fmla="*/ 1087336 w 1263758"/>
                        <a:gd name="connsiteY3582" fmla="*/ 1688161 h 2117064"/>
                        <a:gd name="connsiteX3583" fmla="*/ 1083285 w 1263758"/>
                        <a:gd name="connsiteY3583" fmla="*/ 1687261 h 2117064"/>
                        <a:gd name="connsiteX3584" fmla="*/ 1079685 w 1263758"/>
                        <a:gd name="connsiteY3584" fmla="*/ 1687711 h 2117064"/>
                        <a:gd name="connsiteX3585" fmla="*/ 1077435 w 1263758"/>
                        <a:gd name="connsiteY3585" fmla="*/ 1688611 h 2117064"/>
                        <a:gd name="connsiteX3586" fmla="*/ 1073834 w 1263758"/>
                        <a:gd name="connsiteY3586" fmla="*/ 1688161 h 2117064"/>
                        <a:gd name="connsiteX3587" fmla="*/ 1071584 w 1263758"/>
                        <a:gd name="connsiteY3587" fmla="*/ 1686811 h 2117064"/>
                        <a:gd name="connsiteX3588" fmla="*/ 1066633 w 1263758"/>
                        <a:gd name="connsiteY3588" fmla="*/ 1683211 h 2117064"/>
                        <a:gd name="connsiteX3589" fmla="*/ 1061683 w 1263758"/>
                        <a:gd name="connsiteY3589" fmla="*/ 1681410 h 2117064"/>
                        <a:gd name="connsiteX3590" fmla="*/ 1057182 w 1263758"/>
                        <a:gd name="connsiteY3590" fmla="*/ 1678710 h 2117064"/>
                        <a:gd name="connsiteX3591" fmla="*/ 1054932 w 1263758"/>
                        <a:gd name="connsiteY3591" fmla="*/ 1677810 h 2117064"/>
                        <a:gd name="connsiteX3592" fmla="*/ 1054932 w 1263758"/>
                        <a:gd name="connsiteY3592" fmla="*/ 1676910 h 2117064"/>
                        <a:gd name="connsiteX3593" fmla="*/ 1058082 w 1263758"/>
                        <a:gd name="connsiteY3593" fmla="*/ 1671959 h 2117064"/>
                        <a:gd name="connsiteX3594" fmla="*/ 1057182 w 1263758"/>
                        <a:gd name="connsiteY3594" fmla="*/ 1671959 h 2117064"/>
                        <a:gd name="connsiteX3595" fmla="*/ 1051781 w 1263758"/>
                        <a:gd name="connsiteY3595" fmla="*/ 1675560 h 2117064"/>
                        <a:gd name="connsiteX3596" fmla="*/ 1049981 w 1263758"/>
                        <a:gd name="connsiteY3596" fmla="*/ 1674660 h 2117064"/>
                        <a:gd name="connsiteX3597" fmla="*/ 1046831 w 1263758"/>
                        <a:gd name="connsiteY3597" fmla="*/ 1671959 h 2117064"/>
                        <a:gd name="connsiteX3598" fmla="*/ 1044581 w 1263758"/>
                        <a:gd name="connsiteY3598" fmla="*/ 1669259 h 2117064"/>
                        <a:gd name="connsiteX3599" fmla="*/ 1039180 w 1263758"/>
                        <a:gd name="connsiteY3599" fmla="*/ 1660708 h 2117064"/>
                        <a:gd name="connsiteX3600" fmla="*/ 1036480 w 1263758"/>
                        <a:gd name="connsiteY3600" fmla="*/ 1658008 h 2117064"/>
                        <a:gd name="connsiteX3601" fmla="*/ 1036930 w 1263758"/>
                        <a:gd name="connsiteY3601" fmla="*/ 1657557 h 2117064"/>
                        <a:gd name="connsiteX3602" fmla="*/ 1040080 w 1263758"/>
                        <a:gd name="connsiteY3602" fmla="*/ 1657107 h 2117064"/>
                        <a:gd name="connsiteX3603" fmla="*/ 1042780 w 1263758"/>
                        <a:gd name="connsiteY3603" fmla="*/ 1657557 h 2117064"/>
                        <a:gd name="connsiteX3604" fmla="*/ 1044581 w 1263758"/>
                        <a:gd name="connsiteY3604" fmla="*/ 1657107 h 2117064"/>
                        <a:gd name="connsiteX3605" fmla="*/ 1047731 w 1263758"/>
                        <a:gd name="connsiteY3605" fmla="*/ 1653957 h 2117064"/>
                        <a:gd name="connsiteX3606" fmla="*/ 1049081 w 1263758"/>
                        <a:gd name="connsiteY3606" fmla="*/ 1651707 h 2117064"/>
                        <a:gd name="connsiteX3607" fmla="*/ 1049081 w 1263758"/>
                        <a:gd name="connsiteY3607" fmla="*/ 1650357 h 2117064"/>
                        <a:gd name="connsiteX3608" fmla="*/ 1046381 w 1263758"/>
                        <a:gd name="connsiteY3608" fmla="*/ 1649907 h 2117064"/>
                        <a:gd name="connsiteX3609" fmla="*/ 1045931 w 1263758"/>
                        <a:gd name="connsiteY3609" fmla="*/ 1649456 h 2117064"/>
                        <a:gd name="connsiteX3610" fmla="*/ 1045481 w 1263758"/>
                        <a:gd name="connsiteY3610" fmla="*/ 1648106 h 2117064"/>
                        <a:gd name="connsiteX3611" fmla="*/ 1044131 w 1263758"/>
                        <a:gd name="connsiteY3611" fmla="*/ 1646306 h 2117064"/>
                        <a:gd name="connsiteX3612" fmla="*/ 1041880 w 1263758"/>
                        <a:gd name="connsiteY3612" fmla="*/ 1644056 h 2117064"/>
                        <a:gd name="connsiteX3613" fmla="*/ 1039630 w 1263758"/>
                        <a:gd name="connsiteY3613" fmla="*/ 1643156 h 2117064"/>
                        <a:gd name="connsiteX3614" fmla="*/ 1031529 w 1263758"/>
                        <a:gd name="connsiteY3614" fmla="*/ 1644056 h 2117064"/>
                        <a:gd name="connsiteX3615" fmla="*/ 1030179 w 1263758"/>
                        <a:gd name="connsiteY3615" fmla="*/ 1643156 h 2117064"/>
                        <a:gd name="connsiteX3616" fmla="*/ 1030179 w 1263758"/>
                        <a:gd name="connsiteY3616" fmla="*/ 1641805 h 2117064"/>
                        <a:gd name="connsiteX3617" fmla="*/ 1031979 w 1263758"/>
                        <a:gd name="connsiteY3617" fmla="*/ 1637755 h 2117064"/>
                        <a:gd name="connsiteX3618" fmla="*/ 1032879 w 1263758"/>
                        <a:gd name="connsiteY3618" fmla="*/ 1635955 h 2117064"/>
                        <a:gd name="connsiteX3619" fmla="*/ 1033329 w 1263758"/>
                        <a:gd name="connsiteY3619" fmla="*/ 1635055 h 2117064"/>
                        <a:gd name="connsiteX3620" fmla="*/ 1032879 w 1263758"/>
                        <a:gd name="connsiteY3620" fmla="*/ 1635055 h 2117064"/>
                        <a:gd name="connsiteX3621" fmla="*/ 1031979 w 1263758"/>
                        <a:gd name="connsiteY3621" fmla="*/ 1635055 h 2117064"/>
                        <a:gd name="connsiteX3622" fmla="*/ 1027028 w 1263758"/>
                        <a:gd name="connsiteY3622" fmla="*/ 1638655 h 2117064"/>
                        <a:gd name="connsiteX3623" fmla="*/ 1026128 w 1263758"/>
                        <a:gd name="connsiteY3623" fmla="*/ 1638205 h 2117064"/>
                        <a:gd name="connsiteX3624" fmla="*/ 1024328 w 1263758"/>
                        <a:gd name="connsiteY3624" fmla="*/ 1634605 h 2117064"/>
                        <a:gd name="connsiteX3625" fmla="*/ 1022978 w 1263758"/>
                        <a:gd name="connsiteY3625" fmla="*/ 1630554 h 2117064"/>
                        <a:gd name="connsiteX3626" fmla="*/ 1022078 w 1263758"/>
                        <a:gd name="connsiteY3626" fmla="*/ 1629204 h 2117064"/>
                        <a:gd name="connsiteX3627" fmla="*/ 1021178 w 1263758"/>
                        <a:gd name="connsiteY3627" fmla="*/ 1628754 h 2117064"/>
                        <a:gd name="connsiteX3628" fmla="*/ 1017127 w 1263758"/>
                        <a:gd name="connsiteY3628" fmla="*/ 1624703 h 2117064"/>
                        <a:gd name="connsiteX3629" fmla="*/ 1011726 w 1263758"/>
                        <a:gd name="connsiteY3629" fmla="*/ 1616602 h 2117064"/>
                        <a:gd name="connsiteX3630" fmla="*/ 1009476 w 1263758"/>
                        <a:gd name="connsiteY3630" fmla="*/ 1613902 h 2117064"/>
                        <a:gd name="connsiteX3631" fmla="*/ 1007226 w 1263758"/>
                        <a:gd name="connsiteY3631" fmla="*/ 1611652 h 2117064"/>
                        <a:gd name="connsiteX3632" fmla="*/ 1005426 w 1263758"/>
                        <a:gd name="connsiteY3632" fmla="*/ 1610752 h 2117064"/>
                        <a:gd name="connsiteX3633" fmla="*/ 1005876 w 1263758"/>
                        <a:gd name="connsiteY3633" fmla="*/ 1609401 h 2117064"/>
                        <a:gd name="connsiteX3634" fmla="*/ 1009476 w 1263758"/>
                        <a:gd name="connsiteY3634" fmla="*/ 1602651 h 2117064"/>
                        <a:gd name="connsiteX3635" fmla="*/ 1009476 w 1263758"/>
                        <a:gd name="connsiteY3635" fmla="*/ 1601750 h 2117064"/>
                        <a:gd name="connsiteX3636" fmla="*/ 1006326 w 1263758"/>
                        <a:gd name="connsiteY3636" fmla="*/ 1602201 h 2117064"/>
                        <a:gd name="connsiteX3637" fmla="*/ 1001825 w 1263758"/>
                        <a:gd name="connsiteY3637" fmla="*/ 1600850 h 2117064"/>
                        <a:gd name="connsiteX3638" fmla="*/ 999575 w 1263758"/>
                        <a:gd name="connsiteY3638" fmla="*/ 1602651 h 2117064"/>
                        <a:gd name="connsiteX3639" fmla="*/ 998225 w 1263758"/>
                        <a:gd name="connsiteY3639" fmla="*/ 1602651 h 2117064"/>
                        <a:gd name="connsiteX3640" fmla="*/ 996425 w 1263758"/>
                        <a:gd name="connsiteY3640" fmla="*/ 1601750 h 2117064"/>
                        <a:gd name="connsiteX3641" fmla="*/ 995524 w 1263758"/>
                        <a:gd name="connsiteY3641" fmla="*/ 1602201 h 2117064"/>
                        <a:gd name="connsiteX3642" fmla="*/ 994624 w 1263758"/>
                        <a:gd name="connsiteY3642" fmla="*/ 1607601 h 2117064"/>
                        <a:gd name="connsiteX3643" fmla="*/ 994174 w 1263758"/>
                        <a:gd name="connsiteY3643" fmla="*/ 1608951 h 2117064"/>
                        <a:gd name="connsiteX3644" fmla="*/ 993274 w 1263758"/>
                        <a:gd name="connsiteY3644" fmla="*/ 1609852 h 2117064"/>
                        <a:gd name="connsiteX3645" fmla="*/ 992374 w 1263758"/>
                        <a:gd name="connsiteY3645" fmla="*/ 1609852 h 2117064"/>
                        <a:gd name="connsiteX3646" fmla="*/ 991474 w 1263758"/>
                        <a:gd name="connsiteY3646" fmla="*/ 1608951 h 2117064"/>
                        <a:gd name="connsiteX3647" fmla="*/ 991474 w 1263758"/>
                        <a:gd name="connsiteY3647" fmla="*/ 1607601 h 2117064"/>
                        <a:gd name="connsiteX3648" fmla="*/ 990574 w 1263758"/>
                        <a:gd name="connsiteY3648" fmla="*/ 1600850 h 2117064"/>
                        <a:gd name="connsiteX3649" fmla="*/ 988774 w 1263758"/>
                        <a:gd name="connsiteY3649" fmla="*/ 1599950 h 2117064"/>
                        <a:gd name="connsiteX3650" fmla="*/ 984273 w 1263758"/>
                        <a:gd name="connsiteY3650" fmla="*/ 1599500 h 2117064"/>
                        <a:gd name="connsiteX3651" fmla="*/ 983373 w 1263758"/>
                        <a:gd name="connsiteY3651" fmla="*/ 1599050 h 2117064"/>
                        <a:gd name="connsiteX3652" fmla="*/ 982473 w 1263758"/>
                        <a:gd name="connsiteY3652" fmla="*/ 1597700 h 2117064"/>
                        <a:gd name="connsiteX3653" fmla="*/ 981573 w 1263758"/>
                        <a:gd name="connsiteY3653" fmla="*/ 1595450 h 2117064"/>
                        <a:gd name="connsiteX3654" fmla="*/ 980673 w 1263758"/>
                        <a:gd name="connsiteY3654" fmla="*/ 1591849 h 2117064"/>
                        <a:gd name="connsiteX3655" fmla="*/ 979772 w 1263758"/>
                        <a:gd name="connsiteY3655" fmla="*/ 1590049 h 2117064"/>
                        <a:gd name="connsiteX3656" fmla="*/ 978872 w 1263758"/>
                        <a:gd name="connsiteY3656" fmla="*/ 1589599 h 2117064"/>
                        <a:gd name="connsiteX3657" fmla="*/ 977972 w 1263758"/>
                        <a:gd name="connsiteY3657" fmla="*/ 1590049 h 2117064"/>
                        <a:gd name="connsiteX3658" fmla="*/ 977522 w 1263758"/>
                        <a:gd name="connsiteY3658" fmla="*/ 1590949 h 2117064"/>
                        <a:gd name="connsiteX3659" fmla="*/ 976172 w 1263758"/>
                        <a:gd name="connsiteY3659" fmla="*/ 1591399 h 2117064"/>
                        <a:gd name="connsiteX3660" fmla="*/ 973922 w 1263758"/>
                        <a:gd name="connsiteY3660" fmla="*/ 1591399 h 2117064"/>
                        <a:gd name="connsiteX3661" fmla="*/ 973922 w 1263758"/>
                        <a:gd name="connsiteY3661" fmla="*/ 1592749 h 2117064"/>
                        <a:gd name="connsiteX3662" fmla="*/ 976172 w 1263758"/>
                        <a:gd name="connsiteY3662" fmla="*/ 1595000 h 2117064"/>
                        <a:gd name="connsiteX3663" fmla="*/ 977972 w 1263758"/>
                        <a:gd name="connsiteY3663" fmla="*/ 1598600 h 2117064"/>
                        <a:gd name="connsiteX3664" fmla="*/ 979772 w 1263758"/>
                        <a:gd name="connsiteY3664" fmla="*/ 1603101 h 2117064"/>
                        <a:gd name="connsiteX3665" fmla="*/ 978422 w 1263758"/>
                        <a:gd name="connsiteY3665" fmla="*/ 1606251 h 2117064"/>
                        <a:gd name="connsiteX3666" fmla="*/ 974372 w 1263758"/>
                        <a:gd name="connsiteY3666" fmla="*/ 1607601 h 2117064"/>
                        <a:gd name="connsiteX3667" fmla="*/ 970771 w 1263758"/>
                        <a:gd name="connsiteY3667" fmla="*/ 1608051 h 2117064"/>
                        <a:gd name="connsiteX3668" fmla="*/ 967621 w 1263758"/>
                        <a:gd name="connsiteY3668" fmla="*/ 1607601 h 2117064"/>
                        <a:gd name="connsiteX3669" fmla="*/ 965371 w 1263758"/>
                        <a:gd name="connsiteY3669" fmla="*/ 1606701 h 2117064"/>
                        <a:gd name="connsiteX3670" fmla="*/ 961770 w 1263758"/>
                        <a:gd name="connsiteY3670" fmla="*/ 1604001 h 2117064"/>
                        <a:gd name="connsiteX3671" fmla="*/ 956820 w 1263758"/>
                        <a:gd name="connsiteY3671" fmla="*/ 1604901 h 2117064"/>
                        <a:gd name="connsiteX3672" fmla="*/ 955919 w 1263758"/>
                        <a:gd name="connsiteY3672" fmla="*/ 1611202 h 2117064"/>
                        <a:gd name="connsiteX3673" fmla="*/ 955019 w 1263758"/>
                        <a:gd name="connsiteY3673" fmla="*/ 1611652 h 2117064"/>
                        <a:gd name="connsiteX3674" fmla="*/ 950519 w 1263758"/>
                        <a:gd name="connsiteY3674" fmla="*/ 1611652 h 2117064"/>
                        <a:gd name="connsiteX3675" fmla="*/ 948719 w 1263758"/>
                        <a:gd name="connsiteY3675" fmla="*/ 1612102 h 2117064"/>
                        <a:gd name="connsiteX3676" fmla="*/ 942418 w 1263758"/>
                        <a:gd name="connsiteY3676" fmla="*/ 1615702 h 2117064"/>
                        <a:gd name="connsiteX3677" fmla="*/ 940618 w 1263758"/>
                        <a:gd name="connsiteY3677" fmla="*/ 1616152 h 2117064"/>
                        <a:gd name="connsiteX3678" fmla="*/ 939267 w 1263758"/>
                        <a:gd name="connsiteY3678" fmla="*/ 1615702 h 2117064"/>
                        <a:gd name="connsiteX3679" fmla="*/ 937917 w 1263758"/>
                        <a:gd name="connsiteY3679" fmla="*/ 1616602 h 2117064"/>
                        <a:gd name="connsiteX3680" fmla="*/ 935667 w 1263758"/>
                        <a:gd name="connsiteY3680" fmla="*/ 1618853 h 2117064"/>
                        <a:gd name="connsiteX3681" fmla="*/ 932967 w 1263758"/>
                        <a:gd name="connsiteY3681" fmla="*/ 1618853 h 2117064"/>
                        <a:gd name="connsiteX3682" fmla="*/ 929366 w 1263758"/>
                        <a:gd name="connsiteY3682" fmla="*/ 1617052 h 2117064"/>
                        <a:gd name="connsiteX3683" fmla="*/ 926216 w 1263758"/>
                        <a:gd name="connsiteY3683" fmla="*/ 1616152 h 2117064"/>
                        <a:gd name="connsiteX3684" fmla="*/ 923515 w 1263758"/>
                        <a:gd name="connsiteY3684" fmla="*/ 1616602 h 2117064"/>
                        <a:gd name="connsiteX3685" fmla="*/ 920815 w 1263758"/>
                        <a:gd name="connsiteY3685" fmla="*/ 1615702 h 2117064"/>
                        <a:gd name="connsiteX3686" fmla="*/ 918115 w 1263758"/>
                        <a:gd name="connsiteY3686" fmla="*/ 1613452 h 2117064"/>
                        <a:gd name="connsiteX3687" fmla="*/ 915865 w 1263758"/>
                        <a:gd name="connsiteY3687" fmla="*/ 1612552 h 2117064"/>
                        <a:gd name="connsiteX3688" fmla="*/ 913164 w 1263758"/>
                        <a:gd name="connsiteY3688" fmla="*/ 1612552 h 2117064"/>
                        <a:gd name="connsiteX3689" fmla="*/ 912714 w 1263758"/>
                        <a:gd name="connsiteY3689" fmla="*/ 1612102 h 2117064"/>
                        <a:gd name="connsiteX3690" fmla="*/ 908664 w 1263758"/>
                        <a:gd name="connsiteY3690" fmla="*/ 1607601 h 2117064"/>
                        <a:gd name="connsiteX3691" fmla="*/ 907313 w 1263758"/>
                        <a:gd name="connsiteY3691" fmla="*/ 1605801 h 2117064"/>
                        <a:gd name="connsiteX3692" fmla="*/ 904613 w 1263758"/>
                        <a:gd name="connsiteY3692" fmla="*/ 1599950 h 2117064"/>
                        <a:gd name="connsiteX3693" fmla="*/ 904163 w 1263758"/>
                        <a:gd name="connsiteY3693" fmla="*/ 1597700 h 2117064"/>
                        <a:gd name="connsiteX3694" fmla="*/ 904163 w 1263758"/>
                        <a:gd name="connsiteY3694" fmla="*/ 1595000 h 2117064"/>
                        <a:gd name="connsiteX3695" fmla="*/ 904613 w 1263758"/>
                        <a:gd name="connsiteY3695" fmla="*/ 1593199 h 2117064"/>
                        <a:gd name="connsiteX3696" fmla="*/ 905513 w 1263758"/>
                        <a:gd name="connsiteY3696" fmla="*/ 1590499 h 2117064"/>
                        <a:gd name="connsiteX3697" fmla="*/ 906413 w 1263758"/>
                        <a:gd name="connsiteY3697" fmla="*/ 1583748 h 2117064"/>
                        <a:gd name="connsiteX3698" fmla="*/ 907313 w 1263758"/>
                        <a:gd name="connsiteY3698" fmla="*/ 1581498 h 2117064"/>
                        <a:gd name="connsiteX3699" fmla="*/ 908664 w 1263758"/>
                        <a:gd name="connsiteY3699" fmla="*/ 1579698 h 2117064"/>
                        <a:gd name="connsiteX3700" fmla="*/ 911364 w 1263758"/>
                        <a:gd name="connsiteY3700" fmla="*/ 1576997 h 2117064"/>
                        <a:gd name="connsiteX3701" fmla="*/ 920365 w 1263758"/>
                        <a:gd name="connsiteY3701" fmla="*/ 1572497 h 2117064"/>
                        <a:gd name="connsiteX3702" fmla="*/ 922165 w 1263758"/>
                        <a:gd name="connsiteY3702" fmla="*/ 1570697 h 2117064"/>
                        <a:gd name="connsiteX3703" fmla="*/ 922165 w 1263758"/>
                        <a:gd name="connsiteY3703" fmla="*/ 1569346 h 2117064"/>
                        <a:gd name="connsiteX3704" fmla="*/ 919915 w 1263758"/>
                        <a:gd name="connsiteY3704" fmla="*/ 1563946 h 2117064"/>
                        <a:gd name="connsiteX3705" fmla="*/ 919915 w 1263758"/>
                        <a:gd name="connsiteY3705" fmla="*/ 1562596 h 2117064"/>
                        <a:gd name="connsiteX3706" fmla="*/ 920815 w 1263758"/>
                        <a:gd name="connsiteY3706" fmla="*/ 1561695 h 2117064"/>
                        <a:gd name="connsiteX3707" fmla="*/ 922165 w 1263758"/>
                        <a:gd name="connsiteY3707" fmla="*/ 1558545 h 2117064"/>
                        <a:gd name="connsiteX3708" fmla="*/ 922615 w 1263758"/>
                        <a:gd name="connsiteY3708" fmla="*/ 1557645 h 2117064"/>
                        <a:gd name="connsiteX3709" fmla="*/ 924416 w 1263758"/>
                        <a:gd name="connsiteY3709" fmla="*/ 1557195 h 2117064"/>
                        <a:gd name="connsiteX3710" fmla="*/ 927566 w 1263758"/>
                        <a:gd name="connsiteY3710" fmla="*/ 1558995 h 2117064"/>
                        <a:gd name="connsiteX3711" fmla="*/ 930266 w 1263758"/>
                        <a:gd name="connsiteY3711" fmla="*/ 1559445 h 2117064"/>
                        <a:gd name="connsiteX3712" fmla="*/ 933867 w 1263758"/>
                        <a:gd name="connsiteY3712" fmla="*/ 1559445 h 2117064"/>
                        <a:gd name="connsiteX3713" fmla="*/ 940168 w 1263758"/>
                        <a:gd name="connsiteY3713" fmla="*/ 1561695 h 2117064"/>
                        <a:gd name="connsiteX3714" fmla="*/ 949169 w 1263758"/>
                        <a:gd name="connsiteY3714" fmla="*/ 1566196 h 2117064"/>
                        <a:gd name="connsiteX3715" fmla="*/ 954119 w 1263758"/>
                        <a:gd name="connsiteY3715" fmla="*/ 1569346 h 2117064"/>
                        <a:gd name="connsiteX3716" fmla="*/ 958170 w 1263758"/>
                        <a:gd name="connsiteY3716" fmla="*/ 1573847 h 2117064"/>
                        <a:gd name="connsiteX3717" fmla="*/ 960870 w 1263758"/>
                        <a:gd name="connsiteY3717" fmla="*/ 1577898 h 2117064"/>
                        <a:gd name="connsiteX3718" fmla="*/ 961320 w 1263758"/>
                        <a:gd name="connsiteY3718" fmla="*/ 1580148 h 2117064"/>
                        <a:gd name="connsiteX3719" fmla="*/ 959970 w 1263758"/>
                        <a:gd name="connsiteY3719" fmla="*/ 1583298 h 2117064"/>
                        <a:gd name="connsiteX3720" fmla="*/ 959520 w 1263758"/>
                        <a:gd name="connsiteY3720" fmla="*/ 1584198 h 2117064"/>
                        <a:gd name="connsiteX3721" fmla="*/ 959520 w 1263758"/>
                        <a:gd name="connsiteY3721" fmla="*/ 1585548 h 2117064"/>
                        <a:gd name="connsiteX3722" fmla="*/ 960420 w 1263758"/>
                        <a:gd name="connsiteY3722" fmla="*/ 1586899 h 2117064"/>
                        <a:gd name="connsiteX3723" fmla="*/ 962670 w 1263758"/>
                        <a:gd name="connsiteY3723" fmla="*/ 1588699 h 2117064"/>
                        <a:gd name="connsiteX3724" fmla="*/ 963120 w 1263758"/>
                        <a:gd name="connsiteY3724" fmla="*/ 1587799 h 2117064"/>
                        <a:gd name="connsiteX3725" fmla="*/ 963120 w 1263758"/>
                        <a:gd name="connsiteY3725" fmla="*/ 1585548 h 2117064"/>
                        <a:gd name="connsiteX3726" fmla="*/ 963570 w 1263758"/>
                        <a:gd name="connsiteY3726" fmla="*/ 1583748 h 2117064"/>
                        <a:gd name="connsiteX3727" fmla="*/ 964471 w 1263758"/>
                        <a:gd name="connsiteY3727" fmla="*/ 1582398 h 2117064"/>
                        <a:gd name="connsiteX3728" fmla="*/ 964471 w 1263758"/>
                        <a:gd name="connsiteY3728" fmla="*/ 1580598 h 2117064"/>
                        <a:gd name="connsiteX3729" fmla="*/ 963570 w 1263758"/>
                        <a:gd name="connsiteY3729" fmla="*/ 1578348 h 2117064"/>
                        <a:gd name="connsiteX3730" fmla="*/ 962670 w 1263758"/>
                        <a:gd name="connsiteY3730" fmla="*/ 1576097 h 2117064"/>
                        <a:gd name="connsiteX3731" fmla="*/ 961320 w 1263758"/>
                        <a:gd name="connsiteY3731" fmla="*/ 1574297 h 2117064"/>
                        <a:gd name="connsiteX3732" fmla="*/ 955469 w 1263758"/>
                        <a:gd name="connsiteY3732" fmla="*/ 1567996 h 2117064"/>
                        <a:gd name="connsiteX3733" fmla="*/ 955019 w 1263758"/>
                        <a:gd name="connsiteY3733" fmla="*/ 1565746 h 2117064"/>
                        <a:gd name="connsiteX3734" fmla="*/ 956820 w 1263758"/>
                        <a:gd name="connsiteY3734" fmla="*/ 1564846 h 2117064"/>
                        <a:gd name="connsiteX3735" fmla="*/ 964921 w 1263758"/>
                        <a:gd name="connsiteY3735" fmla="*/ 1567096 h 2117064"/>
                        <a:gd name="connsiteX3736" fmla="*/ 968071 w 1263758"/>
                        <a:gd name="connsiteY3736" fmla="*/ 1566646 h 2117064"/>
                        <a:gd name="connsiteX3737" fmla="*/ 969421 w 1263758"/>
                        <a:gd name="connsiteY3737" fmla="*/ 1564396 h 2117064"/>
                        <a:gd name="connsiteX3738" fmla="*/ 970771 w 1263758"/>
                        <a:gd name="connsiteY3738" fmla="*/ 1562596 h 2117064"/>
                        <a:gd name="connsiteX3739" fmla="*/ 972122 w 1263758"/>
                        <a:gd name="connsiteY3739" fmla="*/ 1561695 h 2117064"/>
                        <a:gd name="connsiteX3740" fmla="*/ 974822 w 1263758"/>
                        <a:gd name="connsiteY3740" fmla="*/ 1561245 h 2117064"/>
                        <a:gd name="connsiteX3741" fmla="*/ 978872 w 1263758"/>
                        <a:gd name="connsiteY3741" fmla="*/ 1562596 h 2117064"/>
                        <a:gd name="connsiteX3742" fmla="*/ 980673 w 1263758"/>
                        <a:gd name="connsiteY3742" fmla="*/ 1562596 h 2117064"/>
                        <a:gd name="connsiteX3743" fmla="*/ 982473 w 1263758"/>
                        <a:gd name="connsiteY3743" fmla="*/ 1562146 h 2117064"/>
                        <a:gd name="connsiteX3744" fmla="*/ 984723 w 1263758"/>
                        <a:gd name="connsiteY3744" fmla="*/ 1560795 h 2117064"/>
                        <a:gd name="connsiteX3745" fmla="*/ 987874 w 1263758"/>
                        <a:gd name="connsiteY3745" fmla="*/ 1556295 h 2117064"/>
                        <a:gd name="connsiteX3746" fmla="*/ 990124 w 1263758"/>
                        <a:gd name="connsiteY3746" fmla="*/ 1555395 h 2117064"/>
                        <a:gd name="connsiteX3747" fmla="*/ 993274 w 1263758"/>
                        <a:gd name="connsiteY3747" fmla="*/ 1554495 h 2117064"/>
                        <a:gd name="connsiteX3748" fmla="*/ 995524 w 1263758"/>
                        <a:gd name="connsiteY3748" fmla="*/ 1554495 h 2117064"/>
                        <a:gd name="connsiteX3749" fmla="*/ 1000025 w 1263758"/>
                        <a:gd name="connsiteY3749" fmla="*/ 1556295 h 2117064"/>
                        <a:gd name="connsiteX3750" fmla="*/ 1002725 w 1263758"/>
                        <a:gd name="connsiteY3750" fmla="*/ 1556295 h 2117064"/>
                        <a:gd name="connsiteX3751" fmla="*/ 1002725 w 1263758"/>
                        <a:gd name="connsiteY3751" fmla="*/ 1553144 h 2117064"/>
                        <a:gd name="connsiteX3752" fmla="*/ 1000925 w 1263758"/>
                        <a:gd name="connsiteY3752" fmla="*/ 1547294 h 2117064"/>
                        <a:gd name="connsiteX3753" fmla="*/ 998675 w 1263758"/>
                        <a:gd name="connsiteY3753" fmla="*/ 1541443 h 2117064"/>
                        <a:gd name="connsiteX3754" fmla="*/ 996875 w 1263758"/>
                        <a:gd name="connsiteY3754" fmla="*/ 1539643 h 2117064"/>
                        <a:gd name="connsiteX3755" fmla="*/ 992374 w 1263758"/>
                        <a:gd name="connsiteY3755" fmla="*/ 1536042 h 2117064"/>
                        <a:gd name="connsiteX3756" fmla="*/ 987423 w 1263758"/>
                        <a:gd name="connsiteY3756" fmla="*/ 1528841 h 2117064"/>
                        <a:gd name="connsiteX3757" fmla="*/ 984723 w 1263758"/>
                        <a:gd name="connsiteY3757" fmla="*/ 1524341 h 2117064"/>
                        <a:gd name="connsiteX3758" fmla="*/ 983823 w 1263758"/>
                        <a:gd name="connsiteY3758" fmla="*/ 1522091 h 2117064"/>
                        <a:gd name="connsiteX3759" fmla="*/ 984273 w 1263758"/>
                        <a:gd name="connsiteY3759" fmla="*/ 1520740 h 2117064"/>
                        <a:gd name="connsiteX3760" fmla="*/ 985173 w 1263758"/>
                        <a:gd name="connsiteY3760" fmla="*/ 1518490 h 2117064"/>
                        <a:gd name="connsiteX3761" fmla="*/ 994624 w 1263758"/>
                        <a:gd name="connsiteY3761" fmla="*/ 1510389 h 2117064"/>
                        <a:gd name="connsiteX3762" fmla="*/ 1001825 w 1263758"/>
                        <a:gd name="connsiteY3762" fmla="*/ 1502288 h 2117064"/>
                        <a:gd name="connsiteX3763" fmla="*/ 1004976 w 1263758"/>
                        <a:gd name="connsiteY3763" fmla="*/ 1498238 h 2117064"/>
                        <a:gd name="connsiteX3764" fmla="*/ 1006326 w 1263758"/>
                        <a:gd name="connsiteY3764" fmla="*/ 1495537 h 2117064"/>
                        <a:gd name="connsiteX3765" fmla="*/ 1008126 w 1263758"/>
                        <a:gd name="connsiteY3765" fmla="*/ 1493287 h 2117064"/>
                        <a:gd name="connsiteX3766" fmla="*/ 1009926 w 1263758"/>
                        <a:gd name="connsiteY3766" fmla="*/ 1491937 h 2117064"/>
                        <a:gd name="connsiteX3767" fmla="*/ 1013527 w 1263758"/>
                        <a:gd name="connsiteY3767" fmla="*/ 1490587 h 2117064"/>
                        <a:gd name="connsiteX3768" fmla="*/ 1014427 w 1263758"/>
                        <a:gd name="connsiteY3768" fmla="*/ 1488786 h 2117064"/>
                        <a:gd name="connsiteX3769" fmla="*/ 1014427 w 1263758"/>
                        <a:gd name="connsiteY3769" fmla="*/ 1485186 h 2117064"/>
                        <a:gd name="connsiteX3770" fmla="*/ 1014877 w 1263758"/>
                        <a:gd name="connsiteY3770" fmla="*/ 1482035 h 2117064"/>
                        <a:gd name="connsiteX3771" fmla="*/ 1018027 w 1263758"/>
                        <a:gd name="connsiteY3771" fmla="*/ 1473934 h 2117064"/>
                        <a:gd name="connsiteX3772" fmla="*/ 1020728 w 1263758"/>
                        <a:gd name="connsiteY3772" fmla="*/ 1471684 h 2117064"/>
                        <a:gd name="connsiteX3773" fmla="*/ 1024778 w 1263758"/>
                        <a:gd name="connsiteY3773" fmla="*/ 1470334 h 2117064"/>
                        <a:gd name="connsiteX3774" fmla="*/ 1027478 w 1263758"/>
                        <a:gd name="connsiteY3774" fmla="*/ 1468534 h 2117064"/>
                        <a:gd name="connsiteX3775" fmla="*/ 1030629 w 1263758"/>
                        <a:gd name="connsiteY3775" fmla="*/ 1461783 h 2117064"/>
                        <a:gd name="connsiteX3776" fmla="*/ 1030179 w 1263758"/>
                        <a:gd name="connsiteY3776" fmla="*/ 1459983 h 2117064"/>
                        <a:gd name="connsiteX3777" fmla="*/ 1028829 w 1263758"/>
                        <a:gd name="connsiteY3777" fmla="*/ 1458633 h 2117064"/>
                        <a:gd name="connsiteX3778" fmla="*/ 1027928 w 1263758"/>
                        <a:gd name="connsiteY3778" fmla="*/ 1456832 h 2117064"/>
                        <a:gd name="connsiteX3779" fmla="*/ 1022978 w 1263758"/>
                        <a:gd name="connsiteY3779" fmla="*/ 1439280 h 2117064"/>
                        <a:gd name="connsiteX3780" fmla="*/ 1019828 w 1263758"/>
                        <a:gd name="connsiteY3780" fmla="*/ 1430729 h 2117064"/>
                        <a:gd name="connsiteX3781" fmla="*/ 1016227 w 1263758"/>
                        <a:gd name="connsiteY3781" fmla="*/ 1423078 h 2117064"/>
                        <a:gd name="connsiteX3782" fmla="*/ 1012627 w 1263758"/>
                        <a:gd name="connsiteY3782" fmla="*/ 1414077 h 2117064"/>
                        <a:gd name="connsiteX3783" fmla="*/ 1007226 w 1263758"/>
                        <a:gd name="connsiteY3783" fmla="*/ 1405076 h 2117064"/>
                        <a:gd name="connsiteX3784" fmla="*/ 1007226 w 1263758"/>
                        <a:gd name="connsiteY3784" fmla="*/ 1402826 h 2117064"/>
                        <a:gd name="connsiteX3785" fmla="*/ 1008126 w 1263758"/>
                        <a:gd name="connsiteY3785" fmla="*/ 1400125 h 2117064"/>
                        <a:gd name="connsiteX3786" fmla="*/ 1007676 w 1263758"/>
                        <a:gd name="connsiteY3786" fmla="*/ 1399675 h 2117064"/>
                        <a:gd name="connsiteX3787" fmla="*/ 1001825 w 1263758"/>
                        <a:gd name="connsiteY3787" fmla="*/ 1403726 h 2117064"/>
                        <a:gd name="connsiteX3788" fmla="*/ 1000475 w 1263758"/>
                        <a:gd name="connsiteY3788" fmla="*/ 1403726 h 2117064"/>
                        <a:gd name="connsiteX3789" fmla="*/ 998225 w 1263758"/>
                        <a:gd name="connsiteY3789" fmla="*/ 1401925 h 2117064"/>
                        <a:gd name="connsiteX3790" fmla="*/ 996875 w 1263758"/>
                        <a:gd name="connsiteY3790" fmla="*/ 1399675 h 2117064"/>
                        <a:gd name="connsiteX3791" fmla="*/ 995524 w 1263758"/>
                        <a:gd name="connsiteY3791" fmla="*/ 1395625 h 2117064"/>
                        <a:gd name="connsiteX3792" fmla="*/ 995524 w 1263758"/>
                        <a:gd name="connsiteY3792" fmla="*/ 1393825 h 2117064"/>
                        <a:gd name="connsiteX3793" fmla="*/ 996425 w 1263758"/>
                        <a:gd name="connsiteY3793" fmla="*/ 1392024 h 2117064"/>
                        <a:gd name="connsiteX3794" fmla="*/ 997325 w 1263758"/>
                        <a:gd name="connsiteY3794" fmla="*/ 1387524 h 2117064"/>
                        <a:gd name="connsiteX3795" fmla="*/ 997325 w 1263758"/>
                        <a:gd name="connsiteY3795" fmla="*/ 1385273 h 2117064"/>
                        <a:gd name="connsiteX3796" fmla="*/ 996875 w 1263758"/>
                        <a:gd name="connsiteY3796" fmla="*/ 1383023 h 2117064"/>
                        <a:gd name="connsiteX3797" fmla="*/ 996425 w 1263758"/>
                        <a:gd name="connsiteY3797" fmla="*/ 1381223 h 2117064"/>
                        <a:gd name="connsiteX3798" fmla="*/ 995974 w 1263758"/>
                        <a:gd name="connsiteY3798" fmla="*/ 1380323 h 2117064"/>
                        <a:gd name="connsiteX3799" fmla="*/ 994174 w 1263758"/>
                        <a:gd name="connsiteY3799" fmla="*/ 1379873 h 2117064"/>
                        <a:gd name="connsiteX3800" fmla="*/ 991024 w 1263758"/>
                        <a:gd name="connsiteY3800" fmla="*/ 1379423 h 2117064"/>
                        <a:gd name="connsiteX3801" fmla="*/ 990124 w 1263758"/>
                        <a:gd name="connsiteY3801" fmla="*/ 1380323 h 2117064"/>
                        <a:gd name="connsiteX3802" fmla="*/ 993274 w 1263758"/>
                        <a:gd name="connsiteY3802" fmla="*/ 1387524 h 2117064"/>
                        <a:gd name="connsiteX3803" fmla="*/ 992824 w 1263758"/>
                        <a:gd name="connsiteY3803" fmla="*/ 1389324 h 2117064"/>
                        <a:gd name="connsiteX3804" fmla="*/ 989674 w 1263758"/>
                        <a:gd name="connsiteY3804" fmla="*/ 1390674 h 2117064"/>
                        <a:gd name="connsiteX3805" fmla="*/ 987874 w 1263758"/>
                        <a:gd name="connsiteY3805" fmla="*/ 1390224 h 2117064"/>
                        <a:gd name="connsiteX3806" fmla="*/ 986073 w 1263758"/>
                        <a:gd name="connsiteY3806" fmla="*/ 1389324 h 2117064"/>
                        <a:gd name="connsiteX3807" fmla="*/ 984723 w 1263758"/>
                        <a:gd name="connsiteY3807" fmla="*/ 1387974 h 2117064"/>
                        <a:gd name="connsiteX3808" fmla="*/ 979772 w 1263758"/>
                        <a:gd name="connsiteY3808" fmla="*/ 1380323 h 2117064"/>
                        <a:gd name="connsiteX3809" fmla="*/ 978872 w 1263758"/>
                        <a:gd name="connsiteY3809" fmla="*/ 1377622 h 2117064"/>
                        <a:gd name="connsiteX3810" fmla="*/ 979322 w 1263758"/>
                        <a:gd name="connsiteY3810" fmla="*/ 1375372 h 2117064"/>
                        <a:gd name="connsiteX3811" fmla="*/ 978872 w 1263758"/>
                        <a:gd name="connsiteY3811" fmla="*/ 1374472 h 2117064"/>
                        <a:gd name="connsiteX3812" fmla="*/ 977972 w 1263758"/>
                        <a:gd name="connsiteY3812" fmla="*/ 1375372 h 2117064"/>
                        <a:gd name="connsiteX3813" fmla="*/ 976622 w 1263758"/>
                        <a:gd name="connsiteY3813" fmla="*/ 1375372 h 2117064"/>
                        <a:gd name="connsiteX3814" fmla="*/ 974822 w 1263758"/>
                        <a:gd name="connsiteY3814" fmla="*/ 1374472 h 2117064"/>
                        <a:gd name="connsiteX3815" fmla="*/ 974372 w 1263758"/>
                        <a:gd name="connsiteY3815" fmla="*/ 1373572 h 2117064"/>
                        <a:gd name="connsiteX3816" fmla="*/ 977522 w 1263758"/>
                        <a:gd name="connsiteY3816" fmla="*/ 1369521 h 2117064"/>
                        <a:gd name="connsiteX3817" fmla="*/ 977522 w 1263758"/>
                        <a:gd name="connsiteY3817" fmla="*/ 1368171 h 2117064"/>
                        <a:gd name="connsiteX3818" fmla="*/ 976172 w 1263758"/>
                        <a:gd name="connsiteY3818" fmla="*/ 1366821 h 2117064"/>
                        <a:gd name="connsiteX3819" fmla="*/ 973922 w 1263758"/>
                        <a:gd name="connsiteY3819" fmla="*/ 1366371 h 2117064"/>
                        <a:gd name="connsiteX3820" fmla="*/ 973472 w 1263758"/>
                        <a:gd name="connsiteY3820" fmla="*/ 1365021 h 2117064"/>
                        <a:gd name="connsiteX3821" fmla="*/ 974372 w 1263758"/>
                        <a:gd name="connsiteY3821" fmla="*/ 1363671 h 2117064"/>
                        <a:gd name="connsiteX3822" fmla="*/ 977522 w 1263758"/>
                        <a:gd name="connsiteY3822" fmla="*/ 1361420 h 2117064"/>
                        <a:gd name="connsiteX3823" fmla="*/ 978422 w 1263758"/>
                        <a:gd name="connsiteY3823" fmla="*/ 1360070 h 2117064"/>
                        <a:gd name="connsiteX3824" fmla="*/ 976622 w 1263758"/>
                        <a:gd name="connsiteY3824" fmla="*/ 1359170 h 2117064"/>
                        <a:gd name="connsiteX3825" fmla="*/ 975722 w 1263758"/>
                        <a:gd name="connsiteY3825" fmla="*/ 1359170 h 2117064"/>
                        <a:gd name="connsiteX3826" fmla="*/ 973472 w 1263758"/>
                        <a:gd name="connsiteY3826" fmla="*/ 1361420 h 2117064"/>
                        <a:gd name="connsiteX3827" fmla="*/ 970321 w 1263758"/>
                        <a:gd name="connsiteY3827" fmla="*/ 1366371 h 2117064"/>
                        <a:gd name="connsiteX3828" fmla="*/ 968071 w 1263758"/>
                        <a:gd name="connsiteY3828" fmla="*/ 1368171 h 2117064"/>
                        <a:gd name="connsiteX3829" fmla="*/ 964921 w 1263758"/>
                        <a:gd name="connsiteY3829" fmla="*/ 1365921 h 2117064"/>
                        <a:gd name="connsiteX3830" fmla="*/ 963120 w 1263758"/>
                        <a:gd name="connsiteY3830" fmla="*/ 1365021 h 2117064"/>
                        <a:gd name="connsiteX3831" fmla="*/ 961770 w 1263758"/>
                        <a:gd name="connsiteY3831" fmla="*/ 1365471 h 2117064"/>
                        <a:gd name="connsiteX3832" fmla="*/ 959520 w 1263758"/>
                        <a:gd name="connsiteY3832" fmla="*/ 1369521 h 2117064"/>
                        <a:gd name="connsiteX3833" fmla="*/ 955019 w 1263758"/>
                        <a:gd name="connsiteY3833" fmla="*/ 1372222 h 2117064"/>
                        <a:gd name="connsiteX3834" fmla="*/ 946468 w 1263758"/>
                        <a:gd name="connsiteY3834" fmla="*/ 1378973 h 2117064"/>
                        <a:gd name="connsiteX3835" fmla="*/ 942868 w 1263758"/>
                        <a:gd name="connsiteY3835" fmla="*/ 1381223 h 2117064"/>
                        <a:gd name="connsiteX3836" fmla="*/ 938817 w 1263758"/>
                        <a:gd name="connsiteY3836" fmla="*/ 1380773 h 2117064"/>
                        <a:gd name="connsiteX3837" fmla="*/ 937917 w 1263758"/>
                        <a:gd name="connsiteY3837" fmla="*/ 1379423 h 2117064"/>
                        <a:gd name="connsiteX3838" fmla="*/ 937917 w 1263758"/>
                        <a:gd name="connsiteY3838" fmla="*/ 1377172 h 2117064"/>
                        <a:gd name="connsiteX3839" fmla="*/ 938367 w 1263758"/>
                        <a:gd name="connsiteY3839" fmla="*/ 1375372 h 2117064"/>
                        <a:gd name="connsiteX3840" fmla="*/ 938817 w 1263758"/>
                        <a:gd name="connsiteY3840" fmla="*/ 1374022 h 2117064"/>
                        <a:gd name="connsiteX3841" fmla="*/ 938817 w 1263758"/>
                        <a:gd name="connsiteY3841" fmla="*/ 1372222 h 2117064"/>
                        <a:gd name="connsiteX3842" fmla="*/ 938367 w 1263758"/>
                        <a:gd name="connsiteY3842" fmla="*/ 1364571 h 2117064"/>
                        <a:gd name="connsiteX3843" fmla="*/ 938817 w 1263758"/>
                        <a:gd name="connsiteY3843" fmla="*/ 1362321 h 2117064"/>
                        <a:gd name="connsiteX3844" fmla="*/ 940168 w 1263758"/>
                        <a:gd name="connsiteY3844" fmla="*/ 1360970 h 2117064"/>
                        <a:gd name="connsiteX3845" fmla="*/ 942418 w 1263758"/>
                        <a:gd name="connsiteY3845" fmla="*/ 1359620 h 2117064"/>
                        <a:gd name="connsiteX3846" fmla="*/ 948719 w 1263758"/>
                        <a:gd name="connsiteY3846" fmla="*/ 1360970 h 2117064"/>
                        <a:gd name="connsiteX3847" fmla="*/ 951419 w 1263758"/>
                        <a:gd name="connsiteY3847" fmla="*/ 1360520 h 2117064"/>
                        <a:gd name="connsiteX3848" fmla="*/ 953219 w 1263758"/>
                        <a:gd name="connsiteY3848" fmla="*/ 1358720 h 2117064"/>
                        <a:gd name="connsiteX3849" fmla="*/ 955019 w 1263758"/>
                        <a:gd name="connsiteY3849" fmla="*/ 1356020 h 2117064"/>
                        <a:gd name="connsiteX3850" fmla="*/ 956820 w 1263758"/>
                        <a:gd name="connsiteY3850" fmla="*/ 1352869 h 2117064"/>
                        <a:gd name="connsiteX3851" fmla="*/ 957270 w 1263758"/>
                        <a:gd name="connsiteY3851" fmla="*/ 1349719 h 2117064"/>
                        <a:gd name="connsiteX3852" fmla="*/ 955019 w 1263758"/>
                        <a:gd name="connsiteY3852" fmla="*/ 1344318 h 2117064"/>
                        <a:gd name="connsiteX3853" fmla="*/ 954119 w 1263758"/>
                        <a:gd name="connsiteY3853" fmla="*/ 1342968 h 2117064"/>
                        <a:gd name="connsiteX3854" fmla="*/ 948719 w 1263758"/>
                        <a:gd name="connsiteY3854" fmla="*/ 1338918 h 2117064"/>
                        <a:gd name="connsiteX3855" fmla="*/ 945568 w 1263758"/>
                        <a:gd name="connsiteY3855" fmla="*/ 1337567 h 2117064"/>
                        <a:gd name="connsiteX3856" fmla="*/ 942868 w 1263758"/>
                        <a:gd name="connsiteY3856" fmla="*/ 1337117 h 2117064"/>
                        <a:gd name="connsiteX3857" fmla="*/ 941068 w 1263758"/>
                        <a:gd name="connsiteY3857" fmla="*/ 1335767 h 2117064"/>
                        <a:gd name="connsiteX3858" fmla="*/ 939717 w 1263758"/>
                        <a:gd name="connsiteY3858" fmla="*/ 1333967 h 2117064"/>
                        <a:gd name="connsiteX3859" fmla="*/ 938367 w 1263758"/>
                        <a:gd name="connsiteY3859" fmla="*/ 1331267 h 2117064"/>
                        <a:gd name="connsiteX3860" fmla="*/ 938367 w 1263758"/>
                        <a:gd name="connsiteY3860" fmla="*/ 1329466 h 2117064"/>
                        <a:gd name="connsiteX3861" fmla="*/ 938367 w 1263758"/>
                        <a:gd name="connsiteY3861" fmla="*/ 1326766 h 2117064"/>
                        <a:gd name="connsiteX3862" fmla="*/ 939267 w 1263758"/>
                        <a:gd name="connsiteY3862" fmla="*/ 1324966 h 2117064"/>
                        <a:gd name="connsiteX3863" fmla="*/ 944218 w 1263758"/>
                        <a:gd name="connsiteY3863" fmla="*/ 1322716 h 2117064"/>
                        <a:gd name="connsiteX3864" fmla="*/ 944218 w 1263758"/>
                        <a:gd name="connsiteY3864" fmla="*/ 1322265 h 2117064"/>
                        <a:gd name="connsiteX3865" fmla="*/ 940168 w 1263758"/>
                        <a:gd name="connsiteY3865" fmla="*/ 1320915 h 2117064"/>
                        <a:gd name="connsiteX3866" fmla="*/ 938367 w 1263758"/>
                        <a:gd name="connsiteY3866" fmla="*/ 1320915 h 2117064"/>
                        <a:gd name="connsiteX3867" fmla="*/ 936567 w 1263758"/>
                        <a:gd name="connsiteY3867" fmla="*/ 1322716 h 2117064"/>
                        <a:gd name="connsiteX3868" fmla="*/ 934317 w 1263758"/>
                        <a:gd name="connsiteY3868" fmla="*/ 1326766 h 2117064"/>
                        <a:gd name="connsiteX3869" fmla="*/ 932967 w 1263758"/>
                        <a:gd name="connsiteY3869" fmla="*/ 1327666 h 2117064"/>
                        <a:gd name="connsiteX3870" fmla="*/ 929366 w 1263758"/>
                        <a:gd name="connsiteY3870" fmla="*/ 1325416 h 2117064"/>
                        <a:gd name="connsiteX3871" fmla="*/ 927116 w 1263758"/>
                        <a:gd name="connsiteY3871" fmla="*/ 1324966 h 2117064"/>
                        <a:gd name="connsiteX3872" fmla="*/ 925766 w 1263758"/>
                        <a:gd name="connsiteY3872" fmla="*/ 1324066 h 2117064"/>
                        <a:gd name="connsiteX3873" fmla="*/ 924866 w 1263758"/>
                        <a:gd name="connsiteY3873" fmla="*/ 1323166 h 2117064"/>
                        <a:gd name="connsiteX3874" fmla="*/ 925316 w 1263758"/>
                        <a:gd name="connsiteY3874" fmla="*/ 1322265 h 2117064"/>
                        <a:gd name="connsiteX3875" fmla="*/ 927116 w 1263758"/>
                        <a:gd name="connsiteY3875" fmla="*/ 1321365 h 2117064"/>
                        <a:gd name="connsiteX3876" fmla="*/ 930266 w 1263758"/>
                        <a:gd name="connsiteY3876" fmla="*/ 1317765 h 2117064"/>
                        <a:gd name="connsiteX3877" fmla="*/ 930266 w 1263758"/>
                        <a:gd name="connsiteY3877" fmla="*/ 1315965 h 2117064"/>
                        <a:gd name="connsiteX3878" fmla="*/ 928016 w 1263758"/>
                        <a:gd name="connsiteY3878" fmla="*/ 1312814 h 2117064"/>
                        <a:gd name="connsiteX3879" fmla="*/ 926666 w 1263758"/>
                        <a:gd name="connsiteY3879" fmla="*/ 1311914 h 2117064"/>
                        <a:gd name="connsiteX3880" fmla="*/ 922165 w 1263758"/>
                        <a:gd name="connsiteY3880" fmla="*/ 1310564 h 2117064"/>
                        <a:gd name="connsiteX3881" fmla="*/ 916765 w 1263758"/>
                        <a:gd name="connsiteY3881" fmla="*/ 1311914 h 2117064"/>
                        <a:gd name="connsiteX3882" fmla="*/ 914514 w 1263758"/>
                        <a:gd name="connsiteY3882" fmla="*/ 1311464 h 2117064"/>
                        <a:gd name="connsiteX3883" fmla="*/ 913614 w 1263758"/>
                        <a:gd name="connsiteY3883" fmla="*/ 1307864 h 2117064"/>
                        <a:gd name="connsiteX3884" fmla="*/ 913164 w 1263758"/>
                        <a:gd name="connsiteY3884" fmla="*/ 1303813 h 2117064"/>
                        <a:gd name="connsiteX3885" fmla="*/ 912714 w 1263758"/>
                        <a:gd name="connsiteY3885" fmla="*/ 1299313 h 2117064"/>
                        <a:gd name="connsiteX3886" fmla="*/ 911814 w 1263758"/>
                        <a:gd name="connsiteY3886" fmla="*/ 1291212 h 2117064"/>
                        <a:gd name="connsiteX3887" fmla="*/ 910914 w 1263758"/>
                        <a:gd name="connsiteY3887" fmla="*/ 1287161 h 2117064"/>
                        <a:gd name="connsiteX3888" fmla="*/ 909564 w 1263758"/>
                        <a:gd name="connsiteY3888" fmla="*/ 1286711 h 2117064"/>
                        <a:gd name="connsiteX3889" fmla="*/ 902813 w 1263758"/>
                        <a:gd name="connsiteY3889" fmla="*/ 1288511 h 2117064"/>
                        <a:gd name="connsiteX3890" fmla="*/ 901013 w 1263758"/>
                        <a:gd name="connsiteY3890" fmla="*/ 1288511 h 2117064"/>
                        <a:gd name="connsiteX3891" fmla="*/ 900113 w 1263758"/>
                        <a:gd name="connsiteY3891" fmla="*/ 1288061 h 2117064"/>
                        <a:gd name="connsiteX3892" fmla="*/ 895612 w 1263758"/>
                        <a:gd name="connsiteY3892" fmla="*/ 1282661 h 2117064"/>
                        <a:gd name="connsiteX3893" fmla="*/ 893812 w 1263758"/>
                        <a:gd name="connsiteY3893" fmla="*/ 1280860 h 2117064"/>
                        <a:gd name="connsiteX3894" fmla="*/ 892912 w 1263758"/>
                        <a:gd name="connsiteY3894" fmla="*/ 1280410 h 2117064"/>
                        <a:gd name="connsiteX3895" fmla="*/ 889761 w 1263758"/>
                        <a:gd name="connsiteY3895" fmla="*/ 1274560 h 2117064"/>
                        <a:gd name="connsiteX3896" fmla="*/ 888411 w 1263758"/>
                        <a:gd name="connsiteY3896" fmla="*/ 1273209 h 2117064"/>
                        <a:gd name="connsiteX3897" fmla="*/ 887061 w 1263758"/>
                        <a:gd name="connsiteY3897" fmla="*/ 1270509 h 2117064"/>
                        <a:gd name="connsiteX3898" fmla="*/ 885261 w 1263758"/>
                        <a:gd name="connsiteY3898" fmla="*/ 1266008 h 2117064"/>
                        <a:gd name="connsiteX3899" fmla="*/ 883460 w 1263758"/>
                        <a:gd name="connsiteY3899" fmla="*/ 1264658 h 2117064"/>
                        <a:gd name="connsiteX3900" fmla="*/ 881660 w 1263758"/>
                        <a:gd name="connsiteY3900" fmla="*/ 1266459 h 2117064"/>
                        <a:gd name="connsiteX3901" fmla="*/ 879860 w 1263758"/>
                        <a:gd name="connsiteY3901" fmla="*/ 1269159 h 2117064"/>
                        <a:gd name="connsiteX3902" fmla="*/ 878060 w 1263758"/>
                        <a:gd name="connsiteY3902" fmla="*/ 1272309 h 2117064"/>
                        <a:gd name="connsiteX3903" fmla="*/ 877160 w 1263758"/>
                        <a:gd name="connsiteY3903" fmla="*/ 1275010 h 2117064"/>
                        <a:gd name="connsiteX3904" fmla="*/ 877160 w 1263758"/>
                        <a:gd name="connsiteY3904" fmla="*/ 1277260 h 2117064"/>
                        <a:gd name="connsiteX3905" fmla="*/ 878510 w 1263758"/>
                        <a:gd name="connsiteY3905" fmla="*/ 1279060 h 2117064"/>
                        <a:gd name="connsiteX3906" fmla="*/ 885711 w 1263758"/>
                        <a:gd name="connsiteY3906" fmla="*/ 1282210 h 2117064"/>
                        <a:gd name="connsiteX3907" fmla="*/ 887511 w 1263758"/>
                        <a:gd name="connsiteY3907" fmla="*/ 1284011 h 2117064"/>
                        <a:gd name="connsiteX3908" fmla="*/ 888861 w 1263758"/>
                        <a:gd name="connsiteY3908" fmla="*/ 1287161 h 2117064"/>
                        <a:gd name="connsiteX3909" fmla="*/ 889761 w 1263758"/>
                        <a:gd name="connsiteY3909" fmla="*/ 1291212 h 2117064"/>
                        <a:gd name="connsiteX3910" fmla="*/ 890661 w 1263758"/>
                        <a:gd name="connsiteY3910" fmla="*/ 1295712 h 2117064"/>
                        <a:gd name="connsiteX3911" fmla="*/ 890661 w 1263758"/>
                        <a:gd name="connsiteY3911" fmla="*/ 1299313 h 2117064"/>
                        <a:gd name="connsiteX3912" fmla="*/ 889761 w 1263758"/>
                        <a:gd name="connsiteY3912" fmla="*/ 1301563 h 2117064"/>
                        <a:gd name="connsiteX3913" fmla="*/ 888411 w 1263758"/>
                        <a:gd name="connsiteY3913" fmla="*/ 1303813 h 2117064"/>
                        <a:gd name="connsiteX3914" fmla="*/ 883910 w 1263758"/>
                        <a:gd name="connsiteY3914" fmla="*/ 1306964 h 2117064"/>
                        <a:gd name="connsiteX3915" fmla="*/ 879410 w 1263758"/>
                        <a:gd name="connsiteY3915" fmla="*/ 1308764 h 2117064"/>
                        <a:gd name="connsiteX3916" fmla="*/ 874909 w 1263758"/>
                        <a:gd name="connsiteY3916" fmla="*/ 1309214 h 2117064"/>
                        <a:gd name="connsiteX3917" fmla="*/ 872659 w 1263758"/>
                        <a:gd name="connsiteY3917" fmla="*/ 1308764 h 2117064"/>
                        <a:gd name="connsiteX3918" fmla="*/ 860958 w 1263758"/>
                        <a:gd name="connsiteY3918" fmla="*/ 1302463 h 2117064"/>
                        <a:gd name="connsiteX3919" fmla="*/ 858707 w 1263758"/>
                        <a:gd name="connsiteY3919" fmla="*/ 1302463 h 2117064"/>
                        <a:gd name="connsiteX3920" fmla="*/ 856007 w 1263758"/>
                        <a:gd name="connsiteY3920" fmla="*/ 1301563 h 2117064"/>
                        <a:gd name="connsiteX3921" fmla="*/ 850156 w 1263758"/>
                        <a:gd name="connsiteY3921" fmla="*/ 1298863 h 2117064"/>
                        <a:gd name="connsiteX3922" fmla="*/ 847006 w 1263758"/>
                        <a:gd name="connsiteY3922" fmla="*/ 1298413 h 2117064"/>
                        <a:gd name="connsiteX3923" fmla="*/ 841155 w 1263758"/>
                        <a:gd name="connsiteY3923" fmla="*/ 1296162 h 2117064"/>
                        <a:gd name="connsiteX3924" fmla="*/ 831254 w 1263758"/>
                        <a:gd name="connsiteY3924" fmla="*/ 1294812 h 2117064"/>
                        <a:gd name="connsiteX3925" fmla="*/ 829454 w 1263758"/>
                        <a:gd name="connsiteY3925" fmla="*/ 1295712 h 2117064"/>
                        <a:gd name="connsiteX3926" fmla="*/ 832154 w 1263758"/>
                        <a:gd name="connsiteY3926" fmla="*/ 1298413 h 2117064"/>
                        <a:gd name="connsiteX3927" fmla="*/ 834404 w 1263758"/>
                        <a:gd name="connsiteY3927" fmla="*/ 1299763 h 2117064"/>
                        <a:gd name="connsiteX3928" fmla="*/ 836204 w 1263758"/>
                        <a:gd name="connsiteY3928" fmla="*/ 1299763 h 2117064"/>
                        <a:gd name="connsiteX3929" fmla="*/ 838905 w 1263758"/>
                        <a:gd name="connsiteY3929" fmla="*/ 1302463 h 2117064"/>
                        <a:gd name="connsiteX3930" fmla="*/ 842505 w 1263758"/>
                        <a:gd name="connsiteY3930" fmla="*/ 1307414 h 2117064"/>
                        <a:gd name="connsiteX3931" fmla="*/ 844756 w 1263758"/>
                        <a:gd name="connsiteY3931" fmla="*/ 1310564 h 2117064"/>
                        <a:gd name="connsiteX3932" fmla="*/ 846556 w 1263758"/>
                        <a:gd name="connsiteY3932" fmla="*/ 1314165 h 2117064"/>
                        <a:gd name="connsiteX3933" fmla="*/ 846556 w 1263758"/>
                        <a:gd name="connsiteY3933" fmla="*/ 1315515 h 2117064"/>
                        <a:gd name="connsiteX3934" fmla="*/ 844756 w 1263758"/>
                        <a:gd name="connsiteY3934" fmla="*/ 1318215 h 2117064"/>
                        <a:gd name="connsiteX3935" fmla="*/ 831254 w 1263758"/>
                        <a:gd name="connsiteY3935" fmla="*/ 1305163 h 2117064"/>
                        <a:gd name="connsiteX3936" fmla="*/ 822703 w 1263758"/>
                        <a:gd name="connsiteY3936" fmla="*/ 1309664 h 2117064"/>
                        <a:gd name="connsiteX3937" fmla="*/ 818652 w 1263758"/>
                        <a:gd name="connsiteY3937" fmla="*/ 1311464 h 2117064"/>
                        <a:gd name="connsiteX3938" fmla="*/ 815502 w 1263758"/>
                        <a:gd name="connsiteY3938" fmla="*/ 1311914 h 2117064"/>
                        <a:gd name="connsiteX3939" fmla="*/ 811451 w 1263758"/>
                        <a:gd name="connsiteY3939" fmla="*/ 1310114 h 2117064"/>
                        <a:gd name="connsiteX3940" fmla="*/ 802000 w 1263758"/>
                        <a:gd name="connsiteY3940" fmla="*/ 1303813 h 2117064"/>
                        <a:gd name="connsiteX3941" fmla="*/ 798400 w 1263758"/>
                        <a:gd name="connsiteY3941" fmla="*/ 1301563 h 2117064"/>
                        <a:gd name="connsiteX3942" fmla="*/ 797050 w 1263758"/>
                        <a:gd name="connsiteY3942" fmla="*/ 1301113 h 2117064"/>
                        <a:gd name="connsiteX3943" fmla="*/ 791649 w 1263758"/>
                        <a:gd name="connsiteY3943" fmla="*/ 1305163 h 2117064"/>
                        <a:gd name="connsiteX3944" fmla="*/ 784898 w 1263758"/>
                        <a:gd name="connsiteY3944" fmla="*/ 1305163 h 2117064"/>
                        <a:gd name="connsiteX3945" fmla="*/ 770946 w 1263758"/>
                        <a:gd name="connsiteY3945" fmla="*/ 1302463 h 2117064"/>
                        <a:gd name="connsiteX3946" fmla="*/ 765996 w 1263758"/>
                        <a:gd name="connsiteY3946" fmla="*/ 1300663 h 2117064"/>
                        <a:gd name="connsiteX3947" fmla="*/ 764646 w 1263758"/>
                        <a:gd name="connsiteY3947" fmla="*/ 1298863 h 2117064"/>
                        <a:gd name="connsiteX3948" fmla="*/ 762845 w 1263758"/>
                        <a:gd name="connsiteY3948" fmla="*/ 1297962 h 2117064"/>
                        <a:gd name="connsiteX3949" fmla="*/ 759695 w 1263758"/>
                        <a:gd name="connsiteY3949" fmla="*/ 1297962 h 2117064"/>
                        <a:gd name="connsiteX3950" fmla="*/ 751144 w 1263758"/>
                        <a:gd name="connsiteY3950" fmla="*/ 1296162 h 2117064"/>
                        <a:gd name="connsiteX3951" fmla="*/ 743943 w 1263758"/>
                        <a:gd name="connsiteY3951" fmla="*/ 1300663 h 2117064"/>
                        <a:gd name="connsiteX3952" fmla="*/ 734942 w 1263758"/>
                        <a:gd name="connsiteY3952" fmla="*/ 1296612 h 2117064"/>
                        <a:gd name="connsiteX3953" fmla="*/ 732241 w 1263758"/>
                        <a:gd name="connsiteY3953" fmla="*/ 1293912 h 2117064"/>
                        <a:gd name="connsiteX3954" fmla="*/ 731341 w 1263758"/>
                        <a:gd name="connsiteY3954" fmla="*/ 1292112 h 2117064"/>
                        <a:gd name="connsiteX3955" fmla="*/ 728641 w 1263758"/>
                        <a:gd name="connsiteY3955" fmla="*/ 1284911 h 2117064"/>
                        <a:gd name="connsiteX3956" fmla="*/ 728191 w 1263758"/>
                        <a:gd name="connsiteY3956" fmla="*/ 1280860 h 2117064"/>
                        <a:gd name="connsiteX3957" fmla="*/ 729091 w 1263758"/>
                        <a:gd name="connsiteY3957" fmla="*/ 1277260 h 2117064"/>
                        <a:gd name="connsiteX3958" fmla="*/ 729991 w 1263758"/>
                        <a:gd name="connsiteY3958" fmla="*/ 1275010 h 2117064"/>
                        <a:gd name="connsiteX3959" fmla="*/ 730891 w 1263758"/>
                        <a:gd name="connsiteY3959" fmla="*/ 1273659 h 2117064"/>
                        <a:gd name="connsiteX3960" fmla="*/ 725941 w 1263758"/>
                        <a:gd name="connsiteY3960" fmla="*/ 1277710 h 2117064"/>
                        <a:gd name="connsiteX3961" fmla="*/ 724141 w 1263758"/>
                        <a:gd name="connsiteY3961" fmla="*/ 1278160 h 2117064"/>
                        <a:gd name="connsiteX3962" fmla="*/ 721890 w 1263758"/>
                        <a:gd name="connsiteY3962" fmla="*/ 1278160 h 2117064"/>
                        <a:gd name="connsiteX3963" fmla="*/ 715139 w 1263758"/>
                        <a:gd name="connsiteY3963" fmla="*/ 1276810 h 2117064"/>
                        <a:gd name="connsiteX3964" fmla="*/ 714239 w 1263758"/>
                        <a:gd name="connsiteY3964" fmla="*/ 1277710 h 2117064"/>
                        <a:gd name="connsiteX3965" fmla="*/ 714689 w 1263758"/>
                        <a:gd name="connsiteY3965" fmla="*/ 1279060 h 2117064"/>
                        <a:gd name="connsiteX3966" fmla="*/ 716489 w 1263758"/>
                        <a:gd name="connsiteY3966" fmla="*/ 1281310 h 2117064"/>
                        <a:gd name="connsiteX3967" fmla="*/ 716940 w 1263758"/>
                        <a:gd name="connsiteY3967" fmla="*/ 1282661 h 2117064"/>
                        <a:gd name="connsiteX3968" fmla="*/ 713339 w 1263758"/>
                        <a:gd name="connsiteY3968" fmla="*/ 1283561 h 2117064"/>
                        <a:gd name="connsiteX3969" fmla="*/ 707938 w 1263758"/>
                        <a:gd name="connsiteY3969" fmla="*/ 1282661 h 2117064"/>
                        <a:gd name="connsiteX3970" fmla="*/ 705688 w 1263758"/>
                        <a:gd name="connsiteY3970" fmla="*/ 1283111 h 2117064"/>
                        <a:gd name="connsiteX3971" fmla="*/ 704788 w 1263758"/>
                        <a:gd name="connsiteY3971" fmla="*/ 1283561 h 2117064"/>
                        <a:gd name="connsiteX3972" fmla="*/ 702088 w 1263758"/>
                        <a:gd name="connsiteY3972" fmla="*/ 1286711 h 2117064"/>
                        <a:gd name="connsiteX3973" fmla="*/ 701188 w 1263758"/>
                        <a:gd name="connsiteY3973" fmla="*/ 1287611 h 2117064"/>
                        <a:gd name="connsiteX3974" fmla="*/ 699838 w 1263758"/>
                        <a:gd name="connsiteY3974" fmla="*/ 1287161 h 2117064"/>
                        <a:gd name="connsiteX3975" fmla="*/ 693987 w 1263758"/>
                        <a:gd name="connsiteY3975" fmla="*/ 1279960 h 2117064"/>
                        <a:gd name="connsiteX3976" fmla="*/ 689036 w 1263758"/>
                        <a:gd name="connsiteY3976" fmla="*/ 1275460 h 2117064"/>
                        <a:gd name="connsiteX3977" fmla="*/ 683635 w 1263758"/>
                        <a:gd name="connsiteY3977" fmla="*/ 1273659 h 2117064"/>
                        <a:gd name="connsiteX3978" fmla="*/ 680935 w 1263758"/>
                        <a:gd name="connsiteY3978" fmla="*/ 1272309 h 2117064"/>
                        <a:gd name="connsiteX3979" fmla="*/ 679585 w 1263758"/>
                        <a:gd name="connsiteY3979" fmla="*/ 1270509 h 2117064"/>
                        <a:gd name="connsiteX3980" fmla="*/ 671934 w 1263758"/>
                        <a:gd name="connsiteY3980" fmla="*/ 1255207 h 2117064"/>
                        <a:gd name="connsiteX3981" fmla="*/ 671034 w 1263758"/>
                        <a:gd name="connsiteY3981" fmla="*/ 1252057 h 2117064"/>
                        <a:gd name="connsiteX3982" fmla="*/ 668784 w 1263758"/>
                        <a:gd name="connsiteY3982" fmla="*/ 1239905 h 2117064"/>
                        <a:gd name="connsiteX3983" fmla="*/ 667883 w 1263758"/>
                        <a:gd name="connsiteY3983" fmla="*/ 1237205 h 2117064"/>
                        <a:gd name="connsiteX3984" fmla="*/ 666983 w 1263758"/>
                        <a:gd name="connsiteY3984" fmla="*/ 1235405 h 2117064"/>
                        <a:gd name="connsiteX3985" fmla="*/ 668784 w 1263758"/>
                        <a:gd name="connsiteY3985" fmla="*/ 1234955 h 2117064"/>
                        <a:gd name="connsiteX3986" fmla="*/ 675984 w 1263758"/>
                        <a:gd name="connsiteY3986" fmla="*/ 1236305 h 2117064"/>
                        <a:gd name="connsiteX3987" fmla="*/ 683185 w 1263758"/>
                        <a:gd name="connsiteY3987" fmla="*/ 1236305 h 2117064"/>
                        <a:gd name="connsiteX3988" fmla="*/ 686786 w 1263758"/>
                        <a:gd name="connsiteY3988" fmla="*/ 1237205 h 2117064"/>
                        <a:gd name="connsiteX3989" fmla="*/ 691286 w 1263758"/>
                        <a:gd name="connsiteY3989" fmla="*/ 1240355 h 2117064"/>
                        <a:gd name="connsiteX3990" fmla="*/ 697137 w 1263758"/>
                        <a:gd name="connsiteY3990" fmla="*/ 1242606 h 2117064"/>
                        <a:gd name="connsiteX3991" fmla="*/ 701188 w 1263758"/>
                        <a:gd name="connsiteY3991" fmla="*/ 1243056 h 2117064"/>
                        <a:gd name="connsiteX3992" fmla="*/ 707938 w 1263758"/>
                        <a:gd name="connsiteY3992" fmla="*/ 1242155 h 2117064"/>
                        <a:gd name="connsiteX3993" fmla="*/ 715589 w 1263758"/>
                        <a:gd name="connsiteY3993" fmla="*/ 1240355 h 2117064"/>
                        <a:gd name="connsiteX3994" fmla="*/ 716489 w 1263758"/>
                        <a:gd name="connsiteY3994" fmla="*/ 1239005 h 2117064"/>
                        <a:gd name="connsiteX3995" fmla="*/ 711539 w 1263758"/>
                        <a:gd name="connsiteY3995" fmla="*/ 1236305 h 2117064"/>
                        <a:gd name="connsiteX3996" fmla="*/ 707038 w 1263758"/>
                        <a:gd name="connsiteY3996" fmla="*/ 1232704 h 2117064"/>
                        <a:gd name="connsiteX3997" fmla="*/ 702988 w 1263758"/>
                        <a:gd name="connsiteY3997" fmla="*/ 1228204 h 2117064"/>
                        <a:gd name="connsiteX3998" fmla="*/ 700738 w 1263758"/>
                        <a:gd name="connsiteY3998" fmla="*/ 1226404 h 2117064"/>
                        <a:gd name="connsiteX3999" fmla="*/ 696687 w 1263758"/>
                        <a:gd name="connsiteY3999" fmla="*/ 1225053 h 2117064"/>
                        <a:gd name="connsiteX4000" fmla="*/ 685436 w 1263758"/>
                        <a:gd name="connsiteY4000" fmla="*/ 1224153 h 2117064"/>
                        <a:gd name="connsiteX4001" fmla="*/ 675084 w 1263758"/>
                        <a:gd name="connsiteY4001" fmla="*/ 1221003 h 2117064"/>
                        <a:gd name="connsiteX4002" fmla="*/ 667883 w 1263758"/>
                        <a:gd name="connsiteY4002" fmla="*/ 1216952 h 2117064"/>
                        <a:gd name="connsiteX4003" fmla="*/ 662033 w 1263758"/>
                        <a:gd name="connsiteY4003" fmla="*/ 1212002 h 2117064"/>
                        <a:gd name="connsiteX4004" fmla="*/ 659783 w 1263758"/>
                        <a:gd name="connsiteY4004" fmla="*/ 1209301 h 2117064"/>
                        <a:gd name="connsiteX4005" fmla="*/ 658882 w 1263758"/>
                        <a:gd name="connsiteY4005" fmla="*/ 1207501 h 2117064"/>
                        <a:gd name="connsiteX4006" fmla="*/ 657982 w 1263758"/>
                        <a:gd name="connsiteY4006" fmla="*/ 1201200 h 2117064"/>
                        <a:gd name="connsiteX4007" fmla="*/ 657082 w 1263758"/>
                        <a:gd name="connsiteY4007" fmla="*/ 1190849 h 2117064"/>
                        <a:gd name="connsiteX4008" fmla="*/ 656182 w 1263758"/>
                        <a:gd name="connsiteY4008" fmla="*/ 1183648 h 2117064"/>
                        <a:gd name="connsiteX4009" fmla="*/ 655282 w 1263758"/>
                        <a:gd name="connsiteY4009" fmla="*/ 1180048 h 2117064"/>
                        <a:gd name="connsiteX4010" fmla="*/ 655282 w 1263758"/>
                        <a:gd name="connsiteY4010" fmla="*/ 1176897 h 2117064"/>
                        <a:gd name="connsiteX4011" fmla="*/ 657082 w 1263758"/>
                        <a:gd name="connsiteY4011" fmla="*/ 1170146 h 2117064"/>
                        <a:gd name="connsiteX4012" fmla="*/ 662933 w 1263758"/>
                        <a:gd name="connsiteY4012" fmla="*/ 1162495 h 2117064"/>
                        <a:gd name="connsiteX4013" fmla="*/ 662933 w 1263758"/>
                        <a:gd name="connsiteY4013" fmla="*/ 1161145 h 2117064"/>
                        <a:gd name="connsiteX4014" fmla="*/ 661583 w 1263758"/>
                        <a:gd name="connsiteY4014" fmla="*/ 1160695 h 2117064"/>
                        <a:gd name="connsiteX4015" fmla="*/ 659332 w 1263758"/>
                        <a:gd name="connsiteY4015" fmla="*/ 1158895 h 2117064"/>
                        <a:gd name="connsiteX4016" fmla="*/ 658432 w 1263758"/>
                        <a:gd name="connsiteY4016" fmla="*/ 1156195 h 2117064"/>
                        <a:gd name="connsiteX4017" fmla="*/ 657982 w 1263758"/>
                        <a:gd name="connsiteY4017" fmla="*/ 1151694 h 2117064"/>
                        <a:gd name="connsiteX4018" fmla="*/ 657982 w 1263758"/>
                        <a:gd name="connsiteY4018" fmla="*/ 1148094 h 2117064"/>
                        <a:gd name="connsiteX4019" fmla="*/ 658432 w 1263758"/>
                        <a:gd name="connsiteY4019" fmla="*/ 1144943 h 2117064"/>
                        <a:gd name="connsiteX4020" fmla="*/ 659332 w 1263758"/>
                        <a:gd name="connsiteY4020" fmla="*/ 1140893 h 2117064"/>
                        <a:gd name="connsiteX4021" fmla="*/ 661583 w 1263758"/>
                        <a:gd name="connsiteY4021" fmla="*/ 1133692 h 2117064"/>
                        <a:gd name="connsiteX4022" fmla="*/ 665183 w 1263758"/>
                        <a:gd name="connsiteY4022" fmla="*/ 1125141 h 2117064"/>
                        <a:gd name="connsiteX4023" fmla="*/ 668784 w 1263758"/>
                        <a:gd name="connsiteY4023" fmla="*/ 1117040 h 2117064"/>
                        <a:gd name="connsiteX4024" fmla="*/ 669234 w 1263758"/>
                        <a:gd name="connsiteY4024" fmla="*/ 1114340 h 2117064"/>
                        <a:gd name="connsiteX4025" fmla="*/ 669684 w 1263758"/>
                        <a:gd name="connsiteY4025" fmla="*/ 1107139 h 2117064"/>
                        <a:gd name="connsiteX4026" fmla="*/ 670134 w 1263758"/>
                        <a:gd name="connsiteY4026" fmla="*/ 1101738 h 2117064"/>
                        <a:gd name="connsiteX4027" fmla="*/ 670584 w 1263758"/>
                        <a:gd name="connsiteY4027" fmla="*/ 1098137 h 2117064"/>
                        <a:gd name="connsiteX4028" fmla="*/ 671484 w 1263758"/>
                        <a:gd name="connsiteY4028" fmla="*/ 1095437 h 2117064"/>
                        <a:gd name="connsiteX4029" fmla="*/ 673734 w 1263758"/>
                        <a:gd name="connsiteY4029" fmla="*/ 1090037 h 2117064"/>
                        <a:gd name="connsiteX4030" fmla="*/ 676885 w 1263758"/>
                        <a:gd name="connsiteY4030" fmla="*/ 1085086 h 2117064"/>
                        <a:gd name="connsiteX4031" fmla="*/ 681385 w 1263758"/>
                        <a:gd name="connsiteY4031" fmla="*/ 1080585 h 2117064"/>
                        <a:gd name="connsiteX4032" fmla="*/ 681835 w 1263758"/>
                        <a:gd name="connsiteY4032" fmla="*/ 1078785 h 2117064"/>
                        <a:gd name="connsiteX4033" fmla="*/ 681835 w 1263758"/>
                        <a:gd name="connsiteY4033" fmla="*/ 1076535 h 2117064"/>
                        <a:gd name="connsiteX4034" fmla="*/ 682285 w 1263758"/>
                        <a:gd name="connsiteY4034" fmla="*/ 1074734 h 2117064"/>
                        <a:gd name="connsiteX4035" fmla="*/ 682735 w 1263758"/>
                        <a:gd name="connsiteY4035" fmla="*/ 1073834 h 2117064"/>
                        <a:gd name="connsiteX4036" fmla="*/ 693987 w 1263758"/>
                        <a:gd name="connsiteY4036" fmla="*/ 1059433 h 2117064"/>
                        <a:gd name="connsiteX4037" fmla="*/ 698937 w 1263758"/>
                        <a:gd name="connsiteY4037" fmla="*/ 1053582 h 2117064"/>
                        <a:gd name="connsiteX4038" fmla="*/ 703438 w 1263758"/>
                        <a:gd name="connsiteY4038" fmla="*/ 1049981 h 2117064"/>
                        <a:gd name="connsiteX4039" fmla="*/ 708839 w 1263758"/>
                        <a:gd name="connsiteY4039" fmla="*/ 1047281 h 2117064"/>
                        <a:gd name="connsiteX4040" fmla="*/ 723690 w 1263758"/>
                        <a:gd name="connsiteY4040" fmla="*/ 1041430 h 2117064"/>
                        <a:gd name="connsiteX4041" fmla="*/ 731341 w 1263758"/>
                        <a:gd name="connsiteY4041" fmla="*/ 1039630 h 2117064"/>
                        <a:gd name="connsiteX4042" fmla="*/ 740793 w 1263758"/>
                        <a:gd name="connsiteY4042" fmla="*/ 1040080 h 2117064"/>
                        <a:gd name="connsiteX4043" fmla="*/ 758795 w 1263758"/>
                        <a:gd name="connsiteY4043" fmla="*/ 1043231 h 2117064"/>
                        <a:gd name="connsiteX4044" fmla="*/ 761045 w 1263758"/>
                        <a:gd name="connsiteY4044" fmla="*/ 1045481 h 2117064"/>
                        <a:gd name="connsiteX4045" fmla="*/ 761495 w 1263758"/>
                        <a:gd name="connsiteY4045" fmla="*/ 1046831 h 2117064"/>
                        <a:gd name="connsiteX4046" fmla="*/ 762395 w 1263758"/>
                        <a:gd name="connsiteY4046" fmla="*/ 1049981 h 2117064"/>
                        <a:gd name="connsiteX4047" fmla="*/ 761945 w 1263758"/>
                        <a:gd name="connsiteY4047" fmla="*/ 1052232 h 2117064"/>
                        <a:gd name="connsiteX4048" fmla="*/ 756995 w 1263758"/>
                        <a:gd name="connsiteY4048" fmla="*/ 1058983 h 2117064"/>
                        <a:gd name="connsiteX4049" fmla="*/ 750694 w 1263758"/>
                        <a:gd name="connsiteY4049" fmla="*/ 1064833 h 2117064"/>
                        <a:gd name="connsiteX4050" fmla="*/ 746643 w 1263758"/>
                        <a:gd name="connsiteY4050" fmla="*/ 1069784 h 2117064"/>
                        <a:gd name="connsiteX4051" fmla="*/ 739892 w 1263758"/>
                        <a:gd name="connsiteY4051" fmla="*/ 1081035 h 2117064"/>
                        <a:gd name="connsiteX4052" fmla="*/ 738092 w 1263758"/>
                        <a:gd name="connsiteY4052" fmla="*/ 1085086 h 2117064"/>
                        <a:gd name="connsiteX4053" fmla="*/ 729541 w 1263758"/>
                        <a:gd name="connsiteY4053" fmla="*/ 1107139 h 2117064"/>
                        <a:gd name="connsiteX4054" fmla="*/ 727741 w 1263758"/>
                        <a:gd name="connsiteY4054" fmla="*/ 1110739 h 2117064"/>
                        <a:gd name="connsiteX4055" fmla="*/ 726391 w 1263758"/>
                        <a:gd name="connsiteY4055" fmla="*/ 1113439 h 2117064"/>
                        <a:gd name="connsiteX4056" fmla="*/ 725491 w 1263758"/>
                        <a:gd name="connsiteY4056" fmla="*/ 1121090 h 2117064"/>
                        <a:gd name="connsiteX4057" fmla="*/ 725941 w 1263758"/>
                        <a:gd name="connsiteY4057" fmla="*/ 1123791 h 2117064"/>
                        <a:gd name="connsiteX4058" fmla="*/ 727291 w 1263758"/>
                        <a:gd name="connsiteY4058" fmla="*/ 1128291 h 2117064"/>
                        <a:gd name="connsiteX4059" fmla="*/ 731792 w 1263758"/>
                        <a:gd name="connsiteY4059" fmla="*/ 1137742 h 2117064"/>
                        <a:gd name="connsiteX4060" fmla="*/ 733142 w 1263758"/>
                        <a:gd name="connsiteY4060" fmla="*/ 1142243 h 2117064"/>
                        <a:gd name="connsiteX4061" fmla="*/ 733142 w 1263758"/>
                        <a:gd name="connsiteY4061" fmla="*/ 1146294 h 2117064"/>
                        <a:gd name="connsiteX4062" fmla="*/ 732692 w 1263758"/>
                        <a:gd name="connsiteY4062" fmla="*/ 1156195 h 2117064"/>
                        <a:gd name="connsiteX4063" fmla="*/ 732692 w 1263758"/>
                        <a:gd name="connsiteY4063" fmla="*/ 1161145 h 2117064"/>
                        <a:gd name="connsiteX4064" fmla="*/ 732692 w 1263758"/>
                        <a:gd name="connsiteY4064" fmla="*/ 1165646 h 2117064"/>
                        <a:gd name="connsiteX4065" fmla="*/ 733592 w 1263758"/>
                        <a:gd name="connsiteY4065" fmla="*/ 1172397 h 2117064"/>
                        <a:gd name="connsiteX4066" fmla="*/ 735392 w 1263758"/>
                        <a:gd name="connsiteY4066" fmla="*/ 1180948 h 2117064"/>
                        <a:gd name="connsiteX4067" fmla="*/ 739442 w 1263758"/>
                        <a:gd name="connsiteY4067" fmla="*/ 1189499 h 2117064"/>
                        <a:gd name="connsiteX4068" fmla="*/ 745293 w 1263758"/>
                        <a:gd name="connsiteY4068" fmla="*/ 1198050 h 2117064"/>
                        <a:gd name="connsiteX4069" fmla="*/ 749794 w 1263758"/>
                        <a:gd name="connsiteY4069" fmla="*/ 1203901 h 2117064"/>
                        <a:gd name="connsiteX4070" fmla="*/ 754294 w 1263758"/>
                        <a:gd name="connsiteY4070" fmla="*/ 1207951 h 2117064"/>
                        <a:gd name="connsiteX4071" fmla="*/ 759695 w 1263758"/>
                        <a:gd name="connsiteY4071" fmla="*/ 1214252 h 2117064"/>
                        <a:gd name="connsiteX4072" fmla="*/ 761045 w 1263758"/>
                        <a:gd name="connsiteY4072" fmla="*/ 1217402 h 2117064"/>
                        <a:gd name="connsiteX4073" fmla="*/ 758795 w 1263758"/>
                        <a:gd name="connsiteY4073" fmla="*/ 1220553 h 2117064"/>
                        <a:gd name="connsiteX4074" fmla="*/ 752944 w 1263758"/>
                        <a:gd name="connsiteY4074" fmla="*/ 1225503 h 2117064"/>
                        <a:gd name="connsiteX4075" fmla="*/ 745293 w 1263758"/>
                        <a:gd name="connsiteY4075" fmla="*/ 1227754 h 2117064"/>
                        <a:gd name="connsiteX4076" fmla="*/ 741243 w 1263758"/>
                        <a:gd name="connsiteY4076" fmla="*/ 1230004 h 2117064"/>
                        <a:gd name="connsiteX4077" fmla="*/ 736292 w 1263758"/>
                        <a:gd name="connsiteY4077" fmla="*/ 1234504 h 2117064"/>
                        <a:gd name="connsiteX4078" fmla="*/ 729991 w 1263758"/>
                        <a:gd name="connsiteY4078" fmla="*/ 1238105 h 2117064"/>
                        <a:gd name="connsiteX4079" fmla="*/ 726841 w 1263758"/>
                        <a:gd name="connsiteY4079" fmla="*/ 1239005 h 2117064"/>
                        <a:gd name="connsiteX4080" fmla="*/ 876259 w 1263758"/>
                        <a:gd name="connsiteY4080" fmla="*/ 1054032 h 2117064"/>
                        <a:gd name="connsiteX4081" fmla="*/ 879860 w 1263758"/>
                        <a:gd name="connsiteY4081" fmla="*/ 1054932 h 2117064"/>
                        <a:gd name="connsiteX4082" fmla="*/ 902813 w 1263758"/>
                        <a:gd name="connsiteY4082" fmla="*/ 1053132 h 2117064"/>
                        <a:gd name="connsiteX4083" fmla="*/ 907763 w 1263758"/>
                        <a:gd name="connsiteY4083" fmla="*/ 1054482 h 2117064"/>
                        <a:gd name="connsiteX4084" fmla="*/ 922165 w 1263758"/>
                        <a:gd name="connsiteY4084" fmla="*/ 1063033 h 2117064"/>
                        <a:gd name="connsiteX4085" fmla="*/ 925766 w 1263758"/>
                        <a:gd name="connsiteY4085" fmla="*/ 1065733 h 2117064"/>
                        <a:gd name="connsiteX4086" fmla="*/ 927566 w 1263758"/>
                        <a:gd name="connsiteY4086" fmla="*/ 1069334 h 2117064"/>
                        <a:gd name="connsiteX4087" fmla="*/ 929366 w 1263758"/>
                        <a:gd name="connsiteY4087" fmla="*/ 1075185 h 2117064"/>
                        <a:gd name="connsiteX4088" fmla="*/ 930266 w 1263758"/>
                        <a:gd name="connsiteY4088" fmla="*/ 1076535 h 2117064"/>
                        <a:gd name="connsiteX4089" fmla="*/ 935667 w 1263758"/>
                        <a:gd name="connsiteY4089" fmla="*/ 1080135 h 2117064"/>
                        <a:gd name="connsiteX4090" fmla="*/ 937917 w 1263758"/>
                        <a:gd name="connsiteY4090" fmla="*/ 1084186 h 2117064"/>
                        <a:gd name="connsiteX4091" fmla="*/ 938817 w 1263758"/>
                        <a:gd name="connsiteY4091" fmla="*/ 1086436 h 2117064"/>
                        <a:gd name="connsiteX4092" fmla="*/ 939717 w 1263758"/>
                        <a:gd name="connsiteY4092" fmla="*/ 1091387 h 2117064"/>
                        <a:gd name="connsiteX4093" fmla="*/ 941968 w 1263758"/>
                        <a:gd name="connsiteY4093" fmla="*/ 1094087 h 2117064"/>
                        <a:gd name="connsiteX4094" fmla="*/ 944668 w 1263758"/>
                        <a:gd name="connsiteY4094" fmla="*/ 1095437 h 2117064"/>
                        <a:gd name="connsiteX4095" fmla="*/ 945568 w 1263758"/>
                        <a:gd name="connsiteY4095" fmla="*/ 1096787 h 2117064"/>
                        <a:gd name="connsiteX4096" fmla="*/ 945118 w 1263758"/>
                        <a:gd name="connsiteY4096" fmla="*/ 1102638 h 2117064"/>
                        <a:gd name="connsiteX4097" fmla="*/ 946468 w 1263758"/>
                        <a:gd name="connsiteY4097" fmla="*/ 1105338 h 2117064"/>
                        <a:gd name="connsiteX4098" fmla="*/ 949169 w 1263758"/>
                        <a:gd name="connsiteY4098" fmla="*/ 1108939 h 2117064"/>
                        <a:gd name="connsiteX4099" fmla="*/ 950069 w 1263758"/>
                        <a:gd name="connsiteY4099" fmla="*/ 1111189 h 2117064"/>
                        <a:gd name="connsiteX4100" fmla="*/ 948268 w 1263758"/>
                        <a:gd name="connsiteY4100" fmla="*/ 1113889 h 2117064"/>
                        <a:gd name="connsiteX4101" fmla="*/ 943768 w 1263758"/>
                        <a:gd name="connsiteY4101" fmla="*/ 1115690 h 2117064"/>
                        <a:gd name="connsiteX4102" fmla="*/ 930716 w 1263758"/>
                        <a:gd name="connsiteY4102" fmla="*/ 1113889 h 2117064"/>
                        <a:gd name="connsiteX4103" fmla="*/ 913164 w 1263758"/>
                        <a:gd name="connsiteY4103" fmla="*/ 1110289 h 2117064"/>
                        <a:gd name="connsiteX4104" fmla="*/ 902813 w 1263758"/>
                        <a:gd name="connsiteY4104" fmla="*/ 1111189 h 2117064"/>
                        <a:gd name="connsiteX4105" fmla="*/ 897862 w 1263758"/>
                        <a:gd name="connsiteY4105" fmla="*/ 1112989 h 2117064"/>
                        <a:gd name="connsiteX4106" fmla="*/ 885711 w 1263758"/>
                        <a:gd name="connsiteY4106" fmla="*/ 1119290 h 2117064"/>
                        <a:gd name="connsiteX4107" fmla="*/ 881660 w 1263758"/>
                        <a:gd name="connsiteY4107" fmla="*/ 1120190 h 2117064"/>
                        <a:gd name="connsiteX4108" fmla="*/ 877610 w 1263758"/>
                        <a:gd name="connsiteY4108" fmla="*/ 1120190 h 2117064"/>
                        <a:gd name="connsiteX4109" fmla="*/ 870859 w 1263758"/>
                        <a:gd name="connsiteY4109" fmla="*/ 1115240 h 2117064"/>
                        <a:gd name="connsiteX4110" fmla="*/ 868609 w 1263758"/>
                        <a:gd name="connsiteY4110" fmla="*/ 1112539 h 2117064"/>
                        <a:gd name="connsiteX4111" fmla="*/ 867708 w 1263758"/>
                        <a:gd name="connsiteY4111" fmla="*/ 1110289 h 2117064"/>
                        <a:gd name="connsiteX4112" fmla="*/ 865908 w 1263758"/>
                        <a:gd name="connsiteY4112" fmla="*/ 1103988 h 2117064"/>
                        <a:gd name="connsiteX4113" fmla="*/ 864558 w 1263758"/>
                        <a:gd name="connsiteY4113" fmla="*/ 1096787 h 2117064"/>
                        <a:gd name="connsiteX4114" fmla="*/ 863658 w 1263758"/>
                        <a:gd name="connsiteY4114" fmla="*/ 1090937 h 2117064"/>
                        <a:gd name="connsiteX4115" fmla="*/ 862758 w 1263758"/>
                        <a:gd name="connsiteY4115" fmla="*/ 1086436 h 2117064"/>
                        <a:gd name="connsiteX4116" fmla="*/ 860507 w 1263758"/>
                        <a:gd name="connsiteY4116" fmla="*/ 1085086 h 2117064"/>
                        <a:gd name="connsiteX4117" fmla="*/ 853757 w 1263758"/>
                        <a:gd name="connsiteY4117" fmla="*/ 1083286 h 2117064"/>
                        <a:gd name="connsiteX4118" fmla="*/ 851506 w 1263758"/>
                        <a:gd name="connsiteY4118" fmla="*/ 1080585 h 2117064"/>
                        <a:gd name="connsiteX4119" fmla="*/ 850606 w 1263758"/>
                        <a:gd name="connsiteY4119" fmla="*/ 1078335 h 2117064"/>
                        <a:gd name="connsiteX4120" fmla="*/ 849706 w 1263758"/>
                        <a:gd name="connsiteY4120" fmla="*/ 1074734 h 2117064"/>
                        <a:gd name="connsiteX4121" fmla="*/ 849706 w 1263758"/>
                        <a:gd name="connsiteY4121" fmla="*/ 1071134 h 2117064"/>
                        <a:gd name="connsiteX4122" fmla="*/ 850156 w 1263758"/>
                        <a:gd name="connsiteY4122" fmla="*/ 1067984 h 2117064"/>
                        <a:gd name="connsiteX4123" fmla="*/ 850606 w 1263758"/>
                        <a:gd name="connsiteY4123" fmla="*/ 1067084 h 2117064"/>
                        <a:gd name="connsiteX4124" fmla="*/ 851506 w 1263758"/>
                        <a:gd name="connsiteY4124" fmla="*/ 1067084 h 2117064"/>
                        <a:gd name="connsiteX4125" fmla="*/ 849706 w 1263758"/>
                        <a:gd name="connsiteY4125" fmla="*/ 1063033 h 2117064"/>
                        <a:gd name="connsiteX4126" fmla="*/ 849256 w 1263758"/>
                        <a:gd name="connsiteY4126" fmla="*/ 1058983 h 2117064"/>
                        <a:gd name="connsiteX4127" fmla="*/ 849256 w 1263758"/>
                        <a:gd name="connsiteY4127" fmla="*/ 1053132 h 2117064"/>
                        <a:gd name="connsiteX4128" fmla="*/ 849706 w 1263758"/>
                        <a:gd name="connsiteY4128" fmla="*/ 1049081 h 2117064"/>
                        <a:gd name="connsiteX4129" fmla="*/ 850156 w 1263758"/>
                        <a:gd name="connsiteY4129" fmla="*/ 1047281 h 2117064"/>
                        <a:gd name="connsiteX4130" fmla="*/ 851506 w 1263758"/>
                        <a:gd name="connsiteY4130" fmla="*/ 1046381 h 2117064"/>
                        <a:gd name="connsiteX4131" fmla="*/ 854657 w 1263758"/>
                        <a:gd name="connsiteY4131" fmla="*/ 1045481 h 2117064"/>
                        <a:gd name="connsiteX4132" fmla="*/ 859157 w 1263758"/>
                        <a:gd name="connsiteY4132" fmla="*/ 1045481 h 2117064"/>
                        <a:gd name="connsiteX4133" fmla="*/ 865458 w 1263758"/>
                        <a:gd name="connsiteY4133" fmla="*/ 1049981 h 2117064"/>
                        <a:gd name="connsiteX4134" fmla="*/ 870409 w 1263758"/>
                        <a:gd name="connsiteY4134" fmla="*/ 1050431 h 2117064"/>
                        <a:gd name="connsiteX4135" fmla="*/ 876259 w 1263758"/>
                        <a:gd name="connsiteY4135" fmla="*/ 1054032 h 2117064"/>
                        <a:gd name="connsiteX4136" fmla="*/ 330341 w 1263758"/>
                        <a:gd name="connsiteY4136" fmla="*/ 1108039 h 2117064"/>
                        <a:gd name="connsiteX4137" fmla="*/ 329441 w 1263758"/>
                        <a:gd name="connsiteY4137" fmla="*/ 1108489 h 2117064"/>
                        <a:gd name="connsiteX4138" fmla="*/ 327641 w 1263758"/>
                        <a:gd name="connsiteY4138" fmla="*/ 1106689 h 2117064"/>
                        <a:gd name="connsiteX4139" fmla="*/ 324491 w 1263758"/>
                        <a:gd name="connsiteY4139" fmla="*/ 1103088 h 2117064"/>
                        <a:gd name="connsiteX4140" fmla="*/ 319540 w 1263758"/>
                        <a:gd name="connsiteY4140" fmla="*/ 1095437 h 2117064"/>
                        <a:gd name="connsiteX4141" fmla="*/ 313689 w 1263758"/>
                        <a:gd name="connsiteY4141" fmla="*/ 1087786 h 2117064"/>
                        <a:gd name="connsiteX4142" fmla="*/ 312789 w 1263758"/>
                        <a:gd name="connsiteY4142" fmla="*/ 1083286 h 2117064"/>
                        <a:gd name="connsiteX4143" fmla="*/ 311439 w 1263758"/>
                        <a:gd name="connsiteY4143" fmla="*/ 1079685 h 2117064"/>
                        <a:gd name="connsiteX4144" fmla="*/ 304238 w 1263758"/>
                        <a:gd name="connsiteY4144" fmla="*/ 1071584 h 2117064"/>
                        <a:gd name="connsiteX4145" fmla="*/ 299287 w 1263758"/>
                        <a:gd name="connsiteY4145" fmla="*/ 1068434 h 2117064"/>
                        <a:gd name="connsiteX4146" fmla="*/ 295687 w 1263758"/>
                        <a:gd name="connsiteY4146" fmla="*/ 1066634 h 2117064"/>
                        <a:gd name="connsiteX4147" fmla="*/ 295237 w 1263758"/>
                        <a:gd name="connsiteY4147" fmla="*/ 1064383 h 2117064"/>
                        <a:gd name="connsiteX4148" fmla="*/ 297937 w 1263758"/>
                        <a:gd name="connsiteY4148" fmla="*/ 1057632 h 2117064"/>
                        <a:gd name="connsiteX4149" fmla="*/ 300638 w 1263758"/>
                        <a:gd name="connsiteY4149" fmla="*/ 1052232 h 2117064"/>
                        <a:gd name="connsiteX4150" fmla="*/ 302438 w 1263758"/>
                        <a:gd name="connsiteY4150" fmla="*/ 1050431 h 2117064"/>
                        <a:gd name="connsiteX4151" fmla="*/ 307838 w 1263758"/>
                        <a:gd name="connsiteY4151" fmla="*/ 1048631 h 2117064"/>
                        <a:gd name="connsiteX4152" fmla="*/ 325841 w 1263758"/>
                        <a:gd name="connsiteY4152" fmla="*/ 1045031 h 2117064"/>
                        <a:gd name="connsiteX4153" fmla="*/ 329891 w 1263758"/>
                        <a:gd name="connsiteY4153" fmla="*/ 1045031 h 2117064"/>
                        <a:gd name="connsiteX4154" fmla="*/ 334392 w 1263758"/>
                        <a:gd name="connsiteY4154" fmla="*/ 1046831 h 2117064"/>
                        <a:gd name="connsiteX4155" fmla="*/ 340243 w 1263758"/>
                        <a:gd name="connsiteY4155" fmla="*/ 1054032 h 2117064"/>
                        <a:gd name="connsiteX4156" fmla="*/ 342493 w 1263758"/>
                        <a:gd name="connsiteY4156" fmla="*/ 1054932 h 2117064"/>
                        <a:gd name="connsiteX4157" fmla="*/ 343843 w 1263758"/>
                        <a:gd name="connsiteY4157" fmla="*/ 1056732 h 2117064"/>
                        <a:gd name="connsiteX4158" fmla="*/ 345193 w 1263758"/>
                        <a:gd name="connsiteY4158" fmla="*/ 1059433 h 2117064"/>
                        <a:gd name="connsiteX4159" fmla="*/ 346093 w 1263758"/>
                        <a:gd name="connsiteY4159" fmla="*/ 1062133 h 2117064"/>
                        <a:gd name="connsiteX4160" fmla="*/ 346093 w 1263758"/>
                        <a:gd name="connsiteY4160" fmla="*/ 1067984 h 2117064"/>
                        <a:gd name="connsiteX4161" fmla="*/ 345643 w 1263758"/>
                        <a:gd name="connsiteY4161" fmla="*/ 1076085 h 2117064"/>
                        <a:gd name="connsiteX4162" fmla="*/ 344743 w 1263758"/>
                        <a:gd name="connsiteY4162" fmla="*/ 1079235 h 2117064"/>
                        <a:gd name="connsiteX4163" fmla="*/ 341143 w 1263758"/>
                        <a:gd name="connsiteY4163" fmla="*/ 1089586 h 2117064"/>
                        <a:gd name="connsiteX4164" fmla="*/ 337542 w 1263758"/>
                        <a:gd name="connsiteY4164" fmla="*/ 1095437 h 2117064"/>
                        <a:gd name="connsiteX4165" fmla="*/ 336642 w 1263758"/>
                        <a:gd name="connsiteY4165" fmla="*/ 1099038 h 2117064"/>
                        <a:gd name="connsiteX4166" fmla="*/ 335292 w 1263758"/>
                        <a:gd name="connsiteY4166" fmla="*/ 1102188 h 2117064"/>
                        <a:gd name="connsiteX4167" fmla="*/ 332592 w 1263758"/>
                        <a:gd name="connsiteY4167" fmla="*/ 1105788 h 2117064"/>
                        <a:gd name="connsiteX4168" fmla="*/ 330341 w 1263758"/>
                        <a:gd name="connsiteY4168" fmla="*/ 1108039 h 2117064"/>
                        <a:gd name="connsiteX4169" fmla="*/ 85061 w 1263758"/>
                        <a:gd name="connsiteY4169" fmla="*/ 1324516 h 2117064"/>
                        <a:gd name="connsiteX4170" fmla="*/ 89561 w 1263758"/>
                        <a:gd name="connsiteY4170" fmla="*/ 1324516 h 2117064"/>
                        <a:gd name="connsiteX4171" fmla="*/ 88661 w 1263758"/>
                        <a:gd name="connsiteY4171" fmla="*/ 1321816 h 2117064"/>
                        <a:gd name="connsiteX4172" fmla="*/ 85961 w 1263758"/>
                        <a:gd name="connsiteY4172" fmla="*/ 1317765 h 2117064"/>
                        <a:gd name="connsiteX4173" fmla="*/ 83260 w 1263758"/>
                        <a:gd name="connsiteY4173" fmla="*/ 1313714 h 2117064"/>
                        <a:gd name="connsiteX4174" fmla="*/ 80560 w 1263758"/>
                        <a:gd name="connsiteY4174" fmla="*/ 1309664 h 2117064"/>
                        <a:gd name="connsiteX4175" fmla="*/ 81010 w 1263758"/>
                        <a:gd name="connsiteY4175" fmla="*/ 1302463 h 2117064"/>
                        <a:gd name="connsiteX4176" fmla="*/ 90911 w 1263758"/>
                        <a:gd name="connsiteY4176" fmla="*/ 1302463 h 2117064"/>
                        <a:gd name="connsiteX4177" fmla="*/ 102163 w 1263758"/>
                        <a:gd name="connsiteY4177" fmla="*/ 1302463 h 2117064"/>
                        <a:gd name="connsiteX4178" fmla="*/ 113414 w 1263758"/>
                        <a:gd name="connsiteY4178" fmla="*/ 1302463 h 2117064"/>
                        <a:gd name="connsiteX4179" fmla="*/ 124666 w 1263758"/>
                        <a:gd name="connsiteY4179" fmla="*/ 1302463 h 2117064"/>
                        <a:gd name="connsiteX4180" fmla="*/ 135917 w 1263758"/>
                        <a:gd name="connsiteY4180" fmla="*/ 1302463 h 2117064"/>
                        <a:gd name="connsiteX4181" fmla="*/ 147168 w 1263758"/>
                        <a:gd name="connsiteY4181" fmla="*/ 1302463 h 2117064"/>
                        <a:gd name="connsiteX4182" fmla="*/ 158420 w 1263758"/>
                        <a:gd name="connsiteY4182" fmla="*/ 1302463 h 2117064"/>
                        <a:gd name="connsiteX4183" fmla="*/ 170121 w 1263758"/>
                        <a:gd name="connsiteY4183" fmla="*/ 1302463 h 2117064"/>
                        <a:gd name="connsiteX4184" fmla="*/ 170121 w 1263758"/>
                        <a:gd name="connsiteY4184" fmla="*/ 1307864 h 2117064"/>
                        <a:gd name="connsiteX4185" fmla="*/ 170121 w 1263758"/>
                        <a:gd name="connsiteY4185" fmla="*/ 1312814 h 2117064"/>
                        <a:gd name="connsiteX4186" fmla="*/ 172371 w 1263758"/>
                        <a:gd name="connsiteY4186" fmla="*/ 1312814 h 2117064"/>
                        <a:gd name="connsiteX4187" fmla="*/ 174622 w 1263758"/>
                        <a:gd name="connsiteY4187" fmla="*/ 1312814 h 2117064"/>
                        <a:gd name="connsiteX4188" fmla="*/ 177772 w 1263758"/>
                        <a:gd name="connsiteY4188" fmla="*/ 1307864 h 2117064"/>
                        <a:gd name="connsiteX4189" fmla="*/ 177772 w 1263758"/>
                        <a:gd name="connsiteY4189" fmla="*/ 1302463 h 2117064"/>
                        <a:gd name="connsiteX4190" fmla="*/ 184523 w 1263758"/>
                        <a:gd name="connsiteY4190" fmla="*/ 1302463 h 2117064"/>
                        <a:gd name="connsiteX4191" fmla="*/ 191274 w 1263758"/>
                        <a:gd name="connsiteY4191" fmla="*/ 1302463 h 2117064"/>
                        <a:gd name="connsiteX4192" fmla="*/ 198025 w 1263758"/>
                        <a:gd name="connsiteY4192" fmla="*/ 1302463 h 2117064"/>
                        <a:gd name="connsiteX4193" fmla="*/ 204776 w 1263758"/>
                        <a:gd name="connsiteY4193" fmla="*/ 1302463 h 2117064"/>
                        <a:gd name="connsiteX4194" fmla="*/ 211526 w 1263758"/>
                        <a:gd name="connsiteY4194" fmla="*/ 1302463 h 2117064"/>
                        <a:gd name="connsiteX4195" fmla="*/ 218277 w 1263758"/>
                        <a:gd name="connsiteY4195" fmla="*/ 1302463 h 2117064"/>
                        <a:gd name="connsiteX4196" fmla="*/ 225028 w 1263758"/>
                        <a:gd name="connsiteY4196" fmla="*/ 1302463 h 2117064"/>
                        <a:gd name="connsiteX4197" fmla="*/ 231779 w 1263758"/>
                        <a:gd name="connsiteY4197" fmla="*/ 1302463 h 2117064"/>
                        <a:gd name="connsiteX4198" fmla="*/ 231779 w 1263758"/>
                        <a:gd name="connsiteY4198" fmla="*/ 1268259 h 2117064"/>
                        <a:gd name="connsiteX4199" fmla="*/ 231779 w 1263758"/>
                        <a:gd name="connsiteY4199" fmla="*/ 1233154 h 2117064"/>
                        <a:gd name="connsiteX4200" fmla="*/ 231779 w 1263758"/>
                        <a:gd name="connsiteY4200" fmla="*/ 1197150 h 2117064"/>
                        <a:gd name="connsiteX4201" fmla="*/ 231779 w 1263758"/>
                        <a:gd name="connsiteY4201" fmla="*/ 1160245 h 2117064"/>
                        <a:gd name="connsiteX4202" fmla="*/ 231779 w 1263758"/>
                        <a:gd name="connsiteY4202" fmla="*/ 1121990 h 2117064"/>
                        <a:gd name="connsiteX4203" fmla="*/ 231779 w 1263758"/>
                        <a:gd name="connsiteY4203" fmla="*/ 1103088 h 2117064"/>
                        <a:gd name="connsiteX4204" fmla="*/ 239880 w 1263758"/>
                        <a:gd name="connsiteY4204" fmla="*/ 1110739 h 2117064"/>
                        <a:gd name="connsiteX4205" fmla="*/ 243030 w 1263758"/>
                        <a:gd name="connsiteY4205" fmla="*/ 1115690 h 2117064"/>
                        <a:gd name="connsiteX4206" fmla="*/ 245281 w 1263758"/>
                        <a:gd name="connsiteY4206" fmla="*/ 1117940 h 2117064"/>
                        <a:gd name="connsiteX4207" fmla="*/ 250231 w 1263758"/>
                        <a:gd name="connsiteY4207" fmla="*/ 1121540 h 2117064"/>
                        <a:gd name="connsiteX4208" fmla="*/ 252032 w 1263758"/>
                        <a:gd name="connsiteY4208" fmla="*/ 1124241 h 2117064"/>
                        <a:gd name="connsiteX4209" fmla="*/ 253382 w 1263758"/>
                        <a:gd name="connsiteY4209" fmla="*/ 1125591 h 2117064"/>
                        <a:gd name="connsiteX4210" fmla="*/ 253832 w 1263758"/>
                        <a:gd name="connsiteY4210" fmla="*/ 1126941 h 2117064"/>
                        <a:gd name="connsiteX4211" fmla="*/ 253382 w 1263758"/>
                        <a:gd name="connsiteY4211" fmla="*/ 1128291 h 2117064"/>
                        <a:gd name="connsiteX4212" fmla="*/ 253382 w 1263758"/>
                        <a:gd name="connsiteY4212" fmla="*/ 1130992 h 2117064"/>
                        <a:gd name="connsiteX4213" fmla="*/ 254282 w 1263758"/>
                        <a:gd name="connsiteY4213" fmla="*/ 1131892 h 2117064"/>
                        <a:gd name="connsiteX4214" fmla="*/ 257432 w 1263758"/>
                        <a:gd name="connsiteY4214" fmla="*/ 1132792 h 2117064"/>
                        <a:gd name="connsiteX4215" fmla="*/ 258332 w 1263758"/>
                        <a:gd name="connsiteY4215" fmla="*/ 1134142 h 2117064"/>
                        <a:gd name="connsiteX4216" fmla="*/ 259682 w 1263758"/>
                        <a:gd name="connsiteY4216" fmla="*/ 1137742 h 2117064"/>
                        <a:gd name="connsiteX4217" fmla="*/ 261033 w 1263758"/>
                        <a:gd name="connsiteY4217" fmla="*/ 1144043 h 2117064"/>
                        <a:gd name="connsiteX4218" fmla="*/ 262383 w 1263758"/>
                        <a:gd name="connsiteY4218" fmla="*/ 1150794 h 2117064"/>
                        <a:gd name="connsiteX4219" fmla="*/ 264633 w 1263758"/>
                        <a:gd name="connsiteY4219" fmla="*/ 1163396 h 2117064"/>
                        <a:gd name="connsiteX4220" fmla="*/ 268684 w 1263758"/>
                        <a:gd name="connsiteY4220" fmla="*/ 1179598 h 2117064"/>
                        <a:gd name="connsiteX4221" fmla="*/ 270034 w 1263758"/>
                        <a:gd name="connsiteY4221" fmla="*/ 1189949 h 2117064"/>
                        <a:gd name="connsiteX4222" fmla="*/ 270484 w 1263758"/>
                        <a:gd name="connsiteY4222" fmla="*/ 1191749 h 2117064"/>
                        <a:gd name="connsiteX4223" fmla="*/ 271384 w 1263758"/>
                        <a:gd name="connsiteY4223" fmla="*/ 1193099 h 2117064"/>
                        <a:gd name="connsiteX4224" fmla="*/ 274084 w 1263758"/>
                        <a:gd name="connsiteY4224" fmla="*/ 1194900 h 2117064"/>
                        <a:gd name="connsiteX4225" fmla="*/ 276335 w 1263758"/>
                        <a:gd name="connsiteY4225" fmla="*/ 1197600 h 2117064"/>
                        <a:gd name="connsiteX4226" fmla="*/ 278585 w 1263758"/>
                        <a:gd name="connsiteY4226" fmla="*/ 1198500 h 2117064"/>
                        <a:gd name="connsiteX4227" fmla="*/ 279035 w 1263758"/>
                        <a:gd name="connsiteY4227" fmla="*/ 1198050 h 2117064"/>
                        <a:gd name="connsiteX4228" fmla="*/ 279485 w 1263758"/>
                        <a:gd name="connsiteY4228" fmla="*/ 1195800 h 2117064"/>
                        <a:gd name="connsiteX4229" fmla="*/ 280835 w 1263758"/>
                        <a:gd name="connsiteY4229" fmla="*/ 1192199 h 2117064"/>
                        <a:gd name="connsiteX4230" fmla="*/ 288036 w 1263758"/>
                        <a:gd name="connsiteY4230" fmla="*/ 1184998 h 2117064"/>
                        <a:gd name="connsiteX4231" fmla="*/ 288486 w 1263758"/>
                        <a:gd name="connsiteY4231" fmla="*/ 1184098 h 2117064"/>
                        <a:gd name="connsiteX4232" fmla="*/ 287586 w 1263758"/>
                        <a:gd name="connsiteY4232" fmla="*/ 1182298 h 2117064"/>
                        <a:gd name="connsiteX4233" fmla="*/ 287136 w 1263758"/>
                        <a:gd name="connsiteY4233" fmla="*/ 1181398 h 2117064"/>
                        <a:gd name="connsiteX4234" fmla="*/ 287136 w 1263758"/>
                        <a:gd name="connsiteY4234" fmla="*/ 1180498 h 2117064"/>
                        <a:gd name="connsiteX4235" fmla="*/ 288486 w 1263758"/>
                        <a:gd name="connsiteY4235" fmla="*/ 1180048 h 2117064"/>
                        <a:gd name="connsiteX4236" fmla="*/ 283535 w 1263758"/>
                        <a:gd name="connsiteY4236" fmla="*/ 1171047 h 2117064"/>
                        <a:gd name="connsiteX4237" fmla="*/ 280385 w 1263758"/>
                        <a:gd name="connsiteY4237" fmla="*/ 1162495 h 2117064"/>
                        <a:gd name="connsiteX4238" fmla="*/ 278135 w 1263758"/>
                        <a:gd name="connsiteY4238" fmla="*/ 1151694 h 2117064"/>
                        <a:gd name="connsiteX4239" fmla="*/ 277685 w 1263758"/>
                        <a:gd name="connsiteY4239" fmla="*/ 1148544 h 2117064"/>
                        <a:gd name="connsiteX4240" fmla="*/ 277235 w 1263758"/>
                        <a:gd name="connsiteY4240" fmla="*/ 1141793 h 2117064"/>
                        <a:gd name="connsiteX4241" fmla="*/ 276335 w 1263758"/>
                        <a:gd name="connsiteY4241" fmla="*/ 1139993 h 2117064"/>
                        <a:gd name="connsiteX4242" fmla="*/ 274984 w 1263758"/>
                        <a:gd name="connsiteY4242" fmla="*/ 1138192 h 2117064"/>
                        <a:gd name="connsiteX4243" fmla="*/ 274534 w 1263758"/>
                        <a:gd name="connsiteY4243" fmla="*/ 1135942 h 2117064"/>
                        <a:gd name="connsiteX4244" fmla="*/ 274534 w 1263758"/>
                        <a:gd name="connsiteY4244" fmla="*/ 1133242 h 2117064"/>
                        <a:gd name="connsiteX4245" fmla="*/ 274084 w 1263758"/>
                        <a:gd name="connsiteY4245" fmla="*/ 1130992 h 2117064"/>
                        <a:gd name="connsiteX4246" fmla="*/ 272734 w 1263758"/>
                        <a:gd name="connsiteY4246" fmla="*/ 1126491 h 2117064"/>
                        <a:gd name="connsiteX4247" fmla="*/ 267783 w 1263758"/>
                        <a:gd name="connsiteY4247" fmla="*/ 1094087 h 2117064"/>
                        <a:gd name="connsiteX4248" fmla="*/ 267783 w 1263758"/>
                        <a:gd name="connsiteY4248" fmla="*/ 1090937 h 2117064"/>
                        <a:gd name="connsiteX4249" fmla="*/ 268684 w 1263758"/>
                        <a:gd name="connsiteY4249" fmla="*/ 1088686 h 2117064"/>
                        <a:gd name="connsiteX4250" fmla="*/ 270484 w 1263758"/>
                        <a:gd name="connsiteY4250" fmla="*/ 1087336 h 2117064"/>
                        <a:gd name="connsiteX4251" fmla="*/ 273634 w 1263758"/>
                        <a:gd name="connsiteY4251" fmla="*/ 1086886 h 2117064"/>
                        <a:gd name="connsiteX4252" fmla="*/ 274534 w 1263758"/>
                        <a:gd name="connsiteY4252" fmla="*/ 1085986 h 2117064"/>
                        <a:gd name="connsiteX4253" fmla="*/ 273634 w 1263758"/>
                        <a:gd name="connsiteY4253" fmla="*/ 1084636 h 2117064"/>
                        <a:gd name="connsiteX4254" fmla="*/ 271834 w 1263758"/>
                        <a:gd name="connsiteY4254" fmla="*/ 1081035 h 2117064"/>
                        <a:gd name="connsiteX4255" fmla="*/ 271384 w 1263758"/>
                        <a:gd name="connsiteY4255" fmla="*/ 1079235 h 2117064"/>
                        <a:gd name="connsiteX4256" fmla="*/ 272734 w 1263758"/>
                        <a:gd name="connsiteY4256" fmla="*/ 1076085 h 2117064"/>
                        <a:gd name="connsiteX4257" fmla="*/ 279485 w 1263758"/>
                        <a:gd name="connsiteY4257" fmla="*/ 1077435 h 2117064"/>
                        <a:gd name="connsiteX4258" fmla="*/ 284435 w 1263758"/>
                        <a:gd name="connsiteY4258" fmla="*/ 1080585 h 2117064"/>
                        <a:gd name="connsiteX4259" fmla="*/ 292537 w 1263758"/>
                        <a:gd name="connsiteY4259" fmla="*/ 1087786 h 2117064"/>
                        <a:gd name="connsiteX4260" fmla="*/ 293437 w 1263758"/>
                        <a:gd name="connsiteY4260" fmla="*/ 1087336 h 2117064"/>
                        <a:gd name="connsiteX4261" fmla="*/ 294337 w 1263758"/>
                        <a:gd name="connsiteY4261" fmla="*/ 1083736 h 2117064"/>
                        <a:gd name="connsiteX4262" fmla="*/ 296137 w 1263758"/>
                        <a:gd name="connsiteY4262" fmla="*/ 1081485 h 2117064"/>
                        <a:gd name="connsiteX4263" fmla="*/ 298837 w 1263758"/>
                        <a:gd name="connsiteY4263" fmla="*/ 1082386 h 2117064"/>
                        <a:gd name="connsiteX4264" fmla="*/ 306038 w 1263758"/>
                        <a:gd name="connsiteY4264" fmla="*/ 1087336 h 2117064"/>
                        <a:gd name="connsiteX4265" fmla="*/ 314589 w 1263758"/>
                        <a:gd name="connsiteY4265" fmla="*/ 1096337 h 2117064"/>
                        <a:gd name="connsiteX4266" fmla="*/ 320440 w 1263758"/>
                        <a:gd name="connsiteY4266" fmla="*/ 1100838 h 2117064"/>
                        <a:gd name="connsiteX4267" fmla="*/ 324491 w 1263758"/>
                        <a:gd name="connsiteY4267" fmla="*/ 1106689 h 2117064"/>
                        <a:gd name="connsiteX4268" fmla="*/ 327191 w 1263758"/>
                        <a:gd name="connsiteY4268" fmla="*/ 1112539 h 2117064"/>
                        <a:gd name="connsiteX4269" fmla="*/ 328991 w 1263758"/>
                        <a:gd name="connsiteY4269" fmla="*/ 1117040 h 2117064"/>
                        <a:gd name="connsiteX4270" fmla="*/ 328991 w 1263758"/>
                        <a:gd name="connsiteY4270" fmla="*/ 1118840 h 2117064"/>
                        <a:gd name="connsiteX4271" fmla="*/ 328541 w 1263758"/>
                        <a:gd name="connsiteY4271" fmla="*/ 1120640 h 2117064"/>
                        <a:gd name="connsiteX4272" fmla="*/ 328991 w 1263758"/>
                        <a:gd name="connsiteY4272" fmla="*/ 1122891 h 2117064"/>
                        <a:gd name="connsiteX4273" fmla="*/ 330341 w 1263758"/>
                        <a:gd name="connsiteY4273" fmla="*/ 1125591 h 2117064"/>
                        <a:gd name="connsiteX4274" fmla="*/ 330791 w 1263758"/>
                        <a:gd name="connsiteY4274" fmla="*/ 1128291 h 2117064"/>
                        <a:gd name="connsiteX4275" fmla="*/ 331241 w 1263758"/>
                        <a:gd name="connsiteY4275" fmla="*/ 1133692 h 2117064"/>
                        <a:gd name="connsiteX4276" fmla="*/ 332141 w 1263758"/>
                        <a:gd name="connsiteY4276" fmla="*/ 1140443 h 2117064"/>
                        <a:gd name="connsiteX4277" fmla="*/ 332592 w 1263758"/>
                        <a:gd name="connsiteY4277" fmla="*/ 1144043 h 2117064"/>
                        <a:gd name="connsiteX4278" fmla="*/ 340243 w 1263758"/>
                        <a:gd name="connsiteY4278" fmla="*/ 1174197 h 2117064"/>
                        <a:gd name="connsiteX4279" fmla="*/ 341593 w 1263758"/>
                        <a:gd name="connsiteY4279" fmla="*/ 1179598 h 2117064"/>
                        <a:gd name="connsiteX4280" fmla="*/ 342493 w 1263758"/>
                        <a:gd name="connsiteY4280" fmla="*/ 1181848 h 2117064"/>
                        <a:gd name="connsiteX4281" fmla="*/ 347893 w 1263758"/>
                        <a:gd name="connsiteY4281" fmla="*/ 1193099 h 2117064"/>
                        <a:gd name="connsiteX4282" fmla="*/ 350594 w 1263758"/>
                        <a:gd name="connsiteY4282" fmla="*/ 1201200 h 2117064"/>
                        <a:gd name="connsiteX4283" fmla="*/ 351044 w 1263758"/>
                        <a:gd name="connsiteY4283" fmla="*/ 1206601 h 2117064"/>
                        <a:gd name="connsiteX4284" fmla="*/ 351494 w 1263758"/>
                        <a:gd name="connsiteY4284" fmla="*/ 1207951 h 2117064"/>
                        <a:gd name="connsiteX4285" fmla="*/ 351494 w 1263758"/>
                        <a:gd name="connsiteY4285" fmla="*/ 1210652 h 2117064"/>
                        <a:gd name="connsiteX4286" fmla="*/ 351494 w 1263758"/>
                        <a:gd name="connsiteY4286" fmla="*/ 1214252 h 2117064"/>
                        <a:gd name="connsiteX4287" fmla="*/ 351044 w 1263758"/>
                        <a:gd name="connsiteY4287" fmla="*/ 1217402 h 2117064"/>
                        <a:gd name="connsiteX4288" fmla="*/ 350144 w 1263758"/>
                        <a:gd name="connsiteY4288" fmla="*/ 1219653 h 2117064"/>
                        <a:gd name="connsiteX4289" fmla="*/ 349244 w 1263758"/>
                        <a:gd name="connsiteY4289" fmla="*/ 1223253 h 2117064"/>
                        <a:gd name="connsiteX4290" fmla="*/ 347443 w 1263758"/>
                        <a:gd name="connsiteY4290" fmla="*/ 1230904 h 2117064"/>
                        <a:gd name="connsiteX4291" fmla="*/ 347443 w 1263758"/>
                        <a:gd name="connsiteY4291" fmla="*/ 1232704 h 2117064"/>
                        <a:gd name="connsiteX4292" fmla="*/ 348794 w 1263758"/>
                        <a:gd name="connsiteY4292" fmla="*/ 1235405 h 2117064"/>
                        <a:gd name="connsiteX4293" fmla="*/ 355995 w 1263758"/>
                        <a:gd name="connsiteY4293" fmla="*/ 1244406 h 2117064"/>
                        <a:gd name="connsiteX4294" fmla="*/ 360495 w 1263758"/>
                        <a:gd name="connsiteY4294" fmla="*/ 1255207 h 2117064"/>
                        <a:gd name="connsiteX4295" fmla="*/ 362745 w 1263758"/>
                        <a:gd name="connsiteY4295" fmla="*/ 1257007 h 2117064"/>
                        <a:gd name="connsiteX4296" fmla="*/ 368596 w 1263758"/>
                        <a:gd name="connsiteY4296" fmla="*/ 1263758 h 2117064"/>
                        <a:gd name="connsiteX4297" fmla="*/ 374897 w 1263758"/>
                        <a:gd name="connsiteY4297" fmla="*/ 1267359 h 2117064"/>
                        <a:gd name="connsiteX4298" fmla="*/ 377147 w 1263758"/>
                        <a:gd name="connsiteY4298" fmla="*/ 1269159 h 2117064"/>
                        <a:gd name="connsiteX4299" fmla="*/ 378947 w 1263758"/>
                        <a:gd name="connsiteY4299" fmla="*/ 1271409 h 2117064"/>
                        <a:gd name="connsiteX4300" fmla="*/ 379397 w 1263758"/>
                        <a:gd name="connsiteY4300" fmla="*/ 1271409 h 2117064"/>
                        <a:gd name="connsiteX4301" fmla="*/ 380748 w 1263758"/>
                        <a:gd name="connsiteY4301" fmla="*/ 1270959 h 2117064"/>
                        <a:gd name="connsiteX4302" fmla="*/ 381198 w 1263758"/>
                        <a:gd name="connsiteY4302" fmla="*/ 1270509 h 2117064"/>
                        <a:gd name="connsiteX4303" fmla="*/ 381198 w 1263758"/>
                        <a:gd name="connsiteY4303" fmla="*/ 1269609 h 2117064"/>
                        <a:gd name="connsiteX4304" fmla="*/ 379397 w 1263758"/>
                        <a:gd name="connsiteY4304" fmla="*/ 1264658 h 2117064"/>
                        <a:gd name="connsiteX4305" fmla="*/ 379397 w 1263758"/>
                        <a:gd name="connsiteY4305" fmla="*/ 1262858 h 2117064"/>
                        <a:gd name="connsiteX4306" fmla="*/ 380298 w 1263758"/>
                        <a:gd name="connsiteY4306" fmla="*/ 1262408 h 2117064"/>
                        <a:gd name="connsiteX4307" fmla="*/ 386598 w 1263758"/>
                        <a:gd name="connsiteY4307" fmla="*/ 1270959 h 2117064"/>
                        <a:gd name="connsiteX4308" fmla="*/ 390199 w 1263758"/>
                        <a:gd name="connsiteY4308" fmla="*/ 1274110 h 2117064"/>
                        <a:gd name="connsiteX4309" fmla="*/ 394699 w 1263758"/>
                        <a:gd name="connsiteY4309" fmla="*/ 1277710 h 2117064"/>
                        <a:gd name="connsiteX4310" fmla="*/ 402800 w 1263758"/>
                        <a:gd name="connsiteY4310" fmla="*/ 1285811 h 2117064"/>
                        <a:gd name="connsiteX4311" fmla="*/ 403700 w 1263758"/>
                        <a:gd name="connsiteY4311" fmla="*/ 1286261 h 2117064"/>
                        <a:gd name="connsiteX4312" fmla="*/ 408201 w 1263758"/>
                        <a:gd name="connsiteY4312" fmla="*/ 1285361 h 2117064"/>
                        <a:gd name="connsiteX4313" fmla="*/ 409551 w 1263758"/>
                        <a:gd name="connsiteY4313" fmla="*/ 1285811 h 2117064"/>
                        <a:gd name="connsiteX4314" fmla="*/ 410451 w 1263758"/>
                        <a:gd name="connsiteY4314" fmla="*/ 1286711 h 2117064"/>
                        <a:gd name="connsiteX4315" fmla="*/ 410901 w 1263758"/>
                        <a:gd name="connsiteY4315" fmla="*/ 1287611 h 2117064"/>
                        <a:gd name="connsiteX4316" fmla="*/ 410901 w 1263758"/>
                        <a:gd name="connsiteY4316" fmla="*/ 1292562 h 2117064"/>
                        <a:gd name="connsiteX4317" fmla="*/ 412252 w 1263758"/>
                        <a:gd name="connsiteY4317" fmla="*/ 1294812 h 2117064"/>
                        <a:gd name="connsiteX4318" fmla="*/ 419002 w 1263758"/>
                        <a:gd name="connsiteY4318" fmla="*/ 1293912 h 2117064"/>
                        <a:gd name="connsiteX4319" fmla="*/ 420803 w 1263758"/>
                        <a:gd name="connsiteY4319" fmla="*/ 1293912 h 2117064"/>
                        <a:gd name="connsiteX4320" fmla="*/ 422153 w 1263758"/>
                        <a:gd name="connsiteY4320" fmla="*/ 1294812 h 2117064"/>
                        <a:gd name="connsiteX4321" fmla="*/ 423053 w 1263758"/>
                        <a:gd name="connsiteY4321" fmla="*/ 1296162 h 2117064"/>
                        <a:gd name="connsiteX4322" fmla="*/ 424403 w 1263758"/>
                        <a:gd name="connsiteY4322" fmla="*/ 1301113 h 2117064"/>
                        <a:gd name="connsiteX4323" fmla="*/ 425753 w 1263758"/>
                        <a:gd name="connsiteY4323" fmla="*/ 1311014 h 2117064"/>
                        <a:gd name="connsiteX4324" fmla="*/ 425753 w 1263758"/>
                        <a:gd name="connsiteY4324" fmla="*/ 1314615 h 2117064"/>
                        <a:gd name="connsiteX4325" fmla="*/ 425303 w 1263758"/>
                        <a:gd name="connsiteY4325" fmla="*/ 1320465 h 2117064"/>
                        <a:gd name="connsiteX4326" fmla="*/ 424403 w 1263758"/>
                        <a:gd name="connsiteY4326" fmla="*/ 1322716 h 2117064"/>
                        <a:gd name="connsiteX4327" fmla="*/ 423053 w 1263758"/>
                        <a:gd name="connsiteY4327" fmla="*/ 1323616 h 2117064"/>
                        <a:gd name="connsiteX4328" fmla="*/ 419452 w 1263758"/>
                        <a:gd name="connsiteY4328" fmla="*/ 1323166 h 2117064"/>
                        <a:gd name="connsiteX4329" fmla="*/ 416752 w 1263758"/>
                        <a:gd name="connsiteY4329" fmla="*/ 1321365 h 2117064"/>
                        <a:gd name="connsiteX4330" fmla="*/ 415402 w 1263758"/>
                        <a:gd name="connsiteY4330" fmla="*/ 1319115 h 2117064"/>
                        <a:gd name="connsiteX4331" fmla="*/ 414052 w 1263758"/>
                        <a:gd name="connsiteY4331" fmla="*/ 1313714 h 2117064"/>
                        <a:gd name="connsiteX4332" fmla="*/ 413602 w 1263758"/>
                        <a:gd name="connsiteY4332" fmla="*/ 1312814 h 2117064"/>
                        <a:gd name="connsiteX4333" fmla="*/ 413152 w 1263758"/>
                        <a:gd name="connsiteY4333" fmla="*/ 1313714 h 2117064"/>
                        <a:gd name="connsiteX4334" fmla="*/ 411801 w 1263758"/>
                        <a:gd name="connsiteY4334" fmla="*/ 1318665 h 2117064"/>
                        <a:gd name="connsiteX4335" fmla="*/ 410901 w 1263758"/>
                        <a:gd name="connsiteY4335" fmla="*/ 1320915 h 2117064"/>
                        <a:gd name="connsiteX4336" fmla="*/ 410001 w 1263758"/>
                        <a:gd name="connsiteY4336" fmla="*/ 1322265 h 2117064"/>
                        <a:gd name="connsiteX4337" fmla="*/ 408201 w 1263758"/>
                        <a:gd name="connsiteY4337" fmla="*/ 1321816 h 2117064"/>
                        <a:gd name="connsiteX4338" fmla="*/ 405501 w 1263758"/>
                        <a:gd name="connsiteY4338" fmla="*/ 1319565 h 2117064"/>
                        <a:gd name="connsiteX4339" fmla="*/ 400550 w 1263758"/>
                        <a:gd name="connsiteY4339" fmla="*/ 1314165 h 2117064"/>
                        <a:gd name="connsiteX4340" fmla="*/ 398750 w 1263758"/>
                        <a:gd name="connsiteY4340" fmla="*/ 1312814 h 2117064"/>
                        <a:gd name="connsiteX4341" fmla="*/ 397850 w 1263758"/>
                        <a:gd name="connsiteY4341" fmla="*/ 1313264 h 2117064"/>
                        <a:gd name="connsiteX4342" fmla="*/ 395599 w 1263758"/>
                        <a:gd name="connsiteY4342" fmla="*/ 1315065 h 2117064"/>
                        <a:gd name="connsiteX4343" fmla="*/ 391999 w 1263758"/>
                        <a:gd name="connsiteY4343" fmla="*/ 1318215 h 2117064"/>
                        <a:gd name="connsiteX4344" fmla="*/ 390649 w 1263758"/>
                        <a:gd name="connsiteY4344" fmla="*/ 1320465 h 2117064"/>
                        <a:gd name="connsiteX4345" fmla="*/ 391099 w 1263758"/>
                        <a:gd name="connsiteY4345" fmla="*/ 1322265 h 2117064"/>
                        <a:gd name="connsiteX4346" fmla="*/ 391549 w 1263758"/>
                        <a:gd name="connsiteY4346" fmla="*/ 1324066 h 2117064"/>
                        <a:gd name="connsiteX4347" fmla="*/ 391549 w 1263758"/>
                        <a:gd name="connsiteY4347" fmla="*/ 1326316 h 2117064"/>
                        <a:gd name="connsiteX4348" fmla="*/ 391549 w 1263758"/>
                        <a:gd name="connsiteY4348" fmla="*/ 1328116 h 2117064"/>
                        <a:gd name="connsiteX4349" fmla="*/ 391099 w 1263758"/>
                        <a:gd name="connsiteY4349" fmla="*/ 1329016 h 2117064"/>
                        <a:gd name="connsiteX4350" fmla="*/ 389749 w 1263758"/>
                        <a:gd name="connsiteY4350" fmla="*/ 1330367 h 2117064"/>
                        <a:gd name="connsiteX4351" fmla="*/ 387048 w 1263758"/>
                        <a:gd name="connsiteY4351" fmla="*/ 1330817 h 2117064"/>
                        <a:gd name="connsiteX4352" fmla="*/ 383448 w 1263758"/>
                        <a:gd name="connsiteY4352" fmla="*/ 1329916 h 2117064"/>
                        <a:gd name="connsiteX4353" fmla="*/ 380298 w 1263758"/>
                        <a:gd name="connsiteY4353" fmla="*/ 1328116 h 2117064"/>
                        <a:gd name="connsiteX4354" fmla="*/ 374897 w 1263758"/>
                        <a:gd name="connsiteY4354" fmla="*/ 1323166 h 2117064"/>
                        <a:gd name="connsiteX4355" fmla="*/ 373547 w 1263758"/>
                        <a:gd name="connsiteY4355" fmla="*/ 1322265 h 2117064"/>
                        <a:gd name="connsiteX4356" fmla="*/ 371747 w 1263758"/>
                        <a:gd name="connsiteY4356" fmla="*/ 1323166 h 2117064"/>
                        <a:gd name="connsiteX4357" fmla="*/ 371296 w 1263758"/>
                        <a:gd name="connsiteY4357" fmla="*/ 1324516 h 2117064"/>
                        <a:gd name="connsiteX4358" fmla="*/ 372196 w 1263758"/>
                        <a:gd name="connsiteY4358" fmla="*/ 1326316 h 2117064"/>
                        <a:gd name="connsiteX4359" fmla="*/ 374897 w 1263758"/>
                        <a:gd name="connsiteY4359" fmla="*/ 1329016 h 2117064"/>
                        <a:gd name="connsiteX4360" fmla="*/ 378047 w 1263758"/>
                        <a:gd name="connsiteY4360" fmla="*/ 1333517 h 2117064"/>
                        <a:gd name="connsiteX4361" fmla="*/ 378947 w 1263758"/>
                        <a:gd name="connsiteY4361" fmla="*/ 1334417 h 2117064"/>
                        <a:gd name="connsiteX4362" fmla="*/ 379847 w 1263758"/>
                        <a:gd name="connsiteY4362" fmla="*/ 1334417 h 2117064"/>
                        <a:gd name="connsiteX4363" fmla="*/ 380298 w 1263758"/>
                        <a:gd name="connsiteY4363" fmla="*/ 1335317 h 2117064"/>
                        <a:gd name="connsiteX4364" fmla="*/ 380748 w 1263758"/>
                        <a:gd name="connsiteY4364" fmla="*/ 1337567 h 2117064"/>
                        <a:gd name="connsiteX4365" fmla="*/ 380748 w 1263758"/>
                        <a:gd name="connsiteY4365" fmla="*/ 1341618 h 2117064"/>
                        <a:gd name="connsiteX4366" fmla="*/ 379397 w 1263758"/>
                        <a:gd name="connsiteY4366" fmla="*/ 1349719 h 2117064"/>
                        <a:gd name="connsiteX4367" fmla="*/ 379397 w 1263758"/>
                        <a:gd name="connsiteY4367" fmla="*/ 1351519 h 2117064"/>
                        <a:gd name="connsiteX4368" fmla="*/ 379847 w 1263758"/>
                        <a:gd name="connsiteY4368" fmla="*/ 1351069 h 2117064"/>
                        <a:gd name="connsiteX4369" fmla="*/ 384348 w 1263758"/>
                        <a:gd name="connsiteY4369" fmla="*/ 1343418 h 2117064"/>
                        <a:gd name="connsiteX4370" fmla="*/ 386598 w 1263758"/>
                        <a:gd name="connsiteY4370" fmla="*/ 1341168 h 2117064"/>
                        <a:gd name="connsiteX4371" fmla="*/ 391549 w 1263758"/>
                        <a:gd name="connsiteY4371" fmla="*/ 1337567 h 2117064"/>
                        <a:gd name="connsiteX4372" fmla="*/ 393799 w 1263758"/>
                        <a:gd name="connsiteY4372" fmla="*/ 1334867 h 2117064"/>
                        <a:gd name="connsiteX4373" fmla="*/ 400100 w 1263758"/>
                        <a:gd name="connsiteY4373" fmla="*/ 1333967 h 2117064"/>
                        <a:gd name="connsiteX4374" fmla="*/ 402350 w 1263758"/>
                        <a:gd name="connsiteY4374" fmla="*/ 1335317 h 2117064"/>
                        <a:gd name="connsiteX4375" fmla="*/ 403700 w 1263758"/>
                        <a:gd name="connsiteY4375" fmla="*/ 1337567 h 2117064"/>
                        <a:gd name="connsiteX4376" fmla="*/ 403700 w 1263758"/>
                        <a:gd name="connsiteY4376" fmla="*/ 1338468 h 2117064"/>
                        <a:gd name="connsiteX4377" fmla="*/ 401900 w 1263758"/>
                        <a:gd name="connsiteY4377" fmla="*/ 1341168 h 2117064"/>
                        <a:gd name="connsiteX4378" fmla="*/ 401450 w 1263758"/>
                        <a:gd name="connsiteY4378" fmla="*/ 1342518 h 2117064"/>
                        <a:gd name="connsiteX4379" fmla="*/ 401450 w 1263758"/>
                        <a:gd name="connsiteY4379" fmla="*/ 1344318 h 2117064"/>
                        <a:gd name="connsiteX4380" fmla="*/ 401450 w 1263758"/>
                        <a:gd name="connsiteY4380" fmla="*/ 1346119 h 2117064"/>
                        <a:gd name="connsiteX4381" fmla="*/ 401900 w 1263758"/>
                        <a:gd name="connsiteY4381" fmla="*/ 1347469 h 2117064"/>
                        <a:gd name="connsiteX4382" fmla="*/ 403250 w 1263758"/>
                        <a:gd name="connsiteY4382" fmla="*/ 1348819 h 2117064"/>
                        <a:gd name="connsiteX4383" fmla="*/ 405051 w 1263758"/>
                        <a:gd name="connsiteY4383" fmla="*/ 1348369 h 2117064"/>
                        <a:gd name="connsiteX4384" fmla="*/ 405501 w 1263758"/>
                        <a:gd name="connsiteY4384" fmla="*/ 1348819 h 2117064"/>
                        <a:gd name="connsiteX4385" fmla="*/ 406401 w 1263758"/>
                        <a:gd name="connsiteY4385" fmla="*/ 1350169 h 2117064"/>
                        <a:gd name="connsiteX4386" fmla="*/ 407301 w 1263758"/>
                        <a:gd name="connsiteY4386" fmla="*/ 1352419 h 2117064"/>
                        <a:gd name="connsiteX4387" fmla="*/ 407301 w 1263758"/>
                        <a:gd name="connsiteY4387" fmla="*/ 1355570 h 2117064"/>
                        <a:gd name="connsiteX4388" fmla="*/ 405951 w 1263758"/>
                        <a:gd name="connsiteY4388" fmla="*/ 1361871 h 2117064"/>
                        <a:gd name="connsiteX4389" fmla="*/ 403250 w 1263758"/>
                        <a:gd name="connsiteY4389" fmla="*/ 1364121 h 2117064"/>
                        <a:gd name="connsiteX4390" fmla="*/ 395149 w 1263758"/>
                        <a:gd name="connsiteY4390" fmla="*/ 1368171 h 2117064"/>
                        <a:gd name="connsiteX4391" fmla="*/ 392449 w 1263758"/>
                        <a:gd name="connsiteY4391" fmla="*/ 1369971 h 2117064"/>
                        <a:gd name="connsiteX4392" fmla="*/ 387048 w 1263758"/>
                        <a:gd name="connsiteY4392" fmla="*/ 1371322 h 2117064"/>
                        <a:gd name="connsiteX4393" fmla="*/ 384798 w 1263758"/>
                        <a:gd name="connsiteY4393" fmla="*/ 1373122 h 2117064"/>
                        <a:gd name="connsiteX4394" fmla="*/ 383448 w 1263758"/>
                        <a:gd name="connsiteY4394" fmla="*/ 1373572 h 2117064"/>
                        <a:gd name="connsiteX4395" fmla="*/ 377597 w 1263758"/>
                        <a:gd name="connsiteY4395" fmla="*/ 1373122 h 2117064"/>
                        <a:gd name="connsiteX4396" fmla="*/ 371296 w 1263758"/>
                        <a:gd name="connsiteY4396" fmla="*/ 1374472 h 2117064"/>
                        <a:gd name="connsiteX4397" fmla="*/ 363645 w 1263758"/>
                        <a:gd name="connsiteY4397" fmla="*/ 1372222 h 2117064"/>
                        <a:gd name="connsiteX4398" fmla="*/ 358245 w 1263758"/>
                        <a:gd name="connsiteY4398" fmla="*/ 1371322 h 2117064"/>
                        <a:gd name="connsiteX4399" fmla="*/ 352394 w 1263758"/>
                        <a:gd name="connsiteY4399" fmla="*/ 1367721 h 2117064"/>
                        <a:gd name="connsiteX4400" fmla="*/ 350144 w 1263758"/>
                        <a:gd name="connsiteY4400" fmla="*/ 1368621 h 2117064"/>
                        <a:gd name="connsiteX4401" fmla="*/ 347893 w 1263758"/>
                        <a:gd name="connsiteY4401" fmla="*/ 1370872 h 2117064"/>
                        <a:gd name="connsiteX4402" fmla="*/ 336642 w 1263758"/>
                        <a:gd name="connsiteY4402" fmla="*/ 1368171 h 2117064"/>
                        <a:gd name="connsiteX4403" fmla="*/ 335292 w 1263758"/>
                        <a:gd name="connsiteY4403" fmla="*/ 1365921 h 2117064"/>
                        <a:gd name="connsiteX4404" fmla="*/ 335742 w 1263758"/>
                        <a:gd name="connsiteY4404" fmla="*/ 1364571 h 2117064"/>
                        <a:gd name="connsiteX4405" fmla="*/ 338442 w 1263758"/>
                        <a:gd name="connsiteY4405" fmla="*/ 1360070 h 2117064"/>
                        <a:gd name="connsiteX4406" fmla="*/ 338442 w 1263758"/>
                        <a:gd name="connsiteY4406" fmla="*/ 1359170 h 2117064"/>
                        <a:gd name="connsiteX4407" fmla="*/ 338442 w 1263758"/>
                        <a:gd name="connsiteY4407" fmla="*/ 1358270 h 2117064"/>
                        <a:gd name="connsiteX4408" fmla="*/ 333492 w 1263758"/>
                        <a:gd name="connsiteY4408" fmla="*/ 1357370 h 2117064"/>
                        <a:gd name="connsiteX4409" fmla="*/ 327641 w 1263758"/>
                        <a:gd name="connsiteY4409" fmla="*/ 1355120 h 2117064"/>
                        <a:gd name="connsiteX4410" fmla="*/ 321790 w 1263758"/>
                        <a:gd name="connsiteY4410" fmla="*/ 1353769 h 2117064"/>
                        <a:gd name="connsiteX4411" fmla="*/ 317290 w 1263758"/>
                        <a:gd name="connsiteY4411" fmla="*/ 1354219 h 2117064"/>
                        <a:gd name="connsiteX4412" fmla="*/ 314589 w 1263758"/>
                        <a:gd name="connsiteY4412" fmla="*/ 1353319 h 2117064"/>
                        <a:gd name="connsiteX4413" fmla="*/ 311889 w 1263758"/>
                        <a:gd name="connsiteY4413" fmla="*/ 1351519 h 2117064"/>
                        <a:gd name="connsiteX4414" fmla="*/ 310539 w 1263758"/>
                        <a:gd name="connsiteY4414" fmla="*/ 1349719 h 2117064"/>
                        <a:gd name="connsiteX4415" fmla="*/ 310089 w 1263758"/>
                        <a:gd name="connsiteY4415" fmla="*/ 1347919 h 2117064"/>
                        <a:gd name="connsiteX4416" fmla="*/ 310089 w 1263758"/>
                        <a:gd name="connsiteY4416" fmla="*/ 1346119 h 2117064"/>
                        <a:gd name="connsiteX4417" fmla="*/ 310539 w 1263758"/>
                        <a:gd name="connsiteY4417" fmla="*/ 1342518 h 2117064"/>
                        <a:gd name="connsiteX4418" fmla="*/ 310089 w 1263758"/>
                        <a:gd name="connsiteY4418" fmla="*/ 1339818 h 2117064"/>
                        <a:gd name="connsiteX4419" fmla="*/ 308739 w 1263758"/>
                        <a:gd name="connsiteY4419" fmla="*/ 1338017 h 2117064"/>
                        <a:gd name="connsiteX4420" fmla="*/ 306038 w 1263758"/>
                        <a:gd name="connsiteY4420" fmla="*/ 1336217 h 2117064"/>
                        <a:gd name="connsiteX4421" fmla="*/ 303338 w 1263758"/>
                        <a:gd name="connsiteY4421" fmla="*/ 1336217 h 2117064"/>
                        <a:gd name="connsiteX4422" fmla="*/ 301088 w 1263758"/>
                        <a:gd name="connsiteY4422" fmla="*/ 1338017 h 2117064"/>
                        <a:gd name="connsiteX4423" fmla="*/ 298837 w 1263758"/>
                        <a:gd name="connsiteY4423" fmla="*/ 1341618 h 2117064"/>
                        <a:gd name="connsiteX4424" fmla="*/ 295237 w 1263758"/>
                        <a:gd name="connsiteY4424" fmla="*/ 1351519 h 2117064"/>
                        <a:gd name="connsiteX4425" fmla="*/ 293437 w 1263758"/>
                        <a:gd name="connsiteY4425" fmla="*/ 1353319 h 2117064"/>
                        <a:gd name="connsiteX4426" fmla="*/ 288486 w 1263758"/>
                        <a:gd name="connsiteY4426" fmla="*/ 1360520 h 2117064"/>
                        <a:gd name="connsiteX4427" fmla="*/ 286686 w 1263758"/>
                        <a:gd name="connsiteY4427" fmla="*/ 1362321 h 2117064"/>
                        <a:gd name="connsiteX4428" fmla="*/ 277685 w 1263758"/>
                        <a:gd name="connsiteY4428" fmla="*/ 1365021 h 2117064"/>
                        <a:gd name="connsiteX4429" fmla="*/ 266883 w 1263758"/>
                        <a:gd name="connsiteY4429" fmla="*/ 1366371 h 2117064"/>
                        <a:gd name="connsiteX4430" fmla="*/ 262833 w 1263758"/>
                        <a:gd name="connsiteY4430" fmla="*/ 1368621 h 2117064"/>
                        <a:gd name="connsiteX4431" fmla="*/ 259232 w 1263758"/>
                        <a:gd name="connsiteY4431" fmla="*/ 1372672 h 2117064"/>
                        <a:gd name="connsiteX4432" fmla="*/ 254732 w 1263758"/>
                        <a:gd name="connsiteY4432" fmla="*/ 1376722 h 2117064"/>
                        <a:gd name="connsiteX4433" fmla="*/ 243480 w 1263758"/>
                        <a:gd name="connsiteY4433" fmla="*/ 1381673 h 2117064"/>
                        <a:gd name="connsiteX4434" fmla="*/ 233129 w 1263758"/>
                        <a:gd name="connsiteY4434" fmla="*/ 1384373 h 2117064"/>
                        <a:gd name="connsiteX4435" fmla="*/ 222328 w 1263758"/>
                        <a:gd name="connsiteY4435" fmla="*/ 1385723 h 2117064"/>
                        <a:gd name="connsiteX4436" fmla="*/ 214227 w 1263758"/>
                        <a:gd name="connsiteY4436" fmla="*/ 1387524 h 2117064"/>
                        <a:gd name="connsiteX4437" fmla="*/ 211977 w 1263758"/>
                        <a:gd name="connsiteY4437" fmla="*/ 1386624 h 2117064"/>
                        <a:gd name="connsiteX4438" fmla="*/ 208376 w 1263758"/>
                        <a:gd name="connsiteY4438" fmla="*/ 1387074 h 2117064"/>
                        <a:gd name="connsiteX4439" fmla="*/ 204326 w 1263758"/>
                        <a:gd name="connsiteY4439" fmla="*/ 1389774 h 2117064"/>
                        <a:gd name="connsiteX4440" fmla="*/ 199825 w 1263758"/>
                        <a:gd name="connsiteY4440" fmla="*/ 1390224 h 2117064"/>
                        <a:gd name="connsiteX4441" fmla="*/ 183173 w 1263758"/>
                        <a:gd name="connsiteY4441" fmla="*/ 1391124 h 2117064"/>
                        <a:gd name="connsiteX4442" fmla="*/ 175522 w 1263758"/>
                        <a:gd name="connsiteY4442" fmla="*/ 1392924 h 2117064"/>
                        <a:gd name="connsiteX4443" fmla="*/ 171471 w 1263758"/>
                        <a:gd name="connsiteY4443" fmla="*/ 1393374 h 2117064"/>
                        <a:gd name="connsiteX4444" fmla="*/ 168321 w 1263758"/>
                        <a:gd name="connsiteY4444" fmla="*/ 1392924 h 2117064"/>
                        <a:gd name="connsiteX4445" fmla="*/ 166071 w 1263758"/>
                        <a:gd name="connsiteY4445" fmla="*/ 1392024 h 2117064"/>
                        <a:gd name="connsiteX4446" fmla="*/ 161570 w 1263758"/>
                        <a:gd name="connsiteY4446" fmla="*/ 1390674 h 2117064"/>
                        <a:gd name="connsiteX4447" fmla="*/ 159320 w 1263758"/>
                        <a:gd name="connsiteY4447" fmla="*/ 1387074 h 2117064"/>
                        <a:gd name="connsiteX4448" fmla="*/ 154819 w 1263758"/>
                        <a:gd name="connsiteY4448" fmla="*/ 1377172 h 2117064"/>
                        <a:gd name="connsiteX4449" fmla="*/ 153469 w 1263758"/>
                        <a:gd name="connsiteY4449" fmla="*/ 1373122 h 2117064"/>
                        <a:gd name="connsiteX4450" fmla="*/ 153919 w 1263758"/>
                        <a:gd name="connsiteY4450" fmla="*/ 1365921 h 2117064"/>
                        <a:gd name="connsiteX4451" fmla="*/ 153469 w 1263758"/>
                        <a:gd name="connsiteY4451" fmla="*/ 1361871 h 2117064"/>
                        <a:gd name="connsiteX4452" fmla="*/ 152119 w 1263758"/>
                        <a:gd name="connsiteY4452" fmla="*/ 1352869 h 2117064"/>
                        <a:gd name="connsiteX4453" fmla="*/ 151669 w 1263758"/>
                        <a:gd name="connsiteY4453" fmla="*/ 1351969 h 2117064"/>
                        <a:gd name="connsiteX4454" fmla="*/ 143568 w 1263758"/>
                        <a:gd name="connsiteY4454" fmla="*/ 1348819 h 2117064"/>
                        <a:gd name="connsiteX4455" fmla="*/ 138167 w 1263758"/>
                        <a:gd name="connsiteY4455" fmla="*/ 1347919 h 2117064"/>
                        <a:gd name="connsiteX4456" fmla="*/ 130066 w 1263758"/>
                        <a:gd name="connsiteY4456" fmla="*/ 1347919 h 2117064"/>
                        <a:gd name="connsiteX4457" fmla="*/ 120165 w 1263758"/>
                        <a:gd name="connsiteY4457" fmla="*/ 1348369 h 2117064"/>
                        <a:gd name="connsiteX4458" fmla="*/ 110264 w 1263758"/>
                        <a:gd name="connsiteY4458" fmla="*/ 1347469 h 2117064"/>
                        <a:gd name="connsiteX4459" fmla="*/ 105313 w 1263758"/>
                        <a:gd name="connsiteY4459" fmla="*/ 1346119 h 2117064"/>
                        <a:gd name="connsiteX4460" fmla="*/ 100362 w 1263758"/>
                        <a:gd name="connsiteY4460" fmla="*/ 1344318 h 2117064"/>
                        <a:gd name="connsiteX4461" fmla="*/ 91811 w 1263758"/>
                        <a:gd name="connsiteY4461" fmla="*/ 1338918 h 2117064"/>
                        <a:gd name="connsiteX4462" fmla="*/ 91361 w 1263758"/>
                        <a:gd name="connsiteY4462" fmla="*/ 1338468 h 2117064"/>
                        <a:gd name="connsiteX4463" fmla="*/ 90461 w 1263758"/>
                        <a:gd name="connsiteY4463" fmla="*/ 1336667 h 2117064"/>
                        <a:gd name="connsiteX4464" fmla="*/ 89561 w 1263758"/>
                        <a:gd name="connsiteY4464" fmla="*/ 1333517 h 2117064"/>
                        <a:gd name="connsiteX4465" fmla="*/ 87311 w 1263758"/>
                        <a:gd name="connsiteY4465" fmla="*/ 1329466 h 2117064"/>
                        <a:gd name="connsiteX4466" fmla="*/ 85061 w 1263758"/>
                        <a:gd name="connsiteY4466" fmla="*/ 1324516 h 2117064"/>
                        <a:gd name="connsiteX4467" fmla="*/ 510814 w 1263758"/>
                        <a:gd name="connsiteY4467" fmla="*/ 1106689 h 2117064"/>
                        <a:gd name="connsiteX4468" fmla="*/ 507213 w 1263758"/>
                        <a:gd name="connsiteY4468" fmla="*/ 1107589 h 2117064"/>
                        <a:gd name="connsiteX4469" fmla="*/ 504063 w 1263758"/>
                        <a:gd name="connsiteY4469" fmla="*/ 1102638 h 2117064"/>
                        <a:gd name="connsiteX4470" fmla="*/ 504063 w 1263758"/>
                        <a:gd name="connsiteY4470" fmla="*/ 1097687 h 2117064"/>
                        <a:gd name="connsiteX4471" fmla="*/ 504063 w 1263758"/>
                        <a:gd name="connsiteY4471" fmla="*/ 1094987 h 2117064"/>
                        <a:gd name="connsiteX4472" fmla="*/ 504513 w 1263758"/>
                        <a:gd name="connsiteY4472" fmla="*/ 1092737 h 2117064"/>
                        <a:gd name="connsiteX4473" fmla="*/ 505863 w 1263758"/>
                        <a:gd name="connsiteY4473" fmla="*/ 1090937 h 2117064"/>
                        <a:gd name="connsiteX4474" fmla="*/ 509014 w 1263758"/>
                        <a:gd name="connsiteY4474" fmla="*/ 1088686 h 2117064"/>
                        <a:gd name="connsiteX4475" fmla="*/ 510364 w 1263758"/>
                        <a:gd name="connsiteY4475" fmla="*/ 1090486 h 2117064"/>
                        <a:gd name="connsiteX4476" fmla="*/ 510814 w 1263758"/>
                        <a:gd name="connsiteY4476" fmla="*/ 1092737 h 2117064"/>
                        <a:gd name="connsiteX4477" fmla="*/ 511264 w 1263758"/>
                        <a:gd name="connsiteY4477" fmla="*/ 1093637 h 2117064"/>
                        <a:gd name="connsiteX4478" fmla="*/ 513514 w 1263758"/>
                        <a:gd name="connsiteY4478" fmla="*/ 1095437 h 2117064"/>
                        <a:gd name="connsiteX4479" fmla="*/ 514414 w 1263758"/>
                        <a:gd name="connsiteY4479" fmla="*/ 1097687 h 2117064"/>
                        <a:gd name="connsiteX4480" fmla="*/ 514414 w 1263758"/>
                        <a:gd name="connsiteY4480" fmla="*/ 1099938 h 2117064"/>
                        <a:gd name="connsiteX4481" fmla="*/ 513514 w 1263758"/>
                        <a:gd name="connsiteY4481" fmla="*/ 1103538 h 2117064"/>
                        <a:gd name="connsiteX4482" fmla="*/ 512614 w 1263758"/>
                        <a:gd name="connsiteY4482" fmla="*/ 1105788 h 2117064"/>
                        <a:gd name="connsiteX4483" fmla="*/ 511714 w 1263758"/>
                        <a:gd name="connsiteY4483" fmla="*/ 1106689 h 2117064"/>
                        <a:gd name="connsiteX4484" fmla="*/ 510814 w 1263758"/>
                        <a:gd name="connsiteY4484" fmla="*/ 1106689 h 2117064"/>
                        <a:gd name="connsiteX4485" fmla="*/ 553119 w 1263758"/>
                        <a:gd name="connsiteY4485" fmla="*/ 1810577 h 2117064"/>
                        <a:gd name="connsiteX4486" fmla="*/ 542768 w 1263758"/>
                        <a:gd name="connsiteY4486" fmla="*/ 1810577 h 2117064"/>
                        <a:gd name="connsiteX4487" fmla="*/ 533317 w 1263758"/>
                        <a:gd name="connsiteY4487" fmla="*/ 1810577 h 2117064"/>
                        <a:gd name="connsiteX4488" fmla="*/ 523865 w 1263758"/>
                        <a:gd name="connsiteY4488" fmla="*/ 1810577 h 2117064"/>
                        <a:gd name="connsiteX4489" fmla="*/ 514414 w 1263758"/>
                        <a:gd name="connsiteY4489" fmla="*/ 1810577 h 2117064"/>
                        <a:gd name="connsiteX4490" fmla="*/ 504963 w 1263758"/>
                        <a:gd name="connsiteY4490" fmla="*/ 1810577 h 2117064"/>
                        <a:gd name="connsiteX4491" fmla="*/ 495512 w 1263758"/>
                        <a:gd name="connsiteY4491" fmla="*/ 1810577 h 2117064"/>
                        <a:gd name="connsiteX4492" fmla="*/ 486061 w 1263758"/>
                        <a:gd name="connsiteY4492" fmla="*/ 1810577 h 2117064"/>
                        <a:gd name="connsiteX4493" fmla="*/ 476610 w 1263758"/>
                        <a:gd name="connsiteY4493" fmla="*/ 1810577 h 2117064"/>
                        <a:gd name="connsiteX4494" fmla="*/ 467158 w 1263758"/>
                        <a:gd name="connsiteY4494" fmla="*/ 1810577 h 2117064"/>
                        <a:gd name="connsiteX4495" fmla="*/ 457707 w 1263758"/>
                        <a:gd name="connsiteY4495" fmla="*/ 1810577 h 2117064"/>
                        <a:gd name="connsiteX4496" fmla="*/ 448256 w 1263758"/>
                        <a:gd name="connsiteY4496" fmla="*/ 1810577 h 2117064"/>
                        <a:gd name="connsiteX4497" fmla="*/ 438805 w 1263758"/>
                        <a:gd name="connsiteY4497" fmla="*/ 1810577 h 2117064"/>
                        <a:gd name="connsiteX4498" fmla="*/ 429354 w 1263758"/>
                        <a:gd name="connsiteY4498" fmla="*/ 1810577 h 2117064"/>
                        <a:gd name="connsiteX4499" fmla="*/ 419902 w 1263758"/>
                        <a:gd name="connsiteY4499" fmla="*/ 1810577 h 2117064"/>
                        <a:gd name="connsiteX4500" fmla="*/ 410451 w 1263758"/>
                        <a:gd name="connsiteY4500" fmla="*/ 1810577 h 2117064"/>
                        <a:gd name="connsiteX4501" fmla="*/ 400100 w 1263758"/>
                        <a:gd name="connsiteY4501" fmla="*/ 1810577 h 2117064"/>
                        <a:gd name="connsiteX4502" fmla="*/ 400100 w 1263758"/>
                        <a:gd name="connsiteY4502" fmla="*/ 1800225 h 2117064"/>
                        <a:gd name="connsiteX4503" fmla="*/ 400100 w 1263758"/>
                        <a:gd name="connsiteY4503" fmla="*/ 1789874 h 2117064"/>
                        <a:gd name="connsiteX4504" fmla="*/ 400100 w 1263758"/>
                        <a:gd name="connsiteY4504" fmla="*/ 1779523 h 2117064"/>
                        <a:gd name="connsiteX4505" fmla="*/ 400100 w 1263758"/>
                        <a:gd name="connsiteY4505" fmla="*/ 1769171 h 2117064"/>
                        <a:gd name="connsiteX4506" fmla="*/ 400100 w 1263758"/>
                        <a:gd name="connsiteY4506" fmla="*/ 1758820 h 2117064"/>
                        <a:gd name="connsiteX4507" fmla="*/ 400100 w 1263758"/>
                        <a:gd name="connsiteY4507" fmla="*/ 1748019 h 2117064"/>
                        <a:gd name="connsiteX4508" fmla="*/ 400100 w 1263758"/>
                        <a:gd name="connsiteY4508" fmla="*/ 1737217 h 2117064"/>
                        <a:gd name="connsiteX4509" fmla="*/ 400100 w 1263758"/>
                        <a:gd name="connsiteY4509" fmla="*/ 1726416 h 2117064"/>
                        <a:gd name="connsiteX4510" fmla="*/ 400100 w 1263758"/>
                        <a:gd name="connsiteY4510" fmla="*/ 1715615 h 2117064"/>
                        <a:gd name="connsiteX4511" fmla="*/ 400100 w 1263758"/>
                        <a:gd name="connsiteY4511" fmla="*/ 1704813 h 2117064"/>
                        <a:gd name="connsiteX4512" fmla="*/ 400100 w 1263758"/>
                        <a:gd name="connsiteY4512" fmla="*/ 1693562 h 2117064"/>
                        <a:gd name="connsiteX4513" fmla="*/ 400100 w 1263758"/>
                        <a:gd name="connsiteY4513" fmla="*/ 1682311 h 2117064"/>
                        <a:gd name="connsiteX4514" fmla="*/ 400100 w 1263758"/>
                        <a:gd name="connsiteY4514" fmla="*/ 1671059 h 2117064"/>
                        <a:gd name="connsiteX4515" fmla="*/ 400100 w 1263758"/>
                        <a:gd name="connsiteY4515" fmla="*/ 1659808 h 2117064"/>
                        <a:gd name="connsiteX4516" fmla="*/ 400100 w 1263758"/>
                        <a:gd name="connsiteY4516" fmla="*/ 1648556 h 2117064"/>
                        <a:gd name="connsiteX4517" fmla="*/ 400100 w 1263758"/>
                        <a:gd name="connsiteY4517" fmla="*/ 1636855 h 2117064"/>
                        <a:gd name="connsiteX4518" fmla="*/ 400550 w 1263758"/>
                        <a:gd name="connsiteY4518" fmla="*/ 1625604 h 2117064"/>
                        <a:gd name="connsiteX4519" fmla="*/ 400100 w 1263758"/>
                        <a:gd name="connsiteY4519" fmla="*/ 1618403 h 2117064"/>
                        <a:gd name="connsiteX4520" fmla="*/ 390649 w 1263758"/>
                        <a:gd name="connsiteY4520" fmla="*/ 1616602 h 2117064"/>
                        <a:gd name="connsiteX4521" fmla="*/ 381198 w 1263758"/>
                        <a:gd name="connsiteY4521" fmla="*/ 1614802 h 2117064"/>
                        <a:gd name="connsiteX4522" fmla="*/ 371747 w 1263758"/>
                        <a:gd name="connsiteY4522" fmla="*/ 1613002 h 2117064"/>
                        <a:gd name="connsiteX4523" fmla="*/ 362295 w 1263758"/>
                        <a:gd name="connsiteY4523" fmla="*/ 1611202 h 2117064"/>
                        <a:gd name="connsiteX4524" fmla="*/ 352844 w 1263758"/>
                        <a:gd name="connsiteY4524" fmla="*/ 1609401 h 2117064"/>
                        <a:gd name="connsiteX4525" fmla="*/ 343393 w 1263758"/>
                        <a:gd name="connsiteY4525" fmla="*/ 1607601 h 2117064"/>
                        <a:gd name="connsiteX4526" fmla="*/ 333942 w 1263758"/>
                        <a:gd name="connsiteY4526" fmla="*/ 1605801 h 2117064"/>
                        <a:gd name="connsiteX4527" fmla="*/ 324491 w 1263758"/>
                        <a:gd name="connsiteY4527" fmla="*/ 1604001 h 2117064"/>
                        <a:gd name="connsiteX4528" fmla="*/ 315039 w 1263758"/>
                        <a:gd name="connsiteY4528" fmla="*/ 1602201 h 2117064"/>
                        <a:gd name="connsiteX4529" fmla="*/ 305588 w 1263758"/>
                        <a:gd name="connsiteY4529" fmla="*/ 1600400 h 2117064"/>
                        <a:gd name="connsiteX4530" fmla="*/ 296137 w 1263758"/>
                        <a:gd name="connsiteY4530" fmla="*/ 1598600 h 2117064"/>
                        <a:gd name="connsiteX4531" fmla="*/ 286686 w 1263758"/>
                        <a:gd name="connsiteY4531" fmla="*/ 1596800 h 2117064"/>
                        <a:gd name="connsiteX4532" fmla="*/ 277235 w 1263758"/>
                        <a:gd name="connsiteY4532" fmla="*/ 1595000 h 2117064"/>
                        <a:gd name="connsiteX4533" fmla="*/ 267783 w 1263758"/>
                        <a:gd name="connsiteY4533" fmla="*/ 1593199 h 2117064"/>
                        <a:gd name="connsiteX4534" fmla="*/ 258332 w 1263758"/>
                        <a:gd name="connsiteY4534" fmla="*/ 1591399 h 2117064"/>
                        <a:gd name="connsiteX4535" fmla="*/ 248881 w 1263758"/>
                        <a:gd name="connsiteY4535" fmla="*/ 1589599 h 2117064"/>
                        <a:gd name="connsiteX4536" fmla="*/ 243930 w 1263758"/>
                        <a:gd name="connsiteY4536" fmla="*/ 1587799 h 2117064"/>
                        <a:gd name="connsiteX4537" fmla="*/ 237630 w 1263758"/>
                        <a:gd name="connsiteY4537" fmla="*/ 1583298 h 2117064"/>
                        <a:gd name="connsiteX4538" fmla="*/ 231329 w 1263758"/>
                        <a:gd name="connsiteY4538" fmla="*/ 1575647 h 2117064"/>
                        <a:gd name="connsiteX4539" fmla="*/ 225028 w 1263758"/>
                        <a:gd name="connsiteY4539" fmla="*/ 1567996 h 2117064"/>
                        <a:gd name="connsiteX4540" fmla="*/ 218727 w 1263758"/>
                        <a:gd name="connsiteY4540" fmla="*/ 1560345 h 2117064"/>
                        <a:gd name="connsiteX4541" fmla="*/ 212426 w 1263758"/>
                        <a:gd name="connsiteY4541" fmla="*/ 1552694 h 2117064"/>
                        <a:gd name="connsiteX4542" fmla="*/ 202525 w 1263758"/>
                        <a:gd name="connsiteY4542" fmla="*/ 1552694 h 2117064"/>
                        <a:gd name="connsiteX4543" fmla="*/ 192624 w 1263758"/>
                        <a:gd name="connsiteY4543" fmla="*/ 1552694 h 2117064"/>
                        <a:gd name="connsiteX4544" fmla="*/ 182723 w 1263758"/>
                        <a:gd name="connsiteY4544" fmla="*/ 1552694 h 2117064"/>
                        <a:gd name="connsiteX4545" fmla="*/ 172822 w 1263758"/>
                        <a:gd name="connsiteY4545" fmla="*/ 1552694 h 2117064"/>
                        <a:gd name="connsiteX4546" fmla="*/ 167421 w 1263758"/>
                        <a:gd name="connsiteY4546" fmla="*/ 1548644 h 2117064"/>
                        <a:gd name="connsiteX4547" fmla="*/ 162020 w 1263758"/>
                        <a:gd name="connsiteY4547" fmla="*/ 1544593 h 2117064"/>
                        <a:gd name="connsiteX4548" fmla="*/ 156620 w 1263758"/>
                        <a:gd name="connsiteY4548" fmla="*/ 1540543 h 2117064"/>
                        <a:gd name="connsiteX4549" fmla="*/ 151219 w 1263758"/>
                        <a:gd name="connsiteY4549" fmla="*/ 1536492 h 2117064"/>
                        <a:gd name="connsiteX4550" fmla="*/ 145818 w 1263758"/>
                        <a:gd name="connsiteY4550" fmla="*/ 1532442 h 2117064"/>
                        <a:gd name="connsiteX4551" fmla="*/ 140417 w 1263758"/>
                        <a:gd name="connsiteY4551" fmla="*/ 1528391 h 2117064"/>
                        <a:gd name="connsiteX4552" fmla="*/ 135017 w 1263758"/>
                        <a:gd name="connsiteY4552" fmla="*/ 1524341 h 2117064"/>
                        <a:gd name="connsiteX4553" fmla="*/ 129616 w 1263758"/>
                        <a:gd name="connsiteY4553" fmla="*/ 1520290 h 2117064"/>
                        <a:gd name="connsiteX4554" fmla="*/ 124216 w 1263758"/>
                        <a:gd name="connsiteY4554" fmla="*/ 1516240 h 2117064"/>
                        <a:gd name="connsiteX4555" fmla="*/ 118815 w 1263758"/>
                        <a:gd name="connsiteY4555" fmla="*/ 1512189 h 2117064"/>
                        <a:gd name="connsiteX4556" fmla="*/ 113414 w 1263758"/>
                        <a:gd name="connsiteY4556" fmla="*/ 1508139 h 2117064"/>
                        <a:gd name="connsiteX4557" fmla="*/ 108014 w 1263758"/>
                        <a:gd name="connsiteY4557" fmla="*/ 1504088 h 2117064"/>
                        <a:gd name="connsiteX4558" fmla="*/ 102613 w 1263758"/>
                        <a:gd name="connsiteY4558" fmla="*/ 1500038 h 2117064"/>
                        <a:gd name="connsiteX4559" fmla="*/ 97212 w 1263758"/>
                        <a:gd name="connsiteY4559" fmla="*/ 1495987 h 2117064"/>
                        <a:gd name="connsiteX4560" fmla="*/ 91811 w 1263758"/>
                        <a:gd name="connsiteY4560" fmla="*/ 1491937 h 2117064"/>
                        <a:gd name="connsiteX4561" fmla="*/ 86411 w 1263758"/>
                        <a:gd name="connsiteY4561" fmla="*/ 1487886 h 2117064"/>
                        <a:gd name="connsiteX4562" fmla="*/ 81010 w 1263758"/>
                        <a:gd name="connsiteY4562" fmla="*/ 1483836 h 2117064"/>
                        <a:gd name="connsiteX4563" fmla="*/ 75609 w 1263758"/>
                        <a:gd name="connsiteY4563" fmla="*/ 1479785 h 2117064"/>
                        <a:gd name="connsiteX4564" fmla="*/ 70209 w 1263758"/>
                        <a:gd name="connsiteY4564" fmla="*/ 1475735 h 2117064"/>
                        <a:gd name="connsiteX4565" fmla="*/ 64808 w 1263758"/>
                        <a:gd name="connsiteY4565" fmla="*/ 1471684 h 2117064"/>
                        <a:gd name="connsiteX4566" fmla="*/ 59407 w 1263758"/>
                        <a:gd name="connsiteY4566" fmla="*/ 1467634 h 2117064"/>
                        <a:gd name="connsiteX4567" fmla="*/ 54007 w 1263758"/>
                        <a:gd name="connsiteY4567" fmla="*/ 1463583 h 2117064"/>
                        <a:gd name="connsiteX4568" fmla="*/ 48606 w 1263758"/>
                        <a:gd name="connsiteY4568" fmla="*/ 1459083 h 2117064"/>
                        <a:gd name="connsiteX4569" fmla="*/ 43205 w 1263758"/>
                        <a:gd name="connsiteY4569" fmla="*/ 1454582 h 2117064"/>
                        <a:gd name="connsiteX4570" fmla="*/ 37805 w 1263758"/>
                        <a:gd name="connsiteY4570" fmla="*/ 1450082 h 2117064"/>
                        <a:gd name="connsiteX4571" fmla="*/ 32404 w 1263758"/>
                        <a:gd name="connsiteY4571" fmla="*/ 1445581 h 2117064"/>
                        <a:gd name="connsiteX4572" fmla="*/ 27003 w 1263758"/>
                        <a:gd name="connsiteY4572" fmla="*/ 1441080 h 2117064"/>
                        <a:gd name="connsiteX4573" fmla="*/ 21603 w 1263758"/>
                        <a:gd name="connsiteY4573" fmla="*/ 1436580 h 2117064"/>
                        <a:gd name="connsiteX4574" fmla="*/ 16202 w 1263758"/>
                        <a:gd name="connsiteY4574" fmla="*/ 1432079 h 2117064"/>
                        <a:gd name="connsiteX4575" fmla="*/ 10801 w 1263758"/>
                        <a:gd name="connsiteY4575" fmla="*/ 1427579 h 2117064"/>
                        <a:gd name="connsiteX4576" fmla="*/ 5401 w 1263758"/>
                        <a:gd name="connsiteY4576" fmla="*/ 1423078 h 2117064"/>
                        <a:gd name="connsiteX4577" fmla="*/ 0 w 1263758"/>
                        <a:gd name="connsiteY4577" fmla="*/ 1418578 h 2117064"/>
                        <a:gd name="connsiteX4578" fmla="*/ 0 w 1263758"/>
                        <a:gd name="connsiteY4578" fmla="*/ 1406876 h 2117064"/>
                        <a:gd name="connsiteX4579" fmla="*/ 0 w 1263758"/>
                        <a:gd name="connsiteY4579" fmla="*/ 1395175 h 2117064"/>
                        <a:gd name="connsiteX4580" fmla="*/ 0 w 1263758"/>
                        <a:gd name="connsiteY4580" fmla="*/ 1383473 h 2117064"/>
                        <a:gd name="connsiteX4581" fmla="*/ 0 w 1263758"/>
                        <a:gd name="connsiteY4581" fmla="*/ 1371322 h 2117064"/>
                        <a:gd name="connsiteX4582" fmla="*/ 0 w 1263758"/>
                        <a:gd name="connsiteY4582" fmla="*/ 1359170 h 2117064"/>
                        <a:gd name="connsiteX4583" fmla="*/ 0 w 1263758"/>
                        <a:gd name="connsiteY4583" fmla="*/ 1347019 h 2117064"/>
                        <a:gd name="connsiteX4584" fmla="*/ 0 w 1263758"/>
                        <a:gd name="connsiteY4584" fmla="*/ 1327216 h 2117064"/>
                        <a:gd name="connsiteX4585" fmla="*/ 8101 w 1263758"/>
                        <a:gd name="connsiteY4585" fmla="*/ 1336217 h 2117064"/>
                        <a:gd name="connsiteX4586" fmla="*/ 11251 w 1263758"/>
                        <a:gd name="connsiteY4586" fmla="*/ 1338468 h 2117064"/>
                        <a:gd name="connsiteX4587" fmla="*/ 17552 w 1263758"/>
                        <a:gd name="connsiteY4587" fmla="*/ 1340718 h 2117064"/>
                        <a:gd name="connsiteX4588" fmla="*/ 38255 w 1263758"/>
                        <a:gd name="connsiteY4588" fmla="*/ 1345668 h 2117064"/>
                        <a:gd name="connsiteX4589" fmla="*/ 40955 w 1263758"/>
                        <a:gd name="connsiteY4589" fmla="*/ 1347019 h 2117064"/>
                        <a:gd name="connsiteX4590" fmla="*/ 46356 w 1263758"/>
                        <a:gd name="connsiteY4590" fmla="*/ 1352419 h 2117064"/>
                        <a:gd name="connsiteX4591" fmla="*/ 49956 w 1263758"/>
                        <a:gd name="connsiteY4591" fmla="*/ 1355570 h 2117064"/>
                        <a:gd name="connsiteX4592" fmla="*/ 54457 w 1263758"/>
                        <a:gd name="connsiteY4592" fmla="*/ 1358720 h 2117064"/>
                        <a:gd name="connsiteX4593" fmla="*/ 59857 w 1263758"/>
                        <a:gd name="connsiteY4593" fmla="*/ 1361420 h 2117064"/>
                        <a:gd name="connsiteX4594" fmla="*/ 70659 w 1263758"/>
                        <a:gd name="connsiteY4594" fmla="*/ 1365471 h 2117064"/>
                        <a:gd name="connsiteX4595" fmla="*/ 72459 w 1263758"/>
                        <a:gd name="connsiteY4595" fmla="*/ 1366821 h 2117064"/>
                        <a:gd name="connsiteX4596" fmla="*/ 74259 w 1263758"/>
                        <a:gd name="connsiteY4596" fmla="*/ 1367271 h 2117064"/>
                        <a:gd name="connsiteX4597" fmla="*/ 76510 w 1263758"/>
                        <a:gd name="connsiteY4597" fmla="*/ 1366821 h 2117064"/>
                        <a:gd name="connsiteX4598" fmla="*/ 86411 w 1263758"/>
                        <a:gd name="connsiteY4598" fmla="*/ 1369071 h 2117064"/>
                        <a:gd name="connsiteX4599" fmla="*/ 89111 w 1263758"/>
                        <a:gd name="connsiteY4599" fmla="*/ 1369071 h 2117064"/>
                        <a:gd name="connsiteX4600" fmla="*/ 90911 w 1263758"/>
                        <a:gd name="connsiteY4600" fmla="*/ 1369521 h 2117064"/>
                        <a:gd name="connsiteX4601" fmla="*/ 93162 w 1263758"/>
                        <a:gd name="connsiteY4601" fmla="*/ 1371322 h 2117064"/>
                        <a:gd name="connsiteX4602" fmla="*/ 96762 w 1263758"/>
                        <a:gd name="connsiteY4602" fmla="*/ 1371772 h 2117064"/>
                        <a:gd name="connsiteX4603" fmla="*/ 96762 w 1263758"/>
                        <a:gd name="connsiteY4603" fmla="*/ 1370872 h 2117064"/>
                        <a:gd name="connsiteX4604" fmla="*/ 92712 w 1263758"/>
                        <a:gd name="connsiteY4604" fmla="*/ 1365021 h 2117064"/>
                        <a:gd name="connsiteX4605" fmla="*/ 92712 w 1263758"/>
                        <a:gd name="connsiteY4605" fmla="*/ 1364121 h 2117064"/>
                        <a:gd name="connsiteX4606" fmla="*/ 94512 w 1263758"/>
                        <a:gd name="connsiteY4606" fmla="*/ 1364121 h 2117064"/>
                        <a:gd name="connsiteX4607" fmla="*/ 99462 w 1263758"/>
                        <a:gd name="connsiteY4607" fmla="*/ 1365021 h 2117064"/>
                        <a:gd name="connsiteX4608" fmla="*/ 100362 w 1263758"/>
                        <a:gd name="connsiteY4608" fmla="*/ 1363221 h 2117064"/>
                        <a:gd name="connsiteX4609" fmla="*/ 102163 w 1263758"/>
                        <a:gd name="connsiteY4609" fmla="*/ 1363221 h 2117064"/>
                        <a:gd name="connsiteX4610" fmla="*/ 105763 w 1263758"/>
                        <a:gd name="connsiteY4610" fmla="*/ 1364121 h 2117064"/>
                        <a:gd name="connsiteX4611" fmla="*/ 109814 w 1263758"/>
                        <a:gd name="connsiteY4611" fmla="*/ 1365921 h 2117064"/>
                        <a:gd name="connsiteX4612" fmla="*/ 114314 w 1263758"/>
                        <a:gd name="connsiteY4612" fmla="*/ 1368621 h 2117064"/>
                        <a:gd name="connsiteX4613" fmla="*/ 119715 w 1263758"/>
                        <a:gd name="connsiteY4613" fmla="*/ 1370872 h 2117064"/>
                        <a:gd name="connsiteX4614" fmla="*/ 127816 w 1263758"/>
                        <a:gd name="connsiteY4614" fmla="*/ 1377172 h 2117064"/>
                        <a:gd name="connsiteX4615" fmla="*/ 132317 w 1263758"/>
                        <a:gd name="connsiteY4615" fmla="*/ 1382123 h 2117064"/>
                        <a:gd name="connsiteX4616" fmla="*/ 136367 w 1263758"/>
                        <a:gd name="connsiteY4616" fmla="*/ 1388424 h 2117064"/>
                        <a:gd name="connsiteX4617" fmla="*/ 138617 w 1263758"/>
                        <a:gd name="connsiteY4617" fmla="*/ 1392924 h 2117064"/>
                        <a:gd name="connsiteX4618" fmla="*/ 139067 w 1263758"/>
                        <a:gd name="connsiteY4618" fmla="*/ 1395175 h 2117064"/>
                        <a:gd name="connsiteX4619" fmla="*/ 139968 w 1263758"/>
                        <a:gd name="connsiteY4619" fmla="*/ 1396525 h 2117064"/>
                        <a:gd name="connsiteX4620" fmla="*/ 141318 w 1263758"/>
                        <a:gd name="connsiteY4620" fmla="*/ 1396525 h 2117064"/>
                        <a:gd name="connsiteX4621" fmla="*/ 141768 w 1263758"/>
                        <a:gd name="connsiteY4621" fmla="*/ 1397425 h 2117064"/>
                        <a:gd name="connsiteX4622" fmla="*/ 140417 w 1263758"/>
                        <a:gd name="connsiteY4622" fmla="*/ 1402826 h 2117064"/>
                        <a:gd name="connsiteX4623" fmla="*/ 139517 w 1263758"/>
                        <a:gd name="connsiteY4623" fmla="*/ 1404176 h 2117064"/>
                        <a:gd name="connsiteX4624" fmla="*/ 138617 w 1263758"/>
                        <a:gd name="connsiteY4624" fmla="*/ 1405076 h 2117064"/>
                        <a:gd name="connsiteX4625" fmla="*/ 135017 w 1263758"/>
                        <a:gd name="connsiteY4625" fmla="*/ 1405976 h 2117064"/>
                        <a:gd name="connsiteX4626" fmla="*/ 124666 w 1263758"/>
                        <a:gd name="connsiteY4626" fmla="*/ 1404626 h 2117064"/>
                        <a:gd name="connsiteX4627" fmla="*/ 122865 w 1263758"/>
                        <a:gd name="connsiteY4627" fmla="*/ 1409126 h 2117064"/>
                        <a:gd name="connsiteX4628" fmla="*/ 117015 w 1263758"/>
                        <a:gd name="connsiteY4628" fmla="*/ 1412727 h 2117064"/>
                        <a:gd name="connsiteX4629" fmla="*/ 116114 w 1263758"/>
                        <a:gd name="connsiteY4629" fmla="*/ 1414077 h 2117064"/>
                        <a:gd name="connsiteX4630" fmla="*/ 115664 w 1263758"/>
                        <a:gd name="connsiteY4630" fmla="*/ 1415427 h 2117064"/>
                        <a:gd name="connsiteX4631" fmla="*/ 116114 w 1263758"/>
                        <a:gd name="connsiteY4631" fmla="*/ 1419028 h 2117064"/>
                        <a:gd name="connsiteX4632" fmla="*/ 115214 w 1263758"/>
                        <a:gd name="connsiteY4632" fmla="*/ 1420378 h 2117064"/>
                        <a:gd name="connsiteX4633" fmla="*/ 110264 w 1263758"/>
                        <a:gd name="connsiteY4633" fmla="*/ 1424428 h 2117064"/>
                        <a:gd name="connsiteX4634" fmla="*/ 110264 w 1263758"/>
                        <a:gd name="connsiteY4634" fmla="*/ 1425778 h 2117064"/>
                        <a:gd name="connsiteX4635" fmla="*/ 113414 w 1263758"/>
                        <a:gd name="connsiteY4635" fmla="*/ 1427579 h 2117064"/>
                        <a:gd name="connsiteX4636" fmla="*/ 116565 w 1263758"/>
                        <a:gd name="connsiteY4636" fmla="*/ 1430729 h 2117064"/>
                        <a:gd name="connsiteX4637" fmla="*/ 119265 w 1263758"/>
                        <a:gd name="connsiteY4637" fmla="*/ 1431629 h 2117064"/>
                        <a:gd name="connsiteX4638" fmla="*/ 122415 w 1263758"/>
                        <a:gd name="connsiteY4638" fmla="*/ 1431179 h 2117064"/>
                        <a:gd name="connsiteX4639" fmla="*/ 126466 w 1263758"/>
                        <a:gd name="connsiteY4639" fmla="*/ 1432079 h 2117064"/>
                        <a:gd name="connsiteX4640" fmla="*/ 131416 w 1263758"/>
                        <a:gd name="connsiteY4640" fmla="*/ 1434330 h 2117064"/>
                        <a:gd name="connsiteX4641" fmla="*/ 135017 w 1263758"/>
                        <a:gd name="connsiteY4641" fmla="*/ 1435680 h 2117064"/>
                        <a:gd name="connsiteX4642" fmla="*/ 136817 w 1263758"/>
                        <a:gd name="connsiteY4642" fmla="*/ 1435680 h 2117064"/>
                        <a:gd name="connsiteX4643" fmla="*/ 139517 w 1263758"/>
                        <a:gd name="connsiteY4643" fmla="*/ 1436130 h 2117064"/>
                        <a:gd name="connsiteX4644" fmla="*/ 142668 w 1263758"/>
                        <a:gd name="connsiteY4644" fmla="*/ 1437030 h 2117064"/>
                        <a:gd name="connsiteX4645" fmla="*/ 147168 w 1263758"/>
                        <a:gd name="connsiteY4645" fmla="*/ 1437480 h 2117064"/>
                        <a:gd name="connsiteX4646" fmla="*/ 157070 w 1263758"/>
                        <a:gd name="connsiteY4646" fmla="*/ 1437480 h 2117064"/>
                        <a:gd name="connsiteX4647" fmla="*/ 160220 w 1263758"/>
                        <a:gd name="connsiteY4647" fmla="*/ 1438380 h 2117064"/>
                        <a:gd name="connsiteX4648" fmla="*/ 164271 w 1263758"/>
                        <a:gd name="connsiteY4648" fmla="*/ 1438830 h 2117064"/>
                        <a:gd name="connsiteX4649" fmla="*/ 172371 w 1263758"/>
                        <a:gd name="connsiteY4649" fmla="*/ 1438830 h 2117064"/>
                        <a:gd name="connsiteX4650" fmla="*/ 173722 w 1263758"/>
                        <a:gd name="connsiteY4650" fmla="*/ 1438830 h 2117064"/>
                        <a:gd name="connsiteX4651" fmla="*/ 176422 w 1263758"/>
                        <a:gd name="connsiteY4651" fmla="*/ 1437030 h 2117064"/>
                        <a:gd name="connsiteX4652" fmla="*/ 178222 w 1263758"/>
                        <a:gd name="connsiteY4652" fmla="*/ 1436580 h 2117064"/>
                        <a:gd name="connsiteX4653" fmla="*/ 180923 w 1263758"/>
                        <a:gd name="connsiteY4653" fmla="*/ 1436580 h 2117064"/>
                        <a:gd name="connsiteX4654" fmla="*/ 189024 w 1263758"/>
                        <a:gd name="connsiteY4654" fmla="*/ 1435230 h 2117064"/>
                        <a:gd name="connsiteX4655" fmla="*/ 191724 w 1263758"/>
                        <a:gd name="connsiteY4655" fmla="*/ 1435230 h 2117064"/>
                        <a:gd name="connsiteX4656" fmla="*/ 194424 w 1263758"/>
                        <a:gd name="connsiteY4656" fmla="*/ 1434330 h 2117064"/>
                        <a:gd name="connsiteX4657" fmla="*/ 198025 w 1263758"/>
                        <a:gd name="connsiteY4657" fmla="*/ 1432079 h 2117064"/>
                        <a:gd name="connsiteX4658" fmla="*/ 200275 w 1263758"/>
                        <a:gd name="connsiteY4658" fmla="*/ 1431629 h 2117064"/>
                        <a:gd name="connsiteX4659" fmla="*/ 201175 w 1263758"/>
                        <a:gd name="connsiteY4659" fmla="*/ 1432979 h 2117064"/>
                        <a:gd name="connsiteX4660" fmla="*/ 202525 w 1263758"/>
                        <a:gd name="connsiteY4660" fmla="*/ 1433429 h 2117064"/>
                        <a:gd name="connsiteX4661" fmla="*/ 204776 w 1263758"/>
                        <a:gd name="connsiteY4661" fmla="*/ 1433429 h 2117064"/>
                        <a:gd name="connsiteX4662" fmla="*/ 208826 w 1263758"/>
                        <a:gd name="connsiteY4662" fmla="*/ 1431179 h 2117064"/>
                        <a:gd name="connsiteX4663" fmla="*/ 217827 w 1263758"/>
                        <a:gd name="connsiteY4663" fmla="*/ 1424428 h 2117064"/>
                        <a:gd name="connsiteX4664" fmla="*/ 220978 w 1263758"/>
                        <a:gd name="connsiteY4664" fmla="*/ 1424428 h 2117064"/>
                        <a:gd name="connsiteX4665" fmla="*/ 223228 w 1263758"/>
                        <a:gd name="connsiteY4665" fmla="*/ 1422178 h 2117064"/>
                        <a:gd name="connsiteX4666" fmla="*/ 223678 w 1263758"/>
                        <a:gd name="connsiteY4666" fmla="*/ 1422178 h 2117064"/>
                        <a:gd name="connsiteX4667" fmla="*/ 224128 w 1263758"/>
                        <a:gd name="connsiteY4667" fmla="*/ 1423078 h 2117064"/>
                        <a:gd name="connsiteX4668" fmla="*/ 226378 w 1263758"/>
                        <a:gd name="connsiteY4668" fmla="*/ 1428029 h 2117064"/>
                        <a:gd name="connsiteX4669" fmla="*/ 227278 w 1263758"/>
                        <a:gd name="connsiteY4669" fmla="*/ 1428929 h 2117064"/>
                        <a:gd name="connsiteX4670" fmla="*/ 228629 w 1263758"/>
                        <a:gd name="connsiteY4670" fmla="*/ 1429379 h 2117064"/>
                        <a:gd name="connsiteX4671" fmla="*/ 229979 w 1263758"/>
                        <a:gd name="connsiteY4671" fmla="*/ 1432079 h 2117064"/>
                        <a:gd name="connsiteX4672" fmla="*/ 231329 w 1263758"/>
                        <a:gd name="connsiteY4672" fmla="*/ 1436130 h 2117064"/>
                        <a:gd name="connsiteX4673" fmla="*/ 232679 w 1263758"/>
                        <a:gd name="connsiteY4673" fmla="*/ 1437030 h 2117064"/>
                        <a:gd name="connsiteX4674" fmla="*/ 241230 w 1263758"/>
                        <a:gd name="connsiteY4674" fmla="*/ 1437030 h 2117064"/>
                        <a:gd name="connsiteX4675" fmla="*/ 244380 w 1263758"/>
                        <a:gd name="connsiteY4675" fmla="*/ 1437930 h 2117064"/>
                        <a:gd name="connsiteX4676" fmla="*/ 245281 w 1263758"/>
                        <a:gd name="connsiteY4676" fmla="*/ 1438830 h 2117064"/>
                        <a:gd name="connsiteX4677" fmla="*/ 246181 w 1263758"/>
                        <a:gd name="connsiteY4677" fmla="*/ 1441980 h 2117064"/>
                        <a:gd name="connsiteX4678" fmla="*/ 246631 w 1263758"/>
                        <a:gd name="connsiteY4678" fmla="*/ 1447831 h 2117064"/>
                        <a:gd name="connsiteX4679" fmla="*/ 247081 w 1263758"/>
                        <a:gd name="connsiteY4679" fmla="*/ 1450082 h 2117064"/>
                        <a:gd name="connsiteX4680" fmla="*/ 248431 w 1263758"/>
                        <a:gd name="connsiteY4680" fmla="*/ 1453232 h 2117064"/>
                        <a:gd name="connsiteX4681" fmla="*/ 249331 w 1263758"/>
                        <a:gd name="connsiteY4681" fmla="*/ 1454132 h 2117064"/>
                        <a:gd name="connsiteX4682" fmla="*/ 250231 w 1263758"/>
                        <a:gd name="connsiteY4682" fmla="*/ 1453232 h 2117064"/>
                        <a:gd name="connsiteX4683" fmla="*/ 252482 w 1263758"/>
                        <a:gd name="connsiteY4683" fmla="*/ 1445131 h 2117064"/>
                        <a:gd name="connsiteX4684" fmla="*/ 253382 w 1263758"/>
                        <a:gd name="connsiteY4684" fmla="*/ 1443781 h 2117064"/>
                        <a:gd name="connsiteX4685" fmla="*/ 254732 w 1263758"/>
                        <a:gd name="connsiteY4685" fmla="*/ 1444231 h 2117064"/>
                        <a:gd name="connsiteX4686" fmla="*/ 255182 w 1263758"/>
                        <a:gd name="connsiteY4686" fmla="*/ 1444681 h 2117064"/>
                        <a:gd name="connsiteX4687" fmla="*/ 257432 w 1263758"/>
                        <a:gd name="connsiteY4687" fmla="*/ 1450532 h 2117064"/>
                        <a:gd name="connsiteX4688" fmla="*/ 260583 w 1263758"/>
                        <a:gd name="connsiteY4688" fmla="*/ 1455032 h 2117064"/>
                        <a:gd name="connsiteX4689" fmla="*/ 268234 w 1263758"/>
                        <a:gd name="connsiteY4689" fmla="*/ 1463133 h 2117064"/>
                        <a:gd name="connsiteX4690" fmla="*/ 269584 w 1263758"/>
                        <a:gd name="connsiteY4690" fmla="*/ 1466283 h 2117064"/>
                        <a:gd name="connsiteX4691" fmla="*/ 270034 w 1263758"/>
                        <a:gd name="connsiteY4691" fmla="*/ 1468534 h 2117064"/>
                        <a:gd name="connsiteX4692" fmla="*/ 269584 w 1263758"/>
                        <a:gd name="connsiteY4692" fmla="*/ 1470334 h 2117064"/>
                        <a:gd name="connsiteX4693" fmla="*/ 268234 w 1263758"/>
                        <a:gd name="connsiteY4693" fmla="*/ 1472134 h 2117064"/>
                        <a:gd name="connsiteX4694" fmla="*/ 265983 w 1263758"/>
                        <a:gd name="connsiteY4694" fmla="*/ 1473484 h 2117064"/>
                        <a:gd name="connsiteX4695" fmla="*/ 263283 w 1263758"/>
                        <a:gd name="connsiteY4695" fmla="*/ 1474385 h 2117064"/>
                        <a:gd name="connsiteX4696" fmla="*/ 260583 w 1263758"/>
                        <a:gd name="connsiteY4696" fmla="*/ 1473934 h 2117064"/>
                        <a:gd name="connsiteX4697" fmla="*/ 258332 w 1263758"/>
                        <a:gd name="connsiteY4697" fmla="*/ 1472134 h 2117064"/>
                        <a:gd name="connsiteX4698" fmla="*/ 257432 w 1263758"/>
                        <a:gd name="connsiteY4698" fmla="*/ 1472134 h 2117064"/>
                        <a:gd name="connsiteX4699" fmla="*/ 258332 w 1263758"/>
                        <a:gd name="connsiteY4699" fmla="*/ 1473934 h 2117064"/>
                        <a:gd name="connsiteX4700" fmla="*/ 263283 w 1263758"/>
                        <a:gd name="connsiteY4700" fmla="*/ 1480685 h 2117064"/>
                        <a:gd name="connsiteX4701" fmla="*/ 264633 w 1263758"/>
                        <a:gd name="connsiteY4701" fmla="*/ 1483386 h 2117064"/>
                        <a:gd name="connsiteX4702" fmla="*/ 265983 w 1263758"/>
                        <a:gd name="connsiteY4702" fmla="*/ 1485186 h 2117064"/>
                        <a:gd name="connsiteX4703" fmla="*/ 266883 w 1263758"/>
                        <a:gd name="connsiteY4703" fmla="*/ 1486086 h 2117064"/>
                        <a:gd name="connsiteX4704" fmla="*/ 267783 w 1263758"/>
                        <a:gd name="connsiteY4704" fmla="*/ 1487436 h 2117064"/>
                        <a:gd name="connsiteX4705" fmla="*/ 268684 w 1263758"/>
                        <a:gd name="connsiteY4705" fmla="*/ 1489236 h 2117064"/>
                        <a:gd name="connsiteX4706" fmla="*/ 272734 w 1263758"/>
                        <a:gd name="connsiteY4706" fmla="*/ 1494637 h 2117064"/>
                        <a:gd name="connsiteX4707" fmla="*/ 274084 w 1263758"/>
                        <a:gd name="connsiteY4707" fmla="*/ 1497337 h 2117064"/>
                        <a:gd name="connsiteX4708" fmla="*/ 279035 w 1263758"/>
                        <a:gd name="connsiteY4708" fmla="*/ 1504988 h 2117064"/>
                        <a:gd name="connsiteX4709" fmla="*/ 281285 w 1263758"/>
                        <a:gd name="connsiteY4709" fmla="*/ 1508139 h 2117064"/>
                        <a:gd name="connsiteX4710" fmla="*/ 283085 w 1263758"/>
                        <a:gd name="connsiteY4710" fmla="*/ 1509939 h 2117064"/>
                        <a:gd name="connsiteX4711" fmla="*/ 283986 w 1263758"/>
                        <a:gd name="connsiteY4711" fmla="*/ 1509939 h 2117064"/>
                        <a:gd name="connsiteX4712" fmla="*/ 283535 w 1263758"/>
                        <a:gd name="connsiteY4712" fmla="*/ 1508589 h 2117064"/>
                        <a:gd name="connsiteX4713" fmla="*/ 277235 w 1263758"/>
                        <a:gd name="connsiteY4713" fmla="*/ 1498238 h 2117064"/>
                        <a:gd name="connsiteX4714" fmla="*/ 274084 w 1263758"/>
                        <a:gd name="connsiteY4714" fmla="*/ 1491937 h 2117064"/>
                        <a:gd name="connsiteX4715" fmla="*/ 273634 w 1263758"/>
                        <a:gd name="connsiteY4715" fmla="*/ 1490587 h 2117064"/>
                        <a:gd name="connsiteX4716" fmla="*/ 273634 w 1263758"/>
                        <a:gd name="connsiteY4716" fmla="*/ 1488336 h 2117064"/>
                        <a:gd name="connsiteX4717" fmla="*/ 273634 w 1263758"/>
                        <a:gd name="connsiteY4717" fmla="*/ 1480235 h 2117064"/>
                        <a:gd name="connsiteX4718" fmla="*/ 274084 w 1263758"/>
                        <a:gd name="connsiteY4718" fmla="*/ 1478885 h 2117064"/>
                        <a:gd name="connsiteX4719" fmla="*/ 276335 w 1263758"/>
                        <a:gd name="connsiteY4719" fmla="*/ 1477985 h 2117064"/>
                        <a:gd name="connsiteX4720" fmla="*/ 279035 w 1263758"/>
                        <a:gd name="connsiteY4720" fmla="*/ 1481586 h 2117064"/>
                        <a:gd name="connsiteX4721" fmla="*/ 279935 w 1263758"/>
                        <a:gd name="connsiteY4721" fmla="*/ 1482035 h 2117064"/>
                        <a:gd name="connsiteX4722" fmla="*/ 280835 w 1263758"/>
                        <a:gd name="connsiteY4722" fmla="*/ 1482035 h 2117064"/>
                        <a:gd name="connsiteX4723" fmla="*/ 281285 w 1263758"/>
                        <a:gd name="connsiteY4723" fmla="*/ 1481135 h 2117064"/>
                        <a:gd name="connsiteX4724" fmla="*/ 282635 w 1263758"/>
                        <a:gd name="connsiteY4724" fmla="*/ 1482035 h 2117064"/>
                        <a:gd name="connsiteX4725" fmla="*/ 285336 w 1263758"/>
                        <a:gd name="connsiteY4725" fmla="*/ 1484736 h 2117064"/>
                        <a:gd name="connsiteX4726" fmla="*/ 286236 w 1263758"/>
                        <a:gd name="connsiteY4726" fmla="*/ 1484736 h 2117064"/>
                        <a:gd name="connsiteX4727" fmla="*/ 283986 w 1263758"/>
                        <a:gd name="connsiteY4727" fmla="*/ 1479785 h 2117064"/>
                        <a:gd name="connsiteX4728" fmla="*/ 282635 w 1263758"/>
                        <a:gd name="connsiteY4728" fmla="*/ 1477085 h 2117064"/>
                        <a:gd name="connsiteX4729" fmla="*/ 282185 w 1263758"/>
                        <a:gd name="connsiteY4729" fmla="*/ 1475285 h 2117064"/>
                        <a:gd name="connsiteX4730" fmla="*/ 283535 w 1263758"/>
                        <a:gd name="connsiteY4730" fmla="*/ 1472584 h 2117064"/>
                        <a:gd name="connsiteX4731" fmla="*/ 282635 w 1263758"/>
                        <a:gd name="connsiteY4731" fmla="*/ 1471234 h 2117064"/>
                        <a:gd name="connsiteX4732" fmla="*/ 279035 w 1263758"/>
                        <a:gd name="connsiteY4732" fmla="*/ 1467184 h 2117064"/>
                        <a:gd name="connsiteX4733" fmla="*/ 277235 w 1263758"/>
                        <a:gd name="connsiteY4733" fmla="*/ 1463133 h 2117064"/>
                        <a:gd name="connsiteX4734" fmla="*/ 275434 w 1263758"/>
                        <a:gd name="connsiteY4734" fmla="*/ 1456832 h 2117064"/>
                        <a:gd name="connsiteX4735" fmla="*/ 275434 w 1263758"/>
                        <a:gd name="connsiteY4735" fmla="*/ 1454582 h 2117064"/>
                        <a:gd name="connsiteX4736" fmla="*/ 275884 w 1263758"/>
                        <a:gd name="connsiteY4736" fmla="*/ 1451882 h 2117064"/>
                        <a:gd name="connsiteX4737" fmla="*/ 275434 w 1263758"/>
                        <a:gd name="connsiteY4737" fmla="*/ 1449631 h 2117064"/>
                        <a:gd name="connsiteX4738" fmla="*/ 273184 w 1263758"/>
                        <a:gd name="connsiteY4738" fmla="*/ 1445581 h 2117064"/>
                        <a:gd name="connsiteX4739" fmla="*/ 270934 w 1263758"/>
                        <a:gd name="connsiteY4739" fmla="*/ 1442881 h 2117064"/>
                        <a:gd name="connsiteX4740" fmla="*/ 269134 w 1263758"/>
                        <a:gd name="connsiteY4740" fmla="*/ 1439280 h 2117064"/>
                        <a:gd name="connsiteX4741" fmla="*/ 268684 w 1263758"/>
                        <a:gd name="connsiteY4741" fmla="*/ 1437480 h 2117064"/>
                        <a:gd name="connsiteX4742" fmla="*/ 269134 w 1263758"/>
                        <a:gd name="connsiteY4742" fmla="*/ 1432529 h 2117064"/>
                        <a:gd name="connsiteX4743" fmla="*/ 270484 w 1263758"/>
                        <a:gd name="connsiteY4743" fmla="*/ 1430279 h 2117064"/>
                        <a:gd name="connsiteX4744" fmla="*/ 273184 w 1263758"/>
                        <a:gd name="connsiteY4744" fmla="*/ 1427579 h 2117064"/>
                        <a:gd name="connsiteX4745" fmla="*/ 274084 w 1263758"/>
                        <a:gd name="connsiteY4745" fmla="*/ 1424428 h 2117064"/>
                        <a:gd name="connsiteX4746" fmla="*/ 272734 w 1263758"/>
                        <a:gd name="connsiteY4746" fmla="*/ 1421278 h 2117064"/>
                        <a:gd name="connsiteX4747" fmla="*/ 272284 w 1263758"/>
                        <a:gd name="connsiteY4747" fmla="*/ 1419928 h 2117064"/>
                        <a:gd name="connsiteX4748" fmla="*/ 273184 w 1263758"/>
                        <a:gd name="connsiteY4748" fmla="*/ 1420378 h 2117064"/>
                        <a:gd name="connsiteX4749" fmla="*/ 278585 w 1263758"/>
                        <a:gd name="connsiteY4749" fmla="*/ 1419028 h 2117064"/>
                        <a:gd name="connsiteX4750" fmla="*/ 279935 w 1263758"/>
                        <a:gd name="connsiteY4750" fmla="*/ 1419478 h 2117064"/>
                        <a:gd name="connsiteX4751" fmla="*/ 281735 w 1263758"/>
                        <a:gd name="connsiteY4751" fmla="*/ 1419028 h 2117064"/>
                        <a:gd name="connsiteX4752" fmla="*/ 284435 w 1263758"/>
                        <a:gd name="connsiteY4752" fmla="*/ 1417227 h 2117064"/>
                        <a:gd name="connsiteX4753" fmla="*/ 286686 w 1263758"/>
                        <a:gd name="connsiteY4753" fmla="*/ 1416327 h 2117064"/>
                        <a:gd name="connsiteX4754" fmla="*/ 289386 w 1263758"/>
                        <a:gd name="connsiteY4754" fmla="*/ 1416327 h 2117064"/>
                        <a:gd name="connsiteX4755" fmla="*/ 290736 w 1263758"/>
                        <a:gd name="connsiteY4755" fmla="*/ 1415877 h 2117064"/>
                        <a:gd name="connsiteX4756" fmla="*/ 292537 w 1263758"/>
                        <a:gd name="connsiteY4756" fmla="*/ 1414977 h 2117064"/>
                        <a:gd name="connsiteX4757" fmla="*/ 293437 w 1263758"/>
                        <a:gd name="connsiteY4757" fmla="*/ 1414077 h 2117064"/>
                        <a:gd name="connsiteX4758" fmla="*/ 295237 w 1263758"/>
                        <a:gd name="connsiteY4758" fmla="*/ 1410477 h 2117064"/>
                        <a:gd name="connsiteX4759" fmla="*/ 296137 w 1263758"/>
                        <a:gd name="connsiteY4759" fmla="*/ 1410026 h 2117064"/>
                        <a:gd name="connsiteX4760" fmla="*/ 298837 w 1263758"/>
                        <a:gd name="connsiteY4760" fmla="*/ 1410477 h 2117064"/>
                        <a:gd name="connsiteX4761" fmla="*/ 300638 w 1263758"/>
                        <a:gd name="connsiteY4761" fmla="*/ 1411377 h 2117064"/>
                        <a:gd name="connsiteX4762" fmla="*/ 301538 w 1263758"/>
                        <a:gd name="connsiteY4762" fmla="*/ 1410927 h 2117064"/>
                        <a:gd name="connsiteX4763" fmla="*/ 301538 w 1263758"/>
                        <a:gd name="connsiteY4763" fmla="*/ 1405976 h 2117064"/>
                        <a:gd name="connsiteX4764" fmla="*/ 301988 w 1263758"/>
                        <a:gd name="connsiteY4764" fmla="*/ 1404176 h 2117064"/>
                        <a:gd name="connsiteX4765" fmla="*/ 304688 w 1263758"/>
                        <a:gd name="connsiteY4765" fmla="*/ 1400575 h 2117064"/>
                        <a:gd name="connsiteX4766" fmla="*/ 307838 w 1263758"/>
                        <a:gd name="connsiteY4766" fmla="*/ 1400125 h 2117064"/>
                        <a:gd name="connsiteX4767" fmla="*/ 309639 w 1263758"/>
                        <a:gd name="connsiteY4767" fmla="*/ 1399225 h 2117064"/>
                        <a:gd name="connsiteX4768" fmla="*/ 311889 w 1263758"/>
                        <a:gd name="connsiteY4768" fmla="*/ 1396975 h 2117064"/>
                        <a:gd name="connsiteX4769" fmla="*/ 313689 w 1263758"/>
                        <a:gd name="connsiteY4769" fmla="*/ 1395175 h 2117064"/>
                        <a:gd name="connsiteX4770" fmla="*/ 315489 w 1263758"/>
                        <a:gd name="connsiteY4770" fmla="*/ 1392024 h 2117064"/>
                        <a:gd name="connsiteX4771" fmla="*/ 315939 w 1263758"/>
                        <a:gd name="connsiteY4771" fmla="*/ 1388424 h 2117064"/>
                        <a:gd name="connsiteX4772" fmla="*/ 315489 w 1263758"/>
                        <a:gd name="connsiteY4772" fmla="*/ 1387524 h 2117064"/>
                        <a:gd name="connsiteX4773" fmla="*/ 312339 w 1263758"/>
                        <a:gd name="connsiteY4773" fmla="*/ 1386174 h 2117064"/>
                        <a:gd name="connsiteX4774" fmla="*/ 310539 w 1263758"/>
                        <a:gd name="connsiteY4774" fmla="*/ 1387074 h 2117064"/>
                        <a:gd name="connsiteX4775" fmla="*/ 306038 w 1263758"/>
                        <a:gd name="connsiteY4775" fmla="*/ 1389774 h 2117064"/>
                        <a:gd name="connsiteX4776" fmla="*/ 301538 w 1263758"/>
                        <a:gd name="connsiteY4776" fmla="*/ 1393374 h 2117064"/>
                        <a:gd name="connsiteX4777" fmla="*/ 299738 w 1263758"/>
                        <a:gd name="connsiteY4777" fmla="*/ 1396525 h 2117064"/>
                        <a:gd name="connsiteX4778" fmla="*/ 299287 w 1263758"/>
                        <a:gd name="connsiteY4778" fmla="*/ 1400575 h 2117064"/>
                        <a:gd name="connsiteX4779" fmla="*/ 298387 w 1263758"/>
                        <a:gd name="connsiteY4779" fmla="*/ 1402376 h 2117064"/>
                        <a:gd name="connsiteX4780" fmla="*/ 294787 w 1263758"/>
                        <a:gd name="connsiteY4780" fmla="*/ 1400575 h 2117064"/>
                        <a:gd name="connsiteX4781" fmla="*/ 293437 w 1263758"/>
                        <a:gd name="connsiteY4781" fmla="*/ 1400575 h 2117064"/>
                        <a:gd name="connsiteX4782" fmla="*/ 291636 w 1263758"/>
                        <a:gd name="connsiteY4782" fmla="*/ 1401475 h 2117064"/>
                        <a:gd name="connsiteX4783" fmla="*/ 289386 w 1263758"/>
                        <a:gd name="connsiteY4783" fmla="*/ 1403276 h 2117064"/>
                        <a:gd name="connsiteX4784" fmla="*/ 287136 w 1263758"/>
                        <a:gd name="connsiteY4784" fmla="*/ 1405526 h 2117064"/>
                        <a:gd name="connsiteX4785" fmla="*/ 283986 w 1263758"/>
                        <a:gd name="connsiteY4785" fmla="*/ 1405976 h 2117064"/>
                        <a:gd name="connsiteX4786" fmla="*/ 279935 w 1263758"/>
                        <a:gd name="connsiteY4786" fmla="*/ 1404626 h 2117064"/>
                        <a:gd name="connsiteX4787" fmla="*/ 277235 w 1263758"/>
                        <a:gd name="connsiteY4787" fmla="*/ 1404176 h 2117064"/>
                        <a:gd name="connsiteX4788" fmla="*/ 274534 w 1263758"/>
                        <a:gd name="connsiteY4788" fmla="*/ 1406876 h 2117064"/>
                        <a:gd name="connsiteX4789" fmla="*/ 274534 w 1263758"/>
                        <a:gd name="connsiteY4789" fmla="*/ 1408676 h 2117064"/>
                        <a:gd name="connsiteX4790" fmla="*/ 275884 w 1263758"/>
                        <a:gd name="connsiteY4790" fmla="*/ 1411377 h 2117064"/>
                        <a:gd name="connsiteX4791" fmla="*/ 274534 w 1263758"/>
                        <a:gd name="connsiteY4791" fmla="*/ 1413177 h 2117064"/>
                        <a:gd name="connsiteX4792" fmla="*/ 268234 w 1263758"/>
                        <a:gd name="connsiteY4792" fmla="*/ 1413627 h 2117064"/>
                        <a:gd name="connsiteX4793" fmla="*/ 266433 w 1263758"/>
                        <a:gd name="connsiteY4793" fmla="*/ 1413177 h 2117064"/>
                        <a:gd name="connsiteX4794" fmla="*/ 263283 w 1263758"/>
                        <a:gd name="connsiteY4794" fmla="*/ 1414077 h 2117064"/>
                        <a:gd name="connsiteX4795" fmla="*/ 261933 w 1263758"/>
                        <a:gd name="connsiteY4795" fmla="*/ 1413627 h 2117064"/>
                        <a:gd name="connsiteX4796" fmla="*/ 261033 w 1263758"/>
                        <a:gd name="connsiteY4796" fmla="*/ 1412277 h 2117064"/>
                        <a:gd name="connsiteX4797" fmla="*/ 254282 w 1263758"/>
                        <a:gd name="connsiteY4797" fmla="*/ 1406426 h 2117064"/>
                        <a:gd name="connsiteX4798" fmla="*/ 253832 w 1263758"/>
                        <a:gd name="connsiteY4798" fmla="*/ 1405076 h 2117064"/>
                        <a:gd name="connsiteX4799" fmla="*/ 255632 w 1263758"/>
                        <a:gd name="connsiteY4799" fmla="*/ 1400575 h 2117064"/>
                        <a:gd name="connsiteX4800" fmla="*/ 261933 w 1263758"/>
                        <a:gd name="connsiteY4800" fmla="*/ 1387974 h 2117064"/>
                        <a:gd name="connsiteX4801" fmla="*/ 262833 w 1263758"/>
                        <a:gd name="connsiteY4801" fmla="*/ 1387074 h 2117064"/>
                        <a:gd name="connsiteX4802" fmla="*/ 274534 w 1263758"/>
                        <a:gd name="connsiteY4802" fmla="*/ 1384823 h 2117064"/>
                        <a:gd name="connsiteX4803" fmla="*/ 281735 w 1263758"/>
                        <a:gd name="connsiteY4803" fmla="*/ 1382573 h 2117064"/>
                        <a:gd name="connsiteX4804" fmla="*/ 294787 w 1263758"/>
                        <a:gd name="connsiteY4804" fmla="*/ 1375372 h 2117064"/>
                        <a:gd name="connsiteX4805" fmla="*/ 297487 w 1263758"/>
                        <a:gd name="connsiteY4805" fmla="*/ 1374922 h 2117064"/>
                        <a:gd name="connsiteX4806" fmla="*/ 305588 w 1263758"/>
                        <a:gd name="connsiteY4806" fmla="*/ 1370422 h 2117064"/>
                        <a:gd name="connsiteX4807" fmla="*/ 309189 w 1263758"/>
                        <a:gd name="connsiteY4807" fmla="*/ 1369071 h 2117064"/>
                        <a:gd name="connsiteX4808" fmla="*/ 312339 w 1263758"/>
                        <a:gd name="connsiteY4808" fmla="*/ 1369971 h 2117064"/>
                        <a:gd name="connsiteX4809" fmla="*/ 316840 w 1263758"/>
                        <a:gd name="connsiteY4809" fmla="*/ 1372222 h 2117064"/>
                        <a:gd name="connsiteX4810" fmla="*/ 319090 w 1263758"/>
                        <a:gd name="connsiteY4810" fmla="*/ 1374472 h 2117064"/>
                        <a:gd name="connsiteX4811" fmla="*/ 320890 w 1263758"/>
                        <a:gd name="connsiteY4811" fmla="*/ 1377172 h 2117064"/>
                        <a:gd name="connsiteX4812" fmla="*/ 322240 w 1263758"/>
                        <a:gd name="connsiteY4812" fmla="*/ 1380773 h 2117064"/>
                        <a:gd name="connsiteX4813" fmla="*/ 324041 w 1263758"/>
                        <a:gd name="connsiteY4813" fmla="*/ 1388874 h 2117064"/>
                        <a:gd name="connsiteX4814" fmla="*/ 324491 w 1263758"/>
                        <a:gd name="connsiteY4814" fmla="*/ 1395625 h 2117064"/>
                        <a:gd name="connsiteX4815" fmla="*/ 325391 w 1263758"/>
                        <a:gd name="connsiteY4815" fmla="*/ 1398325 h 2117064"/>
                        <a:gd name="connsiteX4816" fmla="*/ 329441 w 1263758"/>
                        <a:gd name="connsiteY4816" fmla="*/ 1403276 h 2117064"/>
                        <a:gd name="connsiteX4817" fmla="*/ 331241 w 1263758"/>
                        <a:gd name="connsiteY4817" fmla="*/ 1405076 h 2117064"/>
                        <a:gd name="connsiteX4818" fmla="*/ 332592 w 1263758"/>
                        <a:gd name="connsiteY4818" fmla="*/ 1405526 h 2117064"/>
                        <a:gd name="connsiteX4819" fmla="*/ 333492 w 1263758"/>
                        <a:gd name="connsiteY4819" fmla="*/ 1404626 h 2117064"/>
                        <a:gd name="connsiteX4820" fmla="*/ 334392 w 1263758"/>
                        <a:gd name="connsiteY4820" fmla="*/ 1404626 h 2117064"/>
                        <a:gd name="connsiteX4821" fmla="*/ 334842 w 1263758"/>
                        <a:gd name="connsiteY4821" fmla="*/ 1405076 h 2117064"/>
                        <a:gd name="connsiteX4822" fmla="*/ 335292 w 1263758"/>
                        <a:gd name="connsiteY4822" fmla="*/ 1408226 h 2117064"/>
                        <a:gd name="connsiteX4823" fmla="*/ 336192 w 1263758"/>
                        <a:gd name="connsiteY4823" fmla="*/ 1408676 h 2117064"/>
                        <a:gd name="connsiteX4824" fmla="*/ 338442 w 1263758"/>
                        <a:gd name="connsiteY4824" fmla="*/ 1408226 h 2117064"/>
                        <a:gd name="connsiteX4825" fmla="*/ 340693 w 1263758"/>
                        <a:gd name="connsiteY4825" fmla="*/ 1409576 h 2117064"/>
                        <a:gd name="connsiteX4826" fmla="*/ 341143 w 1263758"/>
                        <a:gd name="connsiteY4826" fmla="*/ 1410477 h 2117064"/>
                        <a:gd name="connsiteX4827" fmla="*/ 340693 w 1263758"/>
                        <a:gd name="connsiteY4827" fmla="*/ 1414077 h 2117064"/>
                        <a:gd name="connsiteX4828" fmla="*/ 341593 w 1263758"/>
                        <a:gd name="connsiteY4828" fmla="*/ 1415427 h 2117064"/>
                        <a:gd name="connsiteX4829" fmla="*/ 344743 w 1263758"/>
                        <a:gd name="connsiteY4829" fmla="*/ 1418578 h 2117064"/>
                        <a:gd name="connsiteX4830" fmla="*/ 347443 w 1263758"/>
                        <a:gd name="connsiteY4830" fmla="*/ 1419928 h 2117064"/>
                        <a:gd name="connsiteX4831" fmla="*/ 350594 w 1263758"/>
                        <a:gd name="connsiteY4831" fmla="*/ 1420378 h 2117064"/>
                        <a:gd name="connsiteX4832" fmla="*/ 356895 w 1263758"/>
                        <a:gd name="connsiteY4832" fmla="*/ 1419928 h 2117064"/>
                        <a:gd name="connsiteX4833" fmla="*/ 362295 w 1263758"/>
                        <a:gd name="connsiteY4833" fmla="*/ 1418128 h 2117064"/>
                        <a:gd name="connsiteX4834" fmla="*/ 366346 w 1263758"/>
                        <a:gd name="connsiteY4834" fmla="*/ 1415427 h 2117064"/>
                        <a:gd name="connsiteX4835" fmla="*/ 369496 w 1263758"/>
                        <a:gd name="connsiteY4835" fmla="*/ 1418128 h 2117064"/>
                        <a:gd name="connsiteX4836" fmla="*/ 375797 w 1263758"/>
                        <a:gd name="connsiteY4836" fmla="*/ 1425328 h 2117064"/>
                        <a:gd name="connsiteX4837" fmla="*/ 379847 w 1263758"/>
                        <a:gd name="connsiteY4837" fmla="*/ 1430279 h 2117064"/>
                        <a:gd name="connsiteX4838" fmla="*/ 382998 w 1263758"/>
                        <a:gd name="connsiteY4838" fmla="*/ 1432529 h 2117064"/>
                        <a:gd name="connsiteX4839" fmla="*/ 389299 w 1263758"/>
                        <a:gd name="connsiteY4839" fmla="*/ 1435230 h 2117064"/>
                        <a:gd name="connsiteX4840" fmla="*/ 390649 w 1263758"/>
                        <a:gd name="connsiteY4840" fmla="*/ 1436580 h 2117064"/>
                        <a:gd name="connsiteX4841" fmla="*/ 392899 w 1263758"/>
                        <a:gd name="connsiteY4841" fmla="*/ 1436580 h 2117064"/>
                        <a:gd name="connsiteX4842" fmla="*/ 396050 w 1263758"/>
                        <a:gd name="connsiteY4842" fmla="*/ 1435230 h 2117064"/>
                        <a:gd name="connsiteX4843" fmla="*/ 399650 w 1263758"/>
                        <a:gd name="connsiteY4843" fmla="*/ 1435680 h 2117064"/>
                        <a:gd name="connsiteX4844" fmla="*/ 403700 w 1263758"/>
                        <a:gd name="connsiteY4844" fmla="*/ 1437930 h 2117064"/>
                        <a:gd name="connsiteX4845" fmla="*/ 406401 w 1263758"/>
                        <a:gd name="connsiteY4845" fmla="*/ 1438830 h 2117064"/>
                        <a:gd name="connsiteX4846" fmla="*/ 416302 w 1263758"/>
                        <a:gd name="connsiteY4846" fmla="*/ 1434780 h 2117064"/>
                        <a:gd name="connsiteX4847" fmla="*/ 417652 w 1263758"/>
                        <a:gd name="connsiteY4847" fmla="*/ 1434780 h 2117064"/>
                        <a:gd name="connsiteX4848" fmla="*/ 421253 w 1263758"/>
                        <a:gd name="connsiteY4848" fmla="*/ 1432979 h 2117064"/>
                        <a:gd name="connsiteX4849" fmla="*/ 423503 w 1263758"/>
                        <a:gd name="connsiteY4849" fmla="*/ 1432529 h 2117064"/>
                        <a:gd name="connsiteX4850" fmla="*/ 426203 w 1263758"/>
                        <a:gd name="connsiteY4850" fmla="*/ 1432529 h 2117064"/>
                        <a:gd name="connsiteX4851" fmla="*/ 428453 w 1263758"/>
                        <a:gd name="connsiteY4851" fmla="*/ 1432079 h 2117064"/>
                        <a:gd name="connsiteX4852" fmla="*/ 429804 w 1263758"/>
                        <a:gd name="connsiteY4852" fmla="*/ 1430729 h 2117064"/>
                        <a:gd name="connsiteX4853" fmla="*/ 434754 w 1263758"/>
                        <a:gd name="connsiteY4853" fmla="*/ 1430729 h 2117064"/>
                        <a:gd name="connsiteX4854" fmla="*/ 444205 w 1263758"/>
                        <a:gd name="connsiteY4854" fmla="*/ 1432079 h 2117064"/>
                        <a:gd name="connsiteX4855" fmla="*/ 450506 w 1263758"/>
                        <a:gd name="connsiteY4855" fmla="*/ 1433880 h 2117064"/>
                        <a:gd name="connsiteX4856" fmla="*/ 454107 w 1263758"/>
                        <a:gd name="connsiteY4856" fmla="*/ 1436130 h 2117064"/>
                        <a:gd name="connsiteX4857" fmla="*/ 457257 w 1263758"/>
                        <a:gd name="connsiteY4857" fmla="*/ 1437480 h 2117064"/>
                        <a:gd name="connsiteX4858" fmla="*/ 459507 w 1263758"/>
                        <a:gd name="connsiteY4858" fmla="*/ 1437930 h 2117064"/>
                        <a:gd name="connsiteX4859" fmla="*/ 461758 w 1263758"/>
                        <a:gd name="connsiteY4859" fmla="*/ 1437480 h 2117064"/>
                        <a:gd name="connsiteX4860" fmla="*/ 464008 w 1263758"/>
                        <a:gd name="connsiteY4860" fmla="*/ 1436580 h 2117064"/>
                        <a:gd name="connsiteX4861" fmla="*/ 466258 w 1263758"/>
                        <a:gd name="connsiteY4861" fmla="*/ 1434780 h 2117064"/>
                        <a:gd name="connsiteX4862" fmla="*/ 471659 w 1263758"/>
                        <a:gd name="connsiteY4862" fmla="*/ 1433880 h 2117064"/>
                        <a:gd name="connsiteX4863" fmla="*/ 472559 w 1263758"/>
                        <a:gd name="connsiteY4863" fmla="*/ 1433429 h 2117064"/>
                        <a:gd name="connsiteX4864" fmla="*/ 472559 w 1263758"/>
                        <a:gd name="connsiteY4864" fmla="*/ 1432529 h 2117064"/>
                        <a:gd name="connsiteX4865" fmla="*/ 471659 w 1263758"/>
                        <a:gd name="connsiteY4865" fmla="*/ 1430729 h 2117064"/>
                        <a:gd name="connsiteX4866" fmla="*/ 468509 w 1263758"/>
                        <a:gd name="connsiteY4866" fmla="*/ 1427579 h 2117064"/>
                        <a:gd name="connsiteX4867" fmla="*/ 466258 w 1263758"/>
                        <a:gd name="connsiteY4867" fmla="*/ 1424428 h 2117064"/>
                        <a:gd name="connsiteX4868" fmla="*/ 465808 w 1263758"/>
                        <a:gd name="connsiteY4868" fmla="*/ 1422628 h 2117064"/>
                        <a:gd name="connsiteX4869" fmla="*/ 465808 w 1263758"/>
                        <a:gd name="connsiteY4869" fmla="*/ 1420378 h 2117064"/>
                        <a:gd name="connsiteX4870" fmla="*/ 466258 w 1263758"/>
                        <a:gd name="connsiteY4870" fmla="*/ 1419028 h 2117064"/>
                        <a:gd name="connsiteX4871" fmla="*/ 467608 w 1263758"/>
                        <a:gd name="connsiteY4871" fmla="*/ 1418578 h 2117064"/>
                        <a:gd name="connsiteX4872" fmla="*/ 469409 w 1263758"/>
                        <a:gd name="connsiteY4872" fmla="*/ 1419928 h 2117064"/>
                        <a:gd name="connsiteX4873" fmla="*/ 472109 w 1263758"/>
                        <a:gd name="connsiteY4873" fmla="*/ 1423078 h 2117064"/>
                        <a:gd name="connsiteX4874" fmla="*/ 479760 w 1263758"/>
                        <a:gd name="connsiteY4874" fmla="*/ 1435230 h 2117064"/>
                        <a:gd name="connsiteX4875" fmla="*/ 481560 w 1263758"/>
                        <a:gd name="connsiteY4875" fmla="*/ 1437030 h 2117064"/>
                        <a:gd name="connsiteX4876" fmla="*/ 482460 w 1263758"/>
                        <a:gd name="connsiteY4876" fmla="*/ 1438380 h 2117064"/>
                        <a:gd name="connsiteX4877" fmla="*/ 489211 w 1263758"/>
                        <a:gd name="connsiteY4877" fmla="*/ 1442881 h 2117064"/>
                        <a:gd name="connsiteX4878" fmla="*/ 492362 w 1263758"/>
                        <a:gd name="connsiteY4878" fmla="*/ 1443781 h 2117064"/>
                        <a:gd name="connsiteX4879" fmla="*/ 496412 w 1263758"/>
                        <a:gd name="connsiteY4879" fmla="*/ 1441080 h 2117064"/>
                        <a:gd name="connsiteX4880" fmla="*/ 498212 w 1263758"/>
                        <a:gd name="connsiteY4880" fmla="*/ 1439280 h 2117064"/>
                        <a:gd name="connsiteX4881" fmla="*/ 499112 w 1263758"/>
                        <a:gd name="connsiteY4881" fmla="*/ 1437480 h 2117064"/>
                        <a:gd name="connsiteX4882" fmla="*/ 499112 w 1263758"/>
                        <a:gd name="connsiteY4882" fmla="*/ 1435680 h 2117064"/>
                        <a:gd name="connsiteX4883" fmla="*/ 499562 w 1263758"/>
                        <a:gd name="connsiteY4883" fmla="*/ 1433429 h 2117064"/>
                        <a:gd name="connsiteX4884" fmla="*/ 499112 w 1263758"/>
                        <a:gd name="connsiteY4884" fmla="*/ 1432079 h 2117064"/>
                        <a:gd name="connsiteX4885" fmla="*/ 498212 w 1263758"/>
                        <a:gd name="connsiteY4885" fmla="*/ 1430279 h 2117064"/>
                        <a:gd name="connsiteX4886" fmla="*/ 499112 w 1263758"/>
                        <a:gd name="connsiteY4886" fmla="*/ 1426679 h 2117064"/>
                        <a:gd name="connsiteX4887" fmla="*/ 494612 w 1263758"/>
                        <a:gd name="connsiteY4887" fmla="*/ 1423528 h 2117064"/>
                        <a:gd name="connsiteX4888" fmla="*/ 490561 w 1263758"/>
                        <a:gd name="connsiteY4888" fmla="*/ 1422628 h 2117064"/>
                        <a:gd name="connsiteX4889" fmla="*/ 486961 w 1263758"/>
                        <a:gd name="connsiteY4889" fmla="*/ 1423978 h 2117064"/>
                        <a:gd name="connsiteX4890" fmla="*/ 482910 w 1263758"/>
                        <a:gd name="connsiteY4890" fmla="*/ 1426679 h 2117064"/>
                        <a:gd name="connsiteX4891" fmla="*/ 481110 w 1263758"/>
                        <a:gd name="connsiteY4891" fmla="*/ 1425328 h 2117064"/>
                        <a:gd name="connsiteX4892" fmla="*/ 475709 w 1263758"/>
                        <a:gd name="connsiteY4892" fmla="*/ 1417227 h 2117064"/>
                        <a:gd name="connsiteX4893" fmla="*/ 474359 w 1263758"/>
                        <a:gd name="connsiteY4893" fmla="*/ 1414077 h 2117064"/>
                        <a:gd name="connsiteX4894" fmla="*/ 474359 w 1263758"/>
                        <a:gd name="connsiteY4894" fmla="*/ 1413177 h 2117064"/>
                        <a:gd name="connsiteX4895" fmla="*/ 476610 w 1263758"/>
                        <a:gd name="connsiteY4895" fmla="*/ 1414077 h 2117064"/>
                        <a:gd name="connsiteX4896" fmla="*/ 476610 w 1263758"/>
                        <a:gd name="connsiteY4896" fmla="*/ 1413177 h 2117064"/>
                        <a:gd name="connsiteX4897" fmla="*/ 475259 w 1263758"/>
                        <a:gd name="connsiteY4897" fmla="*/ 1409126 h 2117064"/>
                        <a:gd name="connsiteX4898" fmla="*/ 474359 w 1263758"/>
                        <a:gd name="connsiteY4898" fmla="*/ 1407776 h 2117064"/>
                        <a:gd name="connsiteX4899" fmla="*/ 471209 w 1263758"/>
                        <a:gd name="connsiteY4899" fmla="*/ 1401475 h 2117064"/>
                        <a:gd name="connsiteX4900" fmla="*/ 470759 w 1263758"/>
                        <a:gd name="connsiteY4900" fmla="*/ 1399675 h 2117064"/>
                        <a:gd name="connsiteX4901" fmla="*/ 472559 w 1263758"/>
                        <a:gd name="connsiteY4901" fmla="*/ 1399225 h 2117064"/>
                        <a:gd name="connsiteX4902" fmla="*/ 473459 w 1263758"/>
                        <a:gd name="connsiteY4902" fmla="*/ 1398325 h 2117064"/>
                        <a:gd name="connsiteX4903" fmla="*/ 474809 w 1263758"/>
                        <a:gd name="connsiteY4903" fmla="*/ 1398325 h 2117064"/>
                        <a:gd name="connsiteX4904" fmla="*/ 480210 w 1263758"/>
                        <a:gd name="connsiteY4904" fmla="*/ 1401925 h 2117064"/>
                        <a:gd name="connsiteX4905" fmla="*/ 482910 w 1263758"/>
                        <a:gd name="connsiteY4905" fmla="*/ 1400125 h 2117064"/>
                        <a:gd name="connsiteX4906" fmla="*/ 489211 w 1263758"/>
                        <a:gd name="connsiteY4906" fmla="*/ 1397875 h 2117064"/>
                        <a:gd name="connsiteX4907" fmla="*/ 486511 w 1263758"/>
                        <a:gd name="connsiteY4907" fmla="*/ 1394274 h 2117064"/>
                        <a:gd name="connsiteX4908" fmla="*/ 486061 w 1263758"/>
                        <a:gd name="connsiteY4908" fmla="*/ 1390674 h 2117064"/>
                        <a:gd name="connsiteX4909" fmla="*/ 486511 w 1263758"/>
                        <a:gd name="connsiteY4909" fmla="*/ 1389774 h 2117064"/>
                        <a:gd name="connsiteX4910" fmla="*/ 488761 w 1263758"/>
                        <a:gd name="connsiteY4910" fmla="*/ 1389324 h 2117064"/>
                        <a:gd name="connsiteX4911" fmla="*/ 492812 w 1263758"/>
                        <a:gd name="connsiteY4911" fmla="*/ 1392474 h 2117064"/>
                        <a:gd name="connsiteX4912" fmla="*/ 494612 w 1263758"/>
                        <a:gd name="connsiteY4912" fmla="*/ 1392924 h 2117064"/>
                        <a:gd name="connsiteX4913" fmla="*/ 495962 w 1263758"/>
                        <a:gd name="connsiteY4913" fmla="*/ 1391574 h 2117064"/>
                        <a:gd name="connsiteX4914" fmla="*/ 497312 w 1263758"/>
                        <a:gd name="connsiteY4914" fmla="*/ 1391574 h 2117064"/>
                        <a:gd name="connsiteX4915" fmla="*/ 499112 w 1263758"/>
                        <a:gd name="connsiteY4915" fmla="*/ 1392474 h 2117064"/>
                        <a:gd name="connsiteX4916" fmla="*/ 500462 w 1263758"/>
                        <a:gd name="connsiteY4916" fmla="*/ 1393825 h 2117064"/>
                        <a:gd name="connsiteX4917" fmla="*/ 503163 w 1263758"/>
                        <a:gd name="connsiteY4917" fmla="*/ 1398325 h 2117064"/>
                        <a:gd name="connsiteX4918" fmla="*/ 504513 w 1263758"/>
                        <a:gd name="connsiteY4918" fmla="*/ 1401025 h 2117064"/>
                        <a:gd name="connsiteX4919" fmla="*/ 505863 w 1263758"/>
                        <a:gd name="connsiteY4919" fmla="*/ 1405076 h 2117064"/>
                        <a:gd name="connsiteX4920" fmla="*/ 506313 w 1263758"/>
                        <a:gd name="connsiteY4920" fmla="*/ 1405526 h 2117064"/>
                        <a:gd name="connsiteX4921" fmla="*/ 513514 w 1263758"/>
                        <a:gd name="connsiteY4921" fmla="*/ 1405976 h 2117064"/>
                        <a:gd name="connsiteX4922" fmla="*/ 517565 w 1263758"/>
                        <a:gd name="connsiteY4922" fmla="*/ 1402376 h 2117064"/>
                        <a:gd name="connsiteX4923" fmla="*/ 517565 w 1263758"/>
                        <a:gd name="connsiteY4923" fmla="*/ 1403726 h 2117064"/>
                        <a:gd name="connsiteX4924" fmla="*/ 516665 w 1263758"/>
                        <a:gd name="connsiteY4924" fmla="*/ 1406426 h 2117064"/>
                        <a:gd name="connsiteX4925" fmla="*/ 511264 w 1263758"/>
                        <a:gd name="connsiteY4925" fmla="*/ 1416777 h 2117064"/>
                        <a:gd name="connsiteX4926" fmla="*/ 511264 w 1263758"/>
                        <a:gd name="connsiteY4926" fmla="*/ 1418128 h 2117064"/>
                        <a:gd name="connsiteX4927" fmla="*/ 513964 w 1263758"/>
                        <a:gd name="connsiteY4927" fmla="*/ 1417677 h 2117064"/>
                        <a:gd name="connsiteX4928" fmla="*/ 515314 w 1263758"/>
                        <a:gd name="connsiteY4928" fmla="*/ 1416777 h 2117064"/>
                        <a:gd name="connsiteX4929" fmla="*/ 516214 w 1263758"/>
                        <a:gd name="connsiteY4929" fmla="*/ 1415427 h 2117064"/>
                        <a:gd name="connsiteX4930" fmla="*/ 517115 w 1263758"/>
                        <a:gd name="connsiteY4930" fmla="*/ 1412727 h 2117064"/>
                        <a:gd name="connsiteX4931" fmla="*/ 517565 w 1263758"/>
                        <a:gd name="connsiteY4931" fmla="*/ 1411827 h 2117064"/>
                        <a:gd name="connsiteX4932" fmla="*/ 525216 w 1263758"/>
                        <a:gd name="connsiteY4932" fmla="*/ 1406876 h 2117064"/>
                        <a:gd name="connsiteX4933" fmla="*/ 527466 w 1263758"/>
                        <a:gd name="connsiteY4933" fmla="*/ 1405976 h 2117064"/>
                        <a:gd name="connsiteX4934" fmla="*/ 526116 w 1263758"/>
                        <a:gd name="connsiteY4934" fmla="*/ 1411377 h 2117064"/>
                        <a:gd name="connsiteX4935" fmla="*/ 523415 w 1263758"/>
                        <a:gd name="connsiteY4935" fmla="*/ 1429829 h 2117064"/>
                        <a:gd name="connsiteX4936" fmla="*/ 522965 w 1263758"/>
                        <a:gd name="connsiteY4936" fmla="*/ 1436130 h 2117064"/>
                        <a:gd name="connsiteX4937" fmla="*/ 522515 w 1263758"/>
                        <a:gd name="connsiteY4937" fmla="*/ 1438380 h 2117064"/>
                        <a:gd name="connsiteX4938" fmla="*/ 519365 w 1263758"/>
                        <a:gd name="connsiteY4938" fmla="*/ 1445581 h 2117064"/>
                        <a:gd name="connsiteX4939" fmla="*/ 519365 w 1263758"/>
                        <a:gd name="connsiteY4939" fmla="*/ 1447831 h 2117064"/>
                        <a:gd name="connsiteX4940" fmla="*/ 522515 w 1263758"/>
                        <a:gd name="connsiteY4940" fmla="*/ 1453682 h 2117064"/>
                        <a:gd name="connsiteX4941" fmla="*/ 522965 w 1263758"/>
                        <a:gd name="connsiteY4941" fmla="*/ 1455482 h 2117064"/>
                        <a:gd name="connsiteX4942" fmla="*/ 523415 w 1263758"/>
                        <a:gd name="connsiteY4942" fmla="*/ 1460433 h 2117064"/>
                        <a:gd name="connsiteX4943" fmla="*/ 523865 w 1263758"/>
                        <a:gd name="connsiteY4943" fmla="*/ 1461333 h 2117064"/>
                        <a:gd name="connsiteX4944" fmla="*/ 526566 w 1263758"/>
                        <a:gd name="connsiteY4944" fmla="*/ 1461333 h 2117064"/>
                        <a:gd name="connsiteX4945" fmla="*/ 529266 w 1263758"/>
                        <a:gd name="connsiteY4945" fmla="*/ 1459983 h 2117064"/>
                        <a:gd name="connsiteX4946" fmla="*/ 532867 w 1263758"/>
                        <a:gd name="connsiteY4946" fmla="*/ 1459083 h 2117064"/>
                        <a:gd name="connsiteX4947" fmla="*/ 533317 w 1263758"/>
                        <a:gd name="connsiteY4947" fmla="*/ 1459983 h 2117064"/>
                        <a:gd name="connsiteX4948" fmla="*/ 531516 w 1263758"/>
                        <a:gd name="connsiteY4948" fmla="*/ 1465834 h 2117064"/>
                        <a:gd name="connsiteX4949" fmla="*/ 531516 w 1263758"/>
                        <a:gd name="connsiteY4949" fmla="*/ 1466283 h 2117064"/>
                        <a:gd name="connsiteX4950" fmla="*/ 534667 w 1263758"/>
                        <a:gd name="connsiteY4950" fmla="*/ 1464933 h 2117064"/>
                        <a:gd name="connsiteX4951" fmla="*/ 536017 w 1263758"/>
                        <a:gd name="connsiteY4951" fmla="*/ 1464933 h 2117064"/>
                        <a:gd name="connsiteX4952" fmla="*/ 536467 w 1263758"/>
                        <a:gd name="connsiteY4952" fmla="*/ 1465383 h 2117064"/>
                        <a:gd name="connsiteX4953" fmla="*/ 538717 w 1263758"/>
                        <a:gd name="connsiteY4953" fmla="*/ 1468534 h 2117064"/>
                        <a:gd name="connsiteX4954" fmla="*/ 539167 w 1263758"/>
                        <a:gd name="connsiteY4954" fmla="*/ 1470784 h 2117064"/>
                        <a:gd name="connsiteX4955" fmla="*/ 539167 w 1263758"/>
                        <a:gd name="connsiteY4955" fmla="*/ 1473934 h 2117064"/>
                        <a:gd name="connsiteX4956" fmla="*/ 539617 w 1263758"/>
                        <a:gd name="connsiteY4956" fmla="*/ 1476185 h 2117064"/>
                        <a:gd name="connsiteX4957" fmla="*/ 538717 w 1263758"/>
                        <a:gd name="connsiteY4957" fmla="*/ 1477535 h 2117064"/>
                        <a:gd name="connsiteX4958" fmla="*/ 537817 w 1263758"/>
                        <a:gd name="connsiteY4958" fmla="*/ 1477985 h 2117064"/>
                        <a:gd name="connsiteX4959" fmla="*/ 536467 w 1263758"/>
                        <a:gd name="connsiteY4959" fmla="*/ 1478435 h 2117064"/>
                        <a:gd name="connsiteX4960" fmla="*/ 535567 w 1263758"/>
                        <a:gd name="connsiteY4960" fmla="*/ 1478435 h 2117064"/>
                        <a:gd name="connsiteX4961" fmla="*/ 532417 w 1263758"/>
                        <a:gd name="connsiteY4961" fmla="*/ 1478885 h 2117064"/>
                        <a:gd name="connsiteX4962" fmla="*/ 530616 w 1263758"/>
                        <a:gd name="connsiteY4962" fmla="*/ 1478435 h 2117064"/>
                        <a:gd name="connsiteX4963" fmla="*/ 528816 w 1263758"/>
                        <a:gd name="connsiteY4963" fmla="*/ 1476635 h 2117064"/>
                        <a:gd name="connsiteX4964" fmla="*/ 527466 w 1263758"/>
                        <a:gd name="connsiteY4964" fmla="*/ 1476185 h 2117064"/>
                        <a:gd name="connsiteX4965" fmla="*/ 525666 w 1263758"/>
                        <a:gd name="connsiteY4965" fmla="*/ 1477535 h 2117064"/>
                        <a:gd name="connsiteX4966" fmla="*/ 522965 w 1263758"/>
                        <a:gd name="connsiteY4966" fmla="*/ 1477085 h 2117064"/>
                        <a:gd name="connsiteX4967" fmla="*/ 520265 w 1263758"/>
                        <a:gd name="connsiteY4967" fmla="*/ 1473034 h 2117064"/>
                        <a:gd name="connsiteX4968" fmla="*/ 518915 w 1263758"/>
                        <a:gd name="connsiteY4968" fmla="*/ 1473484 h 2117064"/>
                        <a:gd name="connsiteX4969" fmla="*/ 518465 w 1263758"/>
                        <a:gd name="connsiteY4969" fmla="*/ 1473934 h 2117064"/>
                        <a:gd name="connsiteX4970" fmla="*/ 518465 w 1263758"/>
                        <a:gd name="connsiteY4970" fmla="*/ 1474835 h 2117064"/>
                        <a:gd name="connsiteX4971" fmla="*/ 519815 w 1263758"/>
                        <a:gd name="connsiteY4971" fmla="*/ 1477535 h 2117064"/>
                        <a:gd name="connsiteX4972" fmla="*/ 529716 w 1263758"/>
                        <a:gd name="connsiteY4972" fmla="*/ 1491037 h 2117064"/>
                        <a:gd name="connsiteX4973" fmla="*/ 531066 w 1263758"/>
                        <a:gd name="connsiteY4973" fmla="*/ 1493737 h 2117064"/>
                        <a:gd name="connsiteX4974" fmla="*/ 531516 w 1263758"/>
                        <a:gd name="connsiteY4974" fmla="*/ 1497787 h 2117064"/>
                        <a:gd name="connsiteX4975" fmla="*/ 531516 w 1263758"/>
                        <a:gd name="connsiteY4975" fmla="*/ 1497787 h 2117064"/>
                        <a:gd name="connsiteX4976" fmla="*/ 532417 w 1263758"/>
                        <a:gd name="connsiteY4976" fmla="*/ 1493737 h 2117064"/>
                        <a:gd name="connsiteX4977" fmla="*/ 531966 w 1263758"/>
                        <a:gd name="connsiteY4977" fmla="*/ 1491937 h 2117064"/>
                        <a:gd name="connsiteX4978" fmla="*/ 526566 w 1263758"/>
                        <a:gd name="connsiteY4978" fmla="*/ 1484286 h 2117064"/>
                        <a:gd name="connsiteX4979" fmla="*/ 526116 w 1263758"/>
                        <a:gd name="connsiteY4979" fmla="*/ 1480685 h 2117064"/>
                        <a:gd name="connsiteX4980" fmla="*/ 526116 w 1263758"/>
                        <a:gd name="connsiteY4980" fmla="*/ 1479785 h 2117064"/>
                        <a:gd name="connsiteX4981" fmla="*/ 527466 w 1263758"/>
                        <a:gd name="connsiteY4981" fmla="*/ 1478885 h 2117064"/>
                        <a:gd name="connsiteX4982" fmla="*/ 534667 w 1263758"/>
                        <a:gd name="connsiteY4982" fmla="*/ 1480685 h 2117064"/>
                        <a:gd name="connsiteX4983" fmla="*/ 537367 w 1263758"/>
                        <a:gd name="connsiteY4983" fmla="*/ 1480235 h 2117064"/>
                        <a:gd name="connsiteX4984" fmla="*/ 539167 w 1263758"/>
                        <a:gd name="connsiteY4984" fmla="*/ 1478885 h 2117064"/>
                        <a:gd name="connsiteX4985" fmla="*/ 540068 w 1263758"/>
                        <a:gd name="connsiteY4985" fmla="*/ 1477085 h 2117064"/>
                        <a:gd name="connsiteX4986" fmla="*/ 540968 w 1263758"/>
                        <a:gd name="connsiteY4986" fmla="*/ 1467634 h 2117064"/>
                        <a:gd name="connsiteX4987" fmla="*/ 542318 w 1263758"/>
                        <a:gd name="connsiteY4987" fmla="*/ 1461783 h 2117064"/>
                        <a:gd name="connsiteX4988" fmla="*/ 541418 w 1263758"/>
                        <a:gd name="connsiteY4988" fmla="*/ 1456382 h 2117064"/>
                        <a:gd name="connsiteX4989" fmla="*/ 539617 w 1263758"/>
                        <a:gd name="connsiteY4989" fmla="*/ 1447831 h 2117064"/>
                        <a:gd name="connsiteX4990" fmla="*/ 538267 w 1263758"/>
                        <a:gd name="connsiteY4990" fmla="*/ 1442881 h 2117064"/>
                        <a:gd name="connsiteX4991" fmla="*/ 534667 w 1263758"/>
                        <a:gd name="connsiteY4991" fmla="*/ 1437480 h 2117064"/>
                        <a:gd name="connsiteX4992" fmla="*/ 534217 w 1263758"/>
                        <a:gd name="connsiteY4992" fmla="*/ 1435680 h 2117064"/>
                        <a:gd name="connsiteX4993" fmla="*/ 538267 w 1263758"/>
                        <a:gd name="connsiteY4993" fmla="*/ 1419928 h 2117064"/>
                        <a:gd name="connsiteX4994" fmla="*/ 539167 w 1263758"/>
                        <a:gd name="connsiteY4994" fmla="*/ 1418578 h 2117064"/>
                        <a:gd name="connsiteX4995" fmla="*/ 540068 w 1263758"/>
                        <a:gd name="connsiteY4995" fmla="*/ 1418128 h 2117064"/>
                        <a:gd name="connsiteX4996" fmla="*/ 543218 w 1263758"/>
                        <a:gd name="connsiteY4996" fmla="*/ 1417677 h 2117064"/>
                        <a:gd name="connsiteX4997" fmla="*/ 545468 w 1263758"/>
                        <a:gd name="connsiteY4997" fmla="*/ 1416327 h 2117064"/>
                        <a:gd name="connsiteX4998" fmla="*/ 549069 w 1263758"/>
                        <a:gd name="connsiteY4998" fmla="*/ 1418128 h 2117064"/>
                        <a:gd name="connsiteX4999" fmla="*/ 550869 w 1263758"/>
                        <a:gd name="connsiteY4999" fmla="*/ 1418578 h 2117064"/>
                        <a:gd name="connsiteX5000" fmla="*/ 553569 w 1263758"/>
                        <a:gd name="connsiteY5000" fmla="*/ 1416777 h 2117064"/>
                        <a:gd name="connsiteX5001" fmla="*/ 558970 w 1263758"/>
                        <a:gd name="connsiteY5001" fmla="*/ 1410026 h 2117064"/>
                        <a:gd name="connsiteX5002" fmla="*/ 561220 w 1263758"/>
                        <a:gd name="connsiteY5002" fmla="*/ 1407776 h 2117064"/>
                        <a:gd name="connsiteX5003" fmla="*/ 563920 w 1263758"/>
                        <a:gd name="connsiteY5003" fmla="*/ 1403726 h 2117064"/>
                        <a:gd name="connsiteX5004" fmla="*/ 567071 w 1263758"/>
                        <a:gd name="connsiteY5004" fmla="*/ 1397875 h 2117064"/>
                        <a:gd name="connsiteX5005" fmla="*/ 570671 w 1263758"/>
                        <a:gd name="connsiteY5005" fmla="*/ 1393374 h 2117064"/>
                        <a:gd name="connsiteX5006" fmla="*/ 576522 w 1263758"/>
                        <a:gd name="connsiteY5006" fmla="*/ 1389324 h 2117064"/>
                        <a:gd name="connsiteX5007" fmla="*/ 580123 w 1263758"/>
                        <a:gd name="connsiteY5007" fmla="*/ 1386174 h 2117064"/>
                        <a:gd name="connsiteX5008" fmla="*/ 581023 w 1263758"/>
                        <a:gd name="connsiteY5008" fmla="*/ 1384823 h 2117064"/>
                        <a:gd name="connsiteX5009" fmla="*/ 577872 w 1263758"/>
                        <a:gd name="connsiteY5009" fmla="*/ 1384373 h 2117064"/>
                        <a:gd name="connsiteX5010" fmla="*/ 576972 w 1263758"/>
                        <a:gd name="connsiteY5010" fmla="*/ 1383923 h 2117064"/>
                        <a:gd name="connsiteX5011" fmla="*/ 576072 w 1263758"/>
                        <a:gd name="connsiteY5011" fmla="*/ 1380773 h 2117064"/>
                        <a:gd name="connsiteX5012" fmla="*/ 576522 w 1263758"/>
                        <a:gd name="connsiteY5012" fmla="*/ 1374922 h 2117064"/>
                        <a:gd name="connsiteX5013" fmla="*/ 576522 w 1263758"/>
                        <a:gd name="connsiteY5013" fmla="*/ 1371772 h 2117064"/>
                        <a:gd name="connsiteX5014" fmla="*/ 576072 w 1263758"/>
                        <a:gd name="connsiteY5014" fmla="*/ 1369071 h 2117064"/>
                        <a:gd name="connsiteX5015" fmla="*/ 575172 w 1263758"/>
                        <a:gd name="connsiteY5015" fmla="*/ 1366371 h 2117064"/>
                        <a:gd name="connsiteX5016" fmla="*/ 574272 w 1263758"/>
                        <a:gd name="connsiteY5016" fmla="*/ 1364121 h 2117064"/>
                        <a:gd name="connsiteX5017" fmla="*/ 573372 w 1263758"/>
                        <a:gd name="connsiteY5017" fmla="*/ 1362771 h 2117064"/>
                        <a:gd name="connsiteX5018" fmla="*/ 572471 w 1263758"/>
                        <a:gd name="connsiteY5018" fmla="*/ 1362321 h 2117064"/>
                        <a:gd name="connsiteX5019" fmla="*/ 572022 w 1263758"/>
                        <a:gd name="connsiteY5019" fmla="*/ 1362321 h 2117064"/>
                        <a:gd name="connsiteX5020" fmla="*/ 571571 w 1263758"/>
                        <a:gd name="connsiteY5020" fmla="*/ 1363221 h 2117064"/>
                        <a:gd name="connsiteX5021" fmla="*/ 570671 w 1263758"/>
                        <a:gd name="connsiteY5021" fmla="*/ 1368621 h 2117064"/>
                        <a:gd name="connsiteX5022" fmla="*/ 569321 w 1263758"/>
                        <a:gd name="connsiteY5022" fmla="*/ 1372672 h 2117064"/>
                        <a:gd name="connsiteX5023" fmla="*/ 567971 w 1263758"/>
                        <a:gd name="connsiteY5023" fmla="*/ 1374922 h 2117064"/>
                        <a:gd name="connsiteX5024" fmla="*/ 564821 w 1263758"/>
                        <a:gd name="connsiteY5024" fmla="*/ 1376272 h 2117064"/>
                        <a:gd name="connsiteX5025" fmla="*/ 559420 w 1263758"/>
                        <a:gd name="connsiteY5025" fmla="*/ 1377172 h 2117064"/>
                        <a:gd name="connsiteX5026" fmla="*/ 557170 w 1263758"/>
                        <a:gd name="connsiteY5026" fmla="*/ 1375372 h 2117064"/>
                        <a:gd name="connsiteX5027" fmla="*/ 556720 w 1263758"/>
                        <a:gd name="connsiteY5027" fmla="*/ 1373572 h 2117064"/>
                        <a:gd name="connsiteX5028" fmla="*/ 557620 w 1263758"/>
                        <a:gd name="connsiteY5028" fmla="*/ 1367271 h 2117064"/>
                        <a:gd name="connsiteX5029" fmla="*/ 559420 w 1263758"/>
                        <a:gd name="connsiteY5029" fmla="*/ 1364571 h 2117064"/>
                        <a:gd name="connsiteX5030" fmla="*/ 564371 w 1263758"/>
                        <a:gd name="connsiteY5030" fmla="*/ 1359170 h 2117064"/>
                        <a:gd name="connsiteX5031" fmla="*/ 567521 w 1263758"/>
                        <a:gd name="connsiteY5031" fmla="*/ 1354670 h 2117064"/>
                        <a:gd name="connsiteX5032" fmla="*/ 567521 w 1263758"/>
                        <a:gd name="connsiteY5032" fmla="*/ 1353769 h 2117064"/>
                        <a:gd name="connsiteX5033" fmla="*/ 564371 w 1263758"/>
                        <a:gd name="connsiteY5033" fmla="*/ 1353769 h 2117064"/>
                        <a:gd name="connsiteX5034" fmla="*/ 563470 w 1263758"/>
                        <a:gd name="connsiteY5034" fmla="*/ 1352869 h 2117064"/>
                        <a:gd name="connsiteX5035" fmla="*/ 563020 w 1263758"/>
                        <a:gd name="connsiteY5035" fmla="*/ 1347469 h 2117064"/>
                        <a:gd name="connsiteX5036" fmla="*/ 563020 w 1263758"/>
                        <a:gd name="connsiteY5036" fmla="*/ 1345668 h 2117064"/>
                        <a:gd name="connsiteX5037" fmla="*/ 563470 w 1263758"/>
                        <a:gd name="connsiteY5037" fmla="*/ 1343418 h 2117064"/>
                        <a:gd name="connsiteX5038" fmla="*/ 565721 w 1263758"/>
                        <a:gd name="connsiteY5038" fmla="*/ 1341618 h 2117064"/>
                        <a:gd name="connsiteX5039" fmla="*/ 572022 w 1263758"/>
                        <a:gd name="connsiteY5039" fmla="*/ 1339368 h 2117064"/>
                        <a:gd name="connsiteX5040" fmla="*/ 576972 w 1263758"/>
                        <a:gd name="connsiteY5040" fmla="*/ 1337117 h 2117064"/>
                        <a:gd name="connsiteX5041" fmla="*/ 576972 w 1263758"/>
                        <a:gd name="connsiteY5041" fmla="*/ 1338017 h 2117064"/>
                        <a:gd name="connsiteX5042" fmla="*/ 572922 w 1263758"/>
                        <a:gd name="connsiteY5042" fmla="*/ 1345218 h 2117064"/>
                        <a:gd name="connsiteX5043" fmla="*/ 572471 w 1263758"/>
                        <a:gd name="connsiteY5043" fmla="*/ 1347019 h 2117064"/>
                        <a:gd name="connsiteX5044" fmla="*/ 573822 w 1263758"/>
                        <a:gd name="connsiteY5044" fmla="*/ 1348819 h 2117064"/>
                        <a:gd name="connsiteX5045" fmla="*/ 577872 w 1263758"/>
                        <a:gd name="connsiteY5045" fmla="*/ 1344768 h 2117064"/>
                        <a:gd name="connsiteX5046" fmla="*/ 580573 w 1263758"/>
                        <a:gd name="connsiteY5046" fmla="*/ 1341168 h 2117064"/>
                        <a:gd name="connsiteX5047" fmla="*/ 581023 w 1263758"/>
                        <a:gd name="connsiteY5047" fmla="*/ 1339818 h 2117064"/>
                        <a:gd name="connsiteX5048" fmla="*/ 578772 w 1263758"/>
                        <a:gd name="connsiteY5048" fmla="*/ 1339368 h 2117064"/>
                        <a:gd name="connsiteX5049" fmla="*/ 578772 w 1263758"/>
                        <a:gd name="connsiteY5049" fmla="*/ 1338017 h 2117064"/>
                        <a:gd name="connsiteX5050" fmla="*/ 579222 w 1263758"/>
                        <a:gd name="connsiteY5050" fmla="*/ 1335317 h 2117064"/>
                        <a:gd name="connsiteX5051" fmla="*/ 579222 w 1263758"/>
                        <a:gd name="connsiteY5051" fmla="*/ 1333517 h 2117064"/>
                        <a:gd name="connsiteX5052" fmla="*/ 576522 w 1263758"/>
                        <a:gd name="connsiteY5052" fmla="*/ 1331267 h 2117064"/>
                        <a:gd name="connsiteX5053" fmla="*/ 573372 w 1263758"/>
                        <a:gd name="connsiteY5053" fmla="*/ 1332617 h 2117064"/>
                        <a:gd name="connsiteX5054" fmla="*/ 570671 w 1263758"/>
                        <a:gd name="connsiteY5054" fmla="*/ 1334867 h 2117064"/>
                        <a:gd name="connsiteX5055" fmla="*/ 568421 w 1263758"/>
                        <a:gd name="connsiteY5055" fmla="*/ 1335317 h 2117064"/>
                        <a:gd name="connsiteX5056" fmla="*/ 565271 w 1263758"/>
                        <a:gd name="connsiteY5056" fmla="*/ 1335317 h 2117064"/>
                        <a:gd name="connsiteX5057" fmla="*/ 563020 w 1263758"/>
                        <a:gd name="connsiteY5057" fmla="*/ 1334867 h 2117064"/>
                        <a:gd name="connsiteX5058" fmla="*/ 561670 w 1263758"/>
                        <a:gd name="connsiteY5058" fmla="*/ 1333517 h 2117064"/>
                        <a:gd name="connsiteX5059" fmla="*/ 559870 w 1263758"/>
                        <a:gd name="connsiteY5059" fmla="*/ 1330817 h 2117064"/>
                        <a:gd name="connsiteX5060" fmla="*/ 558070 w 1263758"/>
                        <a:gd name="connsiteY5060" fmla="*/ 1326766 h 2117064"/>
                        <a:gd name="connsiteX5061" fmla="*/ 555369 w 1263758"/>
                        <a:gd name="connsiteY5061" fmla="*/ 1322716 h 2117064"/>
                        <a:gd name="connsiteX5062" fmla="*/ 554469 w 1263758"/>
                        <a:gd name="connsiteY5062" fmla="*/ 1322265 h 2117064"/>
                        <a:gd name="connsiteX5063" fmla="*/ 553569 w 1263758"/>
                        <a:gd name="connsiteY5063" fmla="*/ 1322716 h 2117064"/>
                        <a:gd name="connsiteX5064" fmla="*/ 551769 w 1263758"/>
                        <a:gd name="connsiteY5064" fmla="*/ 1326766 h 2117064"/>
                        <a:gd name="connsiteX5065" fmla="*/ 550869 w 1263758"/>
                        <a:gd name="connsiteY5065" fmla="*/ 1327216 h 2117064"/>
                        <a:gd name="connsiteX5066" fmla="*/ 540968 w 1263758"/>
                        <a:gd name="connsiteY5066" fmla="*/ 1321816 h 2117064"/>
                        <a:gd name="connsiteX5067" fmla="*/ 536917 w 1263758"/>
                        <a:gd name="connsiteY5067" fmla="*/ 1318665 h 2117064"/>
                        <a:gd name="connsiteX5068" fmla="*/ 534667 w 1263758"/>
                        <a:gd name="connsiteY5068" fmla="*/ 1316415 h 2117064"/>
                        <a:gd name="connsiteX5069" fmla="*/ 531966 w 1263758"/>
                        <a:gd name="connsiteY5069" fmla="*/ 1315065 h 2117064"/>
                        <a:gd name="connsiteX5070" fmla="*/ 528816 w 1263758"/>
                        <a:gd name="connsiteY5070" fmla="*/ 1314615 h 2117064"/>
                        <a:gd name="connsiteX5071" fmla="*/ 526566 w 1263758"/>
                        <a:gd name="connsiteY5071" fmla="*/ 1313714 h 2117064"/>
                        <a:gd name="connsiteX5072" fmla="*/ 524766 w 1263758"/>
                        <a:gd name="connsiteY5072" fmla="*/ 1311914 h 2117064"/>
                        <a:gd name="connsiteX5073" fmla="*/ 523415 w 1263758"/>
                        <a:gd name="connsiteY5073" fmla="*/ 1309214 h 2117064"/>
                        <a:gd name="connsiteX5074" fmla="*/ 522515 w 1263758"/>
                        <a:gd name="connsiteY5074" fmla="*/ 1306064 h 2117064"/>
                        <a:gd name="connsiteX5075" fmla="*/ 520265 w 1263758"/>
                        <a:gd name="connsiteY5075" fmla="*/ 1302013 h 2117064"/>
                        <a:gd name="connsiteX5076" fmla="*/ 515314 w 1263758"/>
                        <a:gd name="connsiteY5076" fmla="*/ 1293912 h 2117064"/>
                        <a:gd name="connsiteX5077" fmla="*/ 513964 w 1263758"/>
                        <a:gd name="connsiteY5077" fmla="*/ 1288511 h 2117064"/>
                        <a:gd name="connsiteX5078" fmla="*/ 513964 w 1263758"/>
                        <a:gd name="connsiteY5078" fmla="*/ 1286261 h 2117064"/>
                        <a:gd name="connsiteX5079" fmla="*/ 514414 w 1263758"/>
                        <a:gd name="connsiteY5079" fmla="*/ 1280860 h 2117064"/>
                        <a:gd name="connsiteX5080" fmla="*/ 518915 w 1263758"/>
                        <a:gd name="connsiteY5080" fmla="*/ 1271859 h 2117064"/>
                        <a:gd name="connsiteX5081" fmla="*/ 519815 w 1263758"/>
                        <a:gd name="connsiteY5081" fmla="*/ 1269159 h 2117064"/>
                        <a:gd name="connsiteX5082" fmla="*/ 521165 w 1263758"/>
                        <a:gd name="connsiteY5082" fmla="*/ 1267359 h 2117064"/>
                        <a:gd name="connsiteX5083" fmla="*/ 523415 w 1263758"/>
                        <a:gd name="connsiteY5083" fmla="*/ 1266008 h 2117064"/>
                        <a:gd name="connsiteX5084" fmla="*/ 525216 w 1263758"/>
                        <a:gd name="connsiteY5084" fmla="*/ 1265558 h 2117064"/>
                        <a:gd name="connsiteX5085" fmla="*/ 528816 w 1263758"/>
                        <a:gd name="connsiteY5085" fmla="*/ 1266909 h 2117064"/>
                        <a:gd name="connsiteX5086" fmla="*/ 526566 w 1263758"/>
                        <a:gd name="connsiteY5086" fmla="*/ 1264208 h 2117064"/>
                        <a:gd name="connsiteX5087" fmla="*/ 526566 w 1263758"/>
                        <a:gd name="connsiteY5087" fmla="*/ 1262858 h 2117064"/>
                        <a:gd name="connsiteX5088" fmla="*/ 528816 w 1263758"/>
                        <a:gd name="connsiteY5088" fmla="*/ 1257907 h 2117064"/>
                        <a:gd name="connsiteX5089" fmla="*/ 528366 w 1263758"/>
                        <a:gd name="connsiteY5089" fmla="*/ 1257907 h 2117064"/>
                        <a:gd name="connsiteX5090" fmla="*/ 522515 w 1263758"/>
                        <a:gd name="connsiteY5090" fmla="*/ 1261508 h 2117064"/>
                        <a:gd name="connsiteX5091" fmla="*/ 521165 w 1263758"/>
                        <a:gd name="connsiteY5091" fmla="*/ 1261058 h 2117064"/>
                        <a:gd name="connsiteX5092" fmla="*/ 518915 w 1263758"/>
                        <a:gd name="connsiteY5092" fmla="*/ 1258808 h 2117064"/>
                        <a:gd name="connsiteX5093" fmla="*/ 514864 w 1263758"/>
                        <a:gd name="connsiteY5093" fmla="*/ 1250256 h 2117064"/>
                        <a:gd name="connsiteX5094" fmla="*/ 514864 w 1263758"/>
                        <a:gd name="connsiteY5094" fmla="*/ 1244856 h 2117064"/>
                        <a:gd name="connsiteX5095" fmla="*/ 516214 w 1263758"/>
                        <a:gd name="connsiteY5095" fmla="*/ 1237655 h 2117064"/>
                        <a:gd name="connsiteX5096" fmla="*/ 516665 w 1263758"/>
                        <a:gd name="connsiteY5096" fmla="*/ 1233154 h 2117064"/>
                        <a:gd name="connsiteX5097" fmla="*/ 515314 w 1263758"/>
                        <a:gd name="connsiteY5097" fmla="*/ 1229554 h 2117064"/>
                        <a:gd name="connsiteX5098" fmla="*/ 515765 w 1263758"/>
                        <a:gd name="connsiteY5098" fmla="*/ 1228654 h 2117064"/>
                        <a:gd name="connsiteX5099" fmla="*/ 517115 w 1263758"/>
                        <a:gd name="connsiteY5099" fmla="*/ 1227754 h 2117064"/>
                        <a:gd name="connsiteX5100" fmla="*/ 517565 w 1263758"/>
                        <a:gd name="connsiteY5100" fmla="*/ 1226404 h 2117064"/>
                        <a:gd name="connsiteX5101" fmla="*/ 517115 w 1263758"/>
                        <a:gd name="connsiteY5101" fmla="*/ 1222353 h 2117064"/>
                        <a:gd name="connsiteX5102" fmla="*/ 518015 w 1263758"/>
                        <a:gd name="connsiteY5102" fmla="*/ 1220103 h 2117064"/>
                        <a:gd name="connsiteX5103" fmla="*/ 520715 w 1263758"/>
                        <a:gd name="connsiteY5103" fmla="*/ 1215602 h 2117064"/>
                        <a:gd name="connsiteX5104" fmla="*/ 523415 w 1263758"/>
                        <a:gd name="connsiteY5104" fmla="*/ 1212002 h 2117064"/>
                        <a:gd name="connsiteX5105" fmla="*/ 525216 w 1263758"/>
                        <a:gd name="connsiteY5105" fmla="*/ 1210652 h 2117064"/>
                        <a:gd name="connsiteX5106" fmla="*/ 526566 w 1263758"/>
                        <a:gd name="connsiteY5106" fmla="*/ 1210652 h 2117064"/>
                        <a:gd name="connsiteX5107" fmla="*/ 527916 w 1263758"/>
                        <a:gd name="connsiteY5107" fmla="*/ 1212002 h 2117064"/>
                        <a:gd name="connsiteX5108" fmla="*/ 529266 w 1263758"/>
                        <a:gd name="connsiteY5108" fmla="*/ 1214252 h 2117064"/>
                        <a:gd name="connsiteX5109" fmla="*/ 531966 w 1263758"/>
                        <a:gd name="connsiteY5109" fmla="*/ 1216502 h 2117064"/>
                        <a:gd name="connsiteX5110" fmla="*/ 533767 w 1263758"/>
                        <a:gd name="connsiteY5110" fmla="*/ 1216952 h 2117064"/>
                        <a:gd name="connsiteX5111" fmla="*/ 535117 w 1263758"/>
                        <a:gd name="connsiteY5111" fmla="*/ 1215602 h 2117064"/>
                        <a:gd name="connsiteX5112" fmla="*/ 537817 w 1263758"/>
                        <a:gd name="connsiteY5112" fmla="*/ 1207501 h 2117064"/>
                        <a:gd name="connsiteX5113" fmla="*/ 538717 w 1263758"/>
                        <a:gd name="connsiteY5113" fmla="*/ 1205251 h 2117064"/>
                        <a:gd name="connsiteX5114" fmla="*/ 537817 w 1263758"/>
                        <a:gd name="connsiteY5114" fmla="*/ 1204351 h 2117064"/>
                        <a:gd name="connsiteX5115" fmla="*/ 532867 w 1263758"/>
                        <a:gd name="connsiteY5115" fmla="*/ 1204351 h 2117064"/>
                        <a:gd name="connsiteX5116" fmla="*/ 530616 w 1263758"/>
                        <a:gd name="connsiteY5116" fmla="*/ 1203451 h 2117064"/>
                        <a:gd name="connsiteX5117" fmla="*/ 529266 w 1263758"/>
                        <a:gd name="connsiteY5117" fmla="*/ 1202551 h 2117064"/>
                        <a:gd name="connsiteX5118" fmla="*/ 528366 w 1263758"/>
                        <a:gd name="connsiteY5118" fmla="*/ 1199400 h 2117064"/>
                        <a:gd name="connsiteX5119" fmla="*/ 529266 w 1263758"/>
                        <a:gd name="connsiteY5119" fmla="*/ 1197600 h 2117064"/>
                        <a:gd name="connsiteX5120" fmla="*/ 533767 w 1263758"/>
                        <a:gd name="connsiteY5120" fmla="*/ 1191749 h 2117064"/>
                        <a:gd name="connsiteX5121" fmla="*/ 536017 w 1263758"/>
                        <a:gd name="connsiteY5121" fmla="*/ 1185448 h 2117064"/>
                        <a:gd name="connsiteX5122" fmla="*/ 542768 w 1263758"/>
                        <a:gd name="connsiteY5122" fmla="*/ 1176897 h 2117064"/>
                        <a:gd name="connsiteX5123" fmla="*/ 549519 w 1263758"/>
                        <a:gd name="connsiteY5123" fmla="*/ 1172847 h 2117064"/>
                        <a:gd name="connsiteX5124" fmla="*/ 552669 w 1263758"/>
                        <a:gd name="connsiteY5124" fmla="*/ 1171497 h 2117064"/>
                        <a:gd name="connsiteX5125" fmla="*/ 555369 w 1263758"/>
                        <a:gd name="connsiteY5125" fmla="*/ 1171047 h 2117064"/>
                        <a:gd name="connsiteX5126" fmla="*/ 556720 w 1263758"/>
                        <a:gd name="connsiteY5126" fmla="*/ 1171497 h 2117064"/>
                        <a:gd name="connsiteX5127" fmla="*/ 558070 w 1263758"/>
                        <a:gd name="connsiteY5127" fmla="*/ 1175997 h 2117064"/>
                        <a:gd name="connsiteX5128" fmla="*/ 558520 w 1263758"/>
                        <a:gd name="connsiteY5128" fmla="*/ 1180498 h 2117064"/>
                        <a:gd name="connsiteX5129" fmla="*/ 562120 w 1263758"/>
                        <a:gd name="connsiteY5129" fmla="*/ 1186349 h 2117064"/>
                        <a:gd name="connsiteX5130" fmla="*/ 564821 w 1263758"/>
                        <a:gd name="connsiteY5130" fmla="*/ 1186799 h 2117064"/>
                        <a:gd name="connsiteX5131" fmla="*/ 566621 w 1263758"/>
                        <a:gd name="connsiteY5131" fmla="*/ 1185898 h 2117064"/>
                        <a:gd name="connsiteX5132" fmla="*/ 572471 w 1263758"/>
                        <a:gd name="connsiteY5132" fmla="*/ 1186349 h 2117064"/>
                        <a:gd name="connsiteX5133" fmla="*/ 573822 w 1263758"/>
                        <a:gd name="connsiteY5133" fmla="*/ 1188149 h 2117064"/>
                        <a:gd name="connsiteX5134" fmla="*/ 573822 w 1263758"/>
                        <a:gd name="connsiteY5134" fmla="*/ 1189949 h 2117064"/>
                        <a:gd name="connsiteX5135" fmla="*/ 573372 w 1263758"/>
                        <a:gd name="connsiteY5135" fmla="*/ 1192649 h 2117064"/>
                        <a:gd name="connsiteX5136" fmla="*/ 573822 w 1263758"/>
                        <a:gd name="connsiteY5136" fmla="*/ 1194900 h 2117064"/>
                        <a:gd name="connsiteX5137" fmla="*/ 577872 w 1263758"/>
                        <a:gd name="connsiteY5137" fmla="*/ 1199400 h 2117064"/>
                        <a:gd name="connsiteX5138" fmla="*/ 581473 w 1263758"/>
                        <a:gd name="connsiteY5138" fmla="*/ 1202551 h 2117064"/>
                        <a:gd name="connsiteX5139" fmla="*/ 584623 w 1263758"/>
                        <a:gd name="connsiteY5139" fmla="*/ 1206601 h 2117064"/>
                        <a:gd name="connsiteX5140" fmla="*/ 589574 w 1263758"/>
                        <a:gd name="connsiteY5140" fmla="*/ 1215152 h 2117064"/>
                        <a:gd name="connsiteX5141" fmla="*/ 590474 w 1263758"/>
                        <a:gd name="connsiteY5141" fmla="*/ 1217402 h 2117064"/>
                        <a:gd name="connsiteX5142" fmla="*/ 591374 w 1263758"/>
                        <a:gd name="connsiteY5142" fmla="*/ 1220103 h 2117064"/>
                        <a:gd name="connsiteX5143" fmla="*/ 592724 w 1263758"/>
                        <a:gd name="connsiteY5143" fmla="*/ 1229104 h 2117064"/>
                        <a:gd name="connsiteX5144" fmla="*/ 592724 w 1263758"/>
                        <a:gd name="connsiteY5144" fmla="*/ 1232704 h 2117064"/>
                        <a:gd name="connsiteX5145" fmla="*/ 592274 w 1263758"/>
                        <a:gd name="connsiteY5145" fmla="*/ 1242606 h 2117064"/>
                        <a:gd name="connsiteX5146" fmla="*/ 591824 w 1263758"/>
                        <a:gd name="connsiteY5146" fmla="*/ 1244406 h 2117064"/>
                        <a:gd name="connsiteX5147" fmla="*/ 590474 w 1263758"/>
                        <a:gd name="connsiteY5147" fmla="*/ 1246656 h 2117064"/>
                        <a:gd name="connsiteX5148" fmla="*/ 590924 w 1263758"/>
                        <a:gd name="connsiteY5148" fmla="*/ 1247556 h 2117064"/>
                        <a:gd name="connsiteX5149" fmla="*/ 594524 w 1263758"/>
                        <a:gd name="connsiteY5149" fmla="*/ 1250256 h 2117064"/>
                        <a:gd name="connsiteX5150" fmla="*/ 597675 w 1263758"/>
                        <a:gd name="connsiteY5150" fmla="*/ 1255207 h 2117064"/>
                        <a:gd name="connsiteX5151" fmla="*/ 599475 w 1263758"/>
                        <a:gd name="connsiteY5151" fmla="*/ 1257007 h 2117064"/>
                        <a:gd name="connsiteX5152" fmla="*/ 603075 w 1263758"/>
                        <a:gd name="connsiteY5152" fmla="*/ 1259708 h 2117064"/>
                        <a:gd name="connsiteX5153" fmla="*/ 603975 w 1263758"/>
                        <a:gd name="connsiteY5153" fmla="*/ 1260608 h 2117064"/>
                        <a:gd name="connsiteX5154" fmla="*/ 604876 w 1263758"/>
                        <a:gd name="connsiteY5154" fmla="*/ 1262408 h 2117064"/>
                        <a:gd name="connsiteX5155" fmla="*/ 607126 w 1263758"/>
                        <a:gd name="connsiteY5155" fmla="*/ 1269609 h 2117064"/>
                        <a:gd name="connsiteX5156" fmla="*/ 610726 w 1263758"/>
                        <a:gd name="connsiteY5156" fmla="*/ 1276360 h 2117064"/>
                        <a:gd name="connsiteX5157" fmla="*/ 611176 w 1263758"/>
                        <a:gd name="connsiteY5157" fmla="*/ 1277710 h 2117064"/>
                        <a:gd name="connsiteX5158" fmla="*/ 610276 w 1263758"/>
                        <a:gd name="connsiteY5158" fmla="*/ 1280860 h 2117064"/>
                        <a:gd name="connsiteX5159" fmla="*/ 610726 w 1263758"/>
                        <a:gd name="connsiteY5159" fmla="*/ 1281760 h 2117064"/>
                        <a:gd name="connsiteX5160" fmla="*/ 612077 w 1263758"/>
                        <a:gd name="connsiteY5160" fmla="*/ 1282661 h 2117064"/>
                        <a:gd name="connsiteX5161" fmla="*/ 613427 w 1263758"/>
                        <a:gd name="connsiteY5161" fmla="*/ 1282210 h 2117064"/>
                        <a:gd name="connsiteX5162" fmla="*/ 614327 w 1263758"/>
                        <a:gd name="connsiteY5162" fmla="*/ 1279960 h 2117064"/>
                        <a:gd name="connsiteX5163" fmla="*/ 615677 w 1263758"/>
                        <a:gd name="connsiteY5163" fmla="*/ 1279510 h 2117064"/>
                        <a:gd name="connsiteX5164" fmla="*/ 617027 w 1263758"/>
                        <a:gd name="connsiteY5164" fmla="*/ 1280410 h 2117064"/>
                        <a:gd name="connsiteX5165" fmla="*/ 617927 w 1263758"/>
                        <a:gd name="connsiteY5165" fmla="*/ 1282210 h 2117064"/>
                        <a:gd name="connsiteX5166" fmla="*/ 619277 w 1263758"/>
                        <a:gd name="connsiteY5166" fmla="*/ 1286261 h 2117064"/>
                        <a:gd name="connsiteX5167" fmla="*/ 621078 w 1263758"/>
                        <a:gd name="connsiteY5167" fmla="*/ 1289861 h 2117064"/>
                        <a:gd name="connsiteX5168" fmla="*/ 621078 w 1263758"/>
                        <a:gd name="connsiteY5168" fmla="*/ 1290762 h 2117064"/>
                        <a:gd name="connsiteX5169" fmla="*/ 620177 w 1263758"/>
                        <a:gd name="connsiteY5169" fmla="*/ 1291662 h 2117064"/>
                        <a:gd name="connsiteX5170" fmla="*/ 615227 w 1263758"/>
                        <a:gd name="connsiteY5170" fmla="*/ 1292562 h 2117064"/>
                        <a:gd name="connsiteX5171" fmla="*/ 612527 w 1263758"/>
                        <a:gd name="connsiteY5171" fmla="*/ 1292112 h 2117064"/>
                        <a:gd name="connsiteX5172" fmla="*/ 609826 w 1263758"/>
                        <a:gd name="connsiteY5172" fmla="*/ 1290312 h 2117064"/>
                        <a:gd name="connsiteX5173" fmla="*/ 608026 w 1263758"/>
                        <a:gd name="connsiteY5173" fmla="*/ 1288511 h 2117064"/>
                        <a:gd name="connsiteX5174" fmla="*/ 606226 w 1263758"/>
                        <a:gd name="connsiteY5174" fmla="*/ 1285811 h 2117064"/>
                        <a:gd name="connsiteX5175" fmla="*/ 605776 w 1263758"/>
                        <a:gd name="connsiteY5175" fmla="*/ 1286261 h 2117064"/>
                        <a:gd name="connsiteX5176" fmla="*/ 604876 w 1263758"/>
                        <a:gd name="connsiteY5176" fmla="*/ 1288511 h 2117064"/>
                        <a:gd name="connsiteX5177" fmla="*/ 603075 w 1263758"/>
                        <a:gd name="connsiteY5177" fmla="*/ 1291662 h 2117064"/>
                        <a:gd name="connsiteX5178" fmla="*/ 601725 w 1263758"/>
                        <a:gd name="connsiteY5178" fmla="*/ 1294362 h 2117064"/>
                        <a:gd name="connsiteX5179" fmla="*/ 603075 w 1263758"/>
                        <a:gd name="connsiteY5179" fmla="*/ 1295712 h 2117064"/>
                        <a:gd name="connsiteX5180" fmla="*/ 609826 w 1263758"/>
                        <a:gd name="connsiteY5180" fmla="*/ 1295712 h 2117064"/>
                        <a:gd name="connsiteX5181" fmla="*/ 611176 w 1263758"/>
                        <a:gd name="connsiteY5181" fmla="*/ 1296612 h 2117064"/>
                        <a:gd name="connsiteX5182" fmla="*/ 612977 w 1263758"/>
                        <a:gd name="connsiteY5182" fmla="*/ 1298863 h 2117064"/>
                        <a:gd name="connsiteX5183" fmla="*/ 611176 w 1263758"/>
                        <a:gd name="connsiteY5183" fmla="*/ 1302463 h 2117064"/>
                        <a:gd name="connsiteX5184" fmla="*/ 606676 w 1263758"/>
                        <a:gd name="connsiteY5184" fmla="*/ 1308314 h 2117064"/>
                        <a:gd name="connsiteX5185" fmla="*/ 596775 w 1263758"/>
                        <a:gd name="connsiteY5185" fmla="*/ 1319115 h 2117064"/>
                        <a:gd name="connsiteX5186" fmla="*/ 594074 w 1263758"/>
                        <a:gd name="connsiteY5186" fmla="*/ 1321816 h 2117064"/>
                        <a:gd name="connsiteX5187" fmla="*/ 594974 w 1263758"/>
                        <a:gd name="connsiteY5187" fmla="*/ 1322716 h 2117064"/>
                        <a:gd name="connsiteX5188" fmla="*/ 595874 w 1263758"/>
                        <a:gd name="connsiteY5188" fmla="*/ 1322716 h 2117064"/>
                        <a:gd name="connsiteX5189" fmla="*/ 599475 w 1263758"/>
                        <a:gd name="connsiteY5189" fmla="*/ 1322265 h 2117064"/>
                        <a:gd name="connsiteX5190" fmla="*/ 602625 w 1263758"/>
                        <a:gd name="connsiteY5190" fmla="*/ 1320915 h 2117064"/>
                        <a:gd name="connsiteX5191" fmla="*/ 606676 w 1263758"/>
                        <a:gd name="connsiteY5191" fmla="*/ 1321365 h 2117064"/>
                        <a:gd name="connsiteX5192" fmla="*/ 608476 w 1263758"/>
                        <a:gd name="connsiteY5192" fmla="*/ 1322716 h 2117064"/>
                        <a:gd name="connsiteX5193" fmla="*/ 608026 w 1263758"/>
                        <a:gd name="connsiteY5193" fmla="*/ 1324066 h 2117064"/>
                        <a:gd name="connsiteX5194" fmla="*/ 608926 w 1263758"/>
                        <a:gd name="connsiteY5194" fmla="*/ 1325866 h 2117064"/>
                        <a:gd name="connsiteX5195" fmla="*/ 615227 w 1263758"/>
                        <a:gd name="connsiteY5195" fmla="*/ 1330367 h 2117064"/>
                        <a:gd name="connsiteX5196" fmla="*/ 619277 w 1263758"/>
                        <a:gd name="connsiteY5196" fmla="*/ 1329466 h 2117064"/>
                        <a:gd name="connsiteX5197" fmla="*/ 623328 w 1263758"/>
                        <a:gd name="connsiteY5197" fmla="*/ 1325416 h 2117064"/>
                        <a:gd name="connsiteX5198" fmla="*/ 626478 w 1263758"/>
                        <a:gd name="connsiteY5198" fmla="*/ 1323166 h 2117064"/>
                        <a:gd name="connsiteX5199" fmla="*/ 630529 w 1263758"/>
                        <a:gd name="connsiteY5199" fmla="*/ 1323616 h 2117064"/>
                        <a:gd name="connsiteX5200" fmla="*/ 631429 w 1263758"/>
                        <a:gd name="connsiteY5200" fmla="*/ 1324066 h 2117064"/>
                        <a:gd name="connsiteX5201" fmla="*/ 630979 w 1263758"/>
                        <a:gd name="connsiteY5201" fmla="*/ 1324966 h 2117064"/>
                        <a:gd name="connsiteX5202" fmla="*/ 628279 w 1263758"/>
                        <a:gd name="connsiteY5202" fmla="*/ 1327216 h 2117064"/>
                        <a:gd name="connsiteX5203" fmla="*/ 625578 w 1263758"/>
                        <a:gd name="connsiteY5203" fmla="*/ 1329916 h 2117064"/>
                        <a:gd name="connsiteX5204" fmla="*/ 625128 w 1263758"/>
                        <a:gd name="connsiteY5204" fmla="*/ 1330817 h 2117064"/>
                        <a:gd name="connsiteX5205" fmla="*/ 628279 w 1263758"/>
                        <a:gd name="connsiteY5205" fmla="*/ 1329916 h 2117064"/>
                        <a:gd name="connsiteX5206" fmla="*/ 635479 w 1263758"/>
                        <a:gd name="connsiteY5206" fmla="*/ 1331717 h 2117064"/>
                        <a:gd name="connsiteX5207" fmla="*/ 639080 w 1263758"/>
                        <a:gd name="connsiteY5207" fmla="*/ 1332167 h 2117064"/>
                        <a:gd name="connsiteX5208" fmla="*/ 641780 w 1263758"/>
                        <a:gd name="connsiteY5208" fmla="*/ 1331717 h 2117064"/>
                        <a:gd name="connsiteX5209" fmla="*/ 644031 w 1263758"/>
                        <a:gd name="connsiteY5209" fmla="*/ 1332167 h 2117064"/>
                        <a:gd name="connsiteX5210" fmla="*/ 646281 w 1263758"/>
                        <a:gd name="connsiteY5210" fmla="*/ 1333967 h 2117064"/>
                        <a:gd name="connsiteX5211" fmla="*/ 647181 w 1263758"/>
                        <a:gd name="connsiteY5211" fmla="*/ 1334867 h 2117064"/>
                        <a:gd name="connsiteX5212" fmla="*/ 644931 w 1263758"/>
                        <a:gd name="connsiteY5212" fmla="*/ 1335767 h 2117064"/>
                        <a:gd name="connsiteX5213" fmla="*/ 643130 w 1263758"/>
                        <a:gd name="connsiteY5213" fmla="*/ 1335767 h 2117064"/>
                        <a:gd name="connsiteX5214" fmla="*/ 641330 w 1263758"/>
                        <a:gd name="connsiteY5214" fmla="*/ 1336667 h 2117064"/>
                        <a:gd name="connsiteX5215" fmla="*/ 639980 w 1263758"/>
                        <a:gd name="connsiteY5215" fmla="*/ 1338918 h 2117064"/>
                        <a:gd name="connsiteX5216" fmla="*/ 639080 w 1263758"/>
                        <a:gd name="connsiteY5216" fmla="*/ 1341618 h 2117064"/>
                        <a:gd name="connsiteX5217" fmla="*/ 638630 w 1263758"/>
                        <a:gd name="connsiteY5217" fmla="*/ 1345218 h 2117064"/>
                        <a:gd name="connsiteX5218" fmla="*/ 637280 w 1263758"/>
                        <a:gd name="connsiteY5218" fmla="*/ 1346569 h 2117064"/>
                        <a:gd name="connsiteX5219" fmla="*/ 635029 w 1263758"/>
                        <a:gd name="connsiteY5219" fmla="*/ 1346119 h 2117064"/>
                        <a:gd name="connsiteX5220" fmla="*/ 634129 w 1263758"/>
                        <a:gd name="connsiteY5220" fmla="*/ 1345218 h 2117064"/>
                        <a:gd name="connsiteX5221" fmla="*/ 634579 w 1263758"/>
                        <a:gd name="connsiteY5221" fmla="*/ 1343868 h 2117064"/>
                        <a:gd name="connsiteX5222" fmla="*/ 633679 w 1263758"/>
                        <a:gd name="connsiteY5222" fmla="*/ 1343868 h 2117064"/>
                        <a:gd name="connsiteX5223" fmla="*/ 631879 w 1263758"/>
                        <a:gd name="connsiteY5223" fmla="*/ 1344768 h 2117064"/>
                        <a:gd name="connsiteX5224" fmla="*/ 630529 w 1263758"/>
                        <a:gd name="connsiteY5224" fmla="*/ 1344768 h 2117064"/>
                        <a:gd name="connsiteX5225" fmla="*/ 630079 w 1263758"/>
                        <a:gd name="connsiteY5225" fmla="*/ 1345668 h 2117064"/>
                        <a:gd name="connsiteX5226" fmla="*/ 640430 w 1263758"/>
                        <a:gd name="connsiteY5226" fmla="*/ 1356470 h 2117064"/>
                        <a:gd name="connsiteX5227" fmla="*/ 643580 w 1263758"/>
                        <a:gd name="connsiteY5227" fmla="*/ 1365921 h 2117064"/>
                        <a:gd name="connsiteX5228" fmla="*/ 645831 w 1263758"/>
                        <a:gd name="connsiteY5228" fmla="*/ 1369971 h 2117064"/>
                        <a:gd name="connsiteX5229" fmla="*/ 646281 w 1263758"/>
                        <a:gd name="connsiteY5229" fmla="*/ 1370872 h 2117064"/>
                        <a:gd name="connsiteX5230" fmla="*/ 644931 w 1263758"/>
                        <a:gd name="connsiteY5230" fmla="*/ 1373572 h 2117064"/>
                        <a:gd name="connsiteX5231" fmla="*/ 644931 w 1263758"/>
                        <a:gd name="connsiteY5231" fmla="*/ 1375372 h 2117064"/>
                        <a:gd name="connsiteX5232" fmla="*/ 645831 w 1263758"/>
                        <a:gd name="connsiteY5232" fmla="*/ 1381223 h 2117064"/>
                        <a:gd name="connsiteX5233" fmla="*/ 645381 w 1263758"/>
                        <a:gd name="connsiteY5233" fmla="*/ 1385723 h 2117064"/>
                        <a:gd name="connsiteX5234" fmla="*/ 644480 w 1263758"/>
                        <a:gd name="connsiteY5234" fmla="*/ 1393825 h 2117064"/>
                        <a:gd name="connsiteX5235" fmla="*/ 645381 w 1263758"/>
                        <a:gd name="connsiteY5235" fmla="*/ 1396075 h 2117064"/>
                        <a:gd name="connsiteX5236" fmla="*/ 647631 w 1263758"/>
                        <a:gd name="connsiteY5236" fmla="*/ 1398325 h 2117064"/>
                        <a:gd name="connsiteX5237" fmla="*/ 648981 w 1263758"/>
                        <a:gd name="connsiteY5237" fmla="*/ 1401025 h 2117064"/>
                        <a:gd name="connsiteX5238" fmla="*/ 649881 w 1263758"/>
                        <a:gd name="connsiteY5238" fmla="*/ 1401925 h 2117064"/>
                        <a:gd name="connsiteX5239" fmla="*/ 650781 w 1263758"/>
                        <a:gd name="connsiteY5239" fmla="*/ 1404176 h 2117064"/>
                        <a:gd name="connsiteX5240" fmla="*/ 651681 w 1263758"/>
                        <a:gd name="connsiteY5240" fmla="*/ 1405526 h 2117064"/>
                        <a:gd name="connsiteX5241" fmla="*/ 652582 w 1263758"/>
                        <a:gd name="connsiteY5241" fmla="*/ 1405976 h 2117064"/>
                        <a:gd name="connsiteX5242" fmla="*/ 653032 w 1263758"/>
                        <a:gd name="connsiteY5242" fmla="*/ 1405076 h 2117064"/>
                        <a:gd name="connsiteX5243" fmla="*/ 653482 w 1263758"/>
                        <a:gd name="connsiteY5243" fmla="*/ 1403276 h 2117064"/>
                        <a:gd name="connsiteX5244" fmla="*/ 654382 w 1263758"/>
                        <a:gd name="connsiteY5244" fmla="*/ 1401475 h 2117064"/>
                        <a:gd name="connsiteX5245" fmla="*/ 656632 w 1263758"/>
                        <a:gd name="connsiteY5245" fmla="*/ 1397875 h 2117064"/>
                        <a:gd name="connsiteX5246" fmla="*/ 658882 w 1263758"/>
                        <a:gd name="connsiteY5246" fmla="*/ 1392474 h 2117064"/>
                        <a:gd name="connsiteX5247" fmla="*/ 659332 w 1263758"/>
                        <a:gd name="connsiteY5247" fmla="*/ 1390674 h 2117064"/>
                        <a:gd name="connsiteX5248" fmla="*/ 658882 w 1263758"/>
                        <a:gd name="connsiteY5248" fmla="*/ 1386624 h 2117064"/>
                        <a:gd name="connsiteX5249" fmla="*/ 659332 w 1263758"/>
                        <a:gd name="connsiteY5249" fmla="*/ 1384823 h 2117064"/>
                        <a:gd name="connsiteX5250" fmla="*/ 661583 w 1263758"/>
                        <a:gd name="connsiteY5250" fmla="*/ 1378523 h 2117064"/>
                        <a:gd name="connsiteX5251" fmla="*/ 662483 w 1263758"/>
                        <a:gd name="connsiteY5251" fmla="*/ 1374022 h 2117064"/>
                        <a:gd name="connsiteX5252" fmla="*/ 662933 w 1263758"/>
                        <a:gd name="connsiteY5252" fmla="*/ 1366821 h 2117064"/>
                        <a:gd name="connsiteX5253" fmla="*/ 664283 w 1263758"/>
                        <a:gd name="connsiteY5253" fmla="*/ 1361871 h 2117064"/>
                        <a:gd name="connsiteX5254" fmla="*/ 666533 w 1263758"/>
                        <a:gd name="connsiteY5254" fmla="*/ 1357820 h 2117064"/>
                        <a:gd name="connsiteX5255" fmla="*/ 670584 w 1263758"/>
                        <a:gd name="connsiteY5255" fmla="*/ 1349269 h 2117064"/>
                        <a:gd name="connsiteX5256" fmla="*/ 671934 w 1263758"/>
                        <a:gd name="connsiteY5256" fmla="*/ 1347469 h 2117064"/>
                        <a:gd name="connsiteX5257" fmla="*/ 673734 w 1263758"/>
                        <a:gd name="connsiteY5257" fmla="*/ 1346569 h 2117064"/>
                        <a:gd name="connsiteX5258" fmla="*/ 676885 w 1263758"/>
                        <a:gd name="connsiteY5258" fmla="*/ 1346569 h 2117064"/>
                        <a:gd name="connsiteX5259" fmla="*/ 679135 w 1263758"/>
                        <a:gd name="connsiteY5259" fmla="*/ 1349269 h 2117064"/>
                        <a:gd name="connsiteX5260" fmla="*/ 682285 w 1263758"/>
                        <a:gd name="connsiteY5260" fmla="*/ 1354219 h 2117064"/>
                        <a:gd name="connsiteX5261" fmla="*/ 685886 w 1263758"/>
                        <a:gd name="connsiteY5261" fmla="*/ 1358720 h 2117064"/>
                        <a:gd name="connsiteX5262" fmla="*/ 692637 w 1263758"/>
                        <a:gd name="connsiteY5262" fmla="*/ 1365021 h 2117064"/>
                        <a:gd name="connsiteX5263" fmla="*/ 694437 w 1263758"/>
                        <a:gd name="connsiteY5263" fmla="*/ 1367271 h 2117064"/>
                        <a:gd name="connsiteX5264" fmla="*/ 698487 w 1263758"/>
                        <a:gd name="connsiteY5264" fmla="*/ 1373572 h 2117064"/>
                        <a:gd name="connsiteX5265" fmla="*/ 700288 w 1263758"/>
                        <a:gd name="connsiteY5265" fmla="*/ 1379423 h 2117064"/>
                        <a:gd name="connsiteX5266" fmla="*/ 701188 w 1263758"/>
                        <a:gd name="connsiteY5266" fmla="*/ 1387974 h 2117064"/>
                        <a:gd name="connsiteX5267" fmla="*/ 702088 w 1263758"/>
                        <a:gd name="connsiteY5267" fmla="*/ 1392924 h 2117064"/>
                        <a:gd name="connsiteX5268" fmla="*/ 702988 w 1263758"/>
                        <a:gd name="connsiteY5268" fmla="*/ 1394725 h 2117064"/>
                        <a:gd name="connsiteX5269" fmla="*/ 703438 w 1263758"/>
                        <a:gd name="connsiteY5269" fmla="*/ 1397425 h 2117064"/>
                        <a:gd name="connsiteX5270" fmla="*/ 703438 w 1263758"/>
                        <a:gd name="connsiteY5270" fmla="*/ 1400575 h 2117064"/>
                        <a:gd name="connsiteX5271" fmla="*/ 702988 w 1263758"/>
                        <a:gd name="connsiteY5271" fmla="*/ 1403276 h 2117064"/>
                        <a:gd name="connsiteX5272" fmla="*/ 702538 w 1263758"/>
                        <a:gd name="connsiteY5272" fmla="*/ 1405076 h 2117064"/>
                        <a:gd name="connsiteX5273" fmla="*/ 701638 w 1263758"/>
                        <a:gd name="connsiteY5273" fmla="*/ 1405976 h 2117064"/>
                        <a:gd name="connsiteX5274" fmla="*/ 699387 w 1263758"/>
                        <a:gd name="connsiteY5274" fmla="*/ 1406426 h 2117064"/>
                        <a:gd name="connsiteX5275" fmla="*/ 696687 w 1263758"/>
                        <a:gd name="connsiteY5275" fmla="*/ 1405976 h 2117064"/>
                        <a:gd name="connsiteX5276" fmla="*/ 695787 w 1263758"/>
                        <a:gd name="connsiteY5276" fmla="*/ 1405076 h 2117064"/>
                        <a:gd name="connsiteX5277" fmla="*/ 694437 w 1263758"/>
                        <a:gd name="connsiteY5277" fmla="*/ 1401025 h 2117064"/>
                        <a:gd name="connsiteX5278" fmla="*/ 693987 w 1263758"/>
                        <a:gd name="connsiteY5278" fmla="*/ 1400575 h 2117064"/>
                        <a:gd name="connsiteX5279" fmla="*/ 691736 w 1263758"/>
                        <a:gd name="connsiteY5279" fmla="*/ 1403276 h 2117064"/>
                        <a:gd name="connsiteX5280" fmla="*/ 691286 w 1263758"/>
                        <a:gd name="connsiteY5280" fmla="*/ 1405076 h 2117064"/>
                        <a:gd name="connsiteX5281" fmla="*/ 692186 w 1263758"/>
                        <a:gd name="connsiteY5281" fmla="*/ 1410477 h 2117064"/>
                        <a:gd name="connsiteX5282" fmla="*/ 692186 w 1263758"/>
                        <a:gd name="connsiteY5282" fmla="*/ 1420378 h 2117064"/>
                        <a:gd name="connsiteX5283" fmla="*/ 692637 w 1263758"/>
                        <a:gd name="connsiteY5283" fmla="*/ 1422628 h 2117064"/>
                        <a:gd name="connsiteX5284" fmla="*/ 695337 w 1263758"/>
                        <a:gd name="connsiteY5284" fmla="*/ 1432979 h 2117064"/>
                        <a:gd name="connsiteX5285" fmla="*/ 699387 w 1263758"/>
                        <a:gd name="connsiteY5285" fmla="*/ 1440630 h 2117064"/>
                        <a:gd name="connsiteX5286" fmla="*/ 709739 w 1263758"/>
                        <a:gd name="connsiteY5286" fmla="*/ 1455482 h 2117064"/>
                        <a:gd name="connsiteX5287" fmla="*/ 710189 w 1263758"/>
                        <a:gd name="connsiteY5287" fmla="*/ 1457282 h 2117064"/>
                        <a:gd name="connsiteX5288" fmla="*/ 711089 w 1263758"/>
                        <a:gd name="connsiteY5288" fmla="*/ 1463133 h 2117064"/>
                        <a:gd name="connsiteX5289" fmla="*/ 711539 w 1263758"/>
                        <a:gd name="connsiteY5289" fmla="*/ 1464483 h 2117064"/>
                        <a:gd name="connsiteX5290" fmla="*/ 712439 w 1263758"/>
                        <a:gd name="connsiteY5290" fmla="*/ 1465383 h 2117064"/>
                        <a:gd name="connsiteX5291" fmla="*/ 713339 w 1263758"/>
                        <a:gd name="connsiteY5291" fmla="*/ 1465834 h 2117064"/>
                        <a:gd name="connsiteX5292" fmla="*/ 714689 w 1263758"/>
                        <a:gd name="connsiteY5292" fmla="*/ 1465383 h 2117064"/>
                        <a:gd name="connsiteX5293" fmla="*/ 718740 w 1263758"/>
                        <a:gd name="connsiteY5293" fmla="*/ 1460883 h 2117064"/>
                        <a:gd name="connsiteX5294" fmla="*/ 722340 w 1263758"/>
                        <a:gd name="connsiteY5294" fmla="*/ 1455932 h 2117064"/>
                        <a:gd name="connsiteX5295" fmla="*/ 724591 w 1263758"/>
                        <a:gd name="connsiteY5295" fmla="*/ 1453232 h 2117064"/>
                        <a:gd name="connsiteX5296" fmla="*/ 725941 w 1263758"/>
                        <a:gd name="connsiteY5296" fmla="*/ 1453232 h 2117064"/>
                        <a:gd name="connsiteX5297" fmla="*/ 727291 w 1263758"/>
                        <a:gd name="connsiteY5297" fmla="*/ 1452332 h 2117064"/>
                        <a:gd name="connsiteX5298" fmla="*/ 728641 w 1263758"/>
                        <a:gd name="connsiteY5298" fmla="*/ 1450532 h 2117064"/>
                        <a:gd name="connsiteX5299" fmla="*/ 729541 w 1263758"/>
                        <a:gd name="connsiteY5299" fmla="*/ 1448731 h 2117064"/>
                        <a:gd name="connsiteX5300" fmla="*/ 729991 w 1263758"/>
                        <a:gd name="connsiteY5300" fmla="*/ 1446931 h 2117064"/>
                        <a:gd name="connsiteX5301" fmla="*/ 730891 w 1263758"/>
                        <a:gd name="connsiteY5301" fmla="*/ 1439730 h 2117064"/>
                        <a:gd name="connsiteX5302" fmla="*/ 731341 w 1263758"/>
                        <a:gd name="connsiteY5302" fmla="*/ 1436130 h 2117064"/>
                        <a:gd name="connsiteX5303" fmla="*/ 733142 w 1263758"/>
                        <a:gd name="connsiteY5303" fmla="*/ 1431179 h 2117064"/>
                        <a:gd name="connsiteX5304" fmla="*/ 733592 w 1263758"/>
                        <a:gd name="connsiteY5304" fmla="*/ 1429829 h 2117064"/>
                        <a:gd name="connsiteX5305" fmla="*/ 741693 w 1263758"/>
                        <a:gd name="connsiteY5305" fmla="*/ 1417227 h 2117064"/>
                        <a:gd name="connsiteX5306" fmla="*/ 742593 w 1263758"/>
                        <a:gd name="connsiteY5306" fmla="*/ 1415877 h 2117064"/>
                        <a:gd name="connsiteX5307" fmla="*/ 746193 w 1263758"/>
                        <a:gd name="connsiteY5307" fmla="*/ 1401475 h 2117064"/>
                        <a:gd name="connsiteX5308" fmla="*/ 747543 w 1263758"/>
                        <a:gd name="connsiteY5308" fmla="*/ 1394725 h 2117064"/>
                        <a:gd name="connsiteX5309" fmla="*/ 747543 w 1263758"/>
                        <a:gd name="connsiteY5309" fmla="*/ 1390674 h 2117064"/>
                        <a:gd name="connsiteX5310" fmla="*/ 747093 w 1263758"/>
                        <a:gd name="connsiteY5310" fmla="*/ 1387074 h 2117064"/>
                        <a:gd name="connsiteX5311" fmla="*/ 747543 w 1263758"/>
                        <a:gd name="connsiteY5311" fmla="*/ 1383923 h 2117064"/>
                        <a:gd name="connsiteX5312" fmla="*/ 748444 w 1263758"/>
                        <a:gd name="connsiteY5312" fmla="*/ 1381673 h 2117064"/>
                        <a:gd name="connsiteX5313" fmla="*/ 749344 w 1263758"/>
                        <a:gd name="connsiteY5313" fmla="*/ 1379873 h 2117064"/>
                        <a:gd name="connsiteX5314" fmla="*/ 751144 w 1263758"/>
                        <a:gd name="connsiteY5314" fmla="*/ 1378073 h 2117064"/>
                        <a:gd name="connsiteX5315" fmla="*/ 752044 w 1263758"/>
                        <a:gd name="connsiteY5315" fmla="*/ 1375822 h 2117064"/>
                        <a:gd name="connsiteX5316" fmla="*/ 752494 w 1263758"/>
                        <a:gd name="connsiteY5316" fmla="*/ 1375372 h 2117064"/>
                        <a:gd name="connsiteX5317" fmla="*/ 753844 w 1263758"/>
                        <a:gd name="connsiteY5317" fmla="*/ 1375372 h 2117064"/>
                        <a:gd name="connsiteX5318" fmla="*/ 755644 w 1263758"/>
                        <a:gd name="connsiteY5318" fmla="*/ 1377172 h 2117064"/>
                        <a:gd name="connsiteX5319" fmla="*/ 756995 w 1263758"/>
                        <a:gd name="connsiteY5319" fmla="*/ 1377622 h 2117064"/>
                        <a:gd name="connsiteX5320" fmla="*/ 765546 w 1263758"/>
                        <a:gd name="connsiteY5320" fmla="*/ 1375822 h 2117064"/>
                        <a:gd name="connsiteX5321" fmla="*/ 765546 w 1263758"/>
                        <a:gd name="connsiteY5321" fmla="*/ 1374922 h 2117064"/>
                        <a:gd name="connsiteX5322" fmla="*/ 760595 w 1263758"/>
                        <a:gd name="connsiteY5322" fmla="*/ 1371772 h 2117064"/>
                        <a:gd name="connsiteX5323" fmla="*/ 760595 w 1263758"/>
                        <a:gd name="connsiteY5323" fmla="*/ 1369971 h 2117064"/>
                        <a:gd name="connsiteX5324" fmla="*/ 761045 w 1263758"/>
                        <a:gd name="connsiteY5324" fmla="*/ 1367721 h 2117064"/>
                        <a:gd name="connsiteX5325" fmla="*/ 762845 w 1263758"/>
                        <a:gd name="connsiteY5325" fmla="*/ 1365471 h 2117064"/>
                        <a:gd name="connsiteX5326" fmla="*/ 764646 w 1263758"/>
                        <a:gd name="connsiteY5326" fmla="*/ 1364571 h 2117064"/>
                        <a:gd name="connsiteX5327" fmla="*/ 765096 w 1263758"/>
                        <a:gd name="connsiteY5327" fmla="*/ 1363221 h 2117064"/>
                        <a:gd name="connsiteX5328" fmla="*/ 765096 w 1263758"/>
                        <a:gd name="connsiteY5328" fmla="*/ 1361420 h 2117064"/>
                        <a:gd name="connsiteX5329" fmla="*/ 765546 w 1263758"/>
                        <a:gd name="connsiteY5329" fmla="*/ 1358270 h 2117064"/>
                        <a:gd name="connsiteX5330" fmla="*/ 765096 w 1263758"/>
                        <a:gd name="connsiteY5330" fmla="*/ 1357370 h 2117064"/>
                        <a:gd name="connsiteX5331" fmla="*/ 760145 w 1263758"/>
                        <a:gd name="connsiteY5331" fmla="*/ 1352869 h 2117064"/>
                        <a:gd name="connsiteX5332" fmla="*/ 757445 w 1263758"/>
                        <a:gd name="connsiteY5332" fmla="*/ 1352869 h 2117064"/>
                        <a:gd name="connsiteX5333" fmla="*/ 756545 w 1263758"/>
                        <a:gd name="connsiteY5333" fmla="*/ 1352419 h 2117064"/>
                        <a:gd name="connsiteX5334" fmla="*/ 754294 w 1263758"/>
                        <a:gd name="connsiteY5334" fmla="*/ 1348819 h 2117064"/>
                        <a:gd name="connsiteX5335" fmla="*/ 753394 w 1263758"/>
                        <a:gd name="connsiteY5335" fmla="*/ 1343418 h 2117064"/>
                        <a:gd name="connsiteX5336" fmla="*/ 753394 w 1263758"/>
                        <a:gd name="connsiteY5336" fmla="*/ 1341168 h 2117064"/>
                        <a:gd name="connsiteX5337" fmla="*/ 753844 w 1263758"/>
                        <a:gd name="connsiteY5337" fmla="*/ 1337567 h 2117064"/>
                        <a:gd name="connsiteX5338" fmla="*/ 754294 w 1263758"/>
                        <a:gd name="connsiteY5338" fmla="*/ 1336667 h 2117064"/>
                        <a:gd name="connsiteX5339" fmla="*/ 754294 w 1263758"/>
                        <a:gd name="connsiteY5339" fmla="*/ 1335317 h 2117064"/>
                        <a:gd name="connsiteX5340" fmla="*/ 753844 w 1263758"/>
                        <a:gd name="connsiteY5340" fmla="*/ 1333067 h 2117064"/>
                        <a:gd name="connsiteX5341" fmla="*/ 753844 w 1263758"/>
                        <a:gd name="connsiteY5341" fmla="*/ 1331267 h 2117064"/>
                        <a:gd name="connsiteX5342" fmla="*/ 754294 w 1263758"/>
                        <a:gd name="connsiteY5342" fmla="*/ 1329466 h 2117064"/>
                        <a:gd name="connsiteX5343" fmla="*/ 753844 w 1263758"/>
                        <a:gd name="connsiteY5343" fmla="*/ 1327666 h 2117064"/>
                        <a:gd name="connsiteX5344" fmla="*/ 752944 w 1263758"/>
                        <a:gd name="connsiteY5344" fmla="*/ 1325416 h 2117064"/>
                        <a:gd name="connsiteX5345" fmla="*/ 752494 w 1263758"/>
                        <a:gd name="connsiteY5345" fmla="*/ 1323616 h 2117064"/>
                        <a:gd name="connsiteX5346" fmla="*/ 753844 w 1263758"/>
                        <a:gd name="connsiteY5346" fmla="*/ 1317765 h 2117064"/>
                        <a:gd name="connsiteX5347" fmla="*/ 753844 w 1263758"/>
                        <a:gd name="connsiteY5347" fmla="*/ 1315965 h 2117064"/>
                        <a:gd name="connsiteX5348" fmla="*/ 752944 w 1263758"/>
                        <a:gd name="connsiteY5348" fmla="*/ 1313264 h 2117064"/>
                        <a:gd name="connsiteX5349" fmla="*/ 752044 w 1263758"/>
                        <a:gd name="connsiteY5349" fmla="*/ 1312364 h 2117064"/>
                        <a:gd name="connsiteX5350" fmla="*/ 752494 w 1263758"/>
                        <a:gd name="connsiteY5350" fmla="*/ 1311914 h 2117064"/>
                        <a:gd name="connsiteX5351" fmla="*/ 754294 w 1263758"/>
                        <a:gd name="connsiteY5351" fmla="*/ 1311464 h 2117064"/>
                        <a:gd name="connsiteX5352" fmla="*/ 756545 w 1263758"/>
                        <a:gd name="connsiteY5352" fmla="*/ 1312364 h 2117064"/>
                        <a:gd name="connsiteX5353" fmla="*/ 759245 w 1263758"/>
                        <a:gd name="connsiteY5353" fmla="*/ 1314165 h 2117064"/>
                        <a:gd name="connsiteX5354" fmla="*/ 762395 w 1263758"/>
                        <a:gd name="connsiteY5354" fmla="*/ 1314165 h 2117064"/>
                        <a:gd name="connsiteX5355" fmla="*/ 766446 w 1263758"/>
                        <a:gd name="connsiteY5355" fmla="*/ 1312364 h 2117064"/>
                        <a:gd name="connsiteX5356" fmla="*/ 770496 w 1263758"/>
                        <a:gd name="connsiteY5356" fmla="*/ 1311464 h 2117064"/>
                        <a:gd name="connsiteX5357" fmla="*/ 777247 w 1263758"/>
                        <a:gd name="connsiteY5357" fmla="*/ 1311914 h 2117064"/>
                        <a:gd name="connsiteX5358" fmla="*/ 779047 w 1263758"/>
                        <a:gd name="connsiteY5358" fmla="*/ 1312364 h 2117064"/>
                        <a:gd name="connsiteX5359" fmla="*/ 785798 w 1263758"/>
                        <a:gd name="connsiteY5359" fmla="*/ 1317765 h 2117064"/>
                        <a:gd name="connsiteX5360" fmla="*/ 791199 w 1263758"/>
                        <a:gd name="connsiteY5360" fmla="*/ 1320465 h 2117064"/>
                        <a:gd name="connsiteX5361" fmla="*/ 793449 w 1263758"/>
                        <a:gd name="connsiteY5361" fmla="*/ 1320015 h 2117064"/>
                        <a:gd name="connsiteX5362" fmla="*/ 805151 w 1263758"/>
                        <a:gd name="connsiteY5362" fmla="*/ 1320915 h 2117064"/>
                        <a:gd name="connsiteX5363" fmla="*/ 810551 w 1263758"/>
                        <a:gd name="connsiteY5363" fmla="*/ 1320465 h 2117064"/>
                        <a:gd name="connsiteX5364" fmla="*/ 813252 w 1263758"/>
                        <a:gd name="connsiteY5364" fmla="*/ 1320915 h 2117064"/>
                        <a:gd name="connsiteX5365" fmla="*/ 818652 w 1263758"/>
                        <a:gd name="connsiteY5365" fmla="*/ 1324066 h 2117064"/>
                        <a:gd name="connsiteX5366" fmla="*/ 818202 w 1263758"/>
                        <a:gd name="connsiteY5366" fmla="*/ 1326766 h 2117064"/>
                        <a:gd name="connsiteX5367" fmla="*/ 815952 w 1263758"/>
                        <a:gd name="connsiteY5367" fmla="*/ 1330817 h 2117064"/>
                        <a:gd name="connsiteX5368" fmla="*/ 813252 w 1263758"/>
                        <a:gd name="connsiteY5368" fmla="*/ 1331717 h 2117064"/>
                        <a:gd name="connsiteX5369" fmla="*/ 810551 w 1263758"/>
                        <a:gd name="connsiteY5369" fmla="*/ 1333067 h 2117064"/>
                        <a:gd name="connsiteX5370" fmla="*/ 812802 w 1263758"/>
                        <a:gd name="connsiteY5370" fmla="*/ 1335317 h 2117064"/>
                        <a:gd name="connsiteX5371" fmla="*/ 820002 w 1263758"/>
                        <a:gd name="connsiteY5371" fmla="*/ 1338017 h 2117064"/>
                        <a:gd name="connsiteX5372" fmla="*/ 821803 w 1263758"/>
                        <a:gd name="connsiteY5372" fmla="*/ 1342518 h 2117064"/>
                        <a:gd name="connsiteX5373" fmla="*/ 822253 w 1263758"/>
                        <a:gd name="connsiteY5373" fmla="*/ 1344768 h 2117064"/>
                        <a:gd name="connsiteX5374" fmla="*/ 821353 w 1263758"/>
                        <a:gd name="connsiteY5374" fmla="*/ 1346569 h 2117064"/>
                        <a:gd name="connsiteX5375" fmla="*/ 821803 w 1263758"/>
                        <a:gd name="connsiteY5375" fmla="*/ 1347469 h 2117064"/>
                        <a:gd name="connsiteX5376" fmla="*/ 823603 w 1263758"/>
                        <a:gd name="connsiteY5376" fmla="*/ 1347469 h 2117064"/>
                        <a:gd name="connsiteX5377" fmla="*/ 827653 w 1263758"/>
                        <a:gd name="connsiteY5377" fmla="*/ 1345668 h 2117064"/>
                        <a:gd name="connsiteX5378" fmla="*/ 832154 w 1263758"/>
                        <a:gd name="connsiteY5378" fmla="*/ 1346569 h 2117064"/>
                        <a:gd name="connsiteX5379" fmla="*/ 838905 w 1263758"/>
                        <a:gd name="connsiteY5379" fmla="*/ 1350169 h 2117064"/>
                        <a:gd name="connsiteX5380" fmla="*/ 839805 w 1263758"/>
                        <a:gd name="connsiteY5380" fmla="*/ 1351069 h 2117064"/>
                        <a:gd name="connsiteX5381" fmla="*/ 841155 w 1263758"/>
                        <a:gd name="connsiteY5381" fmla="*/ 1353769 h 2117064"/>
                        <a:gd name="connsiteX5382" fmla="*/ 841155 w 1263758"/>
                        <a:gd name="connsiteY5382" fmla="*/ 1355120 h 2117064"/>
                        <a:gd name="connsiteX5383" fmla="*/ 835304 w 1263758"/>
                        <a:gd name="connsiteY5383" fmla="*/ 1361871 h 2117064"/>
                        <a:gd name="connsiteX5384" fmla="*/ 832154 w 1263758"/>
                        <a:gd name="connsiteY5384" fmla="*/ 1364571 h 2117064"/>
                        <a:gd name="connsiteX5385" fmla="*/ 828104 w 1263758"/>
                        <a:gd name="connsiteY5385" fmla="*/ 1367271 h 2117064"/>
                        <a:gd name="connsiteX5386" fmla="*/ 828104 w 1263758"/>
                        <a:gd name="connsiteY5386" fmla="*/ 1368621 h 2117064"/>
                        <a:gd name="connsiteX5387" fmla="*/ 833954 w 1263758"/>
                        <a:gd name="connsiteY5387" fmla="*/ 1369071 h 2117064"/>
                        <a:gd name="connsiteX5388" fmla="*/ 838455 w 1263758"/>
                        <a:gd name="connsiteY5388" fmla="*/ 1369971 h 2117064"/>
                        <a:gd name="connsiteX5389" fmla="*/ 840255 w 1263758"/>
                        <a:gd name="connsiteY5389" fmla="*/ 1370872 h 2117064"/>
                        <a:gd name="connsiteX5390" fmla="*/ 841155 w 1263758"/>
                        <a:gd name="connsiteY5390" fmla="*/ 1372222 h 2117064"/>
                        <a:gd name="connsiteX5391" fmla="*/ 842505 w 1263758"/>
                        <a:gd name="connsiteY5391" fmla="*/ 1374922 h 2117064"/>
                        <a:gd name="connsiteX5392" fmla="*/ 842955 w 1263758"/>
                        <a:gd name="connsiteY5392" fmla="*/ 1377172 h 2117064"/>
                        <a:gd name="connsiteX5393" fmla="*/ 842955 w 1263758"/>
                        <a:gd name="connsiteY5393" fmla="*/ 1380323 h 2117064"/>
                        <a:gd name="connsiteX5394" fmla="*/ 842505 w 1263758"/>
                        <a:gd name="connsiteY5394" fmla="*/ 1382573 h 2117064"/>
                        <a:gd name="connsiteX5395" fmla="*/ 837105 w 1263758"/>
                        <a:gd name="connsiteY5395" fmla="*/ 1388424 h 2117064"/>
                        <a:gd name="connsiteX5396" fmla="*/ 834854 w 1263758"/>
                        <a:gd name="connsiteY5396" fmla="*/ 1390224 h 2117064"/>
                        <a:gd name="connsiteX5397" fmla="*/ 830804 w 1263758"/>
                        <a:gd name="connsiteY5397" fmla="*/ 1392474 h 2117064"/>
                        <a:gd name="connsiteX5398" fmla="*/ 829004 w 1263758"/>
                        <a:gd name="connsiteY5398" fmla="*/ 1394274 h 2117064"/>
                        <a:gd name="connsiteX5399" fmla="*/ 827203 w 1263758"/>
                        <a:gd name="connsiteY5399" fmla="*/ 1394274 h 2117064"/>
                        <a:gd name="connsiteX5400" fmla="*/ 824953 w 1263758"/>
                        <a:gd name="connsiteY5400" fmla="*/ 1392024 h 2117064"/>
                        <a:gd name="connsiteX5401" fmla="*/ 822703 w 1263758"/>
                        <a:gd name="connsiteY5401" fmla="*/ 1391574 h 2117064"/>
                        <a:gd name="connsiteX5402" fmla="*/ 818652 w 1263758"/>
                        <a:gd name="connsiteY5402" fmla="*/ 1393374 h 2117064"/>
                        <a:gd name="connsiteX5403" fmla="*/ 816402 w 1263758"/>
                        <a:gd name="connsiteY5403" fmla="*/ 1393374 h 2117064"/>
                        <a:gd name="connsiteX5404" fmla="*/ 815502 w 1263758"/>
                        <a:gd name="connsiteY5404" fmla="*/ 1393825 h 2117064"/>
                        <a:gd name="connsiteX5405" fmla="*/ 815502 w 1263758"/>
                        <a:gd name="connsiteY5405" fmla="*/ 1395175 h 2117064"/>
                        <a:gd name="connsiteX5406" fmla="*/ 817302 w 1263758"/>
                        <a:gd name="connsiteY5406" fmla="*/ 1398775 h 2117064"/>
                        <a:gd name="connsiteX5407" fmla="*/ 818202 w 1263758"/>
                        <a:gd name="connsiteY5407" fmla="*/ 1400125 h 2117064"/>
                        <a:gd name="connsiteX5408" fmla="*/ 818652 w 1263758"/>
                        <a:gd name="connsiteY5408" fmla="*/ 1401025 h 2117064"/>
                        <a:gd name="connsiteX5409" fmla="*/ 817752 w 1263758"/>
                        <a:gd name="connsiteY5409" fmla="*/ 1402826 h 2117064"/>
                        <a:gd name="connsiteX5410" fmla="*/ 817752 w 1263758"/>
                        <a:gd name="connsiteY5410" fmla="*/ 1403276 h 2117064"/>
                        <a:gd name="connsiteX5411" fmla="*/ 818202 w 1263758"/>
                        <a:gd name="connsiteY5411" fmla="*/ 1403726 h 2117064"/>
                        <a:gd name="connsiteX5412" fmla="*/ 821803 w 1263758"/>
                        <a:gd name="connsiteY5412" fmla="*/ 1411827 h 2117064"/>
                        <a:gd name="connsiteX5413" fmla="*/ 822703 w 1263758"/>
                        <a:gd name="connsiteY5413" fmla="*/ 1412277 h 2117064"/>
                        <a:gd name="connsiteX5414" fmla="*/ 823603 w 1263758"/>
                        <a:gd name="connsiteY5414" fmla="*/ 1411827 h 2117064"/>
                        <a:gd name="connsiteX5415" fmla="*/ 824953 w 1263758"/>
                        <a:gd name="connsiteY5415" fmla="*/ 1409576 h 2117064"/>
                        <a:gd name="connsiteX5416" fmla="*/ 825853 w 1263758"/>
                        <a:gd name="connsiteY5416" fmla="*/ 1408676 h 2117064"/>
                        <a:gd name="connsiteX5417" fmla="*/ 826303 w 1263758"/>
                        <a:gd name="connsiteY5417" fmla="*/ 1408676 h 2117064"/>
                        <a:gd name="connsiteX5418" fmla="*/ 826303 w 1263758"/>
                        <a:gd name="connsiteY5418" fmla="*/ 1410026 h 2117064"/>
                        <a:gd name="connsiteX5419" fmla="*/ 824503 w 1263758"/>
                        <a:gd name="connsiteY5419" fmla="*/ 1416777 h 2117064"/>
                        <a:gd name="connsiteX5420" fmla="*/ 824503 w 1263758"/>
                        <a:gd name="connsiteY5420" fmla="*/ 1418578 h 2117064"/>
                        <a:gd name="connsiteX5421" fmla="*/ 824503 w 1263758"/>
                        <a:gd name="connsiteY5421" fmla="*/ 1420378 h 2117064"/>
                        <a:gd name="connsiteX5422" fmla="*/ 825403 w 1263758"/>
                        <a:gd name="connsiteY5422" fmla="*/ 1423978 h 2117064"/>
                        <a:gd name="connsiteX5423" fmla="*/ 827203 w 1263758"/>
                        <a:gd name="connsiteY5423" fmla="*/ 1427579 h 2117064"/>
                        <a:gd name="connsiteX5424" fmla="*/ 829454 w 1263758"/>
                        <a:gd name="connsiteY5424" fmla="*/ 1430729 h 2117064"/>
                        <a:gd name="connsiteX5425" fmla="*/ 833054 w 1263758"/>
                        <a:gd name="connsiteY5425" fmla="*/ 1435230 h 2117064"/>
                        <a:gd name="connsiteX5426" fmla="*/ 837555 w 1263758"/>
                        <a:gd name="connsiteY5426" fmla="*/ 1440180 h 2117064"/>
                        <a:gd name="connsiteX5427" fmla="*/ 839355 w 1263758"/>
                        <a:gd name="connsiteY5427" fmla="*/ 1442431 h 2117064"/>
                        <a:gd name="connsiteX5428" fmla="*/ 842055 w 1263758"/>
                        <a:gd name="connsiteY5428" fmla="*/ 1447831 h 2117064"/>
                        <a:gd name="connsiteX5429" fmla="*/ 842505 w 1263758"/>
                        <a:gd name="connsiteY5429" fmla="*/ 1450082 h 2117064"/>
                        <a:gd name="connsiteX5430" fmla="*/ 842055 w 1263758"/>
                        <a:gd name="connsiteY5430" fmla="*/ 1455932 h 2117064"/>
                        <a:gd name="connsiteX5431" fmla="*/ 840255 w 1263758"/>
                        <a:gd name="connsiteY5431" fmla="*/ 1464933 h 2117064"/>
                        <a:gd name="connsiteX5432" fmla="*/ 838905 w 1263758"/>
                        <a:gd name="connsiteY5432" fmla="*/ 1470334 h 2117064"/>
                        <a:gd name="connsiteX5433" fmla="*/ 838455 w 1263758"/>
                        <a:gd name="connsiteY5433" fmla="*/ 1471684 h 2117064"/>
                        <a:gd name="connsiteX5434" fmla="*/ 834854 w 1263758"/>
                        <a:gd name="connsiteY5434" fmla="*/ 1475285 h 2117064"/>
                        <a:gd name="connsiteX5435" fmla="*/ 833054 w 1263758"/>
                        <a:gd name="connsiteY5435" fmla="*/ 1476185 h 2117064"/>
                        <a:gd name="connsiteX5436" fmla="*/ 829904 w 1263758"/>
                        <a:gd name="connsiteY5436" fmla="*/ 1476185 h 2117064"/>
                        <a:gd name="connsiteX5437" fmla="*/ 829004 w 1263758"/>
                        <a:gd name="connsiteY5437" fmla="*/ 1477085 h 2117064"/>
                        <a:gd name="connsiteX5438" fmla="*/ 827203 w 1263758"/>
                        <a:gd name="connsiteY5438" fmla="*/ 1480235 h 2117064"/>
                        <a:gd name="connsiteX5439" fmla="*/ 824953 w 1263758"/>
                        <a:gd name="connsiteY5439" fmla="*/ 1485186 h 2117064"/>
                        <a:gd name="connsiteX5440" fmla="*/ 823153 w 1263758"/>
                        <a:gd name="connsiteY5440" fmla="*/ 1488336 h 2117064"/>
                        <a:gd name="connsiteX5441" fmla="*/ 821803 w 1263758"/>
                        <a:gd name="connsiteY5441" fmla="*/ 1489686 h 2117064"/>
                        <a:gd name="connsiteX5442" fmla="*/ 819552 w 1263758"/>
                        <a:gd name="connsiteY5442" fmla="*/ 1491487 h 2117064"/>
                        <a:gd name="connsiteX5443" fmla="*/ 815952 w 1263758"/>
                        <a:gd name="connsiteY5443" fmla="*/ 1495987 h 2117064"/>
                        <a:gd name="connsiteX5444" fmla="*/ 814152 w 1263758"/>
                        <a:gd name="connsiteY5444" fmla="*/ 1497787 h 2117064"/>
                        <a:gd name="connsiteX5445" fmla="*/ 807401 w 1263758"/>
                        <a:gd name="connsiteY5445" fmla="*/ 1499588 h 2117064"/>
                        <a:gd name="connsiteX5446" fmla="*/ 802000 w 1263758"/>
                        <a:gd name="connsiteY5446" fmla="*/ 1505889 h 2117064"/>
                        <a:gd name="connsiteX5447" fmla="*/ 799750 w 1263758"/>
                        <a:gd name="connsiteY5447" fmla="*/ 1508139 h 2117064"/>
                        <a:gd name="connsiteX5448" fmla="*/ 797500 w 1263758"/>
                        <a:gd name="connsiteY5448" fmla="*/ 1509039 h 2117064"/>
                        <a:gd name="connsiteX5449" fmla="*/ 794799 w 1263758"/>
                        <a:gd name="connsiteY5449" fmla="*/ 1509039 h 2117064"/>
                        <a:gd name="connsiteX5450" fmla="*/ 793449 w 1263758"/>
                        <a:gd name="connsiteY5450" fmla="*/ 1508139 h 2117064"/>
                        <a:gd name="connsiteX5451" fmla="*/ 792549 w 1263758"/>
                        <a:gd name="connsiteY5451" fmla="*/ 1504088 h 2117064"/>
                        <a:gd name="connsiteX5452" fmla="*/ 792099 w 1263758"/>
                        <a:gd name="connsiteY5452" fmla="*/ 1502738 h 2117064"/>
                        <a:gd name="connsiteX5453" fmla="*/ 790299 w 1263758"/>
                        <a:gd name="connsiteY5453" fmla="*/ 1500038 h 2117064"/>
                        <a:gd name="connsiteX5454" fmla="*/ 786248 w 1263758"/>
                        <a:gd name="connsiteY5454" fmla="*/ 1492387 h 2117064"/>
                        <a:gd name="connsiteX5455" fmla="*/ 784448 w 1263758"/>
                        <a:gd name="connsiteY5455" fmla="*/ 1489686 h 2117064"/>
                        <a:gd name="connsiteX5456" fmla="*/ 783548 w 1263758"/>
                        <a:gd name="connsiteY5456" fmla="*/ 1489236 h 2117064"/>
                        <a:gd name="connsiteX5457" fmla="*/ 781298 w 1263758"/>
                        <a:gd name="connsiteY5457" fmla="*/ 1489686 h 2117064"/>
                        <a:gd name="connsiteX5458" fmla="*/ 779947 w 1263758"/>
                        <a:gd name="connsiteY5458" fmla="*/ 1489236 h 2117064"/>
                        <a:gd name="connsiteX5459" fmla="*/ 777697 w 1263758"/>
                        <a:gd name="connsiteY5459" fmla="*/ 1486986 h 2117064"/>
                        <a:gd name="connsiteX5460" fmla="*/ 776797 w 1263758"/>
                        <a:gd name="connsiteY5460" fmla="*/ 1485186 h 2117064"/>
                        <a:gd name="connsiteX5461" fmla="*/ 776797 w 1263758"/>
                        <a:gd name="connsiteY5461" fmla="*/ 1484736 h 2117064"/>
                        <a:gd name="connsiteX5462" fmla="*/ 778597 w 1263758"/>
                        <a:gd name="connsiteY5462" fmla="*/ 1483836 h 2117064"/>
                        <a:gd name="connsiteX5463" fmla="*/ 777697 w 1263758"/>
                        <a:gd name="connsiteY5463" fmla="*/ 1482486 h 2117064"/>
                        <a:gd name="connsiteX5464" fmla="*/ 774547 w 1263758"/>
                        <a:gd name="connsiteY5464" fmla="*/ 1478885 h 2117064"/>
                        <a:gd name="connsiteX5465" fmla="*/ 773197 w 1263758"/>
                        <a:gd name="connsiteY5465" fmla="*/ 1477085 h 2117064"/>
                        <a:gd name="connsiteX5466" fmla="*/ 773197 w 1263758"/>
                        <a:gd name="connsiteY5466" fmla="*/ 1476635 h 2117064"/>
                        <a:gd name="connsiteX5467" fmla="*/ 770046 w 1263758"/>
                        <a:gd name="connsiteY5467" fmla="*/ 1474385 h 2117064"/>
                        <a:gd name="connsiteX5468" fmla="*/ 766896 w 1263758"/>
                        <a:gd name="connsiteY5468" fmla="*/ 1473934 h 2117064"/>
                        <a:gd name="connsiteX5469" fmla="*/ 762845 w 1263758"/>
                        <a:gd name="connsiteY5469" fmla="*/ 1477985 h 2117064"/>
                        <a:gd name="connsiteX5470" fmla="*/ 761495 w 1263758"/>
                        <a:gd name="connsiteY5470" fmla="*/ 1480685 h 2117064"/>
                        <a:gd name="connsiteX5471" fmla="*/ 761495 w 1263758"/>
                        <a:gd name="connsiteY5471" fmla="*/ 1481586 h 2117064"/>
                        <a:gd name="connsiteX5472" fmla="*/ 763295 w 1263758"/>
                        <a:gd name="connsiteY5472" fmla="*/ 1482486 h 2117064"/>
                        <a:gd name="connsiteX5473" fmla="*/ 764195 w 1263758"/>
                        <a:gd name="connsiteY5473" fmla="*/ 1482035 h 2117064"/>
                        <a:gd name="connsiteX5474" fmla="*/ 765996 w 1263758"/>
                        <a:gd name="connsiteY5474" fmla="*/ 1479785 h 2117064"/>
                        <a:gd name="connsiteX5475" fmla="*/ 766896 w 1263758"/>
                        <a:gd name="connsiteY5475" fmla="*/ 1478885 h 2117064"/>
                        <a:gd name="connsiteX5476" fmla="*/ 769596 w 1263758"/>
                        <a:gd name="connsiteY5476" fmla="*/ 1479335 h 2117064"/>
                        <a:gd name="connsiteX5477" fmla="*/ 771847 w 1263758"/>
                        <a:gd name="connsiteY5477" fmla="*/ 1481135 h 2117064"/>
                        <a:gd name="connsiteX5478" fmla="*/ 772747 w 1263758"/>
                        <a:gd name="connsiteY5478" fmla="*/ 1482486 h 2117064"/>
                        <a:gd name="connsiteX5479" fmla="*/ 773197 w 1263758"/>
                        <a:gd name="connsiteY5479" fmla="*/ 1483386 h 2117064"/>
                        <a:gd name="connsiteX5480" fmla="*/ 779047 w 1263758"/>
                        <a:gd name="connsiteY5480" fmla="*/ 1491037 h 2117064"/>
                        <a:gd name="connsiteX5481" fmla="*/ 781298 w 1263758"/>
                        <a:gd name="connsiteY5481" fmla="*/ 1492387 h 2117064"/>
                        <a:gd name="connsiteX5482" fmla="*/ 782198 w 1263758"/>
                        <a:gd name="connsiteY5482" fmla="*/ 1494187 h 2117064"/>
                        <a:gd name="connsiteX5483" fmla="*/ 782648 w 1263758"/>
                        <a:gd name="connsiteY5483" fmla="*/ 1497337 h 2117064"/>
                        <a:gd name="connsiteX5484" fmla="*/ 783998 w 1263758"/>
                        <a:gd name="connsiteY5484" fmla="*/ 1500938 h 2117064"/>
                        <a:gd name="connsiteX5485" fmla="*/ 786698 w 1263758"/>
                        <a:gd name="connsiteY5485" fmla="*/ 1506339 h 2117064"/>
                        <a:gd name="connsiteX5486" fmla="*/ 789849 w 1263758"/>
                        <a:gd name="connsiteY5486" fmla="*/ 1513089 h 2117064"/>
                        <a:gd name="connsiteX5487" fmla="*/ 790299 w 1263758"/>
                        <a:gd name="connsiteY5487" fmla="*/ 1515790 h 2117064"/>
                        <a:gd name="connsiteX5488" fmla="*/ 788949 w 1263758"/>
                        <a:gd name="connsiteY5488" fmla="*/ 1517140 h 2117064"/>
                        <a:gd name="connsiteX5489" fmla="*/ 788049 w 1263758"/>
                        <a:gd name="connsiteY5489" fmla="*/ 1517140 h 2117064"/>
                        <a:gd name="connsiteX5490" fmla="*/ 785798 w 1263758"/>
                        <a:gd name="connsiteY5490" fmla="*/ 1516240 h 2117064"/>
                        <a:gd name="connsiteX5491" fmla="*/ 779947 w 1263758"/>
                        <a:gd name="connsiteY5491" fmla="*/ 1513089 h 2117064"/>
                        <a:gd name="connsiteX5492" fmla="*/ 779497 w 1263758"/>
                        <a:gd name="connsiteY5492" fmla="*/ 1513089 h 2117064"/>
                        <a:gd name="connsiteX5493" fmla="*/ 777697 w 1263758"/>
                        <a:gd name="connsiteY5493" fmla="*/ 1514890 h 2117064"/>
                        <a:gd name="connsiteX5494" fmla="*/ 776347 w 1263758"/>
                        <a:gd name="connsiteY5494" fmla="*/ 1518490 h 2117064"/>
                        <a:gd name="connsiteX5495" fmla="*/ 775897 w 1263758"/>
                        <a:gd name="connsiteY5495" fmla="*/ 1518940 h 2117064"/>
                        <a:gd name="connsiteX5496" fmla="*/ 772747 w 1263758"/>
                        <a:gd name="connsiteY5496" fmla="*/ 1517590 h 2117064"/>
                        <a:gd name="connsiteX5497" fmla="*/ 766896 w 1263758"/>
                        <a:gd name="connsiteY5497" fmla="*/ 1514440 h 2117064"/>
                        <a:gd name="connsiteX5498" fmla="*/ 762845 w 1263758"/>
                        <a:gd name="connsiteY5498" fmla="*/ 1511739 h 2117064"/>
                        <a:gd name="connsiteX5499" fmla="*/ 761045 w 1263758"/>
                        <a:gd name="connsiteY5499" fmla="*/ 1509489 h 2117064"/>
                        <a:gd name="connsiteX5500" fmla="*/ 758795 w 1263758"/>
                        <a:gd name="connsiteY5500" fmla="*/ 1505889 h 2117064"/>
                        <a:gd name="connsiteX5501" fmla="*/ 756095 w 1263758"/>
                        <a:gd name="connsiteY5501" fmla="*/ 1500938 h 2117064"/>
                        <a:gd name="connsiteX5502" fmla="*/ 752494 w 1263758"/>
                        <a:gd name="connsiteY5502" fmla="*/ 1499138 h 2117064"/>
                        <a:gd name="connsiteX5503" fmla="*/ 748444 w 1263758"/>
                        <a:gd name="connsiteY5503" fmla="*/ 1500938 h 2117064"/>
                        <a:gd name="connsiteX5504" fmla="*/ 742593 w 1263758"/>
                        <a:gd name="connsiteY5504" fmla="*/ 1501388 h 2117064"/>
                        <a:gd name="connsiteX5505" fmla="*/ 730441 w 1263758"/>
                        <a:gd name="connsiteY5505" fmla="*/ 1500938 h 2117064"/>
                        <a:gd name="connsiteX5506" fmla="*/ 728641 w 1263758"/>
                        <a:gd name="connsiteY5506" fmla="*/ 1501388 h 2117064"/>
                        <a:gd name="connsiteX5507" fmla="*/ 728191 w 1263758"/>
                        <a:gd name="connsiteY5507" fmla="*/ 1501838 h 2117064"/>
                        <a:gd name="connsiteX5508" fmla="*/ 729091 w 1263758"/>
                        <a:gd name="connsiteY5508" fmla="*/ 1504538 h 2117064"/>
                        <a:gd name="connsiteX5509" fmla="*/ 728641 w 1263758"/>
                        <a:gd name="connsiteY5509" fmla="*/ 1505438 h 2117064"/>
                        <a:gd name="connsiteX5510" fmla="*/ 727741 w 1263758"/>
                        <a:gd name="connsiteY5510" fmla="*/ 1505889 h 2117064"/>
                        <a:gd name="connsiteX5511" fmla="*/ 727741 w 1263758"/>
                        <a:gd name="connsiteY5511" fmla="*/ 1506789 h 2117064"/>
                        <a:gd name="connsiteX5512" fmla="*/ 729091 w 1263758"/>
                        <a:gd name="connsiteY5512" fmla="*/ 1509939 h 2117064"/>
                        <a:gd name="connsiteX5513" fmla="*/ 731341 w 1263758"/>
                        <a:gd name="connsiteY5513" fmla="*/ 1512189 h 2117064"/>
                        <a:gd name="connsiteX5514" fmla="*/ 737192 w 1263758"/>
                        <a:gd name="connsiteY5514" fmla="*/ 1514890 h 2117064"/>
                        <a:gd name="connsiteX5515" fmla="*/ 741243 w 1263758"/>
                        <a:gd name="connsiteY5515" fmla="*/ 1517140 h 2117064"/>
                        <a:gd name="connsiteX5516" fmla="*/ 743493 w 1263758"/>
                        <a:gd name="connsiteY5516" fmla="*/ 1518940 h 2117064"/>
                        <a:gd name="connsiteX5517" fmla="*/ 744393 w 1263758"/>
                        <a:gd name="connsiteY5517" fmla="*/ 1520740 h 2117064"/>
                        <a:gd name="connsiteX5518" fmla="*/ 744393 w 1263758"/>
                        <a:gd name="connsiteY5518" fmla="*/ 1522541 h 2117064"/>
                        <a:gd name="connsiteX5519" fmla="*/ 743043 w 1263758"/>
                        <a:gd name="connsiteY5519" fmla="*/ 1526141 h 2117064"/>
                        <a:gd name="connsiteX5520" fmla="*/ 742593 w 1263758"/>
                        <a:gd name="connsiteY5520" fmla="*/ 1527491 h 2117064"/>
                        <a:gd name="connsiteX5521" fmla="*/ 728641 w 1263758"/>
                        <a:gd name="connsiteY5521" fmla="*/ 1545493 h 2117064"/>
                        <a:gd name="connsiteX5522" fmla="*/ 723240 w 1263758"/>
                        <a:gd name="connsiteY5522" fmla="*/ 1552694 h 2117064"/>
                        <a:gd name="connsiteX5523" fmla="*/ 720540 w 1263758"/>
                        <a:gd name="connsiteY5523" fmla="*/ 1557195 h 2117064"/>
                        <a:gd name="connsiteX5524" fmla="*/ 718290 w 1263758"/>
                        <a:gd name="connsiteY5524" fmla="*/ 1560345 h 2117064"/>
                        <a:gd name="connsiteX5525" fmla="*/ 716040 w 1263758"/>
                        <a:gd name="connsiteY5525" fmla="*/ 1561695 h 2117064"/>
                        <a:gd name="connsiteX5526" fmla="*/ 712439 w 1263758"/>
                        <a:gd name="connsiteY5526" fmla="*/ 1562596 h 2117064"/>
                        <a:gd name="connsiteX5527" fmla="*/ 707488 w 1263758"/>
                        <a:gd name="connsiteY5527" fmla="*/ 1562596 h 2117064"/>
                        <a:gd name="connsiteX5528" fmla="*/ 701188 w 1263758"/>
                        <a:gd name="connsiteY5528" fmla="*/ 1561695 h 2117064"/>
                        <a:gd name="connsiteX5529" fmla="*/ 698037 w 1263758"/>
                        <a:gd name="connsiteY5529" fmla="*/ 1559445 h 2117064"/>
                        <a:gd name="connsiteX5530" fmla="*/ 692186 w 1263758"/>
                        <a:gd name="connsiteY5530" fmla="*/ 1553144 h 2117064"/>
                        <a:gd name="connsiteX5531" fmla="*/ 688136 w 1263758"/>
                        <a:gd name="connsiteY5531" fmla="*/ 1549544 h 2117064"/>
                        <a:gd name="connsiteX5532" fmla="*/ 686336 w 1263758"/>
                        <a:gd name="connsiteY5532" fmla="*/ 1548194 h 2117064"/>
                        <a:gd name="connsiteX5533" fmla="*/ 684986 w 1263758"/>
                        <a:gd name="connsiteY5533" fmla="*/ 1544593 h 2117064"/>
                        <a:gd name="connsiteX5534" fmla="*/ 683635 w 1263758"/>
                        <a:gd name="connsiteY5534" fmla="*/ 1544143 h 2117064"/>
                        <a:gd name="connsiteX5535" fmla="*/ 680935 w 1263758"/>
                        <a:gd name="connsiteY5535" fmla="*/ 1543693 h 2117064"/>
                        <a:gd name="connsiteX5536" fmla="*/ 677785 w 1263758"/>
                        <a:gd name="connsiteY5536" fmla="*/ 1541893 h 2117064"/>
                        <a:gd name="connsiteX5537" fmla="*/ 670584 w 1263758"/>
                        <a:gd name="connsiteY5537" fmla="*/ 1535592 h 2117064"/>
                        <a:gd name="connsiteX5538" fmla="*/ 666983 w 1263758"/>
                        <a:gd name="connsiteY5538" fmla="*/ 1532892 h 2117064"/>
                        <a:gd name="connsiteX5539" fmla="*/ 663833 w 1263758"/>
                        <a:gd name="connsiteY5539" fmla="*/ 1531542 h 2117064"/>
                        <a:gd name="connsiteX5540" fmla="*/ 660683 w 1263758"/>
                        <a:gd name="connsiteY5540" fmla="*/ 1531092 h 2117064"/>
                        <a:gd name="connsiteX5541" fmla="*/ 659332 w 1263758"/>
                        <a:gd name="connsiteY5541" fmla="*/ 1531542 h 2117064"/>
                        <a:gd name="connsiteX5542" fmla="*/ 661583 w 1263758"/>
                        <a:gd name="connsiteY5542" fmla="*/ 1534692 h 2117064"/>
                        <a:gd name="connsiteX5543" fmla="*/ 660683 w 1263758"/>
                        <a:gd name="connsiteY5543" fmla="*/ 1534692 h 2117064"/>
                        <a:gd name="connsiteX5544" fmla="*/ 658432 w 1263758"/>
                        <a:gd name="connsiteY5544" fmla="*/ 1533792 h 2117064"/>
                        <a:gd name="connsiteX5545" fmla="*/ 652132 w 1263758"/>
                        <a:gd name="connsiteY5545" fmla="*/ 1533792 h 2117064"/>
                        <a:gd name="connsiteX5546" fmla="*/ 648081 w 1263758"/>
                        <a:gd name="connsiteY5546" fmla="*/ 1531542 h 2117064"/>
                        <a:gd name="connsiteX5547" fmla="*/ 644031 w 1263758"/>
                        <a:gd name="connsiteY5547" fmla="*/ 1531992 h 2117064"/>
                        <a:gd name="connsiteX5548" fmla="*/ 640880 w 1263758"/>
                        <a:gd name="connsiteY5548" fmla="*/ 1531542 h 2117064"/>
                        <a:gd name="connsiteX5549" fmla="*/ 637280 w 1263758"/>
                        <a:gd name="connsiteY5549" fmla="*/ 1530192 h 2117064"/>
                        <a:gd name="connsiteX5550" fmla="*/ 633229 w 1263758"/>
                        <a:gd name="connsiteY5550" fmla="*/ 1529741 h 2117064"/>
                        <a:gd name="connsiteX5551" fmla="*/ 626928 w 1263758"/>
                        <a:gd name="connsiteY5551" fmla="*/ 1529741 h 2117064"/>
                        <a:gd name="connsiteX5552" fmla="*/ 624678 w 1263758"/>
                        <a:gd name="connsiteY5552" fmla="*/ 1530192 h 2117064"/>
                        <a:gd name="connsiteX5553" fmla="*/ 624228 w 1263758"/>
                        <a:gd name="connsiteY5553" fmla="*/ 1530642 h 2117064"/>
                        <a:gd name="connsiteX5554" fmla="*/ 627378 w 1263758"/>
                        <a:gd name="connsiteY5554" fmla="*/ 1533342 h 2117064"/>
                        <a:gd name="connsiteX5555" fmla="*/ 632779 w 1263758"/>
                        <a:gd name="connsiteY5555" fmla="*/ 1536492 h 2117064"/>
                        <a:gd name="connsiteX5556" fmla="*/ 631879 w 1263758"/>
                        <a:gd name="connsiteY5556" fmla="*/ 1533792 h 2117064"/>
                        <a:gd name="connsiteX5557" fmla="*/ 631879 w 1263758"/>
                        <a:gd name="connsiteY5557" fmla="*/ 1532892 h 2117064"/>
                        <a:gd name="connsiteX5558" fmla="*/ 633679 w 1263758"/>
                        <a:gd name="connsiteY5558" fmla="*/ 1531992 h 2117064"/>
                        <a:gd name="connsiteX5559" fmla="*/ 641780 w 1263758"/>
                        <a:gd name="connsiteY5559" fmla="*/ 1533792 h 2117064"/>
                        <a:gd name="connsiteX5560" fmla="*/ 651231 w 1263758"/>
                        <a:gd name="connsiteY5560" fmla="*/ 1537392 h 2117064"/>
                        <a:gd name="connsiteX5561" fmla="*/ 653482 w 1263758"/>
                        <a:gd name="connsiteY5561" fmla="*/ 1537843 h 2117064"/>
                        <a:gd name="connsiteX5562" fmla="*/ 656182 w 1263758"/>
                        <a:gd name="connsiteY5562" fmla="*/ 1539193 h 2117064"/>
                        <a:gd name="connsiteX5563" fmla="*/ 658882 w 1263758"/>
                        <a:gd name="connsiteY5563" fmla="*/ 1541443 h 2117064"/>
                        <a:gd name="connsiteX5564" fmla="*/ 662933 w 1263758"/>
                        <a:gd name="connsiteY5564" fmla="*/ 1545944 h 2117064"/>
                        <a:gd name="connsiteX5565" fmla="*/ 670584 w 1263758"/>
                        <a:gd name="connsiteY5565" fmla="*/ 1556295 h 2117064"/>
                        <a:gd name="connsiteX5566" fmla="*/ 672834 w 1263758"/>
                        <a:gd name="connsiteY5566" fmla="*/ 1558995 h 2117064"/>
                        <a:gd name="connsiteX5567" fmla="*/ 675984 w 1263758"/>
                        <a:gd name="connsiteY5567" fmla="*/ 1561245 h 2117064"/>
                        <a:gd name="connsiteX5568" fmla="*/ 692637 w 1263758"/>
                        <a:gd name="connsiteY5568" fmla="*/ 1564846 h 2117064"/>
                        <a:gd name="connsiteX5569" fmla="*/ 698487 w 1263758"/>
                        <a:gd name="connsiteY5569" fmla="*/ 1564846 h 2117064"/>
                        <a:gd name="connsiteX5570" fmla="*/ 709739 w 1263758"/>
                        <a:gd name="connsiteY5570" fmla="*/ 1565746 h 2117064"/>
                        <a:gd name="connsiteX5571" fmla="*/ 715589 w 1263758"/>
                        <a:gd name="connsiteY5571" fmla="*/ 1567546 h 2117064"/>
                        <a:gd name="connsiteX5572" fmla="*/ 717390 w 1263758"/>
                        <a:gd name="connsiteY5572" fmla="*/ 1568896 h 2117064"/>
                        <a:gd name="connsiteX5573" fmla="*/ 717840 w 1263758"/>
                        <a:gd name="connsiteY5573" fmla="*/ 1573397 h 2117064"/>
                        <a:gd name="connsiteX5574" fmla="*/ 717390 w 1263758"/>
                        <a:gd name="connsiteY5574" fmla="*/ 1575647 h 2117064"/>
                        <a:gd name="connsiteX5575" fmla="*/ 714239 w 1263758"/>
                        <a:gd name="connsiteY5575" fmla="*/ 1582398 h 2117064"/>
                        <a:gd name="connsiteX5576" fmla="*/ 711989 w 1263758"/>
                        <a:gd name="connsiteY5576" fmla="*/ 1587349 h 2117064"/>
                        <a:gd name="connsiteX5577" fmla="*/ 699387 w 1263758"/>
                        <a:gd name="connsiteY5577" fmla="*/ 1608501 h 2117064"/>
                        <a:gd name="connsiteX5578" fmla="*/ 697587 w 1263758"/>
                        <a:gd name="connsiteY5578" fmla="*/ 1613452 h 2117064"/>
                        <a:gd name="connsiteX5579" fmla="*/ 696687 w 1263758"/>
                        <a:gd name="connsiteY5579" fmla="*/ 1616152 h 2117064"/>
                        <a:gd name="connsiteX5580" fmla="*/ 694437 w 1263758"/>
                        <a:gd name="connsiteY5580" fmla="*/ 1619303 h 2117064"/>
                        <a:gd name="connsiteX5581" fmla="*/ 688586 w 1263758"/>
                        <a:gd name="connsiteY5581" fmla="*/ 1623803 h 2117064"/>
                        <a:gd name="connsiteX5582" fmla="*/ 682735 w 1263758"/>
                        <a:gd name="connsiteY5582" fmla="*/ 1627854 h 2117064"/>
                        <a:gd name="connsiteX5583" fmla="*/ 679135 w 1263758"/>
                        <a:gd name="connsiteY5583" fmla="*/ 1628754 h 2117064"/>
                        <a:gd name="connsiteX5584" fmla="*/ 675984 w 1263758"/>
                        <a:gd name="connsiteY5584" fmla="*/ 1627854 h 2117064"/>
                        <a:gd name="connsiteX5585" fmla="*/ 674184 w 1263758"/>
                        <a:gd name="connsiteY5585" fmla="*/ 1626954 h 2117064"/>
                        <a:gd name="connsiteX5586" fmla="*/ 671034 w 1263758"/>
                        <a:gd name="connsiteY5586" fmla="*/ 1622903 h 2117064"/>
                        <a:gd name="connsiteX5587" fmla="*/ 671034 w 1263758"/>
                        <a:gd name="connsiteY5587" fmla="*/ 1623353 h 2117064"/>
                        <a:gd name="connsiteX5588" fmla="*/ 673284 w 1263758"/>
                        <a:gd name="connsiteY5588" fmla="*/ 1629204 h 2117064"/>
                        <a:gd name="connsiteX5589" fmla="*/ 672834 w 1263758"/>
                        <a:gd name="connsiteY5589" fmla="*/ 1629654 h 2117064"/>
                        <a:gd name="connsiteX5590" fmla="*/ 671034 w 1263758"/>
                        <a:gd name="connsiteY5590" fmla="*/ 1628754 h 2117064"/>
                        <a:gd name="connsiteX5591" fmla="*/ 666983 w 1263758"/>
                        <a:gd name="connsiteY5591" fmla="*/ 1626053 h 2117064"/>
                        <a:gd name="connsiteX5592" fmla="*/ 665633 w 1263758"/>
                        <a:gd name="connsiteY5592" fmla="*/ 1626504 h 2117064"/>
                        <a:gd name="connsiteX5593" fmla="*/ 664733 w 1263758"/>
                        <a:gd name="connsiteY5593" fmla="*/ 1627404 h 2117064"/>
                        <a:gd name="connsiteX5594" fmla="*/ 663833 w 1263758"/>
                        <a:gd name="connsiteY5594" fmla="*/ 1627404 h 2117064"/>
                        <a:gd name="connsiteX5595" fmla="*/ 662483 w 1263758"/>
                        <a:gd name="connsiteY5595" fmla="*/ 1626504 h 2117064"/>
                        <a:gd name="connsiteX5596" fmla="*/ 659783 w 1263758"/>
                        <a:gd name="connsiteY5596" fmla="*/ 1624253 h 2117064"/>
                        <a:gd name="connsiteX5597" fmla="*/ 659332 w 1263758"/>
                        <a:gd name="connsiteY5597" fmla="*/ 1623353 h 2117064"/>
                        <a:gd name="connsiteX5598" fmla="*/ 658882 w 1263758"/>
                        <a:gd name="connsiteY5598" fmla="*/ 1620203 h 2117064"/>
                        <a:gd name="connsiteX5599" fmla="*/ 658432 w 1263758"/>
                        <a:gd name="connsiteY5599" fmla="*/ 1619753 h 2117064"/>
                        <a:gd name="connsiteX5600" fmla="*/ 653482 w 1263758"/>
                        <a:gd name="connsiteY5600" fmla="*/ 1621553 h 2117064"/>
                        <a:gd name="connsiteX5601" fmla="*/ 652582 w 1263758"/>
                        <a:gd name="connsiteY5601" fmla="*/ 1622003 h 2117064"/>
                        <a:gd name="connsiteX5602" fmla="*/ 654382 w 1263758"/>
                        <a:gd name="connsiteY5602" fmla="*/ 1623353 h 2117064"/>
                        <a:gd name="connsiteX5603" fmla="*/ 655282 w 1263758"/>
                        <a:gd name="connsiteY5603" fmla="*/ 1624253 h 2117064"/>
                        <a:gd name="connsiteX5604" fmla="*/ 657082 w 1263758"/>
                        <a:gd name="connsiteY5604" fmla="*/ 1629204 h 2117064"/>
                        <a:gd name="connsiteX5605" fmla="*/ 657082 w 1263758"/>
                        <a:gd name="connsiteY5605" fmla="*/ 1630104 h 2117064"/>
                        <a:gd name="connsiteX5606" fmla="*/ 655732 w 1263758"/>
                        <a:gd name="connsiteY5606" fmla="*/ 1630554 h 2117064"/>
                        <a:gd name="connsiteX5607" fmla="*/ 651231 w 1263758"/>
                        <a:gd name="connsiteY5607" fmla="*/ 1628754 h 2117064"/>
                        <a:gd name="connsiteX5608" fmla="*/ 650781 w 1263758"/>
                        <a:gd name="connsiteY5608" fmla="*/ 1628754 h 2117064"/>
                        <a:gd name="connsiteX5609" fmla="*/ 653032 w 1263758"/>
                        <a:gd name="connsiteY5609" fmla="*/ 1633704 h 2117064"/>
                        <a:gd name="connsiteX5610" fmla="*/ 653932 w 1263758"/>
                        <a:gd name="connsiteY5610" fmla="*/ 1635955 h 2117064"/>
                        <a:gd name="connsiteX5611" fmla="*/ 653932 w 1263758"/>
                        <a:gd name="connsiteY5611" fmla="*/ 1637305 h 2117064"/>
                        <a:gd name="connsiteX5612" fmla="*/ 650781 w 1263758"/>
                        <a:gd name="connsiteY5612" fmla="*/ 1642706 h 2117064"/>
                        <a:gd name="connsiteX5613" fmla="*/ 648981 w 1263758"/>
                        <a:gd name="connsiteY5613" fmla="*/ 1644956 h 2117064"/>
                        <a:gd name="connsiteX5614" fmla="*/ 646281 w 1263758"/>
                        <a:gd name="connsiteY5614" fmla="*/ 1645856 h 2117064"/>
                        <a:gd name="connsiteX5615" fmla="*/ 644480 w 1263758"/>
                        <a:gd name="connsiteY5615" fmla="*/ 1645406 h 2117064"/>
                        <a:gd name="connsiteX5616" fmla="*/ 642680 w 1263758"/>
                        <a:gd name="connsiteY5616" fmla="*/ 1644056 h 2117064"/>
                        <a:gd name="connsiteX5617" fmla="*/ 641330 w 1263758"/>
                        <a:gd name="connsiteY5617" fmla="*/ 1644056 h 2117064"/>
                        <a:gd name="connsiteX5618" fmla="*/ 640430 w 1263758"/>
                        <a:gd name="connsiteY5618" fmla="*/ 1645856 h 2117064"/>
                        <a:gd name="connsiteX5619" fmla="*/ 639080 w 1263758"/>
                        <a:gd name="connsiteY5619" fmla="*/ 1647206 h 2117064"/>
                        <a:gd name="connsiteX5620" fmla="*/ 636830 w 1263758"/>
                        <a:gd name="connsiteY5620" fmla="*/ 1648106 h 2117064"/>
                        <a:gd name="connsiteX5621" fmla="*/ 634129 w 1263758"/>
                        <a:gd name="connsiteY5621" fmla="*/ 1647656 h 2117064"/>
                        <a:gd name="connsiteX5622" fmla="*/ 630529 w 1263758"/>
                        <a:gd name="connsiteY5622" fmla="*/ 1646306 h 2117064"/>
                        <a:gd name="connsiteX5623" fmla="*/ 621528 w 1263758"/>
                        <a:gd name="connsiteY5623" fmla="*/ 1641356 h 2117064"/>
                        <a:gd name="connsiteX5624" fmla="*/ 618827 w 1263758"/>
                        <a:gd name="connsiteY5624" fmla="*/ 1640455 h 2117064"/>
                        <a:gd name="connsiteX5625" fmla="*/ 613427 w 1263758"/>
                        <a:gd name="connsiteY5625" fmla="*/ 1639555 h 2117064"/>
                        <a:gd name="connsiteX5626" fmla="*/ 612977 w 1263758"/>
                        <a:gd name="connsiteY5626" fmla="*/ 1638655 h 2117064"/>
                        <a:gd name="connsiteX5627" fmla="*/ 612977 w 1263758"/>
                        <a:gd name="connsiteY5627" fmla="*/ 1637755 h 2117064"/>
                        <a:gd name="connsiteX5628" fmla="*/ 613877 w 1263758"/>
                        <a:gd name="connsiteY5628" fmla="*/ 1637305 h 2117064"/>
                        <a:gd name="connsiteX5629" fmla="*/ 613877 w 1263758"/>
                        <a:gd name="connsiteY5629" fmla="*/ 1636855 h 2117064"/>
                        <a:gd name="connsiteX5630" fmla="*/ 612527 w 1263758"/>
                        <a:gd name="connsiteY5630" fmla="*/ 1636405 h 2117064"/>
                        <a:gd name="connsiteX5631" fmla="*/ 611176 w 1263758"/>
                        <a:gd name="connsiteY5631" fmla="*/ 1636855 h 2117064"/>
                        <a:gd name="connsiteX5632" fmla="*/ 609826 w 1263758"/>
                        <a:gd name="connsiteY5632" fmla="*/ 1638205 h 2117064"/>
                        <a:gd name="connsiteX5633" fmla="*/ 607576 w 1263758"/>
                        <a:gd name="connsiteY5633" fmla="*/ 1638655 h 2117064"/>
                        <a:gd name="connsiteX5634" fmla="*/ 604426 w 1263758"/>
                        <a:gd name="connsiteY5634" fmla="*/ 1638205 h 2117064"/>
                        <a:gd name="connsiteX5635" fmla="*/ 599925 w 1263758"/>
                        <a:gd name="connsiteY5635" fmla="*/ 1636405 h 2117064"/>
                        <a:gd name="connsiteX5636" fmla="*/ 590924 w 1263758"/>
                        <a:gd name="connsiteY5636" fmla="*/ 1631004 h 2117064"/>
                        <a:gd name="connsiteX5637" fmla="*/ 581023 w 1263758"/>
                        <a:gd name="connsiteY5637" fmla="*/ 1626504 h 2117064"/>
                        <a:gd name="connsiteX5638" fmla="*/ 575172 w 1263758"/>
                        <a:gd name="connsiteY5638" fmla="*/ 1620653 h 2117064"/>
                        <a:gd name="connsiteX5639" fmla="*/ 577422 w 1263758"/>
                        <a:gd name="connsiteY5639" fmla="*/ 1625604 h 2117064"/>
                        <a:gd name="connsiteX5640" fmla="*/ 577422 w 1263758"/>
                        <a:gd name="connsiteY5640" fmla="*/ 1627404 h 2117064"/>
                        <a:gd name="connsiteX5641" fmla="*/ 576522 w 1263758"/>
                        <a:gd name="connsiteY5641" fmla="*/ 1628754 h 2117064"/>
                        <a:gd name="connsiteX5642" fmla="*/ 576522 w 1263758"/>
                        <a:gd name="connsiteY5642" fmla="*/ 1630104 h 2117064"/>
                        <a:gd name="connsiteX5643" fmla="*/ 578772 w 1263758"/>
                        <a:gd name="connsiteY5643" fmla="*/ 1633704 h 2117064"/>
                        <a:gd name="connsiteX5644" fmla="*/ 581923 w 1263758"/>
                        <a:gd name="connsiteY5644" fmla="*/ 1635055 h 2117064"/>
                        <a:gd name="connsiteX5645" fmla="*/ 585073 w 1263758"/>
                        <a:gd name="connsiteY5645" fmla="*/ 1635055 h 2117064"/>
                        <a:gd name="connsiteX5646" fmla="*/ 585073 w 1263758"/>
                        <a:gd name="connsiteY5646" fmla="*/ 1634605 h 2117064"/>
                        <a:gd name="connsiteX5647" fmla="*/ 583723 w 1263758"/>
                        <a:gd name="connsiteY5647" fmla="*/ 1633704 h 2117064"/>
                        <a:gd name="connsiteX5648" fmla="*/ 582373 w 1263758"/>
                        <a:gd name="connsiteY5648" fmla="*/ 1632354 h 2117064"/>
                        <a:gd name="connsiteX5649" fmla="*/ 581923 w 1263758"/>
                        <a:gd name="connsiteY5649" fmla="*/ 1630554 h 2117064"/>
                        <a:gd name="connsiteX5650" fmla="*/ 582373 w 1263758"/>
                        <a:gd name="connsiteY5650" fmla="*/ 1630104 h 2117064"/>
                        <a:gd name="connsiteX5651" fmla="*/ 585073 w 1263758"/>
                        <a:gd name="connsiteY5651" fmla="*/ 1631004 h 2117064"/>
                        <a:gd name="connsiteX5652" fmla="*/ 586873 w 1263758"/>
                        <a:gd name="connsiteY5652" fmla="*/ 1632354 h 2117064"/>
                        <a:gd name="connsiteX5653" fmla="*/ 600375 w 1263758"/>
                        <a:gd name="connsiteY5653" fmla="*/ 1639105 h 2117064"/>
                        <a:gd name="connsiteX5654" fmla="*/ 604426 w 1263758"/>
                        <a:gd name="connsiteY5654" fmla="*/ 1640455 h 2117064"/>
                        <a:gd name="connsiteX5655" fmla="*/ 607576 w 1263758"/>
                        <a:gd name="connsiteY5655" fmla="*/ 1641805 h 2117064"/>
                        <a:gd name="connsiteX5656" fmla="*/ 608476 w 1263758"/>
                        <a:gd name="connsiteY5656" fmla="*/ 1642706 h 2117064"/>
                        <a:gd name="connsiteX5657" fmla="*/ 607576 w 1263758"/>
                        <a:gd name="connsiteY5657" fmla="*/ 1644506 h 2117064"/>
                        <a:gd name="connsiteX5658" fmla="*/ 602175 w 1263758"/>
                        <a:gd name="connsiteY5658" fmla="*/ 1648556 h 2117064"/>
                        <a:gd name="connsiteX5659" fmla="*/ 602175 w 1263758"/>
                        <a:gd name="connsiteY5659" fmla="*/ 1649456 h 2117064"/>
                        <a:gd name="connsiteX5660" fmla="*/ 605776 w 1263758"/>
                        <a:gd name="connsiteY5660" fmla="*/ 1649006 h 2117064"/>
                        <a:gd name="connsiteX5661" fmla="*/ 610276 w 1263758"/>
                        <a:gd name="connsiteY5661" fmla="*/ 1645406 h 2117064"/>
                        <a:gd name="connsiteX5662" fmla="*/ 612977 w 1263758"/>
                        <a:gd name="connsiteY5662" fmla="*/ 1643606 h 2117064"/>
                        <a:gd name="connsiteX5663" fmla="*/ 615227 w 1263758"/>
                        <a:gd name="connsiteY5663" fmla="*/ 1642706 h 2117064"/>
                        <a:gd name="connsiteX5664" fmla="*/ 618377 w 1263758"/>
                        <a:gd name="connsiteY5664" fmla="*/ 1644506 h 2117064"/>
                        <a:gd name="connsiteX5665" fmla="*/ 622428 w 1263758"/>
                        <a:gd name="connsiteY5665" fmla="*/ 1649006 h 2117064"/>
                        <a:gd name="connsiteX5666" fmla="*/ 626028 w 1263758"/>
                        <a:gd name="connsiteY5666" fmla="*/ 1651707 h 2117064"/>
                        <a:gd name="connsiteX5667" fmla="*/ 630979 w 1263758"/>
                        <a:gd name="connsiteY5667" fmla="*/ 1653057 h 2117064"/>
                        <a:gd name="connsiteX5668" fmla="*/ 633679 w 1263758"/>
                        <a:gd name="connsiteY5668" fmla="*/ 1654407 h 2117064"/>
                        <a:gd name="connsiteX5669" fmla="*/ 638630 w 1263758"/>
                        <a:gd name="connsiteY5669" fmla="*/ 1658908 h 2117064"/>
                        <a:gd name="connsiteX5670" fmla="*/ 639530 w 1263758"/>
                        <a:gd name="connsiteY5670" fmla="*/ 1661158 h 2117064"/>
                        <a:gd name="connsiteX5671" fmla="*/ 639980 w 1263758"/>
                        <a:gd name="connsiteY5671" fmla="*/ 1670159 h 2117064"/>
                        <a:gd name="connsiteX5672" fmla="*/ 639980 w 1263758"/>
                        <a:gd name="connsiteY5672" fmla="*/ 1672409 h 2117064"/>
                        <a:gd name="connsiteX5673" fmla="*/ 639530 w 1263758"/>
                        <a:gd name="connsiteY5673" fmla="*/ 1674660 h 2117064"/>
                        <a:gd name="connsiteX5674" fmla="*/ 638630 w 1263758"/>
                        <a:gd name="connsiteY5674" fmla="*/ 1676910 h 2117064"/>
                        <a:gd name="connsiteX5675" fmla="*/ 636830 w 1263758"/>
                        <a:gd name="connsiteY5675" fmla="*/ 1678260 h 2117064"/>
                        <a:gd name="connsiteX5676" fmla="*/ 634129 w 1263758"/>
                        <a:gd name="connsiteY5676" fmla="*/ 1678710 h 2117064"/>
                        <a:gd name="connsiteX5677" fmla="*/ 631879 w 1263758"/>
                        <a:gd name="connsiteY5677" fmla="*/ 1679610 h 2117064"/>
                        <a:gd name="connsiteX5678" fmla="*/ 626928 w 1263758"/>
                        <a:gd name="connsiteY5678" fmla="*/ 1684561 h 2117064"/>
                        <a:gd name="connsiteX5679" fmla="*/ 624678 w 1263758"/>
                        <a:gd name="connsiteY5679" fmla="*/ 1685461 h 2117064"/>
                        <a:gd name="connsiteX5680" fmla="*/ 615677 w 1263758"/>
                        <a:gd name="connsiteY5680" fmla="*/ 1684111 h 2117064"/>
                        <a:gd name="connsiteX5681" fmla="*/ 612077 w 1263758"/>
                        <a:gd name="connsiteY5681" fmla="*/ 1682761 h 2117064"/>
                        <a:gd name="connsiteX5682" fmla="*/ 610276 w 1263758"/>
                        <a:gd name="connsiteY5682" fmla="*/ 1682761 h 2117064"/>
                        <a:gd name="connsiteX5683" fmla="*/ 609376 w 1263758"/>
                        <a:gd name="connsiteY5683" fmla="*/ 1683661 h 2117064"/>
                        <a:gd name="connsiteX5684" fmla="*/ 608476 w 1263758"/>
                        <a:gd name="connsiteY5684" fmla="*/ 1684111 h 2117064"/>
                        <a:gd name="connsiteX5685" fmla="*/ 604876 w 1263758"/>
                        <a:gd name="connsiteY5685" fmla="*/ 1684561 h 2117064"/>
                        <a:gd name="connsiteX5686" fmla="*/ 604426 w 1263758"/>
                        <a:gd name="connsiteY5686" fmla="*/ 1685461 h 2117064"/>
                        <a:gd name="connsiteX5687" fmla="*/ 604426 w 1263758"/>
                        <a:gd name="connsiteY5687" fmla="*/ 1686811 h 2117064"/>
                        <a:gd name="connsiteX5688" fmla="*/ 605326 w 1263758"/>
                        <a:gd name="connsiteY5688" fmla="*/ 1688611 h 2117064"/>
                        <a:gd name="connsiteX5689" fmla="*/ 606226 w 1263758"/>
                        <a:gd name="connsiteY5689" fmla="*/ 1689511 h 2117064"/>
                        <a:gd name="connsiteX5690" fmla="*/ 607576 w 1263758"/>
                        <a:gd name="connsiteY5690" fmla="*/ 1690862 h 2117064"/>
                        <a:gd name="connsiteX5691" fmla="*/ 609376 w 1263758"/>
                        <a:gd name="connsiteY5691" fmla="*/ 1691762 h 2117064"/>
                        <a:gd name="connsiteX5692" fmla="*/ 613427 w 1263758"/>
                        <a:gd name="connsiteY5692" fmla="*/ 1692662 h 2117064"/>
                        <a:gd name="connsiteX5693" fmla="*/ 613877 w 1263758"/>
                        <a:gd name="connsiteY5693" fmla="*/ 1694912 h 2117064"/>
                        <a:gd name="connsiteX5694" fmla="*/ 613877 w 1263758"/>
                        <a:gd name="connsiteY5694" fmla="*/ 1695812 h 2117064"/>
                        <a:gd name="connsiteX5695" fmla="*/ 612527 w 1263758"/>
                        <a:gd name="connsiteY5695" fmla="*/ 1697613 h 2117064"/>
                        <a:gd name="connsiteX5696" fmla="*/ 611176 w 1263758"/>
                        <a:gd name="connsiteY5696" fmla="*/ 1697613 h 2117064"/>
                        <a:gd name="connsiteX5697" fmla="*/ 608476 w 1263758"/>
                        <a:gd name="connsiteY5697" fmla="*/ 1695812 h 2117064"/>
                        <a:gd name="connsiteX5698" fmla="*/ 607126 w 1263758"/>
                        <a:gd name="connsiteY5698" fmla="*/ 1695812 h 2117064"/>
                        <a:gd name="connsiteX5699" fmla="*/ 605776 w 1263758"/>
                        <a:gd name="connsiteY5699" fmla="*/ 1696712 h 2117064"/>
                        <a:gd name="connsiteX5700" fmla="*/ 603975 w 1263758"/>
                        <a:gd name="connsiteY5700" fmla="*/ 1697162 h 2117064"/>
                        <a:gd name="connsiteX5701" fmla="*/ 601725 w 1263758"/>
                        <a:gd name="connsiteY5701" fmla="*/ 1696712 h 2117064"/>
                        <a:gd name="connsiteX5702" fmla="*/ 600375 w 1263758"/>
                        <a:gd name="connsiteY5702" fmla="*/ 1697613 h 2117064"/>
                        <a:gd name="connsiteX5703" fmla="*/ 599925 w 1263758"/>
                        <a:gd name="connsiteY5703" fmla="*/ 1699413 h 2117064"/>
                        <a:gd name="connsiteX5704" fmla="*/ 599025 w 1263758"/>
                        <a:gd name="connsiteY5704" fmla="*/ 1700763 h 2117064"/>
                        <a:gd name="connsiteX5705" fmla="*/ 596775 w 1263758"/>
                        <a:gd name="connsiteY5705" fmla="*/ 1703013 h 2117064"/>
                        <a:gd name="connsiteX5706" fmla="*/ 595424 w 1263758"/>
                        <a:gd name="connsiteY5706" fmla="*/ 1704813 h 2117064"/>
                        <a:gd name="connsiteX5707" fmla="*/ 595424 w 1263758"/>
                        <a:gd name="connsiteY5707" fmla="*/ 1706164 h 2117064"/>
                        <a:gd name="connsiteX5708" fmla="*/ 596775 w 1263758"/>
                        <a:gd name="connsiteY5708" fmla="*/ 1707064 h 2117064"/>
                        <a:gd name="connsiteX5709" fmla="*/ 598125 w 1263758"/>
                        <a:gd name="connsiteY5709" fmla="*/ 1709314 h 2117064"/>
                        <a:gd name="connsiteX5710" fmla="*/ 599925 w 1263758"/>
                        <a:gd name="connsiteY5710" fmla="*/ 1712914 h 2117064"/>
                        <a:gd name="connsiteX5711" fmla="*/ 600375 w 1263758"/>
                        <a:gd name="connsiteY5711" fmla="*/ 1714265 h 2117064"/>
                        <a:gd name="connsiteX5712" fmla="*/ 599475 w 1263758"/>
                        <a:gd name="connsiteY5712" fmla="*/ 1713814 h 2117064"/>
                        <a:gd name="connsiteX5713" fmla="*/ 598125 w 1263758"/>
                        <a:gd name="connsiteY5713" fmla="*/ 1712464 h 2117064"/>
                        <a:gd name="connsiteX5714" fmla="*/ 596325 w 1263758"/>
                        <a:gd name="connsiteY5714" fmla="*/ 1710214 h 2117064"/>
                        <a:gd name="connsiteX5715" fmla="*/ 593624 w 1263758"/>
                        <a:gd name="connsiteY5715" fmla="*/ 1707964 h 2117064"/>
                        <a:gd name="connsiteX5716" fmla="*/ 587323 w 1263758"/>
                        <a:gd name="connsiteY5716" fmla="*/ 1705263 h 2117064"/>
                        <a:gd name="connsiteX5717" fmla="*/ 586423 w 1263758"/>
                        <a:gd name="connsiteY5717" fmla="*/ 1705263 h 2117064"/>
                        <a:gd name="connsiteX5718" fmla="*/ 586873 w 1263758"/>
                        <a:gd name="connsiteY5718" fmla="*/ 1706164 h 2117064"/>
                        <a:gd name="connsiteX5719" fmla="*/ 590924 w 1263758"/>
                        <a:gd name="connsiteY5719" fmla="*/ 1708864 h 2117064"/>
                        <a:gd name="connsiteX5720" fmla="*/ 592274 w 1263758"/>
                        <a:gd name="connsiteY5720" fmla="*/ 1710664 h 2117064"/>
                        <a:gd name="connsiteX5721" fmla="*/ 592274 w 1263758"/>
                        <a:gd name="connsiteY5721" fmla="*/ 1712014 h 2117064"/>
                        <a:gd name="connsiteX5722" fmla="*/ 588674 w 1263758"/>
                        <a:gd name="connsiteY5722" fmla="*/ 1715165 h 2117064"/>
                        <a:gd name="connsiteX5723" fmla="*/ 588674 w 1263758"/>
                        <a:gd name="connsiteY5723" fmla="*/ 1716065 h 2117064"/>
                        <a:gd name="connsiteX5724" fmla="*/ 589574 w 1263758"/>
                        <a:gd name="connsiteY5724" fmla="*/ 1716965 h 2117064"/>
                        <a:gd name="connsiteX5725" fmla="*/ 590024 w 1263758"/>
                        <a:gd name="connsiteY5725" fmla="*/ 1717865 h 2117064"/>
                        <a:gd name="connsiteX5726" fmla="*/ 588674 w 1263758"/>
                        <a:gd name="connsiteY5726" fmla="*/ 1719215 h 2117064"/>
                        <a:gd name="connsiteX5727" fmla="*/ 586873 w 1263758"/>
                        <a:gd name="connsiteY5727" fmla="*/ 1720565 h 2117064"/>
                        <a:gd name="connsiteX5728" fmla="*/ 582823 w 1263758"/>
                        <a:gd name="connsiteY5728" fmla="*/ 1720565 h 2117064"/>
                        <a:gd name="connsiteX5729" fmla="*/ 582373 w 1263758"/>
                        <a:gd name="connsiteY5729" fmla="*/ 1721465 h 2117064"/>
                        <a:gd name="connsiteX5730" fmla="*/ 583723 w 1263758"/>
                        <a:gd name="connsiteY5730" fmla="*/ 1722816 h 2117064"/>
                        <a:gd name="connsiteX5731" fmla="*/ 584173 w 1263758"/>
                        <a:gd name="connsiteY5731" fmla="*/ 1723716 h 2117064"/>
                        <a:gd name="connsiteX5732" fmla="*/ 582823 w 1263758"/>
                        <a:gd name="connsiteY5732" fmla="*/ 1725066 h 2117064"/>
                        <a:gd name="connsiteX5733" fmla="*/ 581923 w 1263758"/>
                        <a:gd name="connsiteY5733" fmla="*/ 1725066 h 2117064"/>
                        <a:gd name="connsiteX5734" fmla="*/ 577422 w 1263758"/>
                        <a:gd name="connsiteY5734" fmla="*/ 1724616 h 2117064"/>
                        <a:gd name="connsiteX5735" fmla="*/ 578772 w 1263758"/>
                        <a:gd name="connsiteY5735" fmla="*/ 1727766 h 2117064"/>
                        <a:gd name="connsiteX5736" fmla="*/ 579672 w 1263758"/>
                        <a:gd name="connsiteY5736" fmla="*/ 1728666 h 2117064"/>
                        <a:gd name="connsiteX5737" fmla="*/ 581023 w 1263758"/>
                        <a:gd name="connsiteY5737" fmla="*/ 1730017 h 2117064"/>
                        <a:gd name="connsiteX5738" fmla="*/ 583273 w 1263758"/>
                        <a:gd name="connsiteY5738" fmla="*/ 1731367 h 2117064"/>
                        <a:gd name="connsiteX5739" fmla="*/ 583273 w 1263758"/>
                        <a:gd name="connsiteY5739" fmla="*/ 1731817 h 2117064"/>
                        <a:gd name="connsiteX5740" fmla="*/ 582373 w 1263758"/>
                        <a:gd name="connsiteY5740" fmla="*/ 1733167 h 2117064"/>
                        <a:gd name="connsiteX5741" fmla="*/ 581023 w 1263758"/>
                        <a:gd name="connsiteY5741" fmla="*/ 1734517 h 2117064"/>
                        <a:gd name="connsiteX5742" fmla="*/ 574722 w 1263758"/>
                        <a:gd name="connsiteY5742" fmla="*/ 1739018 h 2117064"/>
                        <a:gd name="connsiteX5743" fmla="*/ 570221 w 1263758"/>
                        <a:gd name="connsiteY5743" fmla="*/ 1744418 h 2117064"/>
                        <a:gd name="connsiteX5744" fmla="*/ 569771 w 1263758"/>
                        <a:gd name="connsiteY5744" fmla="*/ 1746219 h 2117064"/>
                        <a:gd name="connsiteX5745" fmla="*/ 570671 w 1263758"/>
                        <a:gd name="connsiteY5745" fmla="*/ 1749819 h 2117064"/>
                        <a:gd name="connsiteX5746" fmla="*/ 570671 w 1263758"/>
                        <a:gd name="connsiteY5746" fmla="*/ 1750719 h 2117064"/>
                        <a:gd name="connsiteX5747" fmla="*/ 569321 w 1263758"/>
                        <a:gd name="connsiteY5747" fmla="*/ 1752519 h 2117064"/>
                        <a:gd name="connsiteX5748" fmla="*/ 566621 w 1263758"/>
                        <a:gd name="connsiteY5748" fmla="*/ 1752069 h 2117064"/>
                        <a:gd name="connsiteX5749" fmla="*/ 566171 w 1263758"/>
                        <a:gd name="connsiteY5749" fmla="*/ 1752519 h 2117064"/>
                        <a:gd name="connsiteX5750" fmla="*/ 566621 w 1263758"/>
                        <a:gd name="connsiteY5750" fmla="*/ 1754320 h 2117064"/>
                        <a:gd name="connsiteX5751" fmla="*/ 566621 w 1263758"/>
                        <a:gd name="connsiteY5751" fmla="*/ 1756570 h 2117064"/>
                        <a:gd name="connsiteX5752" fmla="*/ 566171 w 1263758"/>
                        <a:gd name="connsiteY5752" fmla="*/ 1759720 h 2117064"/>
                        <a:gd name="connsiteX5753" fmla="*/ 564371 w 1263758"/>
                        <a:gd name="connsiteY5753" fmla="*/ 1764671 h 2117064"/>
                        <a:gd name="connsiteX5754" fmla="*/ 561220 w 1263758"/>
                        <a:gd name="connsiteY5754" fmla="*/ 1771422 h 2117064"/>
                        <a:gd name="connsiteX5755" fmla="*/ 558520 w 1263758"/>
                        <a:gd name="connsiteY5755" fmla="*/ 1777723 h 2117064"/>
                        <a:gd name="connsiteX5756" fmla="*/ 556720 w 1263758"/>
                        <a:gd name="connsiteY5756" fmla="*/ 1783123 h 2117064"/>
                        <a:gd name="connsiteX5757" fmla="*/ 555369 w 1263758"/>
                        <a:gd name="connsiteY5757" fmla="*/ 1785823 h 2117064"/>
                        <a:gd name="connsiteX5758" fmla="*/ 553119 w 1263758"/>
                        <a:gd name="connsiteY5758" fmla="*/ 1785823 h 2117064"/>
                        <a:gd name="connsiteX5759" fmla="*/ 551319 w 1263758"/>
                        <a:gd name="connsiteY5759" fmla="*/ 1787624 h 2117064"/>
                        <a:gd name="connsiteX5760" fmla="*/ 552669 w 1263758"/>
                        <a:gd name="connsiteY5760" fmla="*/ 1788524 h 2117064"/>
                        <a:gd name="connsiteX5761" fmla="*/ 553569 w 1263758"/>
                        <a:gd name="connsiteY5761" fmla="*/ 1789424 h 2117064"/>
                        <a:gd name="connsiteX5762" fmla="*/ 554019 w 1263758"/>
                        <a:gd name="connsiteY5762" fmla="*/ 1791224 h 2117064"/>
                        <a:gd name="connsiteX5763" fmla="*/ 553569 w 1263758"/>
                        <a:gd name="connsiteY5763" fmla="*/ 1796175 h 2117064"/>
                        <a:gd name="connsiteX5764" fmla="*/ 552219 w 1263758"/>
                        <a:gd name="connsiteY5764" fmla="*/ 1804276 h 2117064"/>
                        <a:gd name="connsiteX5765" fmla="*/ 553119 w 1263758"/>
                        <a:gd name="connsiteY5765" fmla="*/ 1810577 h 2117064"/>
                        <a:gd name="connsiteX5766" fmla="*/ 436104 w 1263758"/>
                        <a:gd name="connsiteY5766" fmla="*/ 1271859 h 2117064"/>
                        <a:gd name="connsiteX5767" fmla="*/ 435654 w 1263758"/>
                        <a:gd name="connsiteY5767" fmla="*/ 1272309 h 2117064"/>
                        <a:gd name="connsiteX5768" fmla="*/ 431154 w 1263758"/>
                        <a:gd name="connsiteY5768" fmla="*/ 1270059 h 2117064"/>
                        <a:gd name="connsiteX5769" fmla="*/ 429354 w 1263758"/>
                        <a:gd name="connsiteY5769" fmla="*/ 1268709 h 2117064"/>
                        <a:gd name="connsiteX5770" fmla="*/ 428904 w 1263758"/>
                        <a:gd name="connsiteY5770" fmla="*/ 1267809 h 2117064"/>
                        <a:gd name="connsiteX5771" fmla="*/ 428453 w 1263758"/>
                        <a:gd name="connsiteY5771" fmla="*/ 1265558 h 2117064"/>
                        <a:gd name="connsiteX5772" fmla="*/ 428004 w 1263758"/>
                        <a:gd name="connsiteY5772" fmla="*/ 1262408 h 2117064"/>
                        <a:gd name="connsiteX5773" fmla="*/ 428904 w 1263758"/>
                        <a:gd name="connsiteY5773" fmla="*/ 1261058 h 2117064"/>
                        <a:gd name="connsiteX5774" fmla="*/ 431154 w 1263758"/>
                        <a:gd name="connsiteY5774" fmla="*/ 1261058 h 2117064"/>
                        <a:gd name="connsiteX5775" fmla="*/ 433404 w 1263758"/>
                        <a:gd name="connsiteY5775" fmla="*/ 1262408 h 2117064"/>
                        <a:gd name="connsiteX5776" fmla="*/ 436555 w 1263758"/>
                        <a:gd name="connsiteY5776" fmla="*/ 1266008 h 2117064"/>
                        <a:gd name="connsiteX5777" fmla="*/ 435654 w 1263758"/>
                        <a:gd name="connsiteY5777" fmla="*/ 1266909 h 2117064"/>
                        <a:gd name="connsiteX5778" fmla="*/ 435654 w 1263758"/>
                        <a:gd name="connsiteY5778" fmla="*/ 1269159 h 2117064"/>
                        <a:gd name="connsiteX5779" fmla="*/ 436104 w 1263758"/>
                        <a:gd name="connsiteY5779" fmla="*/ 1271409 h 2117064"/>
                        <a:gd name="connsiteX5780" fmla="*/ 436104 w 1263758"/>
                        <a:gd name="connsiteY5780" fmla="*/ 1271859 h 2117064"/>
                        <a:gd name="connsiteX5781" fmla="*/ 720090 w 1263758"/>
                        <a:gd name="connsiteY5781" fmla="*/ 1296162 h 2117064"/>
                        <a:gd name="connsiteX5782" fmla="*/ 722340 w 1263758"/>
                        <a:gd name="connsiteY5782" fmla="*/ 1296612 h 2117064"/>
                        <a:gd name="connsiteX5783" fmla="*/ 724591 w 1263758"/>
                        <a:gd name="connsiteY5783" fmla="*/ 1296162 h 2117064"/>
                        <a:gd name="connsiteX5784" fmla="*/ 726391 w 1263758"/>
                        <a:gd name="connsiteY5784" fmla="*/ 1296612 h 2117064"/>
                        <a:gd name="connsiteX5785" fmla="*/ 727291 w 1263758"/>
                        <a:gd name="connsiteY5785" fmla="*/ 1298413 h 2117064"/>
                        <a:gd name="connsiteX5786" fmla="*/ 728191 w 1263758"/>
                        <a:gd name="connsiteY5786" fmla="*/ 1300213 h 2117064"/>
                        <a:gd name="connsiteX5787" fmla="*/ 728641 w 1263758"/>
                        <a:gd name="connsiteY5787" fmla="*/ 1302013 h 2117064"/>
                        <a:gd name="connsiteX5788" fmla="*/ 727741 w 1263758"/>
                        <a:gd name="connsiteY5788" fmla="*/ 1303363 h 2117064"/>
                        <a:gd name="connsiteX5789" fmla="*/ 724141 w 1263758"/>
                        <a:gd name="connsiteY5789" fmla="*/ 1304713 h 2117064"/>
                        <a:gd name="connsiteX5790" fmla="*/ 721440 w 1263758"/>
                        <a:gd name="connsiteY5790" fmla="*/ 1304263 h 2117064"/>
                        <a:gd name="connsiteX5791" fmla="*/ 718740 w 1263758"/>
                        <a:gd name="connsiteY5791" fmla="*/ 1302463 h 2117064"/>
                        <a:gd name="connsiteX5792" fmla="*/ 717390 w 1263758"/>
                        <a:gd name="connsiteY5792" fmla="*/ 1303363 h 2117064"/>
                        <a:gd name="connsiteX5793" fmla="*/ 714239 w 1263758"/>
                        <a:gd name="connsiteY5793" fmla="*/ 1302013 h 2117064"/>
                        <a:gd name="connsiteX5794" fmla="*/ 712889 w 1263758"/>
                        <a:gd name="connsiteY5794" fmla="*/ 1300213 h 2117064"/>
                        <a:gd name="connsiteX5795" fmla="*/ 711539 w 1263758"/>
                        <a:gd name="connsiteY5795" fmla="*/ 1297962 h 2117064"/>
                        <a:gd name="connsiteX5796" fmla="*/ 711539 w 1263758"/>
                        <a:gd name="connsiteY5796" fmla="*/ 1296612 h 2117064"/>
                        <a:gd name="connsiteX5797" fmla="*/ 714689 w 1263758"/>
                        <a:gd name="connsiteY5797" fmla="*/ 1295262 h 2117064"/>
                        <a:gd name="connsiteX5798" fmla="*/ 716040 w 1263758"/>
                        <a:gd name="connsiteY5798" fmla="*/ 1293912 h 2117064"/>
                        <a:gd name="connsiteX5799" fmla="*/ 720090 w 1263758"/>
                        <a:gd name="connsiteY5799" fmla="*/ 1296162 h 2117064"/>
                        <a:gd name="connsiteX5800" fmla="*/ 496862 w 1263758"/>
                        <a:gd name="connsiteY5800" fmla="*/ 1324966 h 2117064"/>
                        <a:gd name="connsiteX5801" fmla="*/ 497312 w 1263758"/>
                        <a:gd name="connsiteY5801" fmla="*/ 1325866 h 2117064"/>
                        <a:gd name="connsiteX5802" fmla="*/ 498662 w 1263758"/>
                        <a:gd name="connsiteY5802" fmla="*/ 1325416 h 2117064"/>
                        <a:gd name="connsiteX5803" fmla="*/ 499562 w 1263758"/>
                        <a:gd name="connsiteY5803" fmla="*/ 1323616 h 2117064"/>
                        <a:gd name="connsiteX5804" fmla="*/ 500013 w 1263758"/>
                        <a:gd name="connsiteY5804" fmla="*/ 1323166 h 2117064"/>
                        <a:gd name="connsiteX5805" fmla="*/ 500913 w 1263758"/>
                        <a:gd name="connsiteY5805" fmla="*/ 1323616 h 2117064"/>
                        <a:gd name="connsiteX5806" fmla="*/ 504063 w 1263758"/>
                        <a:gd name="connsiteY5806" fmla="*/ 1327216 h 2117064"/>
                        <a:gd name="connsiteX5807" fmla="*/ 506313 w 1263758"/>
                        <a:gd name="connsiteY5807" fmla="*/ 1330817 h 2117064"/>
                        <a:gd name="connsiteX5808" fmla="*/ 508564 w 1263758"/>
                        <a:gd name="connsiteY5808" fmla="*/ 1333517 h 2117064"/>
                        <a:gd name="connsiteX5809" fmla="*/ 512614 w 1263758"/>
                        <a:gd name="connsiteY5809" fmla="*/ 1335767 h 2117064"/>
                        <a:gd name="connsiteX5810" fmla="*/ 521165 w 1263758"/>
                        <a:gd name="connsiteY5810" fmla="*/ 1343418 h 2117064"/>
                        <a:gd name="connsiteX5811" fmla="*/ 523415 w 1263758"/>
                        <a:gd name="connsiteY5811" fmla="*/ 1348369 h 2117064"/>
                        <a:gd name="connsiteX5812" fmla="*/ 526116 w 1263758"/>
                        <a:gd name="connsiteY5812" fmla="*/ 1356470 h 2117064"/>
                        <a:gd name="connsiteX5813" fmla="*/ 528366 w 1263758"/>
                        <a:gd name="connsiteY5813" fmla="*/ 1362321 h 2117064"/>
                        <a:gd name="connsiteX5814" fmla="*/ 530616 w 1263758"/>
                        <a:gd name="connsiteY5814" fmla="*/ 1366371 h 2117064"/>
                        <a:gd name="connsiteX5815" fmla="*/ 532867 w 1263758"/>
                        <a:gd name="connsiteY5815" fmla="*/ 1369521 h 2117064"/>
                        <a:gd name="connsiteX5816" fmla="*/ 536467 w 1263758"/>
                        <a:gd name="connsiteY5816" fmla="*/ 1373122 h 2117064"/>
                        <a:gd name="connsiteX5817" fmla="*/ 539617 w 1263758"/>
                        <a:gd name="connsiteY5817" fmla="*/ 1370422 h 2117064"/>
                        <a:gd name="connsiteX5818" fmla="*/ 540968 w 1263758"/>
                        <a:gd name="connsiteY5818" fmla="*/ 1369521 h 2117064"/>
                        <a:gd name="connsiteX5819" fmla="*/ 542318 w 1263758"/>
                        <a:gd name="connsiteY5819" fmla="*/ 1370422 h 2117064"/>
                        <a:gd name="connsiteX5820" fmla="*/ 543218 w 1263758"/>
                        <a:gd name="connsiteY5820" fmla="*/ 1373122 h 2117064"/>
                        <a:gd name="connsiteX5821" fmla="*/ 542768 w 1263758"/>
                        <a:gd name="connsiteY5821" fmla="*/ 1374472 h 2117064"/>
                        <a:gd name="connsiteX5822" fmla="*/ 541418 w 1263758"/>
                        <a:gd name="connsiteY5822" fmla="*/ 1375822 h 2117064"/>
                        <a:gd name="connsiteX5823" fmla="*/ 539167 w 1263758"/>
                        <a:gd name="connsiteY5823" fmla="*/ 1377622 h 2117064"/>
                        <a:gd name="connsiteX5824" fmla="*/ 536017 w 1263758"/>
                        <a:gd name="connsiteY5824" fmla="*/ 1377622 h 2117064"/>
                        <a:gd name="connsiteX5825" fmla="*/ 534667 w 1263758"/>
                        <a:gd name="connsiteY5825" fmla="*/ 1378073 h 2117064"/>
                        <a:gd name="connsiteX5826" fmla="*/ 532417 w 1263758"/>
                        <a:gd name="connsiteY5826" fmla="*/ 1380773 h 2117064"/>
                        <a:gd name="connsiteX5827" fmla="*/ 530616 w 1263758"/>
                        <a:gd name="connsiteY5827" fmla="*/ 1384373 h 2117064"/>
                        <a:gd name="connsiteX5828" fmla="*/ 527916 w 1263758"/>
                        <a:gd name="connsiteY5828" fmla="*/ 1385723 h 2117064"/>
                        <a:gd name="connsiteX5829" fmla="*/ 522965 w 1263758"/>
                        <a:gd name="connsiteY5829" fmla="*/ 1391574 h 2117064"/>
                        <a:gd name="connsiteX5830" fmla="*/ 520265 w 1263758"/>
                        <a:gd name="connsiteY5830" fmla="*/ 1393825 h 2117064"/>
                        <a:gd name="connsiteX5831" fmla="*/ 516214 w 1263758"/>
                        <a:gd name="connsiteY5831" fmla="*/ 1394274 h 2117064"/>
                        <a:gd name="connsiteX5832" fmla="*/ 507663 w 1263758"/>
                        <a:gd name="connsiteY5832" fmla="*/ 1389774 h 2117064"/>
                        <a:gd name="connsiteX5833" fmla="*/ 502263 w 1263758"/>
                        <a:gd name="connsiteY5833" fmla="*/ 1390224 h 2117064"/>
                        <a:gd name="connsiteX5834" fmla="*/ 497762 w 1263758"/>
                        <a:gd name="connsiteY5834" fmla="*/ 1389324 h 2117064"/>
                        <a:gd name="connsiteX5835" fmla="*/ 492812 w 1263758"/>
                        <a:gd name="connsiteY5835" fmla="*/ 1384373 h 2117064"/>
                        <a:gd name="connsiteX5836" fmla="*/ 488761 w 1263758"/>
                        <a:gd name="connsiteY5836" fmla="*/ 1381673 h 2117064"/>
                        <a:gd name="connsiteX5837" fmla="*/ 481560 w 1263758"/>
                        <a:gd name="connsiteY5837" fmla="*/ 1377622 h 2117064"/>
                        <a:gd name="connsiteX5838" fmla="*/ 481110 w 1263758"/>
                        <a:gd name="connsiteY5838" fmla="*/ 1377172 h 2117064"/>
                        <a:gd name="connsiteX5839" fmla="*/ 480660 w 1263758"/>
                        <a:gd name="connsiteY5839" fmla="*/ 1375822 h 2117064"/>
                        <a:gd name="connsiteX5840" fmla="*/ 480660 w 1263758"/>
                        <a:gd name="connsiteY5840" fmla="*/ 1373572 h 2117064"/>
                        <a:gd name="connsiteX5841" fmla="*/ 480210 w 1263758"/>
                        <a:gd name="connsiteY5841" fmla="*/ 1372222 h 2117064"/>
                        <a:gd name="connsiteX5842" fmla="*/ 479760 w 1263758"/>
                        <a:gd name="connsiteY5842" fmla="*/ 1371322 h 2117064"/>
                        <a:gd name="connsiteX5843" fmla="*/ 478410 w 1263758"/>
                        <a:gd name="connsiteY5843" fmla="*/ 1371322 h 2117064"/>
                        <a:gd name="connsiteX5844" fmla="*/ 477060 w 1263758"/>
                        <a:gd name="connsiteY5844" fmla="*/ 1372672 h 2117064"/>
                        <a:gd name="connsiteX5845" fmla="*/ 474809 w 1263758"/>
                        <a:gd name="connsiteY5845" fmla="*/ 1374022 h 2117064"/>
                        <a:gd name="connsiteX5846" fmla="*/ 471209 w 1263758"/>
                        <a:gd name="connsiteY5846" fmla="*/ 1373572 h 2117064"/>
                        <a:gd name="connsiteX5847" fmla="*/ 469859 w 1263758"/>
                        <a:gd name="connsiteY5847" fmla="*/ 1372672 h 2117064"/>
                        <a:gd name="connsiteX5848" fmla="*/ 468509 w 1263758"/>
                        <a:gd name="connsiteY5848" fmla="*/ 1371322 h 2117064"/>
                        <a:gd name="connsiteX5849" fmla="*/ 468059 w 1263758"/>
                        <a:gd name="connsiteY5849" fmla="*/ 1369971 h 2117064"/>
                        <a:gd name="connsiteX5850" fmla="*/ 468059 w 1263758"/>
                        <a:gd name="connsiteY5850" fmla="*/ 1368171 h 2117064"/>
                        <a:gd name="connsiteX5851" fmla="*/ 467608 w 1263758"/>
                        <a:gd name="connsiteY5851" fmla="*/ 1366821 h 2117064"/>
                        <a:gd name="connsiteX5852" fmla="*/ 467158 w 1263758"/>
                        <a:gd name="connsiteY5852" fmla="*/ 1365921 h 2117064"/>
                        <a:gd name="connsiteX5853" fmla="*/ 465808 w 1263758"/>
                        <a:gd name="connsiteY5853" fmla="*/ 1365921 h 2117064"/>
                        <a:gd name="connsiteX5854" fmla="*/ 464008 w 1263758"/>
                        <a:gd name="connsiteY5854" fmla="*/ 1366821 h 2117064"/>
                        <a:gd name="connsiteX5855" fmla="*/ 463108 w 1263758"/>
                        <a:gd name="connsiteY5855" fmla="*/ 1367721 h 2117064"/>
                        <a:gd name="connsiteX5856" fmla="*/ 463558 w 1263758"/>
                        <a:gd name="connsiteY5856" fmla="*/ 1369071 h 2117064"/>
                        <a:gd name="connsiteX5857" fmla="*/ 463108 w 1263758"/>
                        <a:gd name="connsiteY5857" fmla="*/ 1369971 h 2117064"/>
                        <a:gd name="connsiteX5858" fmla="*/ 459507 w 1263758"/>
                        <a:gd name="connsiteY5858" fmla="*/ 1369971 h 2117064"/>
                        <a:gd name="connsiteX5859" fmla="*/ 458157 w 1263758"/>
                        <a:gd name="connsiteY5859" fmla="*/ 1369071 h 2117064"/>
                        <a:gd name="connsiteX5860" fmla="*/ 455457 w 1263758"/>
                        <a:gd name="connsiteY5860" fmla="*/ 1366821 h 2117064"/>
                        <a:gd name="connsiteX5861" fmla="*/ 454107 w 1263758"/>
                        <a:gd name="connsiteY5861" fmla="*/ 1364571 h 2117064"/>
                        <a:gd name="connsiteX5862" fmla="*/ 452757 w 1263758"/>
                        <a:gd name="connsiteY5862" fmla="*/ 1360070 h 2117064"/>
                        <a:gd name="connsiteX5863" fmla="*/ 452757 w 1263758"/>
                        <a:gd name="connsiteY5863" fmla="*/ 1358720 h 2117064"/>
                        <a:gd name="connsiteX5864" fmla="*/ 453657 w 1263758"/>
                        <a:gd name="connsiteY5864" fmla="*/ 1356020 h 2117064"/>
                        <a:gd name="connsiteX5865" fmla="*/ 455007 w 1263758"/>
                        <a:gd name="connsiteY5865" fmla="*/ 1354219 h 2117064"/>
                        <a:gd name="connsiteX5866" fmla="*/ 462658 w 1263758"/>
                        <a:gd name="connsiteY5866" fmla="*/ 1353319 h 2117064"/>
                        <a:gd name="connsiteX5867" fmla="*/ 466258 w 1263758"/>
                        <a:gd name="connsiteY5867" fmla="*/ 1352419 h 2117064"/>
                        <a:gd name="connsiteX5868" fmla="*/ 470309 w 1263758"/>
                        <a:gd name="connsiteY5868" fmla="*/ 1349269 h 2117064"/>
                        <a:gd name="connsiteX5869" fmla="*/ 474809 w 1263758"/>
                        <a:gd name="connsiteY5869" fmla="*/ 1343868 h 2117064"/>
                        <a:gd name="connsiteX5870" fmla="*/ 475709 w 1263758"/>
                        <a:gd name="connsiteY5870" fmla="*/ 1342068 h 2117064"/>
                        <a:gd name="connsiteX5871" fmla="*/ 475709 w 1263758"/>
                        <a:gd name="connsiteY5871" fmla="*/ 1340718 h 2117064"/>
                        <a:gd name="connsiteX5872" fmla="*/ 475259 w 1263758"/>
                        <a:gd name="connsiteY5872" fmla="*/ 1339368 h 2117064"/>
                        <a:gd name="connsiteX5873" fmla="*/ 473909 w 1263758"/>
                        <a:gd name="connsiteY5873" fmla="*/ 1336217 h 2117064"/>
                        <a:gd name="connsiteX5874" fmla="*/ 473459 w 1263758"/>
                        <a:gd name="connsiteY5874" fmla="*/ 1333967 h 2117064"/>
                        <a:gd name="connsiteX5875" fmla="*/ 473909 w 1263758"/>
                        <a:gd name="connsiteY5875" fmla="*/ 1333067 h 2117064"/>
                        <a:gd name="connsiteX5876" fmla="*/ 475709 w 1263758"/>
                        <a:gd name="connsiteY5876" fmla="*/ 1333067 h 2117064"/>
                        <a:gd name="connsiteX5877" fmla="*/ 474809 w 1263758"/>
                        <a:gd name="connsiteY5877" fmla="*/ 1331717 h 2117064"/>
                        <a:gd name="connsiteX5878" fmla="*/ 473909 w 1263758"/>
                        <a:gd name="connsiteY5878" fmla="*/ 1329916 h 2117064"/>
                        <a:gd name="connsiteX5879" fmla="*/ 473459 w 1263758"/>
                        <a:gd name="connsiteY5879" fmla="*/ 1329016 h 2117064"/>
                        <a:gd name="connsiteX5880" fmla="*/ 473459 w 1263758"/>
                        <a:gd name="connsiteY5880" fmla="*/ 1327216 h 2117064"/>
                        <a:gd name="connsiteX5881" fmla="*/ 474809 w 1263758"/>
                        <a:gd name="connsiteY5881" fmla="*/ 1326766 h 2117064"/>
                        <a:gd name="connsiteX5882" fmla="*/ 476610 w 1263758"/>
                        <a:gd name="connsiteY5882" fmla="*/ 1327666 h 2117064"/>
                        <a:gd name="connsiteX5883" fmla="*/ 480210 w 1263758"/>
                        <a:gd name="connsiteY5883" fmla="*/ 1332617 h 2117064"/>
                        <a:gd name="connsiteX5884" fmla="*/ 481560 w 1263758"/>
                        <a:gd name="connsiteY5884" fmla="*/ 1333517 h 2117064"/>
                        <a:gd name="connsiteX5885" fmla="*/ 483810 w 1263758"/>
                        <a:gd name="connsiteY5885" fmla="*/ 1334417 h 2117064"/>
                        <a:gd name="connsiteX5886" fmla="*/ 481110 w 1263758"/>
                        <a:gd name="connsiteY5886" fmla="*/ 1331267 h 2117064"/>
                        <a:gd name="connsiteX5887" fmla="*/ 478410 w 1263758"/>
                        <a:gd name="connsiteY5887" fmla="*/ 1324066 h 2117064"/>
                        <a:gd name="connsiteX5888" fmla="*/ 477960 w 1263758"/>
                        <a:gd name="connsiteY5888" fmla="*/ 1321816 h 2117064"/>
                        <a:gd name="connsiteX5889" fmla="*/ 477960 w 1263758"/>
                        <a:gd name="connsiteY5889" fmla="*/ 1320465 h 2117064"/>
                        <a:gd name="connsiteX5890" fmla="*/ 478860 w 1263758"/>
                        <a:gd name="connsiteY5890" fmla="*/ 1316415 h 2117064"/>
                        <a:gd name="connsiteX5891" fmla="*/ 479310 w 1263758"/>
                        <a:gd name="connsiteY5891" fmla="*/ 1315065 h 2117064"/>
                        <a:gd name="connsiteX5892" fmla="*/ 480210 w 1263758"/>
                        <a:gd name="connsiteY5892" fmla="*/ 1314165 h 2117064"/>
                        <a:gd name="connsiteX5893" fmla="*/ 482910 w 1263758"/>
                        <a:gd name="connsiteY5893" fmla="*/ 1311914 h 2117064"/>
                        <a:gd name="connsiteX5894" fmla="*/ 486961 w 1263758"/>
                        <a:gd name="connsiteY5894" fmla="*/ 1310564 h 2117064"/>
                        <a:gd name="connsiteX5895" fmla="*/ 489211 w 1263758"/>
                        <a:gd name="connsiteY5895" fmla="*/ 1310564 h 2117064"/>
                        <a:gd name="connsiteX5896" fmla="*/ 491461 w 1263758"/>
                        <a:gd name="connsiteY5896" fmla="*/ 1311914 h 2117064"/>
                        <a:gd name="connsiteX5897" fmla="*/ 493262 w 1263758"/>
                        <a:gd name="connsiteY5897" fmla="*/ 1314165 h 2117064"/>
                        <a:gd name="connsiteX5898" fmla="*/ 497312 w 1263758"/>
                        <a:gd name="connsiteY5898" fmla="*/ 1318215 h 2117064"/>
                        <a:gd name="connsiteX5899" fmla="*/ 497762 w 1263758"/>
                        <a:gd name="connsiteY5899" fmla="*/ 1320015 h 2117064"/>
                        <a:gd name="connsiteX5900" fmla="*/ 497762 w 1263758"/>
                        <a:gd name="connsiteY5900" fmla="*/ 1320915 h 2117064"/>
                        <a:gd name="connsiteX5901" fmla="*/ 495962 w 1263758"/>
                        <a:gd name="connsiteY5901" fmla="*/ 1321816 h 2117064"/>
                        <a:gd name="connsiteX5902" fmla="*/ 495962 w 1263758"/>
                        <a:gd name="connsiteY5902" fmla="*/ 1322716 h 2117064"/>
                        <a:gd name="connsiteX5903" fmla="*/ 496862 w 1263758"/>
                        <a:gd name="connsiteY5903" fmla="*/ 1324966 h 2117064"/>
                        <a:gd name="connsiteX5904" fmla="*/ 878510 w 1263758"/>
                        <a:gd name="connsiteY5904" fmla="*/ 1315965 h 2117064"/>
                        <a:gd name="connsiteX5905" fmla="*/ 879410 w 1263758"/>
                        <a:gd name="connsiteY5905" fmla="*/ 1319565 h 2117064"/>
                        <a:gd name="connsiteX5906" fmla="*/ 879860 w 1263758"/>
                        <a:gd name="connsiteY5906" fmla="*/ 1320465 h 2117064"/>
                        <a:gd name="connsiteX5907" fmla="*/ 878960 w 1263758"/>
                        <a:gd name="connsiteY5907" fmla="*/ 1322265 h 2117064"/>
                        <a:gd name="connsiteX5908" fmla="*/ 875810 w 1263758"/>
                        <a:gd name="connsiteY5908" fmla="*/ 1325416 h 2117064"/>
                        <a:gd name="connsiteX5909" fmla="*/ 868609 w 1263758"/>
                        <a:gd name="connsiteY5909" fmla="*/ 1326766 h 2117064"/>
                        <a:gd name="connsiteX5910" fmla="*/ 865008 w 1263758"/>
                        <a:gd name="connsiteY5910" fmla="*/ 1325416 h 2117064"/>
                        <a:gd name="connsiteX5911" fmla="*/ 866808 w 1263758"/>
                        <a:gd name="connsiteY5911" fmla="*/ 1330367 h 2117064"/>
                        <a:gd name="connsiteX5912" fmla="*/ 867258 w 1263758"/>
                        <a:gd name="connsiteY5912" fmla="*/ 1332167 h 2117064"/>
                        <a:gd name="connsiteX5913" fmla="*/ 866808 w 1263758"/>
                        <a:gd name="connsiteY5913" fmla="*/ 1333067 h 2117064"/>
                        <a:gd name="connsiteX5914" fmla="*/ 865458 w 1263758"/>
                        <a:gd name="connsiteY5914" fmla="*/ 1332617 h 2117064"/>
                        <a:gd name="connsiteX5915" fmla="*/ 863208 w 1263758"/>
                        <a:gd name="connsiteY5915" fmla="*/ 1331267 h 2117064"/>
                        <a:gd name="connsiteX5916" fmla="*/ 861858 w 1263758"/>
                        <a:gd name="connsiteY5916" fmla="*/ 1329466 h 2117064"/>
                        <a:gd name="connsiteX5917" fmla="*/ 861408 w 1263758"/>
                        <a:gd name="connsiteY5917" fmla="*/ 1327666 h 2117064"/>
                        <a:gd name="connsiteX5918" fmla="*/ 860958 w 1263758"/>
                        <a:gd name="connsiteY5918" fmla="*/ 1327216 h 2117064"/>
                        <a:gd name="connsiteX5919" fmla="*/ 860507 w 1263758"/>
                        <a:gd name="connsiteY5919" fmla="*/ 1328116 h 2117064"/>
                        <a:gd name="connsiteX5920" fmla="*/ 860058 w 1263758"/>
                        <a:gd name="connsiteY5920" fmla="*/ 1327666 h 2117064"/>
                        <a:gd name="connsiteX5921" fmla="*/ 858707 w 1263758"/>
                        <a:gd name="connsiteY5921" fmla="*/ 1324966 h 2117064"/>
                        <a:gd name="connsiteX5922" fmla="*/ 857807 w 1263758"/>
                        <a:gd name="connsiteY5922" fmla="*/ 1324066 h 2117064"/>
                        <a:gd name="connsiteX5923" fmla="*/ 850606 w 1263758"/>
                        <a:gd name="connsiteY5923" fmla="*/ 1322265 h 2117064"/>
                        <a:gd name="connsiteX5924" fmla="*/ 850156 w 1263758"/>
                        <a:gd name="connsiteY5924" fmla="*/ 1321365 h 2117064"/>
                        <a:gd name="connsiteX5925" fmla="*/ 850606 w 1263758"/>
                        <a:gd name="connsiteY5925" fmla="*/ 1320015 h 2117064"/>
                        <a:gd name="connsiteX5926" fmla="*/ 851506 w 1263758"/>
                        <a:gd name="connsiteY5926" fmla="*/ 1318215 h 2117064"/>
                        <a:gd name="connsiteX5927" fmla="*/ 852857 w 1263758"/>
                        <a:gd name="connsiteY5927" fmla="*/ 1317765 h 2117064"/>
                        <a:gd name="connsiteX5928" fmla="*/ 856907 w 1263758"/>
                        <a:gd name="connsiteY5928" fmla="*/ 1318665 h 2117064"/>
                        <a:gd name="connsiteX5929" fmla="*/ 857357 w 1263758"/>
                        <a:gd name="connsiteY5929" fmla="*/ 1318215 h 2117064"/>
                        <a:gd name="connsiteX5930" fmla="*/ 857807 w 1263758"/>
                        <a:gd name="connsiteY5930" fmla="*/ 1315965 h 2117064"/>
                        <a:gd name="connsiteX5931" fmla="*/ 858257 w 1263758"/>
                        <a:gd name="connsiteY5931" fmla="*/ 1315065 h 2117064"/>
                        <a:gd name="connsiteX5932" fmla="*/ 860958 w 1263758"/>
                        <a:gd name="connsiteY5932" fmla="*/ 1315515 h 2117064"/>
                        <a:gd name="connsiteX5933" fmla="*/ 862758 w 1263758"/>
                        <a:gd name="connsiteY5933" fmla="*/ 1315065 h 2117064"/>
                        <a:gd name="connsiteX5934" fmla="*/ 863658 w 1263758"/>
                        <a:gd name="connsiteY5934" fmla="*/ 1316415 h 2117064"/>
                        <a:gd name="connsiteX5935" fmla="*/ 864558 w 1263758"/>
                        <a:gd name="connsiteY5935" fmla="*/ 1319115 h 2117064"/>
                        <a:gd name="connsiteX5936" fmla="*/ 865908 w 1263758"/>
                        <a:gd name="connsiteY5936" fmla="*/ 1318665 h 2117064"/>
                        <a:gd name="connsiteX5937" fmla="*/ 867708 w 1263758"/>
                        <a:gd name="connsiteY5937" fmla="*/ 1319115 h 2117064"/>
                        <a:gd name="connsiteX5938" fmla="*/ 869959 w 1263758"/>
                        <a:gd name="connsiteY5938" fmla="*/ 1318215 h 2117064"/>
                        <a:gd name="connsiteX5939" fmla="*/ 873109 w 1263758"/>
                        <a:gd name="connsiteY5939" fmla="*/ 1315965 h 2117064"/>
                        <a:gd name="connsiteX5940" fmla="*/ 875810 w 1263758"/>
                        <a:gd name="connsiteY5940" fmla="*/ 1315065 h 2117064"/>
                        <a:gd name="connsiteX5941" fmla="*/ 878510 w 1263758"/>
                        <a:gd name="connsiteY5941" fmla="*/ 1315965 h 2117064"/>
                        <a:gd name="connsiteX5942" fmla="*/ 908213 w 1263758"/>
                        <a:gd name="connsiteY5942" fmla="*/ 1320465 h 2117064"/>
                        <a:gd name="connsiteX5943" fmla="*/ 909114 w 1263758"/>
                        <a:gd name="connsiteY5943" fmla="*/ 1323616 h 2117064"/>
                        <a:gd name="connsiteX5944" fmla="*/ 909114 w 1263758"/>
                        <a:gd name="connsiteY5944" fmla="*/ 1325416 h 2117064"/>
                        <a:gd name="connsiteX5945" fmla="*/ 907763 w 1263758"/>
                        <a:gd name="connsiteY5945" fmla="*/ 1327216 h 2117064"/>
                        <a:gd name="connsiteX5946" fmla="*/ 901913 w 1263758"/>
                        <a:gd name="connsiteY5946" fmla="*/ 1330817 h 2117064"/>
                        <a:gd name="connsiteX5947" fmla="*/ 898312 w 1263758"/>
                        <a:gd name="connsiteY5947" fmla="*/ 1333967 h 2117064"/>
                        <a:gd name="connsiteX5948" fmla="*/ 896512 w 1263758"/>
                        <a:gd name="connsiteY5948" fmla="*/ 1334417 h 2117064"/>
                        <a:gd name="connsiteX5949" fmla="*/ 894262 w 1263758"/>
                        <a:gd name="connsiteY5949" fmla="*/ 1333967 h 2117064"/>
                        <a:gd name="connsiteX5950" fmla="*/ 891561 w 1263758"/>
                        <a:gd name="connsiteY5950" fmla="*/ 1335317 h 2117064"/>
                        <a:gd name="connsiteX5951" fmla="*/ 890661 w 1263758"/>
                        <a:gd name="connsiteY5951" fmla="*/ 1335317 h 2117064"/>
                        <a:gd name="connsiteX5952" fmla="*/ 892011 w 1263758"/>
                        <a:gd name="connsiteY5952" fmla="*/ 1333067 h 2117064"/>
                        <a:gd name="connsiteX5953" fmla="*/ 896512 w 1263758"/>
                        <a:gd name="connsiteY5953" fmla="*/ 1325866 h 2117064"/>
                        <a:gd name="connsiteX5954" fmla="*/ 900113 w 1263758"/>
                        <a:gd name="connsiteY5954" fmla="*/ 1324966 h 2117064"/>
                        <a:gd name="connsiteX5955" fmla="*/ 901463 w 1263758"/>
                        <a:gd name="connsiteY5955" fmla="*/ 1323616 h 2117064"/>
                        <a:gd name="connsiteX5956" fmla="*/ 902363 w 1263758"/>
                        <a:gd name="connsiteY5956" fmla="*/ 1324066 h 2117064"/>
                        <a:gd name="connsiteX5957" fmla="*/ 902813 w 1263758"/>
                        <a:gd name="connsiteY5957" fmla="*/ 1322716 h 2117064"/>
                        <a:gd name="connsiteX5958" fmla="*/ 902813 w 1263758"/>
                        <a:gd name="connsiteY5958" fmla="*/ 1320915 h 2117064"/>
                        <a:gd name="connsiteX5959" fmla="*/ 904163 w 1263758"/>
                        <a:gd name="connsiteY5959" fmla="*/ 1319565 h 2117064"/>
                        <a:gd name="connsiteX5960" fmla="*/ 905513 w 1263758"/>
                        <a:gd name="connsiteY5960" fmla="*/ 1319565 h 2117064"/>
                        <a:gd name="connsiteX5961" fmla="*/ 908213 w 1263758"/>
                        <a:gd name="connsiteY5961" fmla="*/ 1320465 h 2117064"/>
                        <a:gd name="connsiteX5962" fmla="*/ 1122890 w 1263758"/>
                        <a:gd name="connsiteY5962" fmla="*/ 1331267 h 2117064"/>
                        <a:gd name="connsiteX5963" fmla="*/ 1122440 w 1263758"/>
                        <a:gd name="connsiteY5963" fmla="*/ 1331717 h 2117064"/>
                        <a:gd name="connsiteX5964" fmla="*/ 1117040 w 1263758"/>
                        <a:gd name="connsiteY5964" fmla="*/ 1329016 h 2117064"/>
                        <a:gd name="connsiteX5965" fmla="*/ 1116590 w 1263758"/>
                        <a:gd name="connsiteY5965" fmla="*/ 1326766 h 2117064"/>
                        <a:gd name="connsiteX5966" fmla="*/ 1119290 w 1263758"/>
                        <a:gd name="connsiteY5966" fmla="*/ 1324516 h 2117064"/>
                        <a:gd name="connsiteX5967" fmla="*/ 1121540 w 1263758"/>
                        <a:gd name="connsiteY5967" fmla="*/ 1323166 h 2117064"/>
                        <a:gd name="connsiteX5968" fmla="*/ 1123340 w 1263758"/>
                        <a:gd name="connsiteY5968" fmla="*/ 1323166 h 2117064"/>
                        <a:gd name="connsiteX5969" fmla="*/ 1125141 w 1263758"/>
                        <a:gd name="connsiteY5969" fmla="*/ 1323616 h 2117064"/>
                        <a:gd name="connsiteX5970" fmla="*/ 1126941 w 1263758"/>
                        <a:gd name="connsiteY5970" fmla="*/ 1326316 h 2117064"/>
                        <a:gd name="connsiteX5971" fmla="*/ 1125141 w 1263758"/>
                        <a:gd name="connsiteY5971" fmla="*/ 1328566 h 2117064"/>
                        <a:gd name="connsiteX5972" fmla="*/ 1122890 w 1263758"/>
                        <a:gd name="connsiteY5972" fmla="*/ 1331267 h 2117064"/>
                        <a:gd name="connsiteX5973" fmla="*/ 537367 w 1263758"/>
                        <a:gd name="connsiteY5973" fmla="*/ 1329016 h 2117064"/>
                        <a:gd name="connsiteX5974" fmla="*/ 540068 w 1263758"/>
                        <a:gd name="connsiteY5974" fmla="*/ 1333067 h 2117064"/>
                        <a:gd name="connsiteX5975" fmla="*/ 540068 w 1263758"/>
                        <a:gd name="connsiteY5975" fmla="*/ 1334867 h 2117064"/>
                        <a:gd name="connsiteX5976" fmla="*/ 539617 w 1263758"/>
                        <a:gd name="connsiteY5976" fmla="*/ 1338017 h 2117064"/>
                        <a:gd name="connsiteX5977" fmla="*/ 538717 w 1263758"/>
                        <a:gd name="connsiteY5977" fmla="*/ 1340718 h 2117064"/>
                        <a:gd name="connsiteX5978" fmla="*/ 537367 w 1263758"/>
                        <a:gd name="connsiteY5978" fmla="*/ 1342518 h 2117064"/>
                        <a:gd name="connsiteX5979" fmla="*/ 535567 w 1263758"/>
                        <a:gd name="connsiteY5979" fmla="*/ 1343418 h 2117064"/>
                        <a:gd name="connsiteX5980" fmla="*/ 533317 w 1263758"/>
                        <a:gd name="connsiteY5980" fmla="*/ 1343418 h 2117064"/>
                        <a:gd name="connsiteX5981" fmla="*/ 532417 w 1263758"/>
                        <a:gd name="connsiteY5981" fmla="*/ 1342518 h 2117064"/>
                        <a:gd name="connsiteX5982" fmla="*/ 533317 w 1263758"/>
                        <a:gd name="connsiteY5982" fmla="*/ 1339818 h 2117064"/>
                        <a:gd name="connsiteX5983" fmla="*/ 533767 w 1263758"/>
                        <a:gd name="connsiteY5983" fmla="*/ 1338918 h 2117064"/>
                        <a:gd name="connsiteX5984" fmla="*/ 533767 w 1263758"/>
                        <a:gd name="connsiteY5984" fmla="*/ 1336667 h 2117064"/>
                        <a:gd name="connsiteX5985" fmla="*/ 533317 w 1263758"/>
                        <a:gd name="connsiteY5985" fmla="*/ 1333067 h 2117064"/>
                        <a:gd name="connsiteX5986" fmla="*/ 532867 w 1263758"/>
                        <a:gd name="connsiteY5986" fmla="*/ 1330817 h 2117064"/>
                        <a:gd name="connsiteX5987" fmla="*/ 531516 w 1263758"/>
                        <a:gd name="connsiteY5987" fmla="*/ 1329466 h 2117064"/>
                        <a:gd name="connsiteX5988" fmla="*/ 530616 w 1263758"/>
                        <a:gd name="connsiteY5988" fmla="*/ 1329466 h 2117064"/>
                        <a:gd name="connsiteX5989" fmla="*/ 530166 w 1263758"/>
                        <a:gd name="connsiteY5989" fmla="*/ 1330817 h 2117064"/>
                        <a:gd name="connsiteX5990" fmla="*/ 530616 w 1263758"/>
                        <a:gd name="connsiteY5990" fmla="*/ 1333067 h 2117064"/>
                        <a:gd name="connsiteX5991" fmla="*/ 530166 w 1263758"/>
                        <a:gd name="connsiteY5991" fmla="*/ 1336217 h 2117064"/>
                        <a:gd name="connsiteX5992" fmla="*/ 529266 w 1263758"/>
                        <a:gd name="connsiteY5992" fmla="*/ 1340268 h 2117064"/>
                        <a:gd name="connsiteX5993" fmla="*/ 528366 w 1263758"/>
                        <a:gd name="connsiteY5993" fmla="*/ 1342068 h 2117064"/>
                        <a:gd name="connsiteX5994" fmla="*/ 527016 w 1263758"/>
                        <a:gd name="connsiteY5994" fmla="*/ 1341168 h 2117064"/>
                        <a:gd name="connsiteX5995" fmla="*/ 526566 w 1263758"/>
                        <a:gd name="connsiteY5995" fmla="*/ 1339818 h 2117064"/>
                        <a:gd name="connsiteX5996" fmla="*/ 526566 w 1263758"/>
                        <a:gd name="connsiteY5996" fmla="*/ 1337567 h 2117064"/>
                        <a:gd name="connsiteX5997" fmla="*/ 526116 w 1263758"/>
                        <a:gd name="connsiteY5997" fmla="*/ 1335317 h 2117064"/>
                        <a:gd name="connsiteX5998" fmla="*/ 526566 w 1263758"/>
                        <a:gd name="connsiteY5998" fmla="*/ 1333067 h 2117064"/>
                        <a:gd name="connsiteX5999" fmla="*/ 527466 w 1263758"/>
                        <a:gd name="connsiteY5999" fmla="*/ 1329466 h 2117064"/>
                        <a:gd name="connsiteX6000" fmla="*/ 528816 w 1263758"/>
                        <a:gd name="connsiteY6000" fmla="*/ 1327216 h 2117064"/>
                        <a:gd name="connsiteX6001" fmla="*/ 530616 w 1263758"/>
                        <a:gd name="connsiteY6001" fmla="*/ 1325866 h 2117064"/>
                        <a:gd name="connsiteX6002" fmla="*/ 532417 w 1263758"/>
                        <a:gd name="connsiteY6002" fmla="*/ 1325866 h 2117064"/>
                        <a:gd name="connsiteX6003" fmla="*/ 534667 w 1263758"/>
                        <a:gd name="connsiteY6003" fmla="*/ 1327216 h 2117064"/>
                        <a:gd name="connsiteX6004" fmla="*/ 537367 w 1263758"/>
                        <a:gd name="connsiteY6004" fmla="*/ 1329016 h 2117064"/>
                        <a:gd name="connsiteX6005" fmla="*/ 417652 w 1263758"/>
                        <a:gd name="connsiteY6005" fmla="*/ 1339818 h 2117064"/>
                        <a:gd name="connsiteX6006" fmla="*/ 415852 w 1263758"/>
                        <a:gd name="connsiteY6006" fmla="*/ 1340268 h 2117064"/>
                        <a:gd name="connsiteX6007" fmla="*/ 415402 w 1263758"/>
                        <a:gd name="connsiteY6007" fmla="*/ 1340268 h 2117064"/>
                        <a:gd name="connsiteX6008" fmla="*/ 415402 w 1263758"/>
                        <a:gd name="connsiteY6008" fmla="*/ 1338468 h 2117064"/>
                        <a:gd name="connsiteX6009" fmla="*/ 415402 w 1263758"/>
                        <a:gd name="connsiteY6009" fmla="*/ 1337567 h 2117064"/>
                        <a:gd name="connsiteX6010" fmla="*/ 414952 w 1263758"/>
                        <a:gd name="connsiteY6010" fmla="*/ 1337117 h 2117064"/>
                        <a:gd name="connsiteX6011" fmla="*/ 416302 w 1263758"/>
                        <a:gd name="connsiteY6011" fmla="*/ 1335767 h 2117064"/>
                        <a:gd name="connsiteX6012" fmla="*/ 416302 w 1263758"/>
                        <a:gd name="connsiteY6012" fmla="*/ 1334867 h 2117064"/>
                        <a:gd name="connsiteX6013" fmla="*/ 415852 w 1263758"/>
                        <a:gd name="connsiteY6013" fmla="*/ 1333967 h 2117064"/>
                        <a:gd name="connsiteX6014" fmla="*/ 413602 w 1263758"/>
                        <a:gd name="connsiteY6014" fmla="*/ 1332617 h 2117064"/>
                        <a:gd name="connsiteX6015" fmla="*/ 413152 w 1263758"/>
                        <a:gd name="connsiteY6015" fmla="*/ 1331267 h 2117064"/>
                        <a:gd name="connsiteX6016" fmla="*/ 413152 w 1263758"/>
                        <a:gd name="connsiteY6016" fmla="*/ 1329916 h 2117064"/>
                        <a:gd name="connsiteX6017" fmla="*/ 414052 w 1263758"/>
                        <a:gd name="connsiteY6017" fmla="*/ 1329016 h 2117064"/>
                        <a:gd name="connsiteX6018" fmla="*/ 415402 w 1263758"/>
                        <a:gd name="connsiteY6018" fmla="*/ 1329016 h 2117064"/>
                        <a:gd name="connsiteX6019" fmla="*/ 418552 w 1263758"/>
                        <a:gd name="connsiteY6019" fmla="*/ 1330817 h 2117064"/>
                        <a:gd name="connsiteX6020" fmla="*/ 419902 w 1263758"/>
                        <a:gd name="connsiteY6020" fmla="*/ 1333517 h 2117064"/>
                        <a:gd name="connsiteX6021" fmla="*/ 420353 w 1263758"/>
                        <a:gd name="connsiteY6021" fmla="*/ 1335767 h 2117064"/>
                        <a:gd name="connsiteX6022" fmla="*/ 419452 w 1263758"/>
                        <a:gd name="connsiteY6022" fmla="*/ 1336217 h 2117064"/>
                        <a:gd name="connsiteX6023" fmla="*/ 418552 w 1263758"/>
                        <a:gd name="connsiteY6023" fmla="*/ 1337117 h 2117064"/>
                        <a:gd name="connsiteX6024" fmla="*/ 417652 w 1263758"/>
                        <a:gd name="connsiteY6024" fmla="*/ 1338918 h 2117064"/>
                        <a:gd name="connsiteX6025" fmla="*/ 417652 w 1263758"/>
                        <a:gd name="connsiteY6025" fmla="*/ 1339818 h 2117064"/>
                        <a:gd name="connsiteX6026" fmla="*/ 930266 w 1263758"/>
                        <a:gd name="connsiteY6026" fmla="*/ 1355120 h 2117064"/>
                        <a:gd name="connsiteX6027" fmla="*/ 927566 w 1263758"/>
                        <a:gd name="connsiteY6027" fmla="*/ 1356020 h 2117064"/>
                        <a:gd name="connsiteX6028" fmla="*/ 925766 w 1263758"/>
                        <a:gd name="connsiteY6028" fmla="*/ 1355570 h 2117064"/>
                        <a:gd name="connsiteX6029" fmla="*/ 924416 w 1263758"/>
                        <a:gd name="connsiteY6029" fmla="*/ 1354219 h 2117064"/>
                        <a:gd name="connsiteX6030" fmla="*/ 923515 w 1263758"/>
                        <a:gd name="connsiteY6030" fmla="*/ 1352419 h 2117064"/>
                        <a:gd name="connsiteX6031" fmla="*/ 922165 w 1263758"/>
                        <a:gd name="connsiteY6031" fmla="*/ 1347469 h 2117064"/>
                        <a:gd name="connsiteX6032" fmla="*/ 922615 w 1263758"/>
                        <a:gd name="connsiteY6032" fmla="*/ 1345218 h 2117064"/>
                        <a:gd name="connsiteX6033" fmla="*/ 922615 w 1263758"/>
                        <a:gd name="connsiteY6033" fmla="*/ 1341168 h 2117064"/>
                        <a:gd name="connsiteX6034" fmla="*/ 923065 w 1263758"/>
                        <a:gd name="connsiteY6034" fmla="*/ 1339818 h 2117064"/>
                        <a:gd name="connsiteX6035" fmla="*/ 923515 w 1263758"/>
                        <a:gd name="connsiteY6035" fmla="*/ 1338918 h 2117064"/>
                        <a:gd name="connsiteX6036" fmla="*/ 926216 w 1263758"/>
                        <a:gd name="connsiteY6036" fmla="*/ 1337567 h 2117064"/>
                        <a:gd name="connsiteX6037" fmla="*/ 928016 w 1263758"/>
                        <a:gd name="connsiteY6037" fmla="*/ 1337567 h 2117064"/>
                        <a:gd name="connsiteX6038" fmla="*/ 930266 w 1263758"/>
                        <a:gd name="connsiteY6038" fmla="*/ 1338918 h 2117064"/>
                        <a:gd name="connsiteX6039" fmla="*/ 935667 w 1263758"/>
                        <a:gd name="connsiteY6039" fmla="*/ 1339368 h 2117064"/>
                        <a:gd name="connsiteX6040" fmla="*/ 937017 w 1263758"/>
                        <a:gd name="connsiteY6040" fmla="*/ 1340718 h 2117064"/>
                        <a:gd name="connsiteX6041" fmla="*/ 937467 w 1263758"/>
                        <a:gd name="connsiteY6041" fmla="*/ 1341618 h 2117064"/>
                        <a:gd name="connsiteX6042" fmla="*/ 937467 w 1263758"/>
                        <a:gd name="connsiteY6042" fmla="*/ 1342518 h 2117064"/>
                        <a:gd name="connsiteX6043" fmla="*/ 937017 w 1263758"/>
                        <a:gd name="connsiteY6043" fmla="*/ 1343868 h 2117064"/>
                        <a:gd name="connsiteX6044" fmla="*/ 934317 w 1263758"/>
                        <a:gd name="connsiteY6044" fmla="*/ 1347469 h 2117064"/>
                        <a:gd name="connsiteX6045" fmla="*/ 932967 w 1263758"/>
                        <a:gd name="connsiteY6045" fmla="*/ 1350169 h 2117064"/>
                        <a:gd name="connsiteX6046" fmla="*/ 932067 w 1263758"/>
                        <a:gd name="connsiteY6046" fmla="*/ 1353319 h 2117064"/>
                        <a:gd name="connsiteX6047" fmla="*/ 930266 w 1263758"/>
                        <a:gd name="connsiteY6047" fmla="*/ 1355120 h 2117064"/>
                        <a:gd name="connsiteX6048" fmla="*/ 650331 w 1263758"/>
                        <a:gd name="connsiteY6048" fmla="*/ 1338468 h 2117064"/>
                        <a:gd name="connsiteX6049" fmla="*/ 650781 w 1263758"/>
                        <a:gd name="connsiteY6049" fmla="*/ 1342068 h 2117064"/>
                        <a:gd name="connsiteX6050" fmla="*/ 648981 w 1263758"/>
                        <a:gd name="connsiteY6050" fmla="*/ 1347019 h 2117064"/>
                        <a:gd name="connsiteX6051" fmla="*/ 648531 w 1263758"/>
                        <a:gd name="connsiteY6051" fmla="*/ 1347919 h 2117064"/>
                        <a:gd name="connsiteX6052" fmla="*/ 647631 w 1263758"/>
                        <a:gd name="connsiteY6052" fmla="*/ 1348369 h 2117064"/>
                        <a:gd name="connsiteX6053" fmla="*/ 646731 w 1263758"/>
                        <a:gd name="connsiteY6053" fmla="*/ 1347919 h 2117064"/>
                        <a:gd name="connsiteX6054" fmla="*/ 644480 w 1263758"/>
                        <a:gd name="connsiteY6054" fmla="*/ 1343868 h 2117064"/>
                        <a:gd name="connsiteX6055" fmla="*/ 644031 w 1263758"/>
                        <a:gd name="connsiteY6055" fmla="*/ 1341168 h 2117064"/>
                        <a:gd name="connsiteX6056" fmla="*/ 644931 w 1263758"/>
                        <a:gd name="connsiteY6056" fmla="*/ 1339818 h 2117064"/>
                        <a:gd name="connsiteX6057" fmla="*/ 646731 w 1263758"/>
                        <a:gd name="connsiteY6057" fmla="*/ 1338468 h 2117064"/>
                        <a:gd name="connsiteX6058" fmla="*/ 648081 w 1263758"/>
                        <a:gd name="connsiteY6058" fmla="*/ 1337567 h 2117064"/>
                        <a:gd name="connsiteX6059" fmla="*/ 649431 w 1263758"/>
                        <a:gd name="connsiteY6059" fmla="*/ 1338017 h 2117064"/>
                        <a:gd name="connsiteX6060" fmla="*/ 649881 w 1263758"/>
                        <a:gd name="connsiteY6060" fmla="*/ 1337117 h 2117064"/>
                        <a:gd name="connsiteX6061" fmla="*/ 650331 w 1263758"/>
                        <a:gd name="connsiteY6061" fmla="*/ 1338468 h 2117064"/>
                        <a:gd name="connsiteX6062" fmla="*/ 883460 w 1263758"/>
                        <a:gd name="connsiteY6062" fmla="*/ 1372672 h 2117064"/>
                        <a:gd name="connsiteX6063" fmla="*/ 882110 w 1263758"/>
                        <a:gd name="connsiteY6063" fmla="*/ 1373122 h 2117064"/>
                        <a:gd name="connsiteX6064" fmla="*/ 880310 w 1263758"/>
                        <a:gd name="connsiteY6064" fmla="*/ 1372222 h 2117064"/>
                        <a:gd name="connsiteX6065" fmla="*/ 879860 w 1263758"/>
                        <a:gd name="connsiteY6065" fmla="*/ 1370422 h 2117064"/>
                        <a:gd name="connsiteX6066" fmla="*/ 879410 w 1263758"/>
                        <a:gd name="connsiteY6066" fmla="*/ 1368621 h 2117064"/>
                        <a:gd name="connsiteX6067" fmla="*/ 879860 w 1263758"/>
                        <a:gd name="connsiteY6067" fmla="*/ 1367721 h 2117064"/>
                        <a:gd name="connsiteX6068" fmla="*/ 880760 w 1263758"/>
                        <a:gd name="connsiteY6068" fmla="*/ 1366821 h 2117064"/>
                        <a:gd name="connsiteX6069" fmla="*/ 881660 w 1263758"/>
                        <a:gd name="connsiteY6069" fmla="*/ 1364571 h 2117064"/>
                        <a:gd name="connsiteX6070" fmla="*/ 883010 w 1263758"/>
                        <a:gd name="connsiteY6070" fmla="*/ 1361420 h 2117064"/>
                        <a:gd name="connsiteX6071" fmla="*/ 885261 w 1263758"/>
                        <a:gd name="connsiteY6071" fmla="*/ 1359170 h 2117064"/>
                        <a:gd name="connsiteX6072" fmla="*/ 889761 w 1263758"/>
                        <a:gd name="connsiteY6072" fmla="*/ 1356920 h 2117064"/>
                        <a:gd name="connsiteX6073" fmla="*/ 890211 w 1263758"/>
                        <a:gd name="connsiteY6073" fmla="*/ 1356020 h 2117064"/>
                        <a:gd name="connsiteX6074" fmla="*/ 892462 w 1263758"/>
                        <a:gd name="connsiteY6074" fmla="*/ 1350169 h 2117064"/>
                        <a:gd name="connsiteX6075" fmla="*/ 893362 w 1263758"/>
                        <a:gd name="connsiteY6075" fmla="*/ 1349269 h 2117064"/>
                        <a:gd name="connsiteX6076" fmla="*/ 895612 w 1263758"/>
                        <a:gd name="connsiteY6076" fmla="*/ 1348819 h 2117064"/>
                        <a:gd name="connsiteX6077" fmla="*/ 896062 w 1263758"/>
                        <a:gd name="connsiteY6077" fmla="*/ 1347919 h 2117064"/>
                        <a:gd name="connsiteX6078" fmla="*/ 895162 w 1263758"/>
                        <a:gd name="connsiteY6078" fmla="*/ 1346569 h 2117064"/>
                        <a:gd name="connsiteX6079" fmla="*/ 895162 w 1263758"/>
                        <a:gd name="connsiteY6079" fmla="*/ 1345218 h 2117064"/>
                        <a:gd name="connsiteX6080" fmla="*/ 896062 w 1263758"/>
                        <a:gd name="connsiteY6080" fmla="*/ 1343868 h 2117064"/>
                        <a:gd name="connsiteX6081" fmla="*/ 897412 w 1263758"/>
                        <a:gd name="connsiteY6081" fmla="*/ 1342518 h 2117064"/>
                        <a:gd name="connsiteX6082" fmla="*/ 900563 w 1263758"/>
                        <a:gd name="connsiteY6082" fmla="*/ 1341168 h 2117064"/>
                        <a:gd name="connsiteX6083" fmla="*/ 903263 w 1263758"/>
                        <a:gd name="connsiteY6083" fmla="*/ 1341168 h 2117064"/>
                        <a:gd name="connsiteX6084" fmla="*/ 904163 w 1263758"/>
                        <a:gd name="connsiteY6084" fmla="*/ 1341618 h 2117064"/>
                        <a:gd name="connsiteX6085" fmla="*/ 904613 w 1263758"/>
                        <a:gd name="connsiteY6085" fmla="*/ 1342518 h 2117064"/>
                        <a:gd name="connsiteX6086" fmla="*/ 905513 w 1263758"/>
                        <a:gd name="connsiteY6086" fmla="*/ 1345218 h 2117064"/>
                        <a:gd name="connsiteX6087" fmla="*/ 905513 w 1263758"/>
                        <a:gd name="connsiteY6087" fmla="*/ 1345668 h 2117064"/>
                        <a:gd name="connsiteX6088" fmla="*/ 904163 w 1263758"/>
                        <a:gd name="connsiteY6088" fmla="*/ 1348369 h 2117064"/>
                        <a:gd name="connsiteX6089" fmla="*/ 901013 w 1263758"/>
                        <a:gd name="connsiteY6089" fmla="*/ 1351969 h 2117064"/>
                        <a:gd name="connsiteX6090" fmla="*/ 899212 w 1263758"/>
                        <a:gd name="connsiteY6090" fmla="*/ 1355120 h 2117064"/>
                        <a:gd name="connsiteX6091" fmla="*/ 898762 w 1263758"/>
                        <a:gd name="connsiteY6091" fmla="*/ 1356020 h 2117064"/>
                        <a:gd name="connsiteX6092" fmla="*/ 898762 w 1263758"/>
                        <a:gd name="connsiteY6092" fmla="*/ 1357370 h 2117064"/>
                        <a:gd name="connsiteX6093" fmla="*/ 897862 w 1263758"/>
                        <a:gd name="connsiteY6093" fmla="*/ 1359170 h 2117064"/>
                        <a:gd name="connsiteX6094" fmla="*/ 895612 w 1263758"/>
                        <a:gd name="connsiteY6094" fmla="*/ 1363221 h 2117064"/>
                        <a:gd name="connsiteX6095" fmla="*/ 894262 w 1263758"/>
                        <a:gd name="connsiteY6095" fmla="*/ 1366821 h 2117064"/>
                        <a:gd name="connsiteX6096" fmla="*/ 892912 w 1263758"/>
                        <a:gd name="connsiteY6096" fmla="*/ 1369071 h 2117064"/>
                        <a:gd name="connsiteX6097" fmla="*/ 888861 w 1263758"/>
                        <a:gd name="connsiteY6097" fmla="*/ 1370872 h 2117064"/>
                        <a:gd name="connsiteX6098" fmla="*/ 883460 w 1263758"/>
                        <a:gd name="connsiteY6098" fmla="*/ 1372672 h 2117064"/>
                        <a:gd name="connsiteX6099" fmla="*/ 644031 w 1263758"/>
                        <a:gd name="connsiteY6099" fmla="*/ 1350169 h 2117064"/>
                        <a:gd name="connsiteX6100" fmla="*/ 642230 w 1263758"/>
                        <a:gd name="connsiteY6100" fmla="*/ 1351069 h 2117064"/>
                        <a:gd name="connsiteX6101" fmla="*/ 641330 w 1263758"/>
                        <a:gd name="connsiteY6101" fmla="*/ 1348369 h 2117064"/>
                        <a:gd name="connsiteX6102" fmla="*/ 640430 w 1263758"/>
                        <a:gd name="connsiteY6102" fmla="*/ 1347919 h 2117064"/>
                        <a:gd name="connsiteX6103" fmla="*/ 639980 w 1263758"/>
                        <a:gd name="connsiteY6103" fmla="*/ 1346119 h 2117064"/>
                        <a:gd name="connsiteX6104" fmla="*/ 638180 w 1263758"/>
                        <a:gd name="connsiteY6104" fmla="*/ 1345668 h 2117064"/>
                        <a:gd name="connsiteX6105" fmla="*/ 638180 w 1263758"/>
                        <a:gd name="connsiteY6105" fmla="*/ 1342968 h 2117064"/>
                        <a:gd name="connsiteX6106" fmla="*/ 638630 w 1263758"/>
                        <a:gd name="connsiteY6106" fmla="*/ 1341618 h 2117064"/>
                        <a:gd name="connsiteX6107" fmla="*/ 640430 w 1263758"/>
                        <a:gd name="connsiteY6107" fmla="*/ 1340718 h 2117064"/>
                        <a:gd name="connsiteX6108" fmla="*/ 641780 w 1263758"/>
                        <a:gd name="connsiteY6108" fmla="*/ 1341168 h 2117064"/>
                        <a:gd name="connsiteX6109" fmla="*/ 643130 w 1263758"/>
                        <a:gd name="connsiteY6109" fmla="*/ 1343868 h 2117064"/>
                        <a:gd name="connsiteX6110" fmla="*/ 643580 w 1263758"/>
                        <a:gd name="connsiteY6110" fmla="*/ 1346119 h 2117064"/>
                        <a:gd name="connsiteX6111" fmla="*/ 644031 w 1263758"/>
                        <a:gd name="connsiteY6111" fmla="*/ 1348819 h 2117064"/>
                        <a:gd name="connsiteX6112" fmla="*/ 644031 w 1263758"/>
                        <a:gd name="connsiteY6112" fmla="*/ 1350169 h 2117064"/>
                        <a:gd name="connsiteX6113" fmla="*/ 442405 w 1263758"/>
                        <a:gd name="connsiteY6113" fmla="*/ 1362771 h 2117064"/>
                        <a:gd name="connsiteX6114" fmla="*/ 441955 w 1263758"/>
                        <a:gd name="connsiteY6114" fmla="*/ 1366371 h 2117064"/>
                        <a:gd name="connsiteX6115" fmla="*/ 439255 w 1263758"/>
                        <a:gd name="connsiteY6115" fmla="*/ 1365471 h 2117064"/>
                        <a:gd name="connsiteX6116" fmla="*/ 437905 w 1263758"/>
                        <a:gd name="connsiteY6116" fmla="*/ 1364121 h 2117064"/>
                        <a:gd name="connsiteX6117" fmla="*/ 437005 w 1263758"/>
                        <a:gd name="connsiteY6117" fmla="*/ 1361420 h 2117064"/>
                        <a:gd name="connsiteX6118" fmla="*/ 437005 w 1263758"/>
                        <a:gd name="connsiteY6118" fmla="*/ 1360520 h 2117064"/>
                        <a:gd name="connsiteX6119" fmla="*/ 437005 w 1263758"/>
                        <a:gd name="connsiteY6119" fmla="*/ 1359620 h 2117064"/>
                        <a:gd name="connsiteX6120" fmla="*/ 437905 w 1263758"/>
                        <a:gd name="connsiteY6120" fmla="*/ 1356920 h 2117064"/>
                        <a:gd name="connsiteX6121" fmla="*/ 438805 w 1263758"/>
                        <a:gd name="connsiteY6121" fmla="*/ 1356020 h 2117064"/>
                        <a:gd name="connsiteX6122" fmla="*/ 440605 w 1263758"/>
                        <a:gd name="connsiteY6122" fmla="*/ 1356920 h 2117064"/>
                        <a:gd name="connsiteX6123" fmla="*/ 441505 w 1263758"/>
                        <a:gd name="connsiteY6123" fmla="*/ 1358270 h 2117064"/>
                        <a:gd name="connsiteX6124" fmla="*/ 441955 w 1263758"/>
                        <a:gd name="connsiteY6124" fmla="*/ 1360520 h 2117064"/>
                        <a:gd name="connsiteX6125" fmla="*/ 442405 w 1263758"/>
                        <a:gd name="connsiteY6125" fmla="*/ 1362771 h 2117064"/>
                        <a:gd name="connsiteX6126" fmla="*/ 437905 w 1263758"/>
                        <a:gd name="connsiteY6126" fmla="*/ 1374922 h 2117064"/>
                        <a:gd name="connsiteX6127" fmla="*/ 437455 w 1263758"/>
                        <a:gd name="connsiteY6127" fmla="*/ 1376722 h 2117064"/>
                        <a:gd name="connsiteX6128" fmla="*/ 436555 w 1263758"/>
                        <a:gd name="connsiteY6128" fmla="*/ 1377172 h 2117064"/>
                        <a:gd name="connsiteX6129" fmla="*/ 434754 w 1263758"/>
                        <a:gd name="connsiteY6129" fmla="*/ 1379423 h 2117064"/>
                        <a:gd name="connsiteX6130" fmla="*/ 434304 w 1263758"/>
                        <a:gd name="connsiteY6130" fmla="*/ 1379873 h 2117064"/>
                        <a:gd name="connsiteX6131" fmla="*/ 433404 w 1263758"/>
                        <a:gd name="connsiteY6131" fmla="*/ 1378523 h 2117064"/>
                        <a:gd name="connsiteX6132" fmla="*/ 432504 w 1263758"/>
                        <a:gd name="connsiteY6132" fmla="*/ 1376272 h 2117064"/>
                        <a:gd name="connsiteX6133" fmla="*/ 432054 w 1263758"/>
                        <a:gd name="connsiteY6133" fmla="*/ 1375822 h 2117064"/>
                        <a:gd name="connsiteX6134" fmla="*/ 431604 w 1263758"/>
                        <a:gd name="connsiteY6134" fmla="*/ 1375822 h 2117064"/>
                        <a:gd name="connsiteX6135" fmla="*/ 430704 w 1263758"/>
                        <a:gd name="connsiteY6135" fmla="*/ 1377172 h 2117064"/>
                        <a:gd name="connsiteX6136" fmla="*/ 430254 w 1263758"/>
                        <a:gd name="connsiteY6136" fmla="*/ 1377172 h 2117064"/>
                        <a:gd name="connsiteX6137" fmla="*/ 429804 w 1263758"/>
                        <a:gd name="connsiteY6137" fmla="*/ 1376272 h 2117064"/>
                        <a:gd name="connsiteX6138" fmla="*/ 429804 w 1263758"/>
                        <a:gd name="connsiteY6138" fmla="*/ 1374472 h 2117064"/>
                        <a:gd name="connsiteX6139" fmla="*/ 429804 w 1263758"/>
                        <a:gd name="connsiteY6139" fmla="*/ 1371772 h 2117064"/>
                        <a:gd name="connsiteX6140" fmla="*/ 430254 w 1263758"/>
                        <a:gd name="connsiteY6140" fmla="*/ 1367271 h 2117064"/>
                        <a:gd name="connsiteX6141" fmla="*/ 430254 w 1263758"/>
                        <a:gd name="connsiteY6141" fmla="*/ 1365471 h 2117064"/>
                        <a:gd name="connsiteX6142" fmla="*/ 429804 w 1263758"/>
                        <a:gd name="connsiteY6142" fmla="*/ 1364121 h 2117064"/>
                        <a:gd name="connsiteX6143" fmla="*/ 430254 w 1263758"/>
                        <a:gd name="connsiteY6143" fmla="*/ 1362771 h 2117064"/>
                        <a:gd name="connsiteX6144" fmla="*/ 431154 w 1263758"/>
                        <a:gd name="connsiteY6144" fmla="*/ 1361871 h 2117064"/>
                        <a:gd name="connsiteX6145" fmla="*/ 432054 w 1263758"/>
                        <a:gd name="connsiteY6145" fmla="*/ 1361420 h 2117064"/>
                        <a:gd name="connsiteX6146" fmla="*/ 434304 w 1263758"/>
                        <a:gd name="connsiteY6146" fmla="*/ 1361871 h 2117064"/>
                        <a:gd name="connsiteX6147" fmla="*/ 436104 w 1263758"/>
                        <a:gd name="connsiteY6147" fmla="*/ 1363671 h 2117064"/>
                        <a:gd name="connsiteX6148" fmla="*/ 437005 w 1263758"/>
                        <a:gd name="connsiteY6148" fmla="*/ 1365921 h 2117064"/>
                        <a:gd name="connsiteX6149" fmla="*/ 438805 w 1263758"/>
                        <a:gd name="connsiteY6149" fmla="*/ 1367721 h 2117064"/>
                        <a:gd name="connsiteX6150" fmla="*/ 439255 w 1263758"/>
                        <a:gd name="connsiteY6150" fmla="*/ 1369071 h 2117064"/>
                        <a:gd name="connsiteX6151" fmla="*/ 437905 w 1263758"/>
                        <a:gd name="connsiteY6151" fmla="*/ 1374922 h 2117064"/>
                        <a:gd name="connsiteX6152" fmla="*/ 403250 w 1263758"/>
                        <a:gd name="connsiteY6152" fmla="*/ 1387524 h 2117064"/>
                        <a:gd name="connsiteX6153" fmla="*/ 402350 w 1263758"/>
                        <a:gd name="connsiteY6153" fmla="*/ 1387524 h 2117064"/>
                        <a:gd name="connsiteX6154" fmla="*/ 401000 w 1263758"/>
                        <a:gd name="connsiteY6154" fmla="*/ 1386624 h 2117064"/>
                        <a:gd name="connsiteX6155" fmla="*/ 394249 w 1263758"/>
                        <a:gd name="connsiteY6155" fmla="*/ 1383023 h 2117064"/>
                        <a:gd name="connsiteX6156" fmla="*/ 393349 w 1263758"/>
                        <a:gd name="connsiteY6156" fmla="*/ 1382123 h 2117064"/>
                        <a:gd name="connsiteX6157" fmla="*/ 394249 w 1263758"/>
                        <a:gd name="connsiteY6157" fmla="*/ 1380773 h 2117064"/>
                        <a:gd name="connsiteX6158" fmla="*/ 396950 w 1263758"/>
                        <a:gd name="connsiteY6158" fmla="*/ 1378973 h 2117064"/>
                        <a:gd name="connsiteX6159" fmla="*/ 398750 w 1263758"/>
                        <a:gd name="connsiteY6159" fmla="*/ 1377172 h 2117064"/>
                        <a:gd name="connsiteX6160" fmla="*/ 400100 w 1263758"/>
                        <a:gd name="connsiteY6160" fmla="*/ 1374022 h 2117064"/>
                        <a:gd name="connsiteX6161" fmla="*/ 404150 w 1263758"/>
                        <a:gd name="connsiteY6161" fmla="*/ 1375372 h 2117064"/>
                        <a:gd name="connsiteX6162" fmla="*/ 405501 w 1263758"/>
                        <a:gd name="connsiteY6162" fmla="*/ 1376722 h 2117064"/>
                        <a:gd name="connsiteX6163" fmla="*/ 405951 w 1263758"/>
                        <a:gd name="connsiteY6163" fmla="*/ 1378073 h 2117064"/>
                        <a:gd name="connsiteX6164" fmla="*/ 406401 w 1263758"/>
                        <a:gd name="connsiteY6164" fmla="*/ 1379873 h 2117064"/>
                        <a:gd name="connsiteX6165" fmla="*/ 406401 w 1263758"/>
                        <a:gd name="connsiteY6165" fmla="*/ 1383923 h 2117064"/>
                        <a:gd name="connsiteX6166" fmla="*/ 405051 w 1263758"/>
                        <a:gd name="connsiteY6166" fmla="*/ 1384823 h 2117064"/>
                        <a:gd name="connsiteX6167" fmla="*/ 403250 w 1263758"/>
                        <a:gd name="connsiteY6167" fmla="*/ 1387524 h 2117064"/>
                        <a:gd name="connsiteX6168" fmla="*/ 975272 w 1263758"/>
                        <a:gd name="connsiteY6168" fmla="*/ 1401475 h 2117064"/>
                        <a:gd name="connsiteX6169" fmla="*/ 973472 w 1263758"/>
                        <a:gd name="connsiteY6169" fmla="*/ 1401925 h 2117064"/>
                        <a:gd name="connsiteX6170" fmla="*/ 971221 w 1263758"/>
                        <a:gd name="connsiteY6170" fmla="*/ 1398325 h 2117064"/>
                        <a:gd name="connsiteX6171" fmla="*/ 966271 w 1263758"/>
                        <a:gd name="connsiteY6171" fmla="*/ 1394274 h 2117064"/>
                        <a:gd name="connsiteX6172" fmla="*/ 964471 w 1263758"/>
                        <a:gd name="connsiteY6172" fmla="*/ 1391124 h 2117064"/>
                        <a:gd name="connsiteX6173" fmla="*/ 964471 w 1263758"/>
                        <a:gd name="connsiteY6173" fmla="*/ 1389774 h 2117064"/>
                        <a:gd name="connsiteX6174" fmla="*/ 964471 w 1263758"/>
                        <a:gd name="connsiteY6174" fmla="*/ 1387524 h 2117064"/>
                        <a:gd name="connsiteX6175" fmla="*/ 964921 w 1263758"/>
                        <a:gd name="connsiteY6175" fmla="*/ 1384823 h 2117064"/>
                        <a:gd name="connsiteX6176" fmla="*/ 966721 w 1263758"/>
                        <a:gd name="connsiteY6176" fmla="*/ 1381673 h 2117064"/>
                        <a:gd name="connsiteX6177" fmla="*/ 968521 w 1263758"/>
                        <a:gd name="connsiteY6177" fmla="*/ 1381223 h 2117064"/>
                        <a:gd name="connsiteX6178" fmla="*/ 971221 w 1263758"/>
                        <a:gd name="connsiteY6178" fmla="*/ 1381673 h 2117064"/>
                        <a:gd name="connsiteX6179" fmla="*/ 973022 w 1263758"/>
                        <a:gd name="connsiteY6179" fmla="*/ 1383923 h 2117064"/>
                        <a:gd name="connsiteX6180" fmla="*/ 975272 w 1263758"/>
                        <a:gd name="connsiteY6180" fmla="*/ 1389774 h 2117064"/>
                        <a:gd name="connsiteX6181" fmla="*/ 976622 w 1263758"/>
                        <a:gd name="connsiteY6181" fmla="*/ 1392474 h 2117064"/>
                        <a:gd name="connsiteX6182" fmla="*/ 977072 w 1263758"/>
                        <a:gd name="connsiteY6182" fmla="*/ 1394725 h 2117064"/>
                        <a:gd name="connsiteX6183" fmla="*/ 976172 w 1263758"/>
                        <a:gd name="connsiteY6183" fmla="*/ 1395625 h 2117064"/>
                        <a:gd name="connsiteX6184" fmla="*/ 976172 w 1263758"/>
                        <a:gd name="connsiteY6184" fmla="*/ 1396525 h 2117064"/>
                        <a:gd name="connsiteX6185" fmla="*/ 976622 w 1263758"/>
                        <a:gd name="connsiteY6185" fmla="*/ 1396975 h 2117064"/>
                        <a:gd name="connsiteX6186" fmla="*/ 976622 w 1263758"/>
                        <a:gd name="connsiteY6186" fmla="*/ 1397875 h 2117064"/>
                        <a:gd name="connsiteX6187" fmla="*/ 976172 w 1263758"/>
                        <a:gd name="connsiteY6187" fmla="*/ 1399675 h 2117064"/>
                        <a:gd name="connsiteX6188" fmla="*/ 975272 w 1263758"/>
                        <a:gd name="connsiteY6188" fmla="*/ 1401475 h 2117064"/>
                        <a:gd name="connsiteX6189" fmla="*/ 346093 w 1263758"/>
                        <a:gd name="connsiteY6189" fmla="*/ 1398325 h 2117064"/>
                        <a:gd name="connsiteX6190" fmla="*/ 344743 w 1263758"/>
                        <a:gd name="connsiteY6190" fmla="*/ 1398325 h 2117064"/>
                        <a:gd name="connsiteX6191" fmla="*/ 342493 w 1263758"/>
                        <a:gd name="connsiteY6191" fmla="*/ 1397425 h 2117064"/>
                        <a:gd name="connsiteX6192" fmla="*/ 339342 w 1263758"/>
                        <a:gd name="connsiteY6192" fmla="*/ 1395175 h 2117064"/>
                        <a:gd name="connsiteX6193" fmla="*/ 337092 w 1263758"/>
                        <a:gd name="connsiteY6193" fmla="*/ 1392924 h 2117064"/>
                        <a:gd name="connsiteX6194" fmla="*/ 335292 w 1263758"/>
                        <a:gd name="connsiteY6194" fmla="*/ 1390674 h 2117064"/>
                        <a:gd name="connsiteX6195" fmla="*/ 335292 w 1263758"/>
                        <a:gd name="connsiteY6195" fmla="*/ 1388874 h 2117064"/>
                        <a:gd name="connsiteX6196" fmla="*/ 336642 w 1263758"/>
                        <a:gd name="connsiteY6196" fmla="*/ 1387974 h 2117064"/>
                        <a:gd name="connsiteX6197" fmla="*/ 338442 w 1263758"/>
                        <a:gd name="connsiteY6197" fmla="*/ 1387524 h 2117064"/>
                        <a:gd name="connsiteX6198" fmla="*/ 342943 w 1263758"/>
                        <a:gd name="connsiteY6198" fmla="*/ 1387974 h 2117064"/>
                        <a:gd name="connsiteX6199" fmla="*/ 345193 w 1263758"/>
                        <a:gd name="connsiteY6199" fmla="*/ 1388874 h 2117064"/>
                        <a:gd name="connsiteX6200" fmla="*/ 347893 w 1263758"/>
                        <a:gd name="connsiteY6200" fmla="*/ 1392024 h 2117064"/>
                        <a:gd name="connsiteX6201" fmla="*/ 348344 w 1263758"/>
                        <a:gd name="connsiteY6201" fmla="*/ 1393825 h 2117064"/>
                        <a:gd name="connsiteX6202" fmla="*/ 348344 w 1263758"/>
                        <a:gd name="connsiteY6202" fmla="*/ 1395175 h 2117064"/>
                        <a:gd name="connsiteX6203" fmla="*/ 347893 w 1263758"/>
                        <a:gd name="connsiteY6203" fmla="*/ 1396075 h 2117064"/>
                        <a:gd name="connsiteX6204" fmla="*/ 346093 w 1263758"/>
                        <a:gd name="connsiteY6204" fmla="*/ 1398325 h 2117064"/>
                        <a:gd name="connsiteX6205" fmla="*/ 887961 w 1263758"/>
                        <a:gd name="connsiteY6205" fmla="*/ 1410477 h 2117064"/>
                        <a:gd name="connsiteX6206" fmla="*/ 886161 w 1263758"/>
                        <a:gd name="connsiteY6206" fmla="*/ 1410927 h 2117064"/>
                        <a:gd name="connsiteX6207" fmla="*/ 883910 w 1263758"/>
                        <a:gd name="connsiteY6207" fmla="*/ 1407776 h 2117064"/>
                        <a:gd name="connsiteX6208" fmla="*/ 883910 w 1263758"/>
                        <a:gd name="connsiteY6208" fmla="*/ 1405976 h 2117064"/>
                        <a:gd name="connsiteX6209" fmla="*/ 884361 w 1263758"/>
                        <a:gd name="connsiteY6209" fmla="*/ 1401925 h 2117064"/>
                        <a:gd name="connsiteX6210" fmla="*/ 888411 w 1263758"/>
                        <a:gd name="connsiteY6210" fmla="*/ 1401025 h 2117064"/>
                        <a:gd name="connsiteX6211" fmla="*/ 890211 w 1263758"/>
                        <a:gd name="connsiteY6211" fmla="*/ 1403276 h 2117064"/>
                        <a:gd name="connsiteX6212" fmla="*/ 891111 w 1263758"/>
                        <a:gd name="connsiteY6212" fmla="*/ 1405526 h 2117064"/>
                        <a:gd name="connsiteX6213" fmla="*/ 887961 w 1263758"/>
                        <a:gd name="connsiteY6213" fmla="*/ 1410477 h 2117064"/>
                        <a:gd name="connsiteX6214" fmla="*/ 958170 w 1263758"/>
                        <a:gd name="connsiteY6214" fmla="*/ 1402826 h 2117064"/>
                        <a:gd name="connsiteX6215" fmla="*/ 969421 w 1263758"/>
                        <a:gd name="connsiteY6215" fmla="*/ 1407776 h 2117064"/>
                        <a:gd name="connsiteX6216" fmla="*/ 970321 w 1263758"/>
                        <a:gd name="connsiteY6216" fmla="*/ 1409576 h 2117064"/>
                        <a:gd name="connsiteX6217" fmla="*/ 970771 w 1263758"/>
                        <a:gd name="connsiteY6217" fmla="*/ 1411377 h 2117064"/>
                        <a:gd name="connsiteX6218" fmla="*/ 971221 w 1263758"/>
                        <a:gd name="connsiteY6218" fmla="*/ 1413177 h 2117064"/>
                        <a:gd name="connsiteX6219" fmla="*/ 971221 w 1263758"/>
                        <a:gd name="connsiteY6219" fmla="*/ 1416777 h 2117064"/>
                        <a:gd name="connsiteX6220" fmla="*/ 971221 w 1263758"/>
                        <a:gd name="connsiteY6220" fmla="*/ 1418128 h 2117064"/>
                        <a:gd name="connsiteX6221" fmla="*/ 970321 w 1263758"/>
                        <a:gd name="connsiteY6221" fmla="*/ 1421728 h 2117064"/>
                        <a:gd name="connsiteX6222" fmla="*/ 970321 w 1263758"/>
                        <a:gd name="connsiteY6222" fmla="*/ 1423078 h 2117064"/>
                        <a:gd name="connsiteX6223" fmla="*/ 971221 w 1263758"/>
                        <a:gd name="connsiteY6223" fmla="*/ 1435230 h 2117064"/>
                        <a:gd name="connsiteX6224" fmla="*/ 971221 w 1263758"/>
                        <a:gd name="connsiteY6224" fmla="*/ 1441530 h 2117064"/>
                        <a:gd name="connsiteX6225" fmla="*/ 970321 w 1263758"/>
                        <a:gd name="connsiteY6225" fmla="*/ 1446931 h 2117064"/>
                        <a:gd name="connsiteX6226" fmla="*/ 968521 w 1263758"/>
                        <a:gd name="connsiteY6226" fmla="*/ 1451432 h 2117064"/>
                        <a:gd name="connsiteX6227" fmla="*/ 966271 w 1263758"/>
                        <a:gd name="connsiteY6227" fmla="*/ 1454582 h 2117064"/>
                        <a:gd name="connsiteX6228" fmla="*/ 964471 w 1263758"/>
                        <a:gd name="connsiteY6228" fmla="*/ 1456382 h 2117064"/>
                        <a:gd name="connsiteX6229" fmla="*/ 956370 w 1263758"/>
                        <a:gd name="connsiteY6229" fmla="*/ 1460883 h 2117064"/>
                        <a:gd name="connsiteX6230" fmla="*/ 950519 w 1263758"/>
                        <a:gd name="connsiteY6230" fmla="*/ 1462233 h 2117064"/>
                        <a:gd name="connsiteX6231" fmla="*/ 944668 w 1263758"/>
                        <a:gd name="connsiteY6231" fmla="*/ 1462233 h 2117064"/>
                        <a:gd name="connsiteX6232" fmla="*/ 937017 w 1263758"/>
                        <a:gd name="connsiteY6232" fmla="*/ 1463583 h 2117064"/>
                        <a:gd name="connsiteX6233" fmla="*/ 933417 w 1263758"/>
                        <a:gd name="connsiteY6233" fmla="*/ 1463133 h 2117064"/>
                        <a:gd name="connsiteX6234" fmla="*/ 931616 w 1263758"/>
                        <a:gd name="connsiteY6234" fmla="*/ 1462683 h 2117064"/>
                        <a:gd name="connsiteX6235" fmla="*/ 930266 w 1263758"/>
                        <a:gd name="connsiteY6235" fmla="*/ 1461783 h 2117064"/>
                        <a:gd name="connsiteX6236" fmla="*/ 928916 w 1263758"/>
                        <a:gd name="connsiteY6236" fmla="*/ 1459083 h 2117064"/>
                        <a:gd name="connsiteX6237" fmla="*/ 927116 w 1263758"/>
                        <a:gd name="connsiteY6237" fmla="*/ 1454132 h 2117064"/>
                        <a:gd name="connsiteX6238" fmla="*/ 925766 w 1263758"/>
                        <a:gd name="connsiteY6238" fmla="*/ 1448731 h 2117064"/>
                        <a:gd name="connsiteX6239" fmla="*/ 923965 w 1263758"/>
                        <a:gd name="connsiteY6239" fmla="*/ 1438830 h 2117064"/>
                        <a:gd name="connsiteX6240" fmla="*/ 923965 w 1263758"/>
                        <a:gd name="connsiteY6240" fmla="*/ 1437480 h 2117064"/>
                        <a:gd name="connsiteX6241" fmla="*/ 925766 w 1263758"/>
                        <a:gd name="connsiteY6241" fmla="*/ 1429379 h 2117064"/>
                        <a:gd name="connsiteX6242" fmla="*/ 928016 w 1263758"/>
                        <a:gd name="connsiteY6242" fmla="*/ 1423978 h 2117064"/>
                        <a:gd name="connsiteX6243" fmla="*/ 932067 w 1263758"/>
                        <a:gd name="connsiteY6243" fmla="*/ 1415877 h 2117064"/>
                        <a:gd name="connsiteX6244" fmla="*/ 936567 w 1263758"/>
                        <a:gd name="connsiteY6244" fmla="*/ 1407776 h 2117064"/>
                        <a:gd name="connsiteX6245" fmla="*/ 937467 w 1263758"/>
                        <a:gd name="connsiteY6245" fmla="*/ 1406426 h 2117064"/>
                        <a:gd name="connsiteX6246" fmla="*/ 939267 w 1263758"/>
                        <a:gd name="connsiteY6246" fmla="*/ 1405076 h 2117064"/>
                        <a:gd name="connsiteX6247" fmla="*/ 944218 w 1263758"/>
                        <a:gd name="connsiteY6247" fmla="*/ 1402826 h 2117064"/>
                        <a:gd name="connsiteX6248" fmla="*/ 948268 w 1263758"/>
                        <a:gd name="connsiteY6248" fmla="*/ 1403276 h 2117064"/>
                        <a:gd name="connsiteX6249" fmla="*/ 950069 w 1263758"/>
                        <a:gd name="connsiteY6249" fmla="*/ 1402826 h 2117064"/>
                        <a:gd name="connsiteX6250" fmla="*/ 952319 w 1263758"/>
                        <a:gd name="connsiteY6250" fmla="*/ 1401925 h 2117064"/>
                        <a:gd name="connsiteX6251" fmla="*/ 954569 w 1263758"/>
                        <a:gd name="connsiteY6251" fmla="*/ 1401475 h 2117064"/>
                        <a:gd name="connsiteX6252" fmla="*/ 958170 w 1263758"/>
                        <a:gd name="connsiteY6252" fmla="*/ 1402826 h 2117064"/>
                        <a:gd name="connsiteX6253" fmla="*/ 726841 w 1263758"/>
                        <a:gd name="connsiteY6253" fmla="*/ 1436130 h 2117064"/>
                        <a:gd name="connsiteX6254" fmla="*/ 725941 w 1263758"/>
                        <a:gd name="connsiteY6254" fmla="*/ 1436130 h 2117064"/>
                        <a:gd name="connsiteX6255" fmla="*/ 724591 w 1263758"/>
                        <a:gd name="connsiteY6255" fmla="*/ 1435230 h 2117064"/>
                        <a:gd name="connsiteX6256" fmla="*/ 721440 w 1263758"/>
                        <a:gd name="connsiteY6256" fmla="*/ 1431629 h 2117064"/>
                        <a:gd name="connsiteX6257" fmla="*/ 720990 w 1263758"/>
                        <a:gd name="connsiteY6257" fmla="*/ 1430279 h 2117064"/>
                        <a:gd name="connsiteX6258" fmla="*/ 720540 w 1263758"/>
                        <a:gd name="connsiteY6258" fmla="*/ 1428479 h 2117064"/>
                        <a:gd name="connsiteX6259" fmla="*/ 720540 w 1263758"/>
                        <a:gd name="connsiteY6259" fmla="*/ 1426679 h 2117064"/>
                        <a:gd name="connsiteX6260" fmla="*/ 720990 w 1263758"/>
                        <a:gd name="connsiteY6260" fmla="*/ 1424428 h 2117064"/>
                        <a:gd name="connsiteX6261" fmla="*/ 721890 w 1263758"/>
                        <a:gd name="connsiteY6261" fmla="*/ 1420378 h 2117064"/>
                        <a:gd name="connsiteX6262" fmla="*/ 719640 w 1263758"/>
                        <a:gd name="connsiteY6262" fmla="*/ 1417677 h 2117064"/>
                        <a:gd name="connsiteX6263" fmla="*/ 719190 w 1263758"/>
                        <a:gd name="connsiteY6263" fmla="*/ 1415877 h 2117064"/>
                        <a:gd name="connsiteX6264" fmla="*/ 719190 w 1263758"/>
                        <a:gd name="connsiteY6264" fmla="*/ 1414977 h 2117064"/>
                        <a:gd name="connsiteX6265" fmla="*/ 720090 w 1263758"/>
                        <a:gd name="connsiteY6265" fmla="*/ 1412277 h 2117064"/>
                        <a:gd name="connsiteX6266" fmla="*/ 720540 w 1263758"/>
                        <a:gd name="connsiteY6266" fmla="*/ 1410477 h 2117064"/>
                        <a:gd name="connsiteX6267" fmla="*/ 721440 w 1263758"/>
                        <a:gd name="connsiteY6267" fmla="*/ 1408226 h 2117064"/>
                        <a:gd name="connsiteX6268" fmla="*/ 724141 w 1263758"/>
                        <a:gd name="connsiteY6268" fmla="*/ 1403726 h 2117064"/>
                        <a:gd name="connsiteX6269" fmla="*/ 726841 w 1263758"/>
                        <a:gd name="connsiteY6269" fmla="*/ 1404626 h 2117064"/>
                        <a:gd name="connsiteX6270" fmla="*/ 729541 w 1263758"/>
                        <a:gd name="connsiteY6270" fmla="*/ 1408226 h 2117064"/>
                        <a:gd name="connsiteX6271" fmla="*/ 729991 w 1263758"/>
                        <a:gd name="connsiteY6271" fmla="*/ 1410477 h 2117064"/>
                        <a:gd name="connsiteX6272" fmla="*/ 729991 w 1263758"/>
                        <a:gd name="connsiteY6272" fmla="*/ 1413177 h 2117064"/>
                        <a:gd name="connsiteX6273" fmla="*/ 729991 w 1263758"/>
                        <a:gd name="connsiteY6273" fmla="*/ 1416777 h 2117064"/>
                        <a:gd name="connsiteX6274" fmla="*/ 730441 w 1263758"/>
                        <a:gd name="connsiteY6274" fmla="*/ 1421728 h 2117064"/>
                        <a:gd name="connsiteX6275" fmla="*/ 730441 w 1263758"/>
                        <a:gd name="connsiteY6275" fmla="*/ 1425328 h 2117064"/>
                        <a:gd name="connsiteX6276" fmla="*/ 729991 w 1263758"/>
                        <a:gd name="connsiteY6276" fmla="*/ 1427579 h 2117064"/>
                        <a:gd name="connsiteX6277" fmla="*/ 729091 w 1263758"/>
                        <a:gd name="connsiteY6277" fmla="*/ 1431629 h 2117064"/>
                        <a:gd name="connsiteX6278" fmla="*/ 728191 w 1263758"/>
                        <a:gd name="connsiteY6278" fmla="*/ 1433429 h 2117064"/>
                        <a:gd name="connsiteX6279" fmla="*/ 726841 w 1263758"/>
                        <a:gd name="connsiteY6279" fmla="*/ 1435230 h 2117064"/>
                        <a:gd name="connsiteX6280" fmla="*/ 726841 w 1263758"/>
                        <a:gd name="connsiteY6280" fmla="*/ 1436130 h 2117064"/>
                        <a:gd name="connsiteX6281" fmla="*/ 244831 w 1263758"/>
                        <a:gd name="connsiteY6281" fmla="*/ 1421728 h 2117064"/>
                        <a:gd name="connsiteX6282" fmla="*/ 243930 w 1263758"/>
                        <a:gd name="connsiteY6282" fmla="*/ 1421728 h 2117064"/>
                        <a:gd name="connsiteX6283" fmla="*/ 241230 w 1263758"/>
                        <a:gd name="connsiteY6283" fmla="*/ 1418578 h 2117064"/>
                        <a:gd name="connsiteX6284" fmla="*/ 241680 w 1263758"/>
                        <a:gd name="connsiteY6284" fmla="*/ 1415877 h 2117064"/>
                        <a:gd name="connsiteX6285" fmla="*/ 244380 w 1263758"/>
                        <a:gd name="connsiteY6285" fmla="*/ 1419028 h 2117064"/>
                        <a:gd name="connsiteX6286" fmla="*/ 244831 w 1263758"/>
                        <a:gd name="connsiteY6286" fmla="*/ 1420828 h 2117064"/>
                        <a:gd name="connsiteX6287" fmla="*/ 244831 w 1263758"/>
                        <a:gd name="connsiteY6287" fmla="*/ 1421728 h 2117064"/>
                        <a:gd name="connsiteX6288" fmla="*/ 1001825 w 1263758"/>
                        <a:gd name="connsiteY6288" fmla="*/ 1433429 h 2117064"/>
                        <a:gd name="connsiteX6289" fmla="*/ 991474 w 1263758"/>
                        <a:gd name="connsiteY6289" fmla="*/ 1433429 h 2117064"/>
                        <a:gd name="connsiteX6290" fmla="*/ 985623 w 1263758"/>
                        <a:gd name="connsiteY6290" fmla="*/ 1432979 h 2117064"/>
                        <a:gd name="connsiteX6291" fmla="*/ 983373 w 1263758"/>
                        <a:gd name="connsiteY6291" fmla="*/ 1432079 h 2117064"/>
                        <a:gd name="connsiteX6292" fmla="*/ 981573 w 1263758"/>
                        <a:gd name="connsiteY6292" fmla="*/ 1430729 h 2117064"/>
                        <a:gd name="connsiteX6293" fmla="*/ 979322 w 1263758"/>
                        <a:gd name="connsiteY6293" fmla="*/ 1426228 h 2117064"/>
                        <a:gd name="connsiteX6294" fmla="*/ 977972 w 1263758"/>
                        <a:gd name="connsiteY6294" fmla="*/ 1421728 h 2117064"/>
                        <a:gd name="connsiteX6295" fmla="*/ 977972 w 1263758"/>
                        <a:gd name="connsiteY6295" fmla="*/ 1419928 h 2117064"/>
                        <a:gd name="connsiteX6296" fmla="*/ 978422 w 1263758"/>
                        <a:gd name="connsiteY6296" fmla="*/ 1418128 h 2117064"/>
                        <a:gd name="connsiteX6297" fmla="*/ 978872 w 1263758"/>
                        <a:gd name="connsiteY6297" fmla="*/ 1417227 h 2117064"/>
                        <a:gd name="connsiteX6298" fmla="*/ 985623 w 1263758"/>
                        <a:gd name="connsiteY6298" fmla="*/ 1415877 h 2117064"/>
                        <a:gd name="connsiteX6299" fmla="*/ 991474 w 1263758"/>
                        <a:gd name="connsiteY6299" fmla="*/ 1417677 h 2117064"/>
                        <a:gd name="connsiteX6300" fmla="*/ 996425 w 1263758"/>
                        <a:gd name="connsiteY6300" fmla="*/ 1419928 h 2117064"/>
                        <a:gd name="connsiteX6301" fmla="*/ 1002725 w 1263758"/>
                        <a:gd name="connsiteY6301" fmla="*/ 1420378 h 2117064"/>
                        <a:gd name="connsiteX6302" fmla="*/ 1004525 w 1263758"/>
                        <a:gd name="connsiteY6302" fmla="*/ 1421278 h 2117064"/>
                        <a:gd name="connsiteX6303" fmla="*/ 1005426 w 1263758"/>
                        <a:gd name="connsiteY6303" fmla="*/ 1421728 h 2117064"/>
                        <a:gd name="connsiteX6304" fmla="*/ 1005876 w 1263758"/>
                        <a:gd name="connsiteY6304" fmla="*/ 1422628 h 2117064"/>
                        <a:gd name="connsiteX6305" fmla="*/ 1006776 w 1263758"/>
                        <a:gd name="connsiteY6305" fmla="*/ 1427579 h 2117064"/>
                        <a:gd name="connsiteX6306" fmla="*/ 1006776 w 1263758"/>
                        <a:gd name="connsiteY6306" fmla="*/ 1430279 h 2117064"/>
                        <a:gd name="connsiteX6307" fmla="*/ 1006776 w 1263758"/>
                        <a:gd name="connsiteY6307" fmla="*/ 1432529 h 2117064"/>
                        <a:gd name="connsiteX6308" fmla="*/ 1001825 w 1263758"/>
                        <a:gd name="connsiteY6308" fmla="*/ 1433429 h 2117064"/>
                        <a:gd name="connsiteX6309" fmla="*/ 247981 w 1263758"/>
                        <a:gd name="connsiteY6309" fmla="*/ 1422178 h 2117064"/>
                        <a:gd name="connsiteX6310" fmla="*/ 250231 w 1263758"/>
                        <a:gd name="connsiteY6310" fmla="*/ 1422628 h 2117064"/>
                        <a:gd name="connsiteX6311" fmla="*/ 252032 w 1263758"/>
                        <a:gd name="connsiteY6311" fmla="*/ 1422178 h 2117064"/>
                        <a:gd name="connsiteX6312" fmla="*/ 253382 w 1263758"/>
                        <a:gd name="connsiteY6312" fmla="*/ 1424428 h 2117064"/>
                        <a:gd name="connsiteX6313" fmla="*/ 253832 w 1263758"/>
                        <a:gd name="connsiteY6313" fmla="*/ 1426679 h 2117064"/>
                        <a:gd name="connsiteX6314" fmla="*/ 253832 w 1263758"/>
                        <a:gd name="connsiteY6314" fmla="*/ 1427579 h 2117064"/>
                        <a:gd name="connsiteX6315" fmla="*/ 253382 w 1263758"/>
                        <a:gd name="connsiteY6315" fmla="*/ 1428029 h 2117064"/>
                        <a:gd name="connsiteX6316" fmla="*/ 249781 w 1263758"/>
                        <a:gd name="connsiteY6316" fmla="*/ 1425328 h 2117064"/>
                        <a:gd name="connsiteX6317" fmla="*/ 248431 w 1263758"/>
                        <a:gd name="connsiteY6317" fmla="*/ 1423978 h 2117064"/>
                        <a:gd name="connsiteX6318" fmla="*/ 247981 w 1263758"/>
                        <a:gd name="connsiteY6318" fmla="*/ 1422178 h 2117064"/>
                        <a:gd name="connsiteX6319" fmla="*/ 247981 w 1263758"/>
                        <a:gd name="connsiteY6319" fmla="*/ 1422178 h 2117064"/>
                        <a:gd name="connsiteX6320" fmla="*/ 274984 w 1263758"/>
                        <a:gd name="connsiteY6320" fmla="*/ 1454582 h 2117064"/>
                        <a:gd name="connsiteX6321" fmla="*/ 274084 w 1263758"/>
                        <a:gd name="connsiteY6321" fmla="*/ 1459083 h 2117064"/>
                        <a:gd name="connsiteX6322" fmla="*/ 273634 w 1263758"/>
                        <a:gd name="connsiteY6322" fmla="*/ 1458633 h 2117064"/>
                        <a:gd name="connsiteX6323" fmla="*/ 272734 w 1263758"/>
                        <a:gd name="connsiteY6323" fmla="*/ 1456382 h 2117064"/>
                        <a:gd name="connsiteX6324" fmla="*/ 271384 w 1263758"/>
                        <a:gd name="connsiteY6324" fmla="*/ 1455482 h 2117064"/>
                        <a:gd name="connsiteX6325" fmla="*/ 269584 w 1263758"/>
                        <a:gd name="connsiteY6325" fmla="*/ 1453232 h 2117064"/>
                        <a:gd name="connsiteX6326" fmla="*/ 269584 w 1263758"/>
                        <a:gd name="connsiteY6326" fmla="*/ 1447831 h 2117064"/>
                        <a:gd name="connsiteX6327" fmla="*/ 270034 w 1263758"/>
                        <a:gd name="connsiteY6327" fmla="*/ 1445581 h 2117064"/>
                        <a:gd name="connsiteX6328" fmla="*/ 270034 w 1263758"/>
                        <a:gd name="connsiteY6328" fmla="*/ 1442431 h 2117064"/>
                        <a:gd name="connsiteX6329" fmla="*/ 271834 w 1263758"/>
                        <a:gd name="connsiteY6329" fmla="*/ 1440630 h 2117064"/>
                        <a:gd name="connsiteX6330" fmla="*/ 273184 w 1263758"/>
                        <a:gd name="connsiteY6330" fmla="*/ 1442881 h 2117064"/>
                        <a:gd name="connsiteX6331" fmla="*/ 273634 w 1263758"/>
                        <a:gd name="connsiteY6331" fmla="*/ 1446931 h 2117064"/>
                        <a:gd name="connsiteX6332" fmla="*/ 273184 w 1263758"/>
                        <a:gd name="connsiteY6332" fmla="*/ 1448731 h 2117064"/>
                        <a:gd name="connsiteX6333" fmla="*/ 274534 w 1263758"/>
                        <a:gd name="connsiteY6333" fmla="*/ 1450982 h 2117064"/>
                        <a:gd name="connsiteX6334" fmla="*/ 274984 w 1263758"/>
                        <a:gd name="connsiteY6334" fmla="*/ 1451432 h 2117064"/>
                        <a:gd name="connsiteX6335" fmla="*/ 275434 w 1263758"/>
                        <a:gd name="connsiteY6335" fmla="*/ 1453232 h 2117064"/>
                        <a:gd name="connsiteX6336" fmla="*/ 274984 w 1263758"/>
                        <a:gd name="connsiteY6336" fmla="*/ 1454582 h 2117064"/>
                        <a:gd name="connsiteX6337" fmla="*/ 1233604 w 1263758"/>
                        <a:gd name="connsiteY6337" fmla="*/ 1473484 h 2117064"/>
                        <a:gd name="connsiteX6338" fmla="*/ 1230904 w 1263758"/>
                        <a:gd name="connsiteY6338" fmla="*/ 1474835 h 2117064"/>
                        <a:gd name="connsiteX6339" fmla="*/ 1229554 w 1263758"/>
                        <a:gd name="connsiteY6339" fmla="*/ 1473034 h 2117064"/>
                        <a:gd name="connsiteX6340" fmla="*/ 1230454 w 1263758"/>
                        <a:gd name="connsiteY6340" fmla="*/ 1472584 h 2117064"/>
                        <a:gd name="connsiteX6341" fmla="*/ 1231804 w 1263758"/>
                        <a:gd name="connsiteY6341" fmla="*/ 1470334 h 2117064"/>
                        <a:gd name="connsiteX6342" fmla="*/ 1233604 w 1263758"/>
                        <a:gd name="connsiteY6342" fmla="*/ 1468534 h 2117064"/>
                        <a:gd name="connsiteX6343" fmla="*/ 1234504 w 1263758"/>
                        <a:gd name="connsiteY6343" fmla="*/ 1467184 h 2117064"/>
                        <a:gd name="connsiteX6344" fmla="*/ 1237655 w 1263758"/>
                        <a:gd name="connsiteY6344" fmla="*/ 1466283 h 2117064"/>
                        <a:gd name="connsiteX6345" fmla="*/ 1238555 w 1263758"/>
                        <a:gd name="connsiteY6345" fmla="*/ 1466283 h 2117064"/>
                        <a:gd name="connsiteX6346" fmla="*/ 1239005 w 1263758"/>
                        <a:gd name="connsiteY6346" fmla="*/ 1466734 h 2117064"/>
                        <a:gd name="connsiteX6347" fmla="*/ 1237205 w 1263758"/>
                        <a:gd name="connsiteY6347" fmla="*/ 1468984 h 2117064"/>
                        <a:gd name="connsiteX6348" fmla="*/ 1233604 w 1263758"/>
                        <a:gd name="connsiteY6348" fmla="*/ 1473484 h 2117064"/>
                        <a:gd name="connsiteX6349" fmla="*/ 270934 w 1263758"/>
                        <a:gd name="connsiteY6349" fmla="*/ 1476185 h 2117064"/>
                        <a:gd name="connsiteX6350" fmla="*/ 273634 w 1263758"/>
                        <a:gd name="connsiteY6350" fmla="*/ 1476635 h 2117064"/>
                        <a:gd name="connsiteX6351" fmla="*/ 277235 w 1263758"/>
                        <a:gd name="connsiteY6351" fmla="*/ 1476635 h 2117064"/>
                        <a:gd name="connsiteX6352" fmla="*/ 276785 w 1263758"/>
                        <a:gd name="connsiteY6352" fmla="*/ 1480685 h 2117064"/>
                        <a:gd name="connsiteX6353" fmla="*/ 275434 w 1263758"/>
                        <a:gd name="connsiteY6353" fmla="*/ 1483386 h 2117064"/>
                        <a:gd name="connsiteX6354" fmla="*/ 274534 w 1263758"/>
                        <a:gd name="connsiteY6354" fmla="*/ 1484286 h 2117064"/>
                        <a:gd name="connsiteX6355" fmla="*/ 274084 w 1263758"/>
                        <a:gd name="connsiteY6355" fmla="*/ 1482936 h 2117064"/>
                        <a:gd name="connsiteX6356" fmla="*/ 272284 w 1263758"/>
                        <a:gd name="connsiteY6356" fmla="*/ 1479785 h 2117064"/>
                        <a:gd name="connsiteX6357" fmla="*/ 270934 w 1263758"/>
                        <a:gd name="connsiteY6357" fmla="*/ 1476185 h 2117064"/>
                        <a:gd name="connsiteX6358" fmla="*/ 800200 w 1263758"/>
                        <a:gd name="connsiteY6358" fmla="*/ 1514890 h 2117064"/>
                        <a:gd name="connsiteX6359" fmla="*/ 802450 w 1263758"/>
                        <a:gd name="connsiteY6359" fmla="*/ 1515340 h 2117064"/>
                        <a:gd name="connsiteX6360" fmla="*/ 804250 w 1263758"/>
                        <a:gd name="connsiteY6360" fmla="*/ 1515340 h 2117064"/>
                        <a:gd name="connsiteX6361" fmla="*/ 804701 w 1263758"/>
                        <a:gd name="connsiteY6361" fmla="*/ 1516240 h 2117064"/>
                        <a:gd name="connsiteX6362" fmla="*/ 802900 w 1263758"/>
                        <a:gd name="connsiteY6362" fmla="*/ 1518940 h 2117064"/>
                        <a:gd name="connsiteX6363" fmla="*/ 802000 w 1263758"/>
                        <a:gd name="connsiteY6363" fmla="*/ 1519390 h 2117064"/>
                        <a:gd name="connsiteX6364" fmla="*/ 800200 w 1263758"/>
                        <a:gd name="connsiteY6364" fmla="*/ 1517590 h 2117064"/>
                        <a:gd name="connsiteX6365" fmla="*/ 798850 w 1263758"/>
                        <a:gd name="connsiteY6365" fmla="*/ 1515340 h 2117064"/>
                        <a:gd name="connsiteX6366" fmla="*/ 798400 w 1263758"/>
                        <a:gd name="connsiteY6366" fmla="*/ 1513989 h 2117064"/>
                        <a:gd name="connsiteX6367" fmla="*/ 798400 w 1263758"/>
                        <a:gd name="connsiteY6367" fmla="*/ 1512639 h 2117064"/>
                        <a:gd name="connsiteX6368" fmla="*/ 798850 w 1263758"/>
                        <a:gd name="connsiteY6368" fmla="*/ 1512189 h 2117064"/>
                        <a:gd name="connsiteX6369" fmla="*/ 800200 w 1263758"/>
                        <a:gd name="connsiteY6369" fmla="*/ 1514890 h 2117064"/>
                        <a:gd name="connsiteX6370" fmla="*/ 787598 w 1263758"/>
                        <a:gd name="connsiteY6370" fmla="*/ 1540543 h 2117064"/>
                        <a:gd name="connsiteX6371" fmla="*/ 790299 w 1263758"/>
                        <a:gd name="connsiteY6371" fmla="*/ 1542793 h 2117064"/>
                        <a:gd name="connsiteX6372" fmla="*/ 792999 w 1263758"/>
                        <a:gd name="connsiteY6372" fmla="*/ 1544143 h 2117064"/>
                        <a:gd name="connsiteX6373" fmla="*/ 797500 w 1263758"/>
                        <a:gd name="connsiteY6373" fmla="*/ 1544593 h 2117064"/>
                        <a:gd name="connsiteX6374" fmla="*/ 797950 w 1263758"/>
                        <a:gd name="connsiteY6374" fmla="*/ 1545043 h 2117064"/>
                        <a:gd name="connsiteX6375" fmla="*/ 797950 w 1263758"/>
                        <a:gd name="connsiteY6375" fmla="*/ 1545944 h 2117064"/>
                        <a:gd name="connsiteX6376" fmla="*/ 797500 w 1263758"/>
                        <a:gd name="connsiteY6376" fmla="*/ 1547294 h 2117064"/>
                        <a:gd name="connsiteX6377" fmla="*/ 796150 w 1263758"/>
                        <a:gd name="connsiteY6377" fmla="*/ 1549094 h 2117064"/>
                        <a:gd name="connsiteX6378" fmla="*/ 795249 w 1263758"/>
                        <a:gd name="connsiteY6378" fmla="*/ 1549094 h 2117064"/>
                        <a:gd name="connsiteX6379" fmla="*/ 792999 w 1263758"/>
                        <a:gd name="connsiteY6379" fmla="*/ 1547744 h 2117064"/>
                        <a:gd name="connsiteX6380" fmla="*/ 792099 w 1263758"/>
                        <a:gd name="connsiteY6380" fmla="*/ 1546844 h 2117064"/>
                        <a:gd name="connsiteX6381" fmla="*/ 791199 w 1263758"/>
                        <a:gd name="connsiteY6381" fmla="*/ 1545493 h 2117064"/>
                        <a:gd name="connsiteX6382" fmla="*/ 790749 w 1263758"/>
                        <a:gd name="connsiteY6382" fmla="*/ 1545493 h 2117064"/>
                        <a:gd name="connsiteX6383" fmla="*/ 790299 w 1263758"/>
                        <a:gd name="connsiteY6383" fmla="*/ 1545944 h 2117064"/>
                        <a:gd name="connsiteX6384" fmla="*/ 790299 w 1263758"/>
                        <a:gd name="connsiteY6384" fmla="*/ 1546394 h 2117064"/>
                        <a:gd name="connsiteX6385" fmla="*/ 790749 w 1263758"/>
                        <a:gd name="connsiteY6385" fmla="*/ 1547294 h 2117064"/>
                        <a:gd name="connsiteX6386" fmla="*/ 790299 w 1263758"/>
                        <a:gd name="connsiteY6386" fmla="*/ 1547744 h 2117064"/>
                        <a:gd name="connsiteX6387" fmla="*/ 787148 w 1263758"/>
                        <a:gd name="connsiteY6387" fmla="*/ 1547294 h 2117064"/>
                        <a:gd name="connsiteX6388" fmla="*/ 786698 w 1263758"/>
                        <a:gd name="connsiteY6388" fmla="*/ 1546844 h 2117064"/>
                        <a:gd name="connsiteX6389" fmla="*/ 787148 w 1263758"/>
                        <a:gd name="connsiteY6389" fmla="*/ 1545043 h 2117064"/>
                        <a:gd name="connsiteX6390" fmla="*/ 789399 w 1263758"/>
                        <a:gd name="connsiteY6390" fmla="*/ 1542793 h 2117064"/>
                        <a:gd name="connsiteX6391" fmla="*/ 787598 w 1263758"/>
                        <a:gd name="connsiteY6391" fmla="*/ 1541893 h 2117064"/>
                        <a:gd name="connsiteX6392" fmla="*/ 787148 w 1263758"/>
                        <a:gd name="connsiteY6392" fmla="*/ 1540993 h 2117064"/>
                        <a:gd name="connsiteX6393" fmla="*/ 784448 w 1263758"/>
                        <a:gd name="connsiteY6393" fmla="*/ 1542343 h 2117064"/>
                        <a:gd name="connsiteX6394" fmla="*/ 783098 w 1263758"/>
                        <a:gd name="connsiteY6394" fmla="*/ 1542793 h 2117064"/>
                        <a:gd name="connsiteX6395" fmla="*/ 780848 w 1263758"/>
                        <a:gd name="connsiteY6395" fmla="*/ 1541893 h 2117064"/>
                        <a:gd name="connsiteX6396" fmla="*/ 780398 w 1263758"/>
                        <a:gd name="connsiteY6396" fmla="*/ 1536492 h 2117064"/>
                        <a:gd name="connsiteX6397" fmla="*/ 779947 w 1263758"/>
                        <a:gd name="connsiteY6397" fmla="*/ 1534692 h 2117064"/>
                        <a:gd name="connsiteX6398" fmla="*/ 779047 w 1263758"/>
                        <a:gd name="connsiteY6398" fmla="*/ 1533342 h 2117064"/>
                        <a:gd name="connsiteX6399" fmla="*/ 778597 w 1263758"/>
                        <a:gd name="connsiteY6399" fmla="*/ 1531992 h 2117064"/>
                        <a:gd name="connsiteX6400" fmla="*/ 777697 w 1263758"/>
                        <a:gd name="connsiteY6400" fmla="*/ 1531092 h 2117064"/>
                        <a:gd name="connsiteX6401" fmla="*/ 775447 w 1263758"/>
                        <a:gd name="connsiteY6401" fmla="*/ 1530192 h 2117064"/>
                        <a:gd name="connsiteX6402" fmla="*/ 773647 w 1263758"/>
                        <a:gd name="connsiteY6402" fmla="*/ 1527491 h 2117064"/>
                        <a:gd name="connsiteX6403" fmla="*/ 773197 w 1263758"/>
                        <a:gd name="connsiteY6403" fmla="*/ 1526141 h 2117064"/>
                        <a:gd name="connsiteX6404" fmla="*/ 773647 w 1263758"/>
                        <a:gd name="connsiteY6404" fmla="*/ 1525241 h 2117064"/>
                        <a:gd name="connsiteX6405" fmla="*/ 774547 w 1263758"/>
                        <a:gd name="connsiteY6405" fmla="*/ 1523891 h 2117064"/>
                        <a:gd name="connsiteX6406" fmla="*/ 780398 w 1263758"/>
                        <a:gd name="connsiteY6406" fmla="*/ 1526591 h 2117064"/>
                        <a:gd name="connsiteX6407" fmla="*/ 783998 w 1263758"/>
                        <a:gd name="connsiteY6407" fmla="*/ 1529291 h 2117064"/>
                        <a:gd name="connsiteX6408" fmla="*/ 787598 w 1263758"/>
                        <a:gd name="connsiteY6408" fmla="*/ 1532442 h 2117064"/>
                        <a:gd name="connsiteX6409" fmla="*/ 789399 w 1263758"/>
                        <a:gd name="connsiteY6409" fmla="*/ 1534692 h 2117064"/>
                        <a:gd name="connsiteX6410" fmla="*/ 789399 w 1263758"/>
                        <a:gd name="connsiteY6410" fmla="*/ 1536042 h 2117064"/>
                        <a:gd name="connsiteX6411" fmla="*/ 788949 w 1263758"/>
                        <a:gd name="connsiteY6411" fmla="*/ 1537392 h 2117064"/>
                        <a:gd name="connsiteX6412" fmla="*/ 788049 w 1263758"/>
                        <a:gd name="connsiteY6412" fmla="*/ 1538743 h 2117064"/>
                        <a:gd name="connsiteX6413" fmla="*/ 787598 w 1263758"/>
                        <a:gd name="connsiteY6413" fmla="*/ 1540543 h 2117064"/>
                        <a:gd name="connsiteX6414" fmla="*/ 767346 w 1263758"/>
                        <a:gd name="connsiteY6414" fmla="*/ 1551794 h 2117064"/>
                        <a:gd name="connsiteX6415" fmla="*/ 766446 w 1263758"/>
                        <a:gd name="connsiteY6415" fmla="*/ 1552244 h 2117064"/>
                        <a:gd name="connsiteX6416" fmla="*/ 765096 w 1263758"/>
                        <a:gd name="connsiteY6416" fmla="*/ 1551794 h 2117064"/>
                        <a:gd name="connsiteX6417" fmla="*/ 764195 w 1263758"/>
                        <a:gd name="connsiteY6417" fmla="*/ 1550444 h 2117064"/>
                        <a:gd name="connsiteX6418" fmla="*/ 763295 w 1263758"/>
                        <a:gd name="connsiteY6418" fmla="*/ 1547744 h 2117064"/>
                        <a:gd name="connsiteX6419" fmla="*/ 761945 w 1263758"/>
                        <a:gd name="connsiteY6419" fmla="*/ 1545944 h 2117064"/>
                        <a:gd name="connsiteX6420" fmla="*/ 758795 w 1263758"/>
                        <a:gd name="connsiteY6420" fmla="*/ 1543243 h 2117064"/>
                        <a:gd name="connsiteX6421" fmla="*/ 758345 w 1263758"/>
                        <a:gd name="connsiteY6421" fmla="*/ 1542343 h 2117064"/>
                        <a:gd name="connsiteX6422" fmla="*/ 757445 w 1263758"/>
                        <a:gd name="connsiteY6422" fmla="*/ 1539193 h 2117064"/>
                        <a:gd name="connsiteX6423" fmla="*/ 757445 w 1263758"/>
                        <a:gd name="connsiteY6423" fmla="*/ 1536042 h 2117064"/>
                        <a:gd name="connsiteX6424" fmla="*/ 756995 w 1263758"/>
                        <a:gd name="connsiteY6424" fmla="*/ 1532892 h 2117064"/>
                        <a:gd name="connsiteX6425" fmla="*/ 756995 w 1263758"/>
                        <a:gd name="connsiteY6425" fmla="*/ 1531542 h 2117064"/>
                        <a:gd name="connsiteX6426" fmla="*/ 757445 w 1263758"/>
                        <a:gd name="connsiteY6426" fmla="*/ 1529291 h 2117064"/>
                        <a:gd name="connsiteX6427" fmla="*/ 760145 w 1263758"/>
                        <a:gd name="connsiteY6427" fmla="*/ 1528841 h 2117064"/>
                        <a:gd name="connsiteX6428" fmla="*/ 761945 w 1263758"/>
                        <a:gd name="connsiteY6428" fmla="*/ 1529741 h 2117064"/>
                        <a:gd name="connsiteX6429" fmla="*/ 762395 w 1263758"/>
                        <a:gd name="connsiteY6429" fmla="*/ 1530192 h 2117064"/>
                        <a:gd name="connsiteX6430" fmla="*/ 762845 w 1263758"/>
                        <a:gd name="connsiteY6430" fmla="*/ 1531542 h 2117064"/>
                        <a:gd name="connsiteX6431" fmla="*/ 763295 w 1263758"/>
                        <a:gd name="connsiteY6431" fmla="*/ 1533342 h 2117064"/>
                        <a:gd name="connsiteX6432" fmla="*/ 765546 w 1263758"/>
                        <a:gd name="connsiteY6432" fmla="*/ 1537843 h 2117064"/>
                        <a:gd name="connsiteX6433" fmla="*/ 766896 w 1263758"/>
                        <a:gd name="connsiteY6433" fmla="*/ 1541443 h 2117064"/>
                        <a:gd name="connsiteX6434" fmla="*/ 768696 w 1263758"/>
                        <a:gd name="connsiteY6434" fmla="*/ 1548644 h 2117064"/>
                        <a:gd name="connsiteX6435" fmla="*/ 768696 w 1263758"/>
                        <a:gd name="connsiteY6435" fmla="*/ 1549994 h 2117064"/>
                        <a:gd name="connsiteX6436" fmla="*/ 768246 w 1263758"/>
                        <a:gd name="connsiteY6436" fmla="*/ 1551344 h 2117064"/>
                        <a:gd name="connsiteX6437" fmla="*/ 767346 w 1263758"/>
                        <a:gd name="connsiteY6437" fmla="*/ 1551794 h 2117064"/>
                        <a:gd name="connsiteX6438" fmla="*/ 762395 w 1263758"/>
                        <a:gd name="connsiteY6438" fmla="*/ 1567546 h 2117064"/>
                        <a:gd name="connsiteX6439" fmla="*/ 763295 w 1263758"/>
                        <a:gd name="connsiteY6439" fmla="*/ 1567996 h 2117064"/>
                        <a:gd name="connsiteX6440" fmla="*/ 764195 w 1263758"/>
                        <a:gd name="connsiteY6440" fmla="*/ 1567546 h 2117064"/>
                        <a:gd name="connsiteX6441" fmla="*/ 765546 w 1263758"/>
                        <a:gd name="connsiteY6441" fmla="*/ 1564846 h 2117064"/>
                        <a:gd name="connsiteX6442" fmla="*/ 768696 w 1263758"/>
                        <a:gd name="connsiteY6442" fmla="*/ 1557645 h 2117064"/>
                        <a:gd name="connsiteX6443" fmla="*/ 769596 w 1263758"/>
                        <a:gd name="connsiteY6443" fmla="*/ 1556745 h 2117064"/>
                        <a:gd name="connsiteX6444" fmla="*/ 770946 w 1263758"/>
                        <a:gd name="connsiteY6444" fmla="*/ 1556745 h 2117064"/>
                        <a:gd name="connsiteX6445" fmla="*/ 775897 w 1263758"/>
                        <a:gd name="connsiteY6445" fmla="*/ 1561245 h 2117064"/>
                        <a:gd name="connsiteX6446" fmla="*/ 777697 w 1263758"/>
                        <a:gd name="connsiteY6446" fmla="*/ 1563946 h 2117064"/>
                        <a:gd name="connsiteX6447" fmla="*/ 778597 w 1263758"/>
                        <a:gd name="connsiteY6447" fmla="*/ 1567546 h 2117064"/>
                        <a:gd name="connsiteX6448" fmla="*/ 779497 w 1263758"/>
                        <a:gd name="connsiteY6448" fmla="*/ 1568896 h 2117064"/>
                        <a:gd name="connsiteX6449" fmla="*/ 783548 w 1263758"/>
                        <a:gd name="connsiteY6449" fmla="*/ 1570697 h 2117064"/>
                        <a:gd name="connsiteX6450" fmla="*/ 787148 w 1263758"/>
                        <a:gd name="connsiteY6450" fmla="*/ 1571147 h 2117064"/>
                        <a:gd name="connsiteX6451" fmla="*/ 792099 w 1263758"/>
                        <a:gd name="connsiteY6451" fmla="*/ 1572947 h 2117064"/>
                        <a:gd name="connsiteX6452" fmla="*/ 793899 w 1263758"/>
                        <a:gd name="connsiteY6452" fmla="*/ 1574297 h 2117064"/>
                        <a:gd name="connsiteX6453" fmla="*/ 797950 w 1263758"/>
                        <a:gd name="connsiteY6453" fmla="*/ 1581048 h 2117064"/>
                        <a:gd name="connsiteX6454" fmla="*/ 798400 w 1263758"/>
                        <a:gd name="connsiteY6454" fmla="*/ 1581498 h 2117064"/>
                        <a:gd name="connsiteX6455" fmla="*/ 802900 w 1263758"/>
                        <a:gd name="connsiteY6455" fmla="*/ 1584198 h 2117064"/>
                        <a:gd name="connsiteX6456" fmla="*/ 809651 w 1263758"/>
                        <a:gd name="connsiteY6456" fmla="*/ 1590499 h 2117064"/>
                        <a:gd name="connsiteX6457" fmla="*/ 811451 w 1263758"/>
                        <a:gd name="connsiteY6457" fmla="*/ 1591399 h 2117064"/>
                        <a:gd name="connsiteX6458" fmla="*/ 818202 w 1263758"/>
                        <a:gd name="connsiteY6458" fmla="*/ 1593650 h 2117064"/>
                        <a:gd name="connsiteX6459" fmla="*/ 820453 w 1263758"/>
                        <a:gd name="connsiteY6459" fmla="*/ 1595000 h 2117064"/>
                        <a:gd name="connsiteX6460" fmla="*/ 822703 w 1263758"/>
                        <a:gd name="connsiteY6460" fmla="*/ 1597250 h 2117064"/>
                        <a:gd name="connsiteX6461" fmla="*/ 825403 w 1263758"/>
                        <a:gd name="connsiteY6461" fmla="*/ 1601300 h 2117064"/>
                        <a:gd name="connsiteX6462" fmla="*/ 828554 w 1263758"/>
                        <a:gd name="connsiteY6462" fmla="*/ 1608051 h 2117064"/>
                        <a:gd name="connsiteX6463" fmla="*/ 830804 w 1263758"/>
                        <a:gd name="connsiteY6463" fmla="*/ 1618403 h 2117064"/>
                        <a:gd name="connsiteX6464" fmla="*/ 830804 w 1263758"/>
                        <a:gd name="connsiteY6464" fmla="*/ 1620653 h 2117064"/>
                        <a:gd name="connsiteX6465" fmla="*/ 830354 w 1263758"/>
                        <a:gd name="connsiteY6465" fmla="*/ 1622003 h 2117064"/>
                        <a:gd name="connsiteX6466" fmla="*/ 829454 w 1263758"/>
                        <a:gd name="connsiteY6466" fmla="*/ 1623353 h 2117064"/>
                        <a:gd name="connsiteX6467" fmla="*/ 825403 w 1263758"/>
                        <a:gd name="connsiteY6467" fmla="*/ 1627404 h 2117064"/>
                        <a:gd name="connsiteX6468" fmla="*/ 825853 w 1263758"/>
                        <a:gd name="connsiteY6468" fmla="*/ 1628304 h 2117064"/>
                        <a:gd name="connsiteX6469" fmla="*/ 829454 w 1263758"/>
                        <a:gd name="connsiteY6469" fmla="*/ 1627854 h 2117064"/>
                        <a:gd name="connsiteX6470" fmla="*/ 837555 w 1263758"/>
                        <a:gd name="connsiteY6470" fmla="*/ 1625153 h 2117064"/>
                        <a:gd name="connsiteX6471" fmla="*/ 842505 w 1263758"/>
                        <a:gd name="connsiteY6471" fmla="*/ 1626954 h 2117064"/>
                        <a:gd name="connsiteX6472" fmla="*/ 844306 w 1263758"/>
                        <a:gd name="connsiteY6472" fmla="*/ 1627404 h 2117064"/>
                        <a:gd name="connsiteX6473" fmla="*/ 844756 w 1263758"/>
                        <a:gd name="connsiteY6473" fmla="*/ 1627404 h 2117064"/>
                        <a:gd name="connsiteX6474" fmla="*/ 846556 w 1263758"/>
                        <a:gd name="connsiteY6474" fmla="*/ 1624253 h 2117064"/>
                        <a:gd name="connsiteX6475" fmla="*/ 848356 w 1263758"/>
                        <a:gd name="connsiteY6475" fmla="*/ 1624703 h 2117064"/>
                        <a:gd name="connsiteX6476" fmla="*/ 851056 w 1263758"/>
                        <a:gd name="connsiteY6476" fmla="*/ 1627854 h 2117064"/>
                        <a:gd name="connsiteX6477" fmla="*/ 852857 w 1263758"/>
                        <a:gd name="connsiteY6477" fmla="*/ 1630554 h 2117064"/>
                        <a:gd name="connsiteX6478" fmla="*/ 853757 w 1263758"/>
                        <a:gd name="connsiteY6478" fmla="*/ 1632354 h 2117064"/>
                        <a:gd name="connsiteX6479" fmla="*/ 853757 w 1263758"/>
                        <a:gd name="connsiteY6479" fmla="*/ 1633254 h 2117064"/>
                        <a:gd name="connsiteX6480" fmla="*/ 851956 w 1263758"/>
                        <a:gd name="connsiteY6480" fmla="*/ 1633704 h 2117064"/>
                        <a:gd name="connsiteX6481" fmla="*/ 856457 w 1263758"/>
                        <a:gd name="connsiteY6481" fmla="*/ 1635505 h 2117064"/>
                        <a:gd name="connsiteX6482" fmla="*/ 860507 w 1263758"/>
                        <a:gd name="connsiteY6482" fmla="*/ 1638655 h 2117064"/>
                        <a:gd name="connsiteX6483" fmla="*/ 859607 w 1263758"/>
                        <a:gd name="connsiteY6483" fmla="*/ 1640455 h 2117064"/>
                        <a:gd name="connsiteX6484" fmla="*/ 855107 w 1263758"/>
                        <a:gd name="connsiteY6484" fmla="*/ 1644506 h 2117064"/>
                        <a:gd name="connsiteX6485" fmla="*/ 850606 w 1263758"/>
                        <a:gd name="connsiteY6485" fmla="*/ 1648106 h 2117064"/>
                        <a:gd name="connsiteX6486" fmla="*/ 845656 w 1263758"/>
                        <a:gd name="connsiteY6486" fmla="*/ 1653507 h 2117064"/>
                        <a:gd name="connsiteX6487" fmla="*/ 844306 w 1263758"/>
                        <a:gd name="connsiteY6487" fmla="*/ 1654407 h 2117064"/>
                        <a:gd name="connsiteX6488" fmla="*/ 843405 w 1263758"/>
                        <a:gd name="connsiteY6488" fmla="*/ 1654407 h 2117064"/>
                        <a:gd name="connsiteX6489" fmla="*/ 840705 w 1263758"/>
                        <a:gd name="connsiteY6489" fmla="*/ 1653507 h 2117064"/>
                        <a:gd name="connsiteX6490" fmla="*/ 836655 w 1263758"/>
                        <a:gd name="connsiteY6490" fmla="*/ 1650807 h 2117064"/>
                        <a:gd name="connsiteX6491" fmla="*/ 824053 w 1263758"/>
                        <a:gd name="connsiteY6491" fmla="*/ 1644956 h 2117064"/>
                        <a:gd name="connsiteX6492" fmla="*/ 820002 w 1263758"/>
                        <a:gd name="connsiteY6492" fmla="*/ 1643606 h 2117064"/>
                        <a:gd name="connsiteX6493" fmla="*/ 815052 w 1263758"/>
                        <a:gd name="connsiteY6493" fmla="*/ 1642706 h 2117064"/>
                        <a:gd name="connsiteX6494" fmla="*/ 814152 w 1263758"/>
                        <a:gd name="connsiteY6494" fmla="*/ 1641356 h 2117064"/>
                        <a:gd name="connsiteX6495" fmla="*/ 812802 w 1263758"/>
                        <a:gd name="connsiteY6495" fmla="*/ 1632354 h 2117064"/>
                        <a:gd name="connsiteX6496" fmla="*/ 810551 w 1263758"/>
                        <a:gd name="connsiteY6496" fmla="*/ 1630554 h 2117064"/>
                        <a:gd name="connsiteX6497" fmla="*/ 802900 w 1263758"/>
                        <a:gd name="connsiteY6497" fmla="*/ 1628754 h 2117064"/>
                        <a:gd name="connsiteX6498" fmla="*/ 800650 w 1263758"/>
                        <a:gd name="connsiteY6498" fmla="*/ 1627854 h 2117064"/>
                        <a:gd name="connsiteX6499" fmla="*/ 800650 w 1263758"/>
                        <a:gd name="connsiteY6499" fmla="*/ 1626053 h 2117064"/>
                        <a:gd name="connsiteX6500" fmla="*/ 801100 w 1263758"/>
                        <a:gd name="connsiteY6500" fmla="*/ 1622903 h 2117064"/>
                        <a:gd name="connsiteX6501" fmla="*/ 800200 w 1263758"/>
                        <a:gd name="connsiteY6501" fmla="*/ 1621553 h 2117064"/>
                        <a:gd name="connsiteX6502" fmla="*/ 797500 w 1263758"/>
                        <a:gd name="connsiteY6502" fmla="*/ 1621553 h 2117064"/>
                        <a:gd name="connsiteX6503" fmla="*/ 794799 w 1263758"/>
                        <a:gd name="connsiteY6503" fmla="*/ 1622003 h 2117064"/>
                        <a:gd name="connsiteX6504" fmla="*/ 790749 w 1263758"/>
                        <a:gd name="connsiteY6504" fmla="*/ 1624253 h 2117064"/>
                        <a:gd name="connsiteX6505" fmla="*/ 788949 w 1263758"/>
                        <a:gd name="connsiteY6505" fmla="*/ 1626053 h 2117064"/>
                        <a:gd name="connsiteX6506" fmla="*/ 788049 w 1263758"/>
                        <a:gd name="connsiteY6506" fmla="*/ 1628304 h 2117064"/>
                        <a:gd name="connsiteX6507" fmla="*/ 787598 w 1263758"/>
                        <a:gd name="connsiteY6507" fmla="*/ 1632804 h 2117064"/>
                        <a:gd name="connsiteX6508" fmla="*/ 787148 w 1263758"/>
                        <a:gd name="connsiteY6508" fmla="*/ 1635055 h 2117064"/>
                        <a:gd name="connsiteX6509" fmla="*/ 785798 w 1263758"/>
                        <a:gd name="connsiteY6509" fmla="*/ 1637755 h 2117064"/>
                        <a:gd name="connsiteX6510" fmla="*/ 779497 w 1263758"/>
                        <a:gd name="connsiteY6510" fmla="*/ 1644956 h 2117064"/>
                        <a:gd name="connsiteX6511" fmla="*/ 776797 w 1263758"/>
                        <a:gd name="connsiteY6511" fmla="*/ 1647206 h 2117064"/>
                        <a:gd name="connsiteX6512" fmla="*/ 774097 w 1263758"/>
                        <a:gd name="connsiteY6512" fmla="*/ 1647656 h 2117064"/>
                        <a:gd name="connsiteX6513" fmla="*/ 773197 w 1263758"/>
                        <a:gd name="connsiteY6513" fmla="*/ 1648556 h 2117064"/>
                        <a:gd name="connsiteX6514" fmla="*/ 771396 w 1263758"/>
                        <a:gd name="connsiteY6514" fmla="*/ 1651257 h 2117064"/>
                        <a:gd name="connsiteX6515" fmla="*/ 768696 w 1263758"/>
                        <a:gd name="connsiteY6515" fmla="*/ 1658008 h 2117064"/>
                        <a:gd name="connsiteX6516" fmla="*/ 767796 w 1263758"/>
                        <a:gd name="connsiteY6516" fmla="*/ 1659808 h 2117064"/>
                        <a:gd name="connsiteX6517" fmla="*/ 765996 w 1263758"/>
                        <a:gd name="connsiteY6517" fmla="*/ 1661608 h 2117064"/>
                        <a:gd name="connsiteX6518" fmla="*/ 762395 w 1263758"/>
                        <a:gd name="connsiteY6518" fmla="*/ 1664758 h 2117064"/>
                        <a:gd name="connsiteX6519" fmla="*/ 758795 w 1263758"/>
                        <a:gd name="connsiteY6519" fmla="*/ 1667009 h 2117064"/>
                        <a:gd name="connsiteX6520" fmla="*/ 752944 w 1263758"/>
                        <a:gd name="connsiteY6520" fmla="*/ 1669709 h 2117064"/>
                        <a:gd name="connsiteX6521" fmla="*/ 749794 w 1263758"/>
                        <a:gd name="connsiteY6521" fmla="*/ 1670609 h 2117064"/>
                        <a:gd name="connsiteX6522" fmla="*/ 747543 w 1263758"/>
                        <a:gd name="connsiteY6522" fmla="*/ 1669709 h 2117064"/>
                        <a:gd name="connsiteX6523" fmla="*/ 746193 w 1263758"/>
                        <a:gd name="connsiteY6523" fmla="*/ 1663408 h 2117064"/>
                        <a:gd name="connsiteX6524" fmla="*/ 743043 w 1263758"/>
                        <a:gd name="connsiteY6524" fmla="*/ 1644956 h 2117064"/>
                        <a:gd name="connsiteX6525" fmla="*/ 742593 w 1263758"/>
                        <a:gd name="connsiteY6525" fmla="*/ 1643606 h 2117064"/>
                        <a:gd name="connsiteX6526" fmla="*/ 742143 w 1263758"/>
                        <a:gd name="connsiteY6526" fmla="*/ 1642706 h 2117064"/>
                        <a:gd name="connsiteX6527" fmla="*/ 741243 w 1263758"/>
                        <a:gd name="connsiteY6527" fmla="*/ 1642256 h 2117064"/>
                        <a:gd name="connsiteX6528" fmla="*/ 730891 w 1263758"/>
                        <a:gd name="connsiteY6528" fmla="*/ 1644506 h 2117064"/>
                        <a:gd name="connsiteX6529" fmla="*/ 725041 w 1263758"/>
                        <a:gd name="connsiteY6529" fmla="*/ 1644056 h 2117064"/>
                        <a:gd name="connsiteX6530" fmla="*/ 719190 w 1263758"/>
                        <a:gd name="connsiteY6530" fmla="*/ 1648106 h 2117064"/>
                        <a:gd name="connsiteX6531" fmla="*/ 717840 w 1263758"/>
                        <a:gd name="connsiteY6531" fmla="*/ 1648556 h 2117064"/>
                        <a:gd name="connsiteX6532" fmla="*/ 715139 w 1263758"/>
                        <a:gd name="connsiteY6532" fmla="*/ 1648556 h 2117064"/>
                        <a:gd name="connsiteX6533" fmla="*/ 712889 w 1263758"/>
                        <a:gd name="connsiteY6533" fmla="*/ 1648106 h 2117064"/>
                        <a:gd name="connsiteX6534" fmla="*/ 712439 w 1263758"/>
                        <a:gd name="connsiteY6534" fmla="*/ 1647656 h 2117064"/>
                        <a:gd name="connsiteX6535" fmla="*/ 711989 w 1263758"/>
                        <a:gd name="connsiteY6535" fmla="*/ 1645856 h 2117064"/>
                        <a:gd name="connsiteX6536" fmla="*/ 711989 w 1263758"/>
                        <a:gd name="connsiteY6536" fmla="*/ 1644056 h 2117064"/>
                        <a:gd name="connsiteX6537" fmla="*/ 712889 w 1263758"/>
                        <a:gd name="connsiteY6537" fmla="*/ 1641805 h 2117064"/>
                        <a:gd name="connsiteX6538" fmla="*/ 715589 w 1263758"/>
                        <a:gd name="connsiteY6538" fmla="*/ 1636405 h 2117064"/>
                        <a:gd name="connsiteX6539" fmla="*/ 717840 w 1263758"/>
                        <a:gd name="connsiteY6539" fmla="*/ 1632804 h 2117064"/>
                        <a:gd name="connsiteX6540" fmla="*/ 718740 w 1263758"/>
                        <a:gd name="connsiteY6540" fmla="*/ 1631904 h 2117064"/>
                        <a:gd name="connsiteX6541" fmla="*/ 728641 w 1263758"/>
                        <a:gd name="connsiteY6541" fmla="*/ 1625604 h 2117064"/>
                        <a:gd name="connsiteX6542" fmla="*/ 730891 w 1263758"/>
                        <a:gd name="connsiteY6542" fmla="*/ 1623353 h 2117064"/>
                        <a:gd name="connsiteX6543" fmla="*/ 732241 w 1263758"/>
                        <a:gd name="connsiteY6543" fmla="*/ 1621103 h 2117064"/>
                        <a:gd name="connsiteX6544" fmla="*/ 732241 w 1263758"/>
                        <a:gd name="connsiteY6544" fmla="*/ 1618853 h 2117064"/>
                        <a:gd name="connsiteX6545" fmla="*/ 731792 w 1263758"/>
                        <a:gd name="connsiteY6545" fmla="*/ 1616152 h 2117064"/>
                        <a:gd name="connsiteX6546" fmla="*/ 729991 w 1263758"/>
                        <a:gd name="connsiteY6546" fmla="*/ 1609401 h 2117064"/>
                        <a:gd name="connsiteX6547" fmla="*/ 729541 w 1263758"/>
                        <a:gd name="connsiteY6547" fmla="*/ 1603101 h 2117064"/>
                        <a:gd name="connsiteX6548" fmla="*/ 729541 w 1263758"/>
                        <a:gd name="connsiteY6548" fmla="*/ 1599950 h 2117064"/>
                        <a:gd name="connsiteX6549" fmla="*/ 729991 w 1263758"/>
                        <a:gd name="connsiteY6549" fmla="*/ 1595000 h 2117064"/>
                        <a:gd name="connsiteX6550" fmla="*/ 732241 w 1263758"/>
                        <a:gd name="connsiteY6550" fmla="*/ 1583298 h 2117064"/>
                        <a:gd name="connsiteX6551" fmla="*/ 733142 w 1263758"/>
                        <a:gd name="connsiteY6551" fmla="*/ 1577447 h 2117064"/>
                        <a:gd name="connsiteX6552" fmla="*/ 734492 w 1263758"/>
                        <a:gd name="connsiteY6552" fmla="*/ 1556745 h 2117064"/>
                        <a:gd name="connsiteX6553" fmla="*/ 735392 w 1263758"/>
                        <a:gd name="connsiteY6553" fmla="*/ 1550894 h 2117064"/>
                        <a:gd name="connsiteX6554" fmla="*/ 736742 w 1263758"/>
                        <a:gd name="connsiteY6554" fmla="*/ 1545493 h 2117064"/>
                        <a:gd name="connsiteX6555" fmla="*/ 738092 w 1263758"/>
                        <a:gd name="connsiteY6555" fmla="*/ 1542343 h 2117064"/>
                        <a:gd name="connsiteX6556" fmla="*/ 741243 w 1263758"/>
                        <a:gd name="connsiteY6556" fmla="*/ 1535592 h 2117064"/>
                        <a:gd name="connsiteX6557" fmla="*/ 743493 w 1263758"/>
                        <a:gd name="connsiteY6557" fmla="*/ 1532892 h 2117064"/>
                        <a:gd name="connsiteX6558" fmla="*/ 746643 w 1263758"/>
                        <a:gd name="connsiteY6558" fmla="*/ 1531092 h 2117064"/>
                        <a:gd name="connsiteX6559" fmla="*/ 747093 w 1263758"/>
                        <a:gd name="connsiteY6559" fmla="*/ 1531092 h 2117064"/>
                        <a:gd name="connsiteX6560" fmla="*/ 747543 w 1263758"/>
                        <a:gd name="connsiteY6560" fmla="*/ 1531992 h 2117064"/>
                        <a:gd name="connsiteX6561" fmla="*/ 748894 w 1263758"/>
                        <a:gd name="connsiteY6561" fmla="*/ 1534692 h 2117064"/>
                        <a:gd name="connsiteX6562" fmla="*/ 752944 w 1263758"/>
                        <a:gd name="connsiteY6562" fmla="*/ 1537392 h 2117064"/>
                        <a:gd name="connsiteX6563" fmla="*/ 754294 w 1263758"/>
                        <a:gd name="connsiteY6563" fmla="*/ 1540093 h 2117064"/>
                        <a:gd name="connsiteX6564" fmla="*/ 755194 w 1263758"/>
                        <a:gd name="connsiteY6564" fmla="*/ 1542793 h 2117064"/>
                        <a:gd name="connsiteX6565" fmla="*/ 755644 w 1263758"/>
                        <a:gd name="connsiteY6565" fmla="*/ 1546394 h 2117064"/>
                        <a:gd name="connsiteX6566" fmla="*/ 755194 w 1263758"/>
                        <a:gd name="connsiteY6566" fmla="*/ 1547744 h 2117064"/>
                        <a:gd name="connsiteX6567" fmla="*/ 752944 w 1263758"/>
                        <a:gd name="connsiteY6567" fmla="*/ 1549994 h 2117064"/>
                        <a:gd name="connsiteX6568" fmla="*/ 752494 w 1263758"/>
                        <a:gd name="connsiteY6568" fmla="*/ 1550894 h 2117064"/>
                        <a:gd name="connsiteX6569" fmla="*/ 752494 w 1263758"/>
                        <a:gd name="connsiteY6569" fmla="*/ 1551794 h 2117064"/>
                        <a:gd name="connsiteX6570" fmla="*/ 756545 w 1263758"/>
                        <a:gd name="connsiteY6570" fmla="*/ 1555395 h 2117064"/>
                        <a:gd name="connsiteX6571" fmla="*/ 762395 w 1263758"/>
                        <a:gd name="connsiteY6571" fmla="*/ 1567546 h 2117064"/>
                        <a:gd name="connsiteX6572" fmla="*/ 916765 w 1263758"/>
                        <a:gd name="connsiteY6572" fmla="*/ 1630554 h 2117064"/>
                        <a:gd name="connsiteX6573" fmla="*/ 915414 w 1263758"/>
                        <a:gd name="connsiteY6573" fmla="*/ 1632804 h 2117064"/>
                        <a:gd name="connsiteX6574" fmla="*/ 910914 w 1263758"/>
                        <a:gd name="connsiteY6574" fmla="*/ 1631904 h 2117064"/>
                        <a:gd name="connsiteX6575" fmla="*/ 910464 w 1263758"/>
                        <a:gd name="connsiteY6575" fmla="*/ 1631004 h 2117064"/>
                        <a:gd name="connsiteX6576" fmla="*/ 910464 w 1263758"/>
                        <a:gd name="connsiteY6576" fmla="*/ 1630104 h 2117064"/>
                        <a:gd name="connsiteX6577" fmla="*/ 911364 w 1263758"/>
                        <a:gd name="connsiteY6577" fmla="*/ 1629204 h 2117064"/>
                        <a:gd name="connsiteX6578" fmla="*/ 915865 w 1263758"/>
                        <a:gd name="connsiteY6578" fmla="*/ 1628304 h 2117064"/>
                        <a:gd name="connsiteX6579" fmla="*/ 917665 w 1263758"/>
                        <a:gd name="connsiteY6579" fmla="*/ 1628304 h 2117064"/>
                        <a:gd name="connsiteX6580" fmla="*/ 918565 w 1263758"/>
                        <a:gd name="connsiteY6580" fmla="*/ 1628754 h 2117064"/>
                        <a:gd name="connsiteX6581" fmla="*/ 918565 w 1263758"/>
                        <a:gd name="connsiteY6581" fmla="*/ 1629204 h 2117064"/>
                        <a:gd name="connsiteX6582" fmla="*/ 916765 w 1263758"/>
                        <a:gd name="connsiteY6582" fmla="*/ 1630554 h 2117064"/>
                        <a:gd name="connsiteX6583" fmla="*/ 937017 w 1263758"/>
                        <a:gd name="connsiteY6583" fmla="*/ 1658908 h 2117064"/>
                        <a:gd name="connsiteX6584" fmla="*/ 934767 w 1263758"/>
                        <a:gd name="connsiteY6584" fmla="*/ 1659358 h 2117064"/>
                        <a:gd name="connsiteX6585" fmla="*/ 931616 w 1263758"/>
                        <a:gd name="connsiteY6585" fmla="*/ 1658458 h 2117064"/>
                        <a:gd name="connsiteX6586" fmla="*/ 928916 w 1263758"/>
                        <a:gd name="connsiteY6586" fmla="*/ 1656207 h 2117064"/>
                        <a:gd name="connsiteX6587" fmla="*/ 922165 w 1263758"/>
                        <a:gd name="connsiteY6587" fmla="*/ 1649456 h 2117064"/>
                        <a:gd name="connsiteX6588" fmla="*/ 927116 w 1263758"/>
                        <a:gd name="connsiteY6588" fmla="*/ 1644956 h 2117064"/>
                        <a:gd name="connsiteX6589" fmla="*/ 934767 w 1263758"/>
                        <a:gd name="connsiteY6589" fmla="*/ 1650357 h 2117064"/>
                        <a:gd name="connsiteX6590" fmla="*/ 937017 w 1263758"/>
                        <a:gd name="connsiteY6590" fmla="*/ 1653507 h 2117064"/>
                        <a:gd name="connsiteX6591" fmla="*/ 937017 w 1263758"/>
                        <a:gd name="connsiteY6591" fmla="*/ 1658908 h 2117064"/>
                        <a:gd name="connsiteX6592" fmla="*/ 911364 w 1263758"/>
                        <a:gd name="connsiteY6592" fmla="*/ 1655307 h 2117064"/>
                        <a:gd name="connsiteX6593" fmla="*/ 913164 w 1263758"/>
                        <a:gd name="connsiteY6593" fmla="*/ 1657557 h 2117064"/>
                        <a:gd name="connsiteX6594" fmla="*/ 914964 w 1263758"/>
                        <a:gd name="connsiteY6594" fmla="*/ 1657557 h 2117064"/>
                        <a:gd name="connsiteX6595" fmla="*/ 915865 w 1263758"/>
                        <a:gd name="connsiteY6595" fmla="*/ 1659358 h 2117064"/>
                        <a:gd name="connsiteX6596" fmla="*/ 918115 w 1263758"/>
                        <a:gd name="connsiteY6596" fmla="*/ 1664308 h 2117064"/>
                        <a:gd name="connsiteX6597" fmla="*/ 918565 w 1263758"/>
                        <a:gd name="connsiteY6597" fmla="*/ 1665208 h 2117064"/>
                        <a:gd name="connsiteX6598" fmla="*/ 918565 w 1263758"/>
                        <a:gd name="connsiteY6598" fmla="*/ 1667009 h 2117064"/>
                        <a:gd name="connsiteX6599" fmla="*/ 917215 w 1263758"/>
                        <a:gd name="connsiteY6599" fmla="*/ 1669259 h 2117064"/>
                        <a:gd name="connsiteX6600" fmla="*/ 915865 w 1263758"/>
                        <a:gd name="connsiteY6600" fmla="*/ 1670159 h 2117064"/>
                        <a:gd name="connsiteX6601" fmla="*/ 913164 w 1263758"/>
                        <a:gd name="connsiteY6601" fmla="*/ 1671959 h 2117064"/>
                        <a:gd name="connsiteX6602" fmla="*/ 910014 w 1263758"/>
                        <a:gd name="connsiteY6602" fmla="*/ 1672859 h 2117064"/>
                        <a:gd name="connsiteX6603" fmla="*/ 908213 w 1263758"/>
                        <a:gd name="connsiteY6603" fmla="*/ 1671509 h 2117064"/>
                        <a:gd name="connsiteX6604" fmla="*/ 903263 w 1263758"/>
                        <a:gd name="connsiteY6604" fmla="*/ 1666559 h 2117064"/>
                        <a:gd name="connsiteX6605" fmla="*/ 898762 w 1263758"/>
                        <a:gd name="connsiteY6605" fmla="*/ 1661158 h 2117064"/>
                        <a:gd name="connsiteX6606" fmla="*/ 897412 w 1263758"/>
                        <a:gd name="connsiteY6606" fmla="*/ 1658008 h 2117064"/>
                        <a:gd name="connsiteX6607" fmla="*/ 897862 w 1263758"/>
                        <a:gd name="connsiteY6607" fmla="*/ 1656657 h 2117064"/>
                        <a:gd name="connsiteX6608" fmla="*/ 899662 w 1263758"/>
                        <a:gd name="connsiteY6608" fmla="*/ 1655757 h 2117064"/>
                        <a:gd name="connsiteX6609" fmla="*/ 903713 w 1263758"/>
                        <a:gd name="connsiteY6609" fmla="*/ 1654857 h 2117064"/>
                        <a:gd name="connsiteX6610" fmla="*/ 910014 w 1263758"/>
                        <a:gd name="connsiteY6610" fmla="*/ 1655307 h 2117064"/>
                        <a:gd name="connsiteX6611" fmla="*/ 911364 w 1263758"/>
                        <a:gd name="connsiteY6611" fmla="*/ 1655307 h 2117064"/>
                        <a:gd name="connsiteX6612" fmla="*/ 824053 w 1263758"/>
                        <a:gd name="connsiteY6612" fmla="*/ 1679610 h 2117064"/>
                        <a:gd name="connsiteX6613" fmla="*/ 824953 w 1263758"/>
                        <a:gd name="connsiteY6613" fmla="*/ 1680960 h 2117064"/>
                        <a:gd name="connsiteX6614" fmla="*/ 825403 w 1263758"/>
                        <a:gd name="connsiteY6614" fmla="*/ 1682761 h 2117064"/>
                        <a:gd name="connsiteX6615" fmla="*/ 824953 w 1263758"/>
                        <a:gd name="connsiteY6615" fmla="*/ 1685461 h 2117064"/>
                        <a:gd name="connsiteX6616" fmla="*/ 824503 w 1263758"/>
                        <a:gd name="connsiteY6616" fmla="*/ 1687711 h 2117064"/>
                        <a:gd name="connsiteX6617" fmla="*/ 823603 w 1263758"/>
                        <a:gd name="connsiteY6617" fmla="*/ 1689962 h 2117064"/>
                        <a:gd name="connsiteX6618" fmla="*/ 821803 w 1263758"/>
                        <a:gd name="connsiteY6618" fmla="*/ 1693562 h 2117064"/>
                        <a:gd name="connsiteX6619" fmla="*/ 815952 w 1263758"/>
                        <a:gd name="connsiteY6619" fmla="*/ 1699863 h 2117064"/>
                        <a:gd name="connsiteX6620" fmla="*/ 813702 w 1263758"/>
                        <a:gd name="connsiteY6620" fmla="*/ 1703013 h 2117064"/>
                        <a:gd name="connsiteX6621" fmla="*/ 811901 w 1263758"/>
                        <a:gd name="connsiteY6621" fmla="*/ 1704813 h 2117064"/>
                        <a:gd name="connsiteX6622" fmla="*/ 802450 w 1263758"/>
                        <a:gd name="connsiteY6622" fmla="*/ 1713814 h 2117064"/>
                        <a:gd name="connsiteX6623" fmla="*/ 801100 w 1263758"/>
                        <a:gd name="connsiteY6623" fmla="*/ 1714265 h 2117064"/>
                        <a:gd name="connsiteX6624" fmla="*/ 799750 w 1263758"/>
                        <a:gd name="connsiteY6624" fmla="*/ 1714265 h 2117064"/>
                        <a:gd name="connsiteX6625" fmla="*/ 797050 w 1263758"/>
                        <a:gd name="connsiteY6625" fmla="*/ 1712914 h 2117064"/>
                        <a:gd name="connsiteX6626" fmla="*/ 794349 w 1263758"/>
                        <a:gd name="connsiteY6626" fmla="*/ 1712464 h 2117064"/>
                        <a:gd name="connsiteX6627" fmla="*/ 787598 w 1263758"/>
                        <a:gd name="connsiteY6627" fmla="*/ 1716065 h 2117064"/>
                        <a:gd name="connsiteX6628" fmla="*/ 787148 w 1263758"/>
                        <a:gd name="connsiteY6628" fmla="*/ 1715615 h 2117064"/>
                        <a:gd name="connsiteX6629" fmla="*/ 786698 w 1263758"/>
                        <a:gd name="connsiteY6629" fmla="*/ 1712014 h 2117064"/>
                        <a:gd name="connsiteX6630" fmla="*/ 785798 w 1263758"/>
                        <a:gd name="connsiteY6630" fmla="*/ 1709764 h 2117064"/>
                        <a:gd name="connsiteX6631" fmla="*/ 782648 w 1263758"/>
                        <a:gd name="connsiteY6631" fmla="*/ 1705263 h 2117064"/>
                        <a:gd name="connsiteX6632" fmla="*/ 782648 w 1263758"/>
                        <a:gd name="connsiteY6632" fmla="*/ 1704363 h 2117064"/>
                        <a:gd name="connsiteX6633" fmla="*/ 782648 w 1263758"/>
                        <a:gd name="connsiteY6633" fmla="*/ 1703013 h 2117064"/>
                        <a:gd name="connsiteX6634" fmla="*/ 783098 w 1263758"/>
                        <a:gd name="connsiteY6634" fmla="*/ 1702113 h 2117064"/>
                        <a:gd name="connsiteX6635" fmla="*/ 786698 w 1263758"/>
                        <a:gd name="connsiteY6635" fmla="*/ 1698062 h 2117064"/>
                        <a:gd name="connsiteX6636" fmla="*/ 794349 w 1263758"/>
                        <a:gd name="connsiteY6636" fmla="*/ 1682311 h 2117064"/>
                        <a:gd name="connsiteX6637" fmla="*/ 796150 w 1263758"/>
                        <a:gd name="connsiteY6637" fmla="*/ 1681410 h 2117064"/>
                        <a:gd name="connsiteX6638" fmla="*/ 799750 w 1263758"/>
                        <a:gd name="connsiteY6638" fmla="*/ 1683211 h 2117064"/>
                        <a:gd name="connsiteX6639" fmla="*/ 801550 w 1263758"/>
                        <a:gd name="connsiteY6639" fmla="*/ 1683661 h 2117064"/>
                        <a:gd name="connsiteX6640" fmla="*/ 802900 w 1263758"/>
                        <a:gd name="connsiteY6640" fmla="*/ 1683661 h 2117064"/>
                        <a:gd name="connsiteX6641" fmla="*/ 808301 w 1263758"/>
                        <a:gd name="connsiteY6641" fmla="*/ 1680510 h 2117064"/>
                        <a:gd name="connsiteX6642" fmla="*/ 813702 w 1263758"/>
                        <a:gd name="connsiteY6642" fmla="*/ 1680960 h 2117064"/>
                        <a:gd name="connsiteX6643" fmla="*/ 818652 w 1263758"/>
                        <a:gd name="connsiteY6643" fmla="*/ 1679160 h 2117064"/>
                        <a:gd name="connsiteX6644" fmla="*/ 820903 w 1263758"/>
                        <a:gd name="connsiteY6644" fmla="*/ 1679160 h 2117064"/>
                        <a:gd name="connsiteX6645" fmla="*/ 822703 w 1263758"/>
                        <a:gd name="connsiteY6645" fmla="*/ 1679610 h 2117064"/>
                        <a:gd name="connsiteX6646" fmla="*/ 824053 w 1263758"/>
                        <a:gd name="connsiteY6646" fmla="*/ 1679610 h 2117064"/>
                        <a:gd name="connsiteX6647" fmla="*/ 1071584 w 1263758"/>
                        <a:gd name="connsiteY6647" fmla="*/ 1698513 h 2117064"/>
                        <a:gd name="connsiteX6648" fmla="*/ 1070234 w 1263758"/>
                        <a:gd name="connsiteY6648" fmla="*/ 1698513 h 2117064"/>
                        <a:gd name="connsiteX6649" fmla="*/ 1067533 w 1263758"/>
                        <a:gd name="connsiteY6649" fmla="*/ 1698062 h 2117064"/>
                        <a:gd name="connsiteX6650" fmla="*/ 1064383 w 1263758"/>
                        <a:gd name="connsiteY6650" fmla="*/ 1697162 h 2117064"/>
                        <a:gd name="connsiteX6651" fmla="*/ 1062583 w 1263758"/>
                        <a:gd name="connsiteY6651" fmla="*/ 1696262 h 2117064"/>
                        <a:gd name="connsiteX6652" fmla="*/ 1061233 w 1263758"/>
                        <a:gd name="connsiteY6652" fmla="*/ 1694012 h 2117064"/>
                        <a:gd name="connsiteX6653" fmla="*/ 1060783 w 1263758"/>
                        <a:gd name="connsiteY6653" fmla="*/ 1691312 h 2117064"/>
                        <a:gd name="connsiteX6654" fmla="*/ 1058082 w 1263758"/>
                        <a:gd name="connsiteY6654" fmla="*/ 1687261 h 2117064"/>
                        <a:gd name="connsiteX6655" fmla="*/ 1054932 w 1263758"/>
                        <a:gd name="connsiteY6655" fmla="*/ 1685911 h 2117064"/>
                        <a:gd name="connsiteX6656" fmla="*/ 1052682 w 1263758"/>
                        <a:gd name="connsiteY6656" fmla="*/ 1683211 h 2117064"/>
                        <a:gd name="connsiteX6657" fmla="*/ 1054482 w 1263758"/>
                        <a:gd name="connsiteY6657" fmla="*/ 1683211 h 2117064"/>
                        <a:gd name="connsiteX6658" fmla="*/ 1057182 w 1263758"/>
                        <a:gd name="connsiteY6658" fmla="*/ 1683661 h 2117064"/>
                        <a:gd name="connsiteX6659" fmla="*/ 1060783 w 1263758"/>
                        <a:gd name="connsiteY6659" fmla="*/ 1685011 h 2117064"/>
                        <a:gd name="connsiteX6660" fmla="*/ 1064383 w 1263758"/>
                        <a:gd name="connsiteY6660" fmla="*/ 1686361 h 2117064"/>
                        <a:gd name="connsiteX6661" fmla="*/ 1069334 w 1263758"/>
                        <a:gd name="connsiteY6661" fmla="*/ 1689962 h 2117064"/>
                        <a:gd name="connsiteX6662" fmla="*/ 1071134 w 1263758"/>
                        <a:gd name="connsiteY6662" fmla="*/ 1693112 h 2117064"/>
                        <a:gd name="connsiteX6663" fmla="*/ 1072934 w 1263758"/>
                        <a:gd name="connsiteY6663" fmla="*/ 1695362 h 2117064"/>
                        <a:gd name="connsiteX6664" fmla="*/ 1073384 w 1263758"/>
                        <a:gd name="connsiteY6664" fmla="*/ 1697162 h 2117064"/>
                        <a:gd name="connsiteX6665" fmla="*/ 1072934 w 1263758"/>
                        <a:gd name="connsiteY6665" fmla="*/ 1698062 h 2117064"/>
                        <a:gd name="connsiteX6666" fmla="*/ 1071584 w 1263758"/>
                        <a:gd name="connsiteY6666" fmla="*/ 1698513 h 2117064"/>
                        <a:gd name="connsiteX6667" fmla="*/ 993724 w 1263758"/>
                        <a:gd name="connsiteY6667" fmla="*/ 1695362 h 2117064"/>
                        <a:gd name="connsiteX6668" fmla="*/ 992374 w 1263758"/>
                        <a:gd name="connsiteY6668" fmla="*/ 1695812 h 2117064"/>
                        <a:gd name="connsiteX6669" fmla="*/ 988324 w 1263758"/>
                        <a:gd name="connsiteY6669" fmla="*/ 1695362 h 2117064"/>
                        <a:gd name="connsiteX6670" fmla="*/ 982923 w 1263758"/>
                        <a:gd name="connsiteY6670" fmla="*/ 1693112 h 2117064"/>
                        <a:gd name="connsiteX6671" fmla="*/ 980222 w 1263758"/>
                        <a:gd name="connsiteY6671" fmla="*/ 1690862 h 2117064"/>
                        <a:gd name="connsiteX6672" fmla="*/ 980222 w 1263758"/>
                        <a:gd name="connsiteY6672" fmla="*/ 1690412 h 2117064"/>
                        <a:gd name="connsiteX6673" fmla="*/ 981573 w 1263758"/>
                        <a:gd name="connsiteY6673" fmla="*/ 1689962 h 2117064"/>
                        <a:gd name="connsiteX6674" fmla="*/ 982923 w 1263758"/>
                        <a:gd name="connsiteY6674" fmla="*/ 1690412 h 2117064"/>
                        <a:gd name="connsiteX6675" fmla="*/ 985173 w 1263758"/>
                        <a:gd name="connsiteY6675" fmla="*/ 1691762 h 2117064"/>
                        <a:gd name="connsiteX6676" fmla="*/ 991024 w 1263758"/>
                        <a:gd name="connsiteY6676" fmla="*/ 1692662 h 2117064"/>
                        <a:gd name="connsiteX6677" fmla="*/ 992824 w 1263758"/>
                        <a:gd name="connsiteY6677" fmla="*/ 1693562 h 2117064"/>
                        <a:gd name="connsiteX6678" fmla="*/ 993274 w 1263758"/>
                        <a:gd name="connsiteY6678" fmla="*/ 1694912 h 2117064"/>
                        <a:gd name="connsiteX6679" fmla="*/ 993724 w 1263758"/>
                        <a:gd name="connsiteY6679" fmla="*/ 1695362 h 2117064"/>
                        <a:gd name="connsiteX6680" fmla="*/ 1188148 w 1263758"/>
                        <a:gd name="connsiteY6680" fmla="*/ 1698062 h 2117064"/>
                        <a:gd name="connsiteX6681" fmla="*/ 1192199 w 1263758"/>
                        <a:gd name="connsiteY6681" fmla="*/ 1698513 h 2117064"/>
                        <a:gd name="connsiteX6682" fmla="*/ 1194449 w 1263758"/>
                        <a:gd name="connsiteY6682" fmla="*/ 1698513 h 2117064"/>
                        <a:gd name="connsiteX6683" fmla="*/ 1195349 w 1263758"/>
                        <a:gd name="connsiteY6683" fmla="*/ 1699413 h 2117064"/>
                        <a:gd name="connsiteX6684" fmla="*/ 1196250 w 1263758"/>
                        <a:gd name="connsiteY6684" fmla="*/ 1701663 h 2117064"/>
                        <a:gd name="connsiteX6685" fmla="*/ 1194899 w 1263758"/>
                        <a:gd name="connsiteY6685" fmla="*/ 1704813 h 2117064"/>
                        <a:gd name="connsiteX6686" fmla="*/ 1193549 w 1263758"/>
                        <a:gd name="connsiteY6686" fmla="*/ 1706164 h 2117064"/>
                        <a:gd name="connsiteX6687" fmla="*/ 1191299 w 1263758"/>
                        <a:gd name="connsiteY6687" fmla="*/ 1706614 h 2117064"/>
                        <a:gd name="connsiteX6688" fmla="*/ 1187698 w 1263758"/>
                        <a:gd name="connsiteY6688" fmla="*/ 1705713 h 2117064"/>
                        <a:gd name="connsiteX6689" fmla="*/ 1186348 w 1263758"/>
                        <a:gd name="connsiteY6689" fmla="*/ 1704813 h 2117064"/>
                        <a:gd name="connsiteX6690" fmla="*/ 1184998 w 1263758"/>
                        <a:gd name="connsiteY6690" fmla="*/ 1703013 h 2117064"/>
                        <a:gd name="connsiteX6691" fmla="*/ 1185448 w 1263758"/>
                        <a:gd name="connsiteY6691" fmla="*/ 1701663 h 2117064"/>
                        <a:gd name="connsiteX6692" fmla="*/ 1187249 w 1263758"/>
                        <a:gd name="connsiteY6692" fmla="*/ 1701213 h 2117064"/>
                        <a:gd name="connsiteX6693" fmla="*/ 1187698 w 1263758"/>
                        <a:gd name="connsiteY6693" fmla="*/ 1700763 h 2117064"/>
                        <a:gd name="connsiteX6694" fmla="*/ 1187249 w 1263758"/>
                        <a:gd name="connsiteY6694" fmla="*/ 1699863 h 2117064"/>
                        <a:gd name="connsiteX6695" fmla="*/ 1187249 w 1263758"/>
                        <a:gd name="connsiteY6695" fmla="*/ 1698963 h 2117064"/>
                        <a:gd name="connsiteX6696" fmla="*/ 1188148 w 1263758"/>
                        <a:gd name="connsiteY6696" fmla="*/ 1698062 h 2117064"/>
                        <a:gd name="connsiteX6697" fmla="*/ 876259 w 1263758"/>
                        <a:gd name="connsiteY6697" fmla="*/ 1704813 h 2117064"/>
                        <a:gd name="connsiteX6698" fmla="*/ 878060 w 1263758"/>
                        <a:gd name="connsiteY6698" fmla="*/ 1706164 h 2117064"/>
                        <a:gd name="connsiteX6699" fmla="*/ 880760 w 1263758"/>
                        <a:gd name="connsiteY6699" fmla="*/ 1710214 h 2117064"/>
                        <a:gd name="connsiteX6700" fmla="*/ 881660 w 1263758"/>
                        <a:gd name="connsiteY6700" fmla="*/ 1712464 h 2117064"/>
                        <a:gd name="connsiteX6701" fmla="*/ 882110 w 1263758"/>
                        <a:gd name="connsiteY6701" fmla="*/ 1715165 h 2117064"/>
                        <a:gd name="connsiteX6702" fmla="*/ 881210 w 1263758"/>
                        <a:gd name="connsiteY6702" fmla="*/ 1718765 h 2117064"/>
                        <a:gd name="connsiteX6703" fmla="*/ 880760 w 1263758"/>
                        <a:gd name="connsiteY6703" fmla="*/ 1722366 h 2117064"/>
                        <a:gd name="connsiteX6704" fmla="*/ 879860 w 1263758"/>
                        <a:gd name="connsiteY6704" fmla="*/ 1725066 h 2117064"/>
                        <a:gd name="connsiteX6705" fmla="*/ 878060 w 1263758"/>
                        <a:gd name="connsiteY6705" fmla="*/ 1728216 h 2117064"/>
                        <a:gd name="connsiteX6706" fmla="*/ 876259 w 1263758"/>
                        <a:gd name="connsiteY6706" fmla="*/ 1732267 h 2117064"/>
                        <a:gd name="connsiteX6707" fmla="*/ 874909 w 1263758"/>
                        <a:gd name="connsiteY6707" fmla="*/ 1736767 h 2117064"/>
                        <a:gd name="connsiteX6708" fmla="*/ 873559 w 1263758"/>
                        <a:gd name="connsiteY6708" fmla="*/ 1739468 h 2117064"/>
                        <a:gd name="connsiteX6709" fmla="*/ 872659 w 1263758"/>
                        <a:gd name="connsiteY6709" fmla="*/ 1740818 h 2117064"/>
                        <a:gd name="connsiteX6710" fmla="*/ 871759 w 1263758"/>
                        <a:gd name="connsiteY6710" fmla="*/ 1741718 h 2117064"/>
                        <a:gd name="connsiteX6711" fmla="*/ 870859 w 1263758"/>
                        <a:gd name="connsiteY6711" fmla="*/ 1741718 h 2117064"/>
                        <a:gd name="connsiteX6712" fmla="*/ 869059 w 1263758"/>
                        <a:gd name="connsiteY6712" fmla="*/ 1739918 h 2117064"/>
                        <a:gd name="connsiteX6713" fmla="*/ 866808 w 1263758"/>
                        <a:gd name="connsiteY6713" fmla="*/ 1736767 h 2117064"/>
                        <a:gd name="connsiteX6714" fmla="*/ 865008 w 1263758"/>
                        <a:gd name="connsiteY6714" fmla="*/ 1734967 h 2117064"/>
                        <a:gd name="connsiteX6715" fmla="*/ 862758 w 1263758"/>
                        <a:gd name="connsiteY6715" fmla="*/ 1733617 h 2117064"/>
                        <a:gd name="connsiteX6716" fmla="*/ 861408 w 1263758"/>
                        <a:gd name="connsiteY6716" fmla="*/ 1731817 h 2117064"/>
                        <a:gd name="connsiteX6717" fmla="*/ 860958 w 1263758"/>
                        <a:gd name="connsiteY6717" fmla="*/ 1730017 h 2117064"/>
                        <a:gd name="connsiteX6718" fmla="*/ 860958 w 1263758"/>
                        <a:gd name="connsiteY6718" fmla="*/ 1724166 h 2117064"/>
                        <a:gd name="connsiteX6719" fmla="*/ 860958 w 1263758"/>
                        <a:gd name="connsiteY6719" fmla="*/ 1721015 h 2117064"/>
                        <a:gd name="connsiteX6720" fmla="*/ 861408 w 1263758"/>
                        <a:gd name="connsiteY6720" fmla="*/ 1718765 h 2117064"/>
                        <a:gd name="connsiteX6721" fmla="*/ 861858 w 1263758"/>
                        <a:gd name="connsiteY6721" fmla="*/ 1716965 h 2117064"/>
                        <a:gd name="connsiteX6722" fmla="*/ 863208 w 1263758"/>
                        <a:gd name="connsiteY6722" fmla="*/ 1714265 h 2117064"/>
                        <a:gd name="connsiteX6723" fmla="*/ 866358 w 1263758"/>
                        <a:gd name="connsiteY6723" fmla="*/ 1708414 h 2117064"/>
                        <a:gd name="connsiteX6724" fmla="*/ 868159 w 1263758"/>
                        <a:gd name="connsiteY6724" fmla="*/ 1706164 h 2117064"/>
                        <a:gd name="connsiteX6725" fmla="*/ 869509 w 1263758"/>
                        <a:gd name="connsiteY6725" fmla="*/ 1705713 h 2117064"/>
                        <a:gd name="connsiteX6726" fmla="*/ 872659 w 1263758"/>
                        <a:gd name="connsiteY6726" fmla="*/ 1706164 h 2117064"/>
                        <a:gd name="connsiteX6727" fmla="*/ 874009 w 1263758"/>
                        <a:gd name="connsiteY6727" fmla="*/ 1706164 h 2117064"/>
                        <a:gd name="connsiteX6728" fmla="*/ 874909 w 1263758"/>
                        <a:gd name="connsiteY6728" fmla="*/ 1705263 h 2117064"/>
                        <a:gd name="connsiteX6729" fmla="*/ 876259 w 1263758"/>
                        <a:gd name="connsiteY6729" fmla="*/ 1704813 h 2117064"/>
                        <a:gd name="connsiteX6730" fmla="*/ 1184098 w 1263758"/>
                        <a:gd name="connsiteY6730" fmla="*/ 1728666 h 2117064"/>
                        <a:gd name="connsiteX6731" fmla="*/ 1184548 w 1263758"/>
                        <a:gd name="connsiteY6731" fmla="*/ 1729116 h 2117064"/>
                        <a:gd name="connsiteX6732" fmla="*/ 1184998 w 1263758"/>
                        <a:gd name="connsiteY6732" fmla="*/ 1728666 h 2117064"/>
                        <a:gd name="connsiteX6733" fmla="*/ 1185448 w 1263758"/>
                        <a:gd name="connsiteY6733" fmla="*/ 1729116 h 2117064"/>
                        <a:gd name="connsiteX6734" fmla="*/ 1185898 w 1263758"/>
                        <a:gd name="connsiteY6734" fmla="*/ 1730467 h 2117064"/>
                        <a:gd name="connsiteX6735" fmla="*/ 1186348 w 1263758"/>
                        <a:gd name="connsiteY6735" fmla="*/ 1731367 h 2117064"/>
                        <a:gd name="connsiteX6736" fmla="*/ 1187698 w 1263758"/>
                        <a:gd name="connsiteY6736" fmla="*/ 1732717 h 2117064"/>
                        <a:gd name="connsiteX6737" fmla="*/ 1188148 w 1263758"/>
                        <a:gd name="connsiteY6737" fmla="*/ 1733617 h 2117064"/>
                        <a:gd name="connsiteX6738" fmla="*/ 1188148 w 1263758"/>
                        <a:gd name="connsiteY6738" fmla="*/ 1734517 h 2117064"/>
                        <a:gd name="connsiteX6739" fmla="*/ 1187249 w 1263758"/>
                        <a:gd name="connsiteY6739" fmla="*/ 1735867 h 2117064"/>
                        <a:gd name="connsiteX6740" fmla="*/ 1186798 w 1263758"/>
                        <a:gd name="connsiteY6740" fmla="*/ 1735867 h 2117064"/>
                        <a:gd name="connsiteX6741" fmla="*/ 1181848 w 1263758"/>
                        <a:gd name="connsiteY6741" fmla="*/ 1733167 h 2117064"/>
                        <a:gd name="connsiteX6742" fmla="*/ 1180498 w 1263758"/>
                        <a:gd name="connsiteY6742" fmla="*/ 1730017 h 2117064"/>
                        <a:gd name="connsiteX6743" fmla="*/ 1180498 w 1263758"/>
                        <a:gd name="connsiteY6743" fmla="*/ 1728666 h 2117064"/>
                        <a:gd name="connsiteX6744" fmla="*/ 1180948 w 1263758"/>
                        <a:gd name="connsiteY6744" fmla="*/ 1727316 h 2117064"/>
                        <a:gd name="connsiteX6745" fmla="*/ 1181848 w 1263758"/>
                        <a:gd name="connsiteY6745" fmla="*/ 1726866 h 2117064"/>
                        <a:gd name="connsiteX6746" fmla="*/ 1182748 w 1263758"/>
                        <a:gd name="connsiteY6746" fmla="*/ 1726866 h 2117064"/>
                        <a:gd name="connsiteX6747" fmla="*/ 1184098 w 1263758"/>
                        <a:gd name="connsiteY6747" fmla="*/ 1727766 h 2117064"/>
                        <a:gd name="connsiteX6748" fmla="*/ 1184098 w 1263758"/>
                        <a:gd name="connsiteY6748" fmla="*/ 1728666 h 2117064"/>
                        <a:gd name="connsiteX6749" fmla="*/ 590024 w 1263758"/>
                        <a:gd name="connsiteY6749" fmla="*/ 1730467 h 2117064"/>
                        <a:gd name="connsiteX6750" fmla="*/ 589124 w 1263758"/>
                        <a:gd name="connsiteY6750" fmla="*/ 1730467 h 2117064"/>
                        <a:gd name="connsiteX6751" fmla="*/ 587323 w 1263758"/>
                        <a:gd name="connsiteY6751" fmla="*/ 1728216 h 2117064"/>
                        <a:gd name="connsiteX6752" fmla="*/ 586873 w 1263758"/>
                        <a:gd name="connsiteY6752" fmla="*/ 1726866 h 2117064"/>
                        <a:gd name="connsiteX6753" fmla="*/ 589574 w 1263758"/>
                        <a:gd name="connsiteY6753" fmla="*/ 1725966 h 2117064"/>
                        <a:gd name="connsiteX6754" fmla="*/ 591374 w 1263758"/>
                        <a:gd name="connsiteY6754" fmla="*/ 1728216 h 2117064"/>
                        <a:gd name="connsiteX6755" fmla="*/ 591374 w 1263758"/>
                        <a:gd name="connsiteY6755" fmla="*/ 1729116 h 2117064"/>
                        <a:gd name="connsiteX6756" fmla="*/ 590024 w 1263758"/>
                        <a:gd name="connsiteY6756" fmla="*/ 1730467 h 2117064"/>
                        <a:gd name="connsiteX6757" fmla="*/ 1188148 w 1263758"/>
                        <a:gd name="connsiteY6757" fmla="*/ 1751619 h 2117064"/>
                        <a:gd name="connsiteX6758" fmla="*/ 1187698 w 1263758"/>
                        <a:gd name="connsiteY6758" fmla="*/ 1752069 h 2117064"/>
                        <a:gd name="connsiteX6759" fmla="*/ 1187249 w 1263758"/>
                        <a:gd name="connsiteY6759" fmla="*/ 1752069 h 2117064"/>
                        <a:gd name="connsiteX6760" fmla="*/ 1185448 w 1263758"/>
                        <a:gd name="connsiteY6760" fmla="*/ 1749819 h 2117064"/>
                        <a:gd name="connsiteX6761" fmla="*/ 1183198 w 1263758"/>
                        <a:gd name="connsiteY6761" fmla="*/ 1748919 h 2117064"/>
                        <a:gd name="connsiteX6762" fmla="*/ 1182298 w 1263758"/>
                        <a:gd name="connsiteY6762" fmla="*/ 1748019 h 2117064"/>
                        <a:gd name="connsiteX6763" fmla="*/ 1175997 w 1263758"/>
                        <a:gd name="connsiteY6763" fmla="*/ 1743068 h 2117064"/>
                        <a:gd name="connsiteX6764" fmla="*/ 1175097 w 1263758"/>
                        <a:gd name="connsiteY6764" fmla="*/ 1740818 h 2117064"/>
                        <a:gd name="connsiteX6765" fmla="*/ 1175097 w 1263758"/>
                        <a:gd name="connsiteY6765" fmla="*/ 1739018 h 2117064"/>
                        <a:gd name="connsiteX6766" fmla="*/ 1177347 w 1263758"/>
                        <a:gd name="connsiteY6766" fmla="*/ 1738118 h 2117064"/>
                        <a:gd name="connsiteX6767" fmla="*/ 1181848 w 1263758"/>
                        <a:gd name="connsiteY6767" fmla="*/ 1737217 h 2117064"/>
                        <a:gd name="connsiteX6768" fmla="*/ 1185448 w 1263758"/>
                        <a:gd name="connsiteY6768" fmla="*/ 1737217 h 2117064"/>
                        <a:gd name="connsiteX6769" fmla="*/ 1189049 w 1263758"/>
                        <a:gd name="connsiteY6769" fmla="*/ 1738118 h 2117064"/>
                        <a:gd name="connsiteX6770" fmla="*/ 1189949 w 1263758"/>
                        <a:gd name="connsiteY6770" fmla="*/ 1739018 h 2117064"/>
                        <a:gd name="connsiteX6771" fmla="*/ 1191749 w 1263758"/>
                        <a:gd name="connsiteY6771" fmla="*/ 1740818 h 2117064"/>
                        <a:gd name="connsiteX6772" fmla="*/ 1191299 w 1263758"/>
                        <a:gd name="connsiteY6772" fmla="*/ 1743068 h 2117064"/>
                        <a:gd name="connsiteX6773" fmla="*/ 1191299 w 1263758"/>
                        <a:gd name="connsiteY6773" fmla="*/ 1746219 h 2117064"/>
                        <a:gd name="connsiteX6774" fmla="*/ 1190399 w 1263758"/>
                        <a:gd name="connsiteY6774" fmla="*/ 1747569 h 2117064"/>
                        <a:gd name="connsiteX6775" fmla="*/ 1189049 w 1263758"/>
                        <a:gd name="connsiteY6775" fmla="*/ 1748469 h 2117064"/>
                        <a:gd name="connsiteX6776" fmla="*/ 1188148 w 1263758"/>
                        <a:gd name="connsiteY6776" fmla="*/ 1751619 h 2117064"/>
                        <a:gd name="connsiteX6777" fmla="*/ 897862 w 1263758"/>
                        <a:gd name="connsiteY6777" fmla="*/ 1779523 h 2117064"/>
                        <a:gd name="connsiteX6778" fmla="*/ 895162 w 1263758"/>
                        <a:gd name="connsiteY6778" fmla="*/ 1779973 h 2117064"/>
                        <a:gd name="connsiteX6779" fmla="*/ 895162 w 1263758"/>
                        <a:gd name="connsiteY6779" fmla="*/ 1779523 h 2117064"/>
                        <a:gd name="connsiteX6780" fmla="*/ 896512 w 1263758"/>
                        <a:gd name="connsiteY6780" fmla="*/ 1777723 h 2117064"/>
                        <a:gd name="connsiteX6781" fmla="*/ 901013 w 1263758"/>
                        <a:gd name="connsiteY6781" fmla="*/ 1776372 h 2117064"/>
                        <a:gd name="connsiteX6782" fmla="*/ 904163 w 1263758"/>
                        <a:gd name="connsiteY6782" fmla="*/ 1775922 h 2117064"/>
                        <a:gd name="connsiteX6783" fmla="*/ 903263 w 1263758"/>
                        <a:gd name="connsiteY6783" fmla="*/ 1777272 h 2117064"/>
                        <a:gd name="connsiteX6784" fmla="*/ 901463 w 1263758"/>
                        <a:gd name="connsiteY6784" fmla="*/ 1778623 h 2117064"/>
                        <a:gd name="connsiteX6785" fmla="*/ 897862 w 1263758"/>
                        <a:gd name="connsiteY6785" fmla="*/ 1779523 h 2117064"/>
                        <a:gd name="connsiteX6786" fmla="*/ 1116140 w 1263758"/>
                        <a:gd name="connsiteY6786" fmla="*/ 1800675 h 2117064"/>
                        <a:gd name="connsiteX6787" fmla="*/ 1114339 w 1263758"/>
                        <a:gd name="connsiteY6787" fmla="*/ 1801125 h 2117064"/>
                        <a:gd name="connsiteX6788" fmla="*/ 1113439 w 1263758"/>
                        <a:gd name="connsiteY6788" fmla="*/ 1800225 h 2117064"/>
                        <a:gd name="connsiteX6789" fmla="*/ 1113439 w 1263758"/>
                        <a:gd name="connsiteY6789" fmla="*/ 1797525 h 2117064"/>
                        <a:gd name="connsiteX6790" fmla="*/ 1113889 w 1263758"/>
                        <a:gd name="connsiteY6790" fmla="*/ 1795725 h 2117064"/>
                        <a:gd name="connsiteX6791" fmla="*/ 1116140 w 1263758"/>
                        <a:gd name="connsiteY6791" fmla="*/ 1791674 h 2117064"/>
                        <a:gd name="connsiteX6792" fmla="*/ 1117940 w 1263758"/>
                        <a:gd name="connsiteY6792" fmla="*/ 1787174 h 2117064"/>
                        <a:gd name="connsiteX6793" fmla="*/ 1119290 w 1263758"/>
                        <a:gd name="connsiteY6793" fmla="*/ 1786274 h 2117064"/>
                        <a:gd name="connsiteX6794" fmla="*/ 1121540 w 1263758"/>
                        <a:gd name="connsiteY6794" fmla="*/ 1787174 h 2117064"/>
                        <a:gd name="connsiteX6795" fmla="*/ 1122890 w 1263758"/>
                        <a:gd name="connsiteY6795" fmla="*/ 1788524 h 2117064"/>
                        <a:gd name="connsiteX6796" fmla="*/ 1124241 w 1263758"/>
                        <a:gd name="connsiteY6796" fmla="*/ 1790774 h 2117064"/>
                        <a:gd name="connsiteX6797" fmla="*/ 1124691 w 1263758"/>
                        <a:gd name="connsiteY6797" fmla="*/ 1792574 h 2117064"/>
                        <a:gd name="connsiteX6798" fmla="*/ 1124241 w 1263758"/>
                        <a:gd name="connsiteY6798" fmla="*/ 1795275 h 2117064"/>
                        <a:gd name="connsiteX6799" fmla="*/ 1122440 w 1263758"/>
                        <a:gd name="connsiteY6799" fmla="*/ 1797525 h 2117064"/>
                        <a:gd name="connsiteX6800" fmla="*/ 1120640 w 1263758"/>
                        <a:gd name="connsiteY6800" fmla="*/ 1798875 h 2117064"/>
                        <a:gd name="connsiteX6801" fmla="*/ 1116140 w 1263758"/>
                        <a:gd name="connsiteY6801" fmla="*/ 1800675 h 2117064"/>
                        <a:gd name="connsiteX6802" fmla="*/ 1197150 w 1263758"/>
                        <a:gd name="connsiteY6802" fmla="*/ 1795275 h 2117064"/>
                        <a:gd name="connsiteX6803" fmla="*/ 1196250 w 1263758"/>
                        <a:gd name="connsiteY6803" fmla="*/ 1798425 h 2117064"/>
                        <a:gd name="connsiteX6804" fmla="*/ 1193999 w 1263758"/>
                        <a:gd name="connsiteY6804" fmla="*/ 1797525 h 2117064"/>
                        <a:gd name="connsiteX6805" fmla="*/ 1190399 w 1263758"/>
                        <a:gd name="connsiteY6805" fmla="*/ 1795275 h 2117064"/>
                        <a:gd name="connsiteX6806" fmla="*/ 1189049 w 1263758"/>
                        <a:gd name="connsiteY6806" fmla="*/ 1793925 h 2117064"/>
                        <a:gd name="connsiteX6807" fmla="*/ 1188599 w 1263758"/>
                        <a:gd name="connsiteY6807" fmla="*/ 1792124 h 2117064"/>
                        <a:gd name="connsiteX6808" fmla="*/ 1188599 w 1263758"/>
                        <a:gd name="connsiteY6808" fmla="*/ 1789874 h 2117064"/>
                        <a:gd name="connsiteX6809" fmla="*/ 1189949 w 1263758"/>
                        <a:gd name="connsiteY6809" fmla="*/ 1789424 h 2117064"/>
                        <a:gd name="connsiteX6810" fmla="*/ 1192649 w 1263758"/>
                        <a:gd name="connsiteY6810" fmla="*/ 1789424 h 2117064"/>
                        <a:gd name="connsiteX6811" fmla="*/ 1194899 w 1263758"/>
                        <a:gd name="connsiteY6811" fmla="*/ 1792574 h 2117064"/>
                        <a:gd name="connsiteX6812" fmla="*/ 1195799 w 1263758"/>
                        <a:gd name="connsiteY6812" fmla="*/ 1793024 h 2117064"/>
                        <a:gd name="connsiteX6813" fmla="*/ 1197150 w 1263758"/>
                        <a:gd name="connsiteY6813" fmla="*/ 1795275 h 2117064"/>
                        <a:gd name="connsiteX6814" fmla="*/ 865008 w 1263758"/>
                        <a:gd name="connsiteY6814" fmla="*/ 1820478 h 2117064"/>
                        <a:gd name="connsiteX6815" fmla="*/ 862758 w 1263758"/>
                        <a:gd name="connsiteY6815" fmla="*/ 1820928 h 2117064"/>
                        <a:gd name="connsiteX6816" fmla="*/ 863658 w 1263758"/>
                        <a:gd name="connsiteY6816" fmla="*/ 1818228 h 2117064"/>
                        <a:gd name="connsiteX6817" fmla="*/ 864558 w 1263758"/>
                        <a:gd name="connsiteY6817" fmla="*/ 1816877 h 2117064"/>
                        <a:gd name="connsiteX6818" fmla="*/ 865458 w 1263758"/>
                        <a:gd name="connsiteY6818" fmla="*/ 1815977 h 2117064"/>
                        <a:gd name="connsiteX6819" fmla="*/ 867258 w 1263758"/>
                        <a:gd name="connsiteY6819" fmla="*/ 1815527 h 2117064"/>
                        <a:gd name="connsiteX6820" fmla="*/ 868609 w 1263758"/>
                        <a:gd name="connsiteY6820" fmla="*/ 1816427 h 2117064"/>
                        <a:gd name="connsiteX6821" fmla="*/ 867708 w 1263758"/>
                        <a:gd name="connsiteY6821" fmla="*/ 1818228 h 2117064"/>
                        <a:gd name="connsiteX6822" fmla="*/ 865008 w 1263758"/>
                        <a:gd name="connsiteY6822" fmla="*/ 1820478 h 2117064"/>
                        <a:gd name="connsiteX6823" fmla="*/ 860507 w 1263758"/>
                        <a:gd name="connsiteY6823" fmla="*/ 1826779 h 2117064"/>
                        <a:gd name="connsiteX6824" fmla="*/ 859607 w 1263758"/>
                        <a:gd name="connsiteY6824" fmla="*/ 1826779 h 2117064"/>
                        <a:gd name="connsiteX6825" fmla="*/ 859607 w 1263758"/>
                        <a:gd name="connsiteY6825" fmla="*/ 1826329 h 2117064"/>
                        <a:gd name="connsiteX6826" fmla="*/ 860058 w 1263758"/>
                        <a:gd name="connsiteY6826" fmla="*/ 1824528 h 2117064"/>
                        <a:gd name="connsiteX6827" fmla="*/ 860958 w 1263758"/>
                        <a:gd name="connsiteY6827" fmla="*/ 1824528 h 2117064"/>
                        <a:gd name="connsiteX6828" fmla="*/ 861858 w 1263758"/>
                        <a:gd name="connsiteY6828" fmla="*/ 1822728 h 2117064"/>
                        <a:gd name="connsiteX6829" fmla="*/ 862758 w 1263758"/>
                        <a:gd name="connsiteY6829" fmla="*/ 1823178 h 2117064"/>
                        <a:gd name="connsiteX6830" fmla="*/ 862308 w 1263758"/>
                        <a:gd name="connsiteY6830" fmla="*/ 1824078 h 2117064"/>
                        <a:gd name="connsiteX6831" fmla="*/ 860958 w 1263758"/>
                        <a:gd name="connsiteY6831" fmla="*/ 1825879 h 2117064"/>
                        <a:gd name="connsiteX6832" fmla="*/ 860507 w 1263758"/>
                        <a:gd name="connsiteY6832" fmla="*/ 1826779 h 2117064"/>
                        <a:gd name="connsiteX6833" fmla="*/ 1096337 w 1263758"/>
                        <a:gd name="connsiteY6833" fmla="*/ 1851082 h 2117064"/>
                        <a:gd name="connsiteX6834" fmla="*/ 1094987 w 1263758"/>
                        <a:gd name="connsiteY6834" fmla="*/ 1854232 h 2117064"/>
                        <a:gd name="connsiteX6835" fmla="*/ 1093187 w 1263758"/>
                        <a:gd name="connsiteY6835" fmla="*/ 1853782 h 2117064"/>
                        <a:gd name="connsiteX6836" fmla="*/ 1092737 w 1263758"/>
                        <a:gd name="connsiteY6836" fmla="*/ 1854232 h 2117064"/>
                        <a:gd name="connsiteX6837" fmla="*/ 1092286 w 1263758"/>
                        <a:gd name="connsiteY6837" fmla="*/ 1854232 h 2117064"/>
                        <a:gd name="connsiteX6838" fmla="*/ 1093187 w 1263758"/>
                        <a:gd name="connsiteY6838" fmla="*/ 1851532 h 2117064"/>
                        <a:gd name="connsiteX6839" fmla="*/ 1093187 w 1263758"/>
                        <a:gd name="connsiteY6839" fmla="*/ 1849732 h 2117064"/>
                        <a:gd name="connsiteX6840" fmla="*/ 1092737 w 1263758"/>
                        <a:gd name="connsiteY6840" fmla="*/ 1847931 h 2117064"/>
                        <a:gd name="connsiteX6841" fmla="*/ 1093187 w 1263758"/>
                        <a:gd name="connsiteY6841" fmla="*/ 1847031 h 2117064"/>
                        <a:gd name="connsiteX6842" fmla="*/ 1095437 w 1263758"/>
                        <a:gd name="connsiteY6842" fmla="*/ 1847031 h 2117064"/>
                        <a:gd name="connsiteX6843" fmla="*/ 1095437 w 1263758"/>
                        <a:gd name="connsiteY6843" fmla="*/ 1849281 h 2117064"/>
                        <a:gd name="connsiteX6844" fmla="*/ 1095887 w 1263758"/>
                        <a:gd name="connsiteY6844" fmla="*/ 1850182 h 2117064"/>
                        <a:gd name="connsiteX6845" fmla="*/ 1096337 w 1263758"/>
                        <a:gd name="connsiteY6845" fmla="*/ 1850632 h 2117064"/>
                        <a:gd name="connsiteX6846" fmla="*/ 1096337 w 1263758"/>
                        <a:gd name="connsiteY6846" fmla="*/ 1851082 h 2117064"/>
                        <a:gd name="connsiteX6847" fmla="*/ 872659 w 1263758"/>
                        <a:gd name="connsiteY6847" fmla="*/ 1912289 h 2117064"/>
                        <a:gd name="connsiteX6848" fmla="*/ 872659 w 1263758"/>
                        <a:gd name="connsiteY6848" fmla="*/ 1912289 h 2117064"/>
                        <a:gd name="connsiteX6849" fmla="*/ 871309 w 1263758"/>
                        <a:gd name="connsiteY6849" fmla="*/ 1912289 h 2117064"/>
                        <a:gd name="connsiteX6850" fmla="*/ 870859 w 1263758"/>
                        <a:gd name="connsiteY6850" fmla="*/ 1914990 h 2117064"/>
                        <a:gd name="connsiteX6851" fmla="*/ 870409 w 1263758"/>
                        <a:gd name="connsiteY6851" fmla="*/ 1915440 h 2117064"/>
                        <a:gd name="connsiteX6852" fmla="*/ 869959 w 1263758"/>
                        <a:gd name="connsiteY6852" fmla="*/ 1913640 h 2117064"/>
                        <a:gd name="connsiteX6853" fmla="*/ 870409 w 1263758"/>
                        <a:gd name="connsiteY6853" fmla="*/ 1912289 h 2117064"/>
                        <a:gd name="connsiteX6854" fmla="*/ 870409 w 1263758"/>
                        <a:gd name="connsiteY6854" fmla="*/ 1911389 h 2117064"/>
                        <a:gd name="connsiteX6855" fmla="*/ 870409 w 1263758"/>
                        <a:gd name="connsiteY6855" fmla="*/ 1910489 h 2117064"/>
                        <a:gd name="connsiteX6856" fmla="*/ 871309 w 1263758"/>
                        <a:gd name="connsiteY6856" fmla="*/ 1909139 h 2117064"/>
                        <a:gd name="connsiteX6857" fmla="*/ 871759 w 1263758"/>
                        <a:gd name="connsiteY6857" fmla="*/ 1908689 h 2117064"/>
                        <a:gd name="connsiteX6858" fmla="*/ 872209 w 1263758"/>
                        <a:gd name="connsiteY6858" fmla="*/ 1908689 h 2117064"/>
                        <a:gd name="connsiteX6859" fmla="*/ 872659 w 1263758"/>
                        <a:gd name="connsiteY6859" fmla="*/ 1910489 h 2117064"/>
                        <a:gd name="connsiteX6860" fmla="*/ 872659 w 1263758"/>
                        <a:gd name="connsiteY6860" fmla="*/ 1912289 h 2117064"/>
                        <a:gd name="connsiteX6861" fmla="*/ 869509 w 1263758"/>
                        <a:gd name="connsiteY6861" fmla="*/ 1941093 h 2117064"/>
                        <a:gd name="connsiteX6862" fmla="*/ 869059 w 1263758"/>
                        <a:gd name="connsiteY6862" fmla="*/ 1941993 h 2117064"/>
                        <a:gd name="connsiteX6863" fmla="*/ 868159 w 1263758"/>
                        <a:gd name="connsiteY6863" fmla="*/ 1941093 h 2117064"/>
                        <a:gd name="connsiteX6864" fmla="*/ 868159 w 1263758"/>
                        <a:gd name="connsiteY6864" fmla="*/ 1939293 h 2117064"/>
                        <a:gd name="connsiteX6865" fmla="*/ 869059 w 1263758"/>
                        <a:gd name="connsiteY6865" fmla="*/ 1937943 h 2117064"/>
                        <a:gd name="connsiteX6866" fmla="*/ 869959 w 1263758"/>
                        <a:gd name="connsiteY6866" fmla="*/ 1937943 h 2117064"/>
                        <a:gd name="connsiteX6867" fmla="*/ 870859 w 1263758"/>
                        <a:gd name="connsiteY6867" fmla="*/ 1938843 h 2117064"/>
                        <a:gd name="connsiteX6868" fmla="*/ 870859 w 1263758"/>
                        <a:gd name="connsiteY6868" fmla="*/ 1939743 h 2117064"/>
                        <a:gd name="connsiteX6869" fmla="*/ 869509 w 1263758"/>
                        <a:gd name="connsiteY6869" fmla="*/ 1941093 h 2117064"/>
                        <a:gd name="connsiteX6870" fmla="*/ 876710 w 1263758"/>
                        <a:gd name="connsiteY6870" fmla="*/ 1945593 h 2117064"/>
                        <a:gd name="connsiteX6871" fmla="*/ 875810 w 1263758"/>
                        <a:gd name="connsiteY6871" fmla="*/ 1946044 h 2117064"/>
                        <a:gd name="connsiteX6872" fmla="*/ 875359 w 1263758"/>
                        <a:gd name="connsiteY6872" fmla="*/ 1946044 h 2117064"/>
                        <a:gd name="connsiteX6873" fmla="*/ 875810 w 1263758"/>
                        <a:gd name="connsiteY6873" fmla="*/ 1942443 h 2117064"/>
                        <a:gd name="connsiteX6874" fmla="*/ 875359 w 1263758"/>
                        <a:gd name="connsiteY6874" fmla="*/ 1941093 h 2117064"/>
                        <a:gd name="connsiteX6875" fmla="*/ 875359 w 1263758"/>
                        <a:gd name="connsiteY6875" fmla="*/ 1940643 h 2117064"/>
                        <a:gd name="connsiteX6876" fmla="*/ 875810 w 1263758"/>
                        <a:gd name="connsiteY6876" fmla="*/ 1940193 h 2117064"/>
                        <a:gd name="connsiteX6877" fmla="*/ 876259 w 1263758"/>
                        <a:gd name="connsiteY6877" fmla="*/ 1940193 h 2117064"/>
                        <a:gd name="connsiteX6878" fmla="*/ 877160 w 1263758"/>
                        <a:gd name="connsiteY6878" fmla="*/ 1941093 h 2117064"/>
                        <a:gd name="connsiteX6879" fmla="*/ 877610 w 1263758"/>
                        <a:gd name="connsiteY6879" fmla="*/ 1941993 h 2117064"/>
                        <a:gd name="connsiteX6880" fmla="*/ 877610 w 1263758"/>
                        <a:gd name="connsiteY6880" fmla="*/ 1942893 h 2117064"/>
                        <a:gd name="connsiteX6881" fmla="*/ 877610 w 1263758"/>
                        <a:gd name="connsiteY6881" fmla="*/ 1943793 h 2117064"/>
                        <a:gd name="connsiteX6882" fmla="*/ 876710 w 1263758"/>
                        <a:gd name="connsiteY6882" fmla="*/ 1945593 h 2117064"/>
                        <a:gd name="connsiteX6883" fmla="*/ 876710 w 1263758"/>
                        <a:gd name="connsiteY6883" fmla="*/ 1945593 h 2117064"/>
                        <a:gd name="connsiteX6884" fmla="*/ 889311 w 1263758"/>
                        <a:gd name="connsiteY6884" fmla="*/ 1960445 h 2117064"/>
                        <a:gd name="connsiteX6885" fmla="*/ 887511 w 1263758"/>
                        <a:gd name="connsiteY6885" fmla="*/ 1964496 h 2117064"/>
                        <a:gd name="connsiteX6886" fmla="*/ 886161 w 1263758"/>
                        <a:gd name="connsiteY6886" fmla="*/ 1968096 h 2117064"/>
                        <a:gd name="connsiteX6887" fmla="*/ 884361 w 1263758"/>
                        <a:gd name="connsiteY6887" fmla="*/ 1974847 h 2117064"/>
                        <a:gd name="connsiteX6888" fmla="*/ 883460 w 1263758"/>
                        <a:gd name="connsiteY6888" fmla="*/ 1975297 h 2117064"/>
                        <a:gd name="connsiteX6889" fmla="*/ 882560 w 1263758"/>
                        <a:gd name="connsiteY6889" fmla="*/ 1973497 h 2117064"/>
                        <a:gd name="connsiteX6890" fmla="*/ 885261 w 1263758"/>
                        <a:gd name="connsiteY6890" fmla="*/ 1965396 h 2117064"/>
                        <a:gd name="connsiteX6891" fmla="*/ 885261 w 1263758"/>
                        <a:gd name="connsiteY6891" fmla="*/ 1964496 h 2117064"/>
                        <a:gd name="connsiteX6892" fmla="*/ 885261 w 1263758"/>
                        <a:gd name="connsiteY6892" fmla="*/ 1963596 h 2117064"/>
                        <a:gd name="connsiteX6893" fmla="*/ 884361 w 1263758"/>
                        <a:gd name="connsiteY6893" fmla="*/ 1962246 h 2117064"/>
                        <a:gd name="connsiteX6894" fmla="*/ 883460 w 1263758"/>
                        <a:gd name="connsiteY6894" fmla="*/ 1963596 h 2117064"/>
                        <a:gd name="connsiteX6895" fmla="*/ 879410 w 1263758"/>
                        <a:gd name="connsiteY6895" fmla="*/ 1972597 h 2117064"/>
                        <a:gd name="connsiteX6896" fmla="*/ 878510 w 1263758"/>
                        <a:gd name="connsiteY6896" fmla="*/ 1973947 h 2117064"/>
                        <a:gd name="connsiteX6897" fmla="*/ 877610 w 1263758"/>
                        <a:gd name="connsiteY6897" fmla="*/ 1974847 h 2117064"/>
                        <a:gd name="connsiteX6898" fmla="*/ 877160 w 1263758"/>
                        <a:gd name="connsiteY6898" fmla="*/ 1974847 h 2117064"/>
                        <a:gd name="connsiteX6899" fmla="*/ 875359 w 1263758"/>
                        <a:gd name="connsiteY6899" fmla="*/ 1974847 h 2117064"/>
                        <a:gd name="connsiteX6900" fmla="*/ 872209 w 1263758"/>
                        <a:gd name="connsiteY6900" fmla="*/ 1977547 h 2117064"/>
                        <a:gd name="connsiteX6901" fmla="*/ 878060 w 1263758"/>
                        <a:gd name="connsiteY6901" fmla="*/ 1966746 h 2117064"/>
                        <a:gd name="connsiteX6902" fmla="*/ 878060 w 1263758"/>
                        <a:gd name="connsiteY6902" fmla="*/ 1965846 h 2117064"/>
                        <a:gd name="connsiteX6903" fmla="*/ 877160 w 1263758"/>
                        <a:gd name="connsiteY6903" fmla="*/ 1965396 h 2117064"/>
                        <a:gd name="connsiteX6904" fmla="*/ 876710 w 1263758"/>
                        <a:gd name="connsiteY6904" fmla="*/ 1965846 h 2117064"/>
                        <a:gd name="connsiteX6905" fmla="*/ 872209 w 1263758"/>
                        <a:gd name="connsiteY6905" fmla="*/ 1972597 h 2117064"/>
                        <a:gd name="connsiteX6906" fmla="*/ 869509 w 1263758"/>
                        <a:gd name="connsiteY6906" fmla="*/ 1975297 h 2117064"/>
                        <a:gd name="connsiteX6907" fmla="*/ 867708 w 1263758"/>
                        <a:gd name="connsiteY6907" fmla="*/ 1974397 h 2117064"/>
                        <a:gd name="connsiteX6908" fmla="*/ 867258 w 1263758"/>
                        <a:gd name="connsiteY6908" fmla="*/ 1973497 h 2117064"/>
                        <a:gd name="connsiteX6909" fmla="*/ 867258 w 1263758"/>
                        <a:gd name="connsiteY6909" fmla="*/ 1972597 h 2117064"/>
                        <a:gd name="connsiteX6910" fmla="*/ 871759 w 1263758"/>
                        <a:gd name="connsiteY6910" fmla="*/ 1965846 h 2117064"/>
                        <a:gd name="connsiteX6911" fmla="*/ 875810 w 1263758"/>
                        <a:gd name="connsiteY6911" fmla="*/ 1960895 h 2117064"/>
                        <a:gd name="connsiteX6912" fmla="*/ 877610 w 1263758"/>
                        <a:gd name="connsiteY6912" fmla="*/ 1957745 h 2117064"/>
                        <a:gd name="connsiteX6913" fmla="*/ 878510 w 1263758"/>
                        <a:gd name="connsiteY6913" fmla="*/ 1954595 h 2117064"/>
                        <a:gd name="connsiteX6914" fmla="*/ 878960 w 1263758"/>
                        <a:gd name="connsiteY6914" fmla="*/ 1952344 h 2117064"/>
                        <a:gd name="connsiteX6915" fmla="*/ 878960 w 1263758"/>
                        <a:gd name="connsiteY6915" fmla="*/ 1950094 h 2117064"/>
                        <a:gd name="connsiteX6916" fmla="*/ 878960 w 1263758"/>
                        <a:gd name="connsiteY6916" fmla="*/ 1949644 h 2117064"/>
                        <a:gd name="connsiteX6917" fmla="*/ 879410 w 1263758"/>
                        <a:gd name="connsiteY6917" fmla="*/ 1949644 h 2117064"/>
                        <a:gd name="connsiteX6918" fmla="*/ 879860 w 1263758"/>
                        <a:gd name="connsiteY6918" fmla="*/ 1950544 h 2117064"/>
                        <a:gd name="connsiteX6919" fmla="*/ 879860 w 1263758"/>
                        <a:gd name="connsiteY6919" fmla="*/ 1953244 h 2117064"/>
                        <a:gd name="connsiteX6920" fmla="*/ 878960 w 1263758"/>
                        <a:gd name="connsiteY6920" fmla="*/ 1958195 h 2117064"/>
                        <a:gd name="connsiteX6921" fmla="*/ 878060 w 1263758"/>
                        <a:gd name="connsiteY6921" fmla="*/ 1960895 h 2117064"/>
                        <a:gd name="connsiteX6922" fmla="*/ 877160 w 1263758"/>
                        <a:gd name="connsiteY6922" fmla="*/ 1963146 h 2117064"/>
                        <a:gd name="connsiteX6923" fmla="*/ 877610 w 1263758"/>
                        <a:gd name="connsiteY6923" fmla="*/ 1963596 h 2117064"/>
                        <a:gd name="connsiteX6924" fmla="*/ 879410 w 1263758"/>
                        <a:gd name="connsiteY6924" fmla="*/ 1962246 h 2117064"/>
                        <a:gd name="connsiteX6925" fmla="*/ 880760 w 1263758"/>
                        <a:gd name="connsiteY6925" fmla="*/ 1959545 h 2117064"/>
                        <a:gd name="connsiteX6926" fmla="*/ 882110 w 1263758"/>
                        <a:gd name="connsiteY6926" fmla="*/ 1955945 h 2117064"/>
                        <a:gd name="connsiteX6927" fmla="*/ 883010 w 1263758"/>
                        <a:gd name="connsiteY6927" fmla="*/ 1952794 h 2117064"/>
                        <a:gd name="connsiteX6928" fmla="*/ 883910 w 1263758"/>
                        <a:gd name="connsiteY6928" fmla="*/ 1947394 h 2117064"/>
                        <a:gd name="connsiteX6929" fmla="*/ 884361 w 1263758"/>
                        <a:gd name="connsiteY6929" fmla="*/ 1947394 h 2117064"/>
                        <a:gd name="connsiteX6930" fmla="*/ 884811 w 1263758"/>
                        <a:gd name="connsiteY6930" fmla="*/ 1948294 h 2117064"/>
                        <a:gd name="connsiteX6931" fmla="*/ 885711 w 1263758"/>
                        <a:gd name="connsiteY6931" fmla="*/ 1949194 h 2117064"/>
                        <a:gd name="connsiteX6932" fmla="*/ 887061 w 1263758"/>
                        <a:gd name="connsiteY6932" fmla="*/ 1949644 h 2117064"/>
                        <a:gd name="connsiteX6933" fmla="*/ 887511 w 1263758"/>
                        <a:gd name="connsiteY6933" fmla="*/ 1950544 h 2117064"/>
                        <a:gd name="connsiteX6934" fmla="*/ 887961 w 1263758"/>
                        <a:gd name="connsiteY6934" fmla="*/ 1952344 h 2117064"/>
                        <a:gd name="connsiteX6935" fmla="*/ 888411 w 1263758"/>
                        <a:gd name="connsiteY6935" fmla="*/ 1953244 h 2117064"/>
                        <a:gd name="connsiteX6936" fmla="*/ 890211 w 1263758"/>
                        <a:gd name="connsiteY6936" fmla="*/ 1953695 h 2117064"/>
                        <a:gd name="connsiteX6937" fmla="*/ 891111 w 1263758"/>
                        <a:gd name="connsiteY6937" fmla="*/ 1954145 h 2117064"/>
                        <a:gd name="connsiteX6938" fmla="*/ 891561 w 1263758"/>
                        <a:gd name="connsiteY6938" fmla="*/ 1955945 h 2117064"/>
                        <a:gd name="connsiteX6939" fmla="*/ 891561 w 1263758"/>
                        <a:gd name="connsiteY6939" fmla="*/ 1956845 h 2117064"/>
                        <a:gd name="connsiteX6940" fmla="*/ 892011 w 1263758"/>
                        <a:gd name="connsiteY6940" fmla="*/ 1957295 h 2117064"/>
                        <a:gd name="connsiteX6941" fmla="*/ 892462 w 1263758"/>
                        <a:gd name="connsiteY6941" fmla="*/ 1957745 h 2117064"/>
                        <a:gd name="connsiteX6942" fmla="*/ 889311 w 1263758"/>
                        <a:gd name="connsiteY6942" fmla="*/ 1960445 h 2117064"/>
                        <a:gd name="connsiteX6943" fmla="*/ 866808 w 1263758"/>
                        <a:gd name="connsiteY6943" fmla="*/ 1962696 h 2117064"/>
                        <a:gd name="connsiteX6944" fmla="*/ 865908 w 1263758"/>
                        <a:gd name="connsiteY6944" fmla="*/ 1963146 h 2117064"/>
                        <a:gd name="connsiteX6945" fmla="*/ 864558 w 1263758"/>
                        <a:gd name="connsiteY6945" fmla="*/ 1962696 h 2117064"/>
                        <a:gd name="connsiteX6946" fmla="*/ 865008 w 1263758"/>
                        <a:gd name="connsiteY6946" fmla="*/ 1959995 h 2117064"/>
                        <a:gd name="connsiteX6947" fmla="*/ 865908 w 1263758"/>
                        <a:gd name="connsiteY6947" fmla="*/ 1958645 h 2117064"/>
                        <a:gd name="connsiteX6948" fmla="*/ 868609 w 1263758"/>
                        <a:gd name="connsiteY6948" fmla="*/ 1957295 h 2117064"/>
                        <a:gd name="connsiteX6949" fmla="*/ 869059 w 1263758"/>
                        <a:gd name="connsiteY6949" fmla="*/ 1956395 h 2117064"/>
                        <a:gd name="connsiteX6950" fmla="*/ 869959 w 1263758"/>
                        <a:gd name="connsiteY6950" fmla="*/ 1955945 h 2117064"/>
                        <a:gd name="connsiteX6951" fmla="*/ 871309 w 1263758"/>
                        <a:gd name="connsiteY6951" fmla="*/ 1955945 h 2117064"/>
                        <a:gd name="connsiteX6952" fmla="*/ 872659 w 1263758"/>
                        <a:gd name="connsiteY6952" fmla="*/ 1955045 h 2117064"/>
                        <a:gd name="connsiteX6953" fmla="*/ 874459 w 1263758"/>
                        <a:gd name="connsiteY6953" fmla="*/ 1952794 h 2117064"/>
                        <a:gd name="connsiteX6954" fmla="*/ 874909 w 1263758"/>
                        <a:gd name="connsiteY6954" fmla="*/ 1952344 h 2117064"/>
                        <a:gd name="connsiteX6955" fmla="*/ 874009 w 1263758"/>
                        <a:gd name="connsiteY6955" fmla="*/ 1955495 h 2117064"/>
                        <a:gd name="connsiteX6956" fmla="*/ 872659 w 1263758"/>
                        <a:gd name="connsiteY6956" fmla="*/ 1957745 h 2117064"/>
                        <a:gd name="connsiteX6957" fmla="*/ 866808 w 1263758"/>
                        <a:gd name="connsiteY6957" fmla="*/ 1962696 h 2117064"/>
                        <a:gd name="connsiteX6958" fmla="*/ 891561 w 1263758"/>
                        <a:gd name="connsiteY6958" fmla="*/ 1965396 h 2117064"/>
                        <a:gd name="connsiteX6959" fmla="*/ 890661 w 1263758"/>
                        <a:gd name="connsiteY6959" fmla="*/ 1965846 h 2117064"/>
                        <a:gd name="connsiteX6960" fmla="*/ 889761 w 1263758"/>
                        <a:gd name="connsiteY6960" fmla="*/ 1965846 h 2117064"/>
                        <a:gd name="connsiteX6961" fmla="*/ 889761 w 1263758"/>
                        <a:gd name="connsiteY6961" fmla="*/ 1964496 h 2117064"/>
                        <a:gd name="connsiteX6962" fmla="*/ 890661 w 1263758"/>
                        <a:gd name="connsiteY6962" fmla="*/ 1961796 h 2117064"/>
                        <a:gd name="connsiteX6963" fmla="*/ 891111 w 1263758"/>
                        <a:gd name="connsiteY6963" fmla="*/ 1959545 h 2117064"/>
                        <a:gd name="connsiteX6964" fmla="*/ 891111 w 1263758"/>
                        <a:gd name="connsiteY6964" fmla="*/ 1957745 h 2117064"/>
                        <a:gd name="connsiteX6965" fmla="*/ 891561 w 1263758"/>
                        <a:gd name="connsiteY6965" fmla="*/ 1955945 h 2117064"/>
                        <a:gd name="connsiteX6966" fmla="*/ 892462 w 1263758"/>
                        <a:gd name="connsiteY6966" fmla="*/ 1954595 h 2117064"/>
                        <a:gd name="connsiteX6967" fmla="*/ 893362 w 1263758"/>
                        <a:gd name="connsiteY6967" fmla="*/ 1953695 h 2117064"/>
                        <a:gd name="connsiteX6968" fmla="*/ 894712 w 1263758"/>
                        <a:gd name="connsiteY6968" fmla="*/ 1953695 h 2117064"/>
                        <a:gd name="connsiteX6969" fmla="*/ 895162 w 1263758"/>
                        <a:gd name="connsiteY6969" fmla="*/ 1958195 h 2117064"/>
                        <a:gd name="connsiteX6970" fmla="*/ 894712 w 1263758"/>
                        <a:gd name="connsiteY6970" fmla="*/ 1960445 h 2117064"/>
                        <a:gd name="connsiteX6971" fmla="*/ 893812 w 1263758"/>
                        <a:gd name="connsiteY6971" fmla="*/ 1962246 h 2117064"/>
                        <a:gd name="connsiteX6972" fmla="*/ 892912 w 1263758"/>
                        <a:gd name="connsiteY6972" fmla="*/ 1963596 h 2117064"/>
                        <a:gd name="connsiteX6973" fmla="*/ 891561 w 1263758"/>
                        <a:gd name="connsiteY6973" fmla="*/ 1965396 h 2117064"/>
                        <a:gd name="connsiteX6974" fmla="*/ 867708 w 1263758"/>
                        <a:gd name="connsiteY6974" fmla="*/ 2069359 h 2117064"/>
                        <a:gd name="connsiteX6975" fmla="*/ 867708 w 1263758"/>
                        <a:gd name="connsiteY6975" fmla="*/ 2070259 h 2117064"/>
                        <a:gd name="connsiteX6976" fmla="*/ 866358 w 1263758"/>
                        <a:gd name="connsiteY6976" fmla="*/ 2070259 h 2117064"/>
                        <a:gd name="connsiteX6977" fmla="*/ 865458 w 1263758"/>
                        <a:gd name="connsiteY6977" fmla="*/ 2069809 h 2117064"/>
                        <a:gd name="connsiteX6978" fmla="*/ 865008 w 1263758"/>
                        <a:gd name="connsiteY6978" fmla="*/ 2068909 h 2117064"/>
                        <a:gd name="connsiteX6979" fmla="*/ 865008 w 1263758"/>
                        <a:gd name="connsiteY6979" fmla="*/ 2068009 h 2117064"/>
                        <a:gd name="connsiteX6980" fmla="*/ 865458 w 1263758"/>
                        <a:gd name="connsiteY6980" fmla="*/ 2067109 h 2117064"/>
                        <a:gd name="connsiteX6981" fmla="*/ 867258 w 1263758"/>
                        <a:gd name="connsiteY6981" fmla="*/ 2067559 h 2117064"/>
                        <a:gd name="connsiteX6982" fmla="*/ 867708 w 1263758"/>
                        <a:gd name="connsiteY6982" fmla="*/ 2069359 h 2117064"/>
                        <a:gd name="connsiteX6983" fmla="*/ 851056 w 1263758"/>
                        <a:gd name="connsiteY6983" fmla="*/ 2089162 h 2117064"/>
                        <a:gd name="connsiteX6984" fmla="*/ 849706 w 1263758"/>
                        <a:gd name="connsiteY6984" fmla="*/ 2089611 h 2117064"/>
                        <a:gd name="connsiteX6985" fmla="*/ 845206 w 1263758"/>
                        <a:gd name="connsiteY6985" fmla="*/ 2088711 h 2117064"/>
                        <a:gd name="connsiteX6986" fmla="*/ 843405 w 1263758"/>
                        <a:gd name="connsiteY6986" fmla="*/ 2088261 h 2117064"/>
                        <a:gd name="connsiteX6987" fmla="*/ 838005 w 1263758"/>
                        <a:gd name="connsiteY6987" fmla="*/ 2085561 h 2117064"/>
                        <a:gd name="connsiteX6988" fmla="*/ 827653 w 1263758"/>
                        <a:gd name="connsiteY6988" fmla="*/ 2081961 h 2117064"/>
                        <a:gd name="connsiteX6989" fmla="*/ 824053 w 1263758"/>
                        <a:gd name="connsiteY6989" fmla="*/ 2080160 h 2117064"/>
                        <a:gd name="connsiteX6990" fmla="*/ 823153 w 1263758"/>
                        <a:gd name="connsiteY6990" fmla="*/ 2078810 h 2117064"/>
                        <a:gd name="connsiteX6991" fmla="*/ 824953 w 1263758"/>
                        <a:gd name="connsiteY6991" fmla="*/ 2076110 h 2117064"/>
                        <a:gd name="connsiteX6992" fmla="*/ 825853 w 1263758"/>
                        <a:gd name="connsiteY6992" fmla="*/ 2074760 h 2117064"/>
                        <a:gd name="connsiteX6993" fmla="*/ 827203 w 1263758"/>
                        <a:gd name="connsiteY6993" fmla="*/ 2073860 h 2117064"/>
                        <a:gd name="connsiteX6994" fmla="*/ 838005 w 1263758"/>
                        <a:gd name="connsiteY6994" fmla="*/ 2072509 h 2117064"/>
                        <a:gd name="connsiteX6995" fmla="*/ 842055 w 1263758"/>
                        <a:gd name="connsiteY6995" fmla="*/ 2072959 h 2117064"/>
                        <a:gd name="connsiteX6996" fmla="*/ 847006 w 1263758"/>
                        <a:gd name="connsiteY6996" fmla="*/ 2078810 h 2117064"/>
                        <a:gd name="connsiteX6997" fmla="*/ 849706 w 1263758"/>
                        <a:gd name="connsiteY6997" fmla="*/ 2082861 h 2117064"/>
                        <a:gd name="connsiteX6998" fmla="*/ 851056 w 1263758"/>
                        <a:gd name="connsiteY6998" fmla="*/ 2086011 h 2117064"/>
                        <a:gd name="connsiteX6999" fmla="*/ 851056 w 1263758"/>
                        <a:gd name="connsiteY6999" fmla="*/ 2087361 h 2117064"/>
                        <a:gd name="connsiteX7000" fmla="*/ 851056 w 1263758"/>
                        <a:gd name="connsiteY7000" fmla="*/ 2089162 h 2117064"/>
                        <a:gd name="connsiteX7001" fmla="*/ 879410 w 1263758"/>
                        <a:gd name="connsiteY7001" fmla="*/ 2116615 h 2117064"/>
                        <a:gd name="connsiteX7002" fmla="*/ 878510 w 1263758"/>
                        <a:gd name="connsiteY7002" fmla="*/ 2117065 h 2117064"/>
                        <a:gd name="connsiteX7003" fmla="*/ 876710 w 1263758"/>
                        <a:gd name="connsiteY7003" fmla="*/ 2116615 h 2117064"/>
                        <a:gd name="connsiteX7004" fmla="*/ 874909 w 1263758"/>
                        <a:gd name="connsiteY7004" fmla="*/ 2115715 h 2117064"/>
                        <a:gd name="connsiteX7005" fmla="*/ 874009 w 1263758"/>
                        <a:gd name="connsiteY7005" fmla="*/ 2114815 h 2117064"/>
                        <a:gd name="connsiteX7006" fmla="*/ 880760 w 1263758"/>
                        <a:gd name="connsiteY7006" fmla="*/ 2111664 h 2117064"/>
                        <a:gd name="connsiteX7007" fmla="*/ 882110 w 1263758"/>
                        <a:gd name="connsiteY7007" fmla="*/ 2112114 h 2117064"/>
                        <a:gd name="connsiteX7008" fmla="*/ 882110 w 1263758"/>
                        <a:gd name="connsiteY7008" fmla="*/ 2112564 h 2117064"/>
                        <a:gd name="connsiteX7009" fmla="*/ 881210 w 1263758"/>
                        <a:gd name="connsiteY7009" fmla="*/ 2114365 h 2117064"/>
                        <a:gd name="connsiteX7010" fmla="*/ 880760 w 1263758"/>
                        <a:gd name="connsiteY7010" fmla="*/ 2115265 h 2117064"/>
                        <a:gd name="connsiteX7011" fmla="*/ 880310 w 1263758"/>
                        <a:gd name="connsiteY7011" fmla="*/ 2116165 h 2117064"/>
                        <a:gd name="connsiteX7012" fmla="*/ 879410 w 1263758"/>
                        <a:gd name="connsiteY7012" fmla="*/ 2116615 h 21170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 ang="0">
                          <a:pos x="connsiteX2796" y="connsiteY2796"/>
                        </a:cxn>
                        <a:cxn ang="0">
                          <a:pos x="connsiteX2797" y="connsiteY2797"/>
                        </a:cxn>
                        <a:cxn ang="0">
                          <a:pos x="connsiteX2798" y="connsiteY2798"/>
                        </a:cxn>
                        <a:cxn ang="0">
                          <a:pos x="connsiteX2799" y="connsiteY2799"/>
                        </a:cxn>
                        <a:cxn ang="0">
                          <a:pos x="connsiteX2800" y="connsiteY2800"/>
                        </a:cxn>
                        <a:cxn ang="0">
                          <a:pos x="connsiteX2801" y="connsiteY2801"/>
                        </a:cxn>
                        <a:cxn ang="0">
                          <a:pos x="connsiteX2802" y="connsiteY2802"/>
                        </a:cxn>
                        <a:cxn ang="0">
                          <a:pos x="connsiteX2803" y="connsiteY2803"/>
                        </a:cxn>
                        <a:cxn ang="0">
                          <a:pos x="connsiteX2804" y="connsiteY2804"/>
                        </a:cxn>
                        <a:cxn ang="0">
                          <a:pos x="connsiteX2805" y="connsiteY2805"/>
                        </a:cxn>
                        <a:cxn ang="0">
                          <a:pos x="connsiteX2806" y="connsiteY2806"/>
                        </a:cxn>
                        <a:cxn ang="0">
                          <a:pos x="connsiteX2807" y="connsiteY2807"/>
                        </a:cxn>
                        <a:cxn ang="0">
                          <a:pos x="connsiteX2808" y="connsiteY2808"/>
                        </a:cxn>
                        <a:cxn ang="0">
                          <a:pos x="connsiteX2809" y="connsiteY2809"/>
                        </a:cxn>
                        <a:cxn ang="0">
                          <a:pos x="connsiteX2810" y="connsiteY2810"/>
                        </a:cxn>
                        <a:cxn ang="0">
                          <a:pos x="connsiteX2811" y="connsiteY2811"/>
                        </a:cxn>
                        <a:cxn ang="0">
                          <a:pos x="connsiteX2812" y="connsiteY2812"/>
                        </a:cxn>
                        <a:cxn ang="0">
                          <a:pos x="connsiteX2813" y="connsiteY2813"/>
                        </a:cxn>
                        <a:cxn ang="0">
                          <a:pos x="connsiteX2814" y="connsiteY2814"/>
                        </a:cxn>
                        <a:cxn ang="0">
                          <a:pos x="connsiteX2815" y="connsiteY2815"/>
                        </a:cxn>
                        <a:cxn ang="0">
                          <a:pos x="connsiteX2816" y="connsiteY2816"/>
                        </a:cxn>
                        <a:cxn ang="0">
                          <a:pos x="connsiteX2817" y="connsiteY2817"/>
                        </a:cxn>
                        <a:cxn ang="0">
                          <a:pos x="connsiteX2818" y="connsiteY2818"/>
                        </a:cxn>
                        <a:cxn ang="0">
                          <a:pos x="connsiteX2819" y="connsiteY2819"/>
                        </a:cxn>
                        <a:cxn ang="0">
                          <a:pos x="connsiteX2820" y="connsiteY2820"/>
                        </a:cxn>
                        <a:cxn ang="0">
                          <a:pos x="connsiteX2821" y="connsiteY2821"/>
                        </a:cxn>
                        <a:cxn ang="0">
                          <a:pos x="connsiteX2822" y="connsiteY2822"/>
                        </a:cxn>
                        <a:cxn ang="0">
                          <a:pos x="connsiteX2823" y="connsiteY2823"/>
                        </a:cxn>
                        <a:cxn ang="0">
                          <a:pos x="connsiteX2824" y="connsiteY2824"/>
                        </a:cxn>
                        <a:cxn ang="0">
                          <a:pos x="connsiteX2825" y="connsiteY2825"/>
                        </a:cxn>
                        <a:cxn ang="0">
                          <a:pos x="connsiteX2826" y="connsiteY2826"/>
                        </a:cxn>
                        <a:cxn ang="0">
                          <a:pos x="connsiteX2827" y="connsiteY2827"/>
                        </a:cxn>
                        <a:cxn ang="0">
                          <a:pos x="connsiteX2828" y="connsiteY2828"/>
                        </a:cxn>
                        <a:cxn ang="0">
                          <a:pos x="connsiteX2829" y="connsiteY2829"/>
                        </a:cxn>
                        <a:cxn ang="0">
                          <a:pos x="connsiteX2830" y="connsiteY2830"/>
                        </a:cxn>
                        <a:cxn ang="0">
                          <a:pos x="connsiteX2831" y="connsiteY2831"/>
                        </a:cxn>
                        <a:cxn ang="0">
                          <a:pos x="connsiteX2832" y="connsiteY2832"/>
                        </a:cxn>
                        <a:cxn ang="0">
                          <a:pos x="connsiteX2833" y="connsiteY2833"/>
                        </a:cxn>
                        <a:cxn ang="0">
                          <a:pos x="connsiteX2834" y="connsiteY2834"/>
                        </a:cxn>
                        <a:cxn ang="0">
                          <a:pos x="connsiteX2835" y="connsiteY2835"/>
                        </a:cxn>
                        <a:cxn ang="0">
                          <a:pos x="connsiteX2836" y="connsiteY2836"/>
                        </a:cxn>
                        <a:cxn ang="0">
                          <a:pos x="connsiteX2837" y="connsiteY2837"/>
                        </a:cxn>
                        <a:cxn ang="0">
                          <a:pos x="connsiteX2838" y="connsiteY2838"/>
                        </a:cxn>
                        <a:cxn ang="0">
                          <a:pos x="connsiteX2839" y="connsiteY2839"/>
                        </a:cxn>
                        <a:cxn ang="0">
                          <a:pos x="connsiteX2840" y="connsiteY2840"/>
                        </a:cxn>
                        <a:cxn ang="0">
                          <a:pos x="connsiteX2841" y="connsiteY2841"/>
                        </a:cxn>
                        <a:cxn ang="0">
                          <a:pos x="connsiteX2842" y="connsiteY2842"/>
                        </a:cxn>
                        <a:cxn ang="0">
                          <a:pos x="connsiteX2843" y="connsiteY2843"/>
                        </a:cxn>
                        <a:cxn ang="0">
                          <a:pos x="connsiteX2844" y="connsiteY2844"/>
                        </a:cxn>
                        <a:cxn ang="0">
                          <a:pos x="connsiteX2845" y="connsiteY2845"/>
                        </a:cxn>
                        <a:cxn ang="0">
                          <a:pos x="connsiteX2846" y="connsiteY2846"/>
                        </a:cxn>
                        <a:cxn ang="0">
                          <a:pos x="connsiteX2847" y="connsiteY2847"/>
                        </a:cxn>
                        <a:cxn ang="0">
                          <a:pos x="connsiteX2848" y="connsiteY2848"/>
                        </a:cxn>
                        <a:cxn ang="0">
                          <a:pos x="connsiteX2849" y="connsiteY2849"/>
                        </a:cxn>
                        <a:cxn ang="0">
                          <a:pos x="connsiteX2850" y="connsiteY2850"/>
                        </a:cxn>
                        <a:cxn ang="0">
                          <a:pos x="connsiteX2851" y="connsiteY2851"/>
                        </a:cxn>
                        <a:cxn ang="0">
                          <a:pos x="connsiteX2852" y="connsiteY2852"/>
                        </a:cxn>
                        <a:cxn ang="0">
                          <a:pos x="connsiteX2853" y="connsiteY2853"/>
                        </a:cxn>
                        <a:cxn ang="0">
                          <a:pos x="connsiteX2854" y="connsiteY2854"/>
                        </a:cxn>
                        <a:cxn ang="0">
                          <a:pos x="connsiteX2855" y="connsiteY2855"/>
                        </a:cxn>
                        <a:cxn ang="0">
                          <a:pos x="connsiteX2856" y="connsiteY2856"/>
                        </a:cxn>
                        <a:cxn ang="0">
                          <a:pos x="connsiteX2857" y="connsiteY2857"/>
                        </a:cxn>
                        <a:cxn ang="0">
                          <a:pos x="connsiteX2858" y="connsiteY2858"/>
                        </a:cxn>
                        <a:cxn ang="0">
                          <a:pos x="connsiteX2859" y="connsiteY2859"/>
                        </a:cxn>
                        <a:cxn ang="0">
                          <a:pos x="connsiteX2860" y="connsiteY2860"/>
                        </a:cxn>
                        <a:cxn ang="0">
                          <a:pos x="connsiteX2861" y="connsiteY2861"/>
                        </a:cxn>
                        <a:cxn ang="0">
                          <a:pos x="connsiteX2862" y="connsiteY2862"/>
                        </a:cxn>
                        <a:cxn ang="0">
                          <a:pos x="connsiteX2863" y="connsiteY2863"/>
                        </a:cxn>
                        <a:cxn ang="0">
                          <a:pos x="connsiteX2864" y="connsiteY2864"/>
                        </a:cxn>
                        <a:cxn ang="0">
                          <a:pos x="connsiteX2865" y="connsiteY2865"/>
                        </a:cxn>
                        <a:cxn ang="0">
                          <a:pos x="connsiteX2866" y="connsiteY2866"/>
                        </a:cxn>
                        <a:cxn ang="0">
                          <a:pos x="connsiteX2867" y="connsiteY2867"/>
                        </a:cxn>
                        <a:cxn ang="0">
                          <a:pos x="connsiteX2868" y="connsiteY2868"/>
                        </a:cxn>
                        <a:cxn ang="0">
                          <a:pos x="connsiteX2869" y="connsiteY2869"/>
                        </a:cxn>
                        <a:cxn ang="0">
                          <a:pos x="connsiteX2870" y="connsiteY2870"/>
                        </a:cxn>
                        <a:cxn ang="0">
                          <a:pos x="connsiteX2871" y="connsiteY2871"/>
                        </a:cxn>
                        <a:cxn ang="0">
                          <a:pos x="connsiteX2872" y="connsiteY2872"/>
                        </a:cxn>
                        <a:cxn ang="0">
                          <a:pos x="connsiteX2873" y="connsiteY2873"/>
                        </a:cxn>
                        <a:cxn ang="0">
                          <a:pos x="connsiteX2874" y="connsiteY2874"/>
                        </a:cxn>
                        <a:cxn ang="0">
                          <a:pos x="connsiteX2875" y="connsiteY2875"/>
                        </a:cxn>
                        <a:cxn ang="0">
                          <a:pos x="connsiteX2876" y="connsiteY2876"/>
                        </a:cxn>
                        <a:cxn ang="0">
                          <a:pos x="connsiteX2877" y="connsiteY2877"/>
                        </a:cxn>
                        <a:cxn ang="0">
                          <a:pos x="connsiteX2878" y="connsiteY2878"/>
                        </a:cxn>
                        <a:cxn ang="0">
                          <a:pos x="connsiteX2879" y="connsiteY2879"/>
                        </a:cxn>
                        <a:cxn ang="0">
                          <a:pos x="connsiteX2880" y="connsiteY2880"/>
                        </a:cxn>
                        <a:cxn ang="0">
                          <a:pos x="connsiteX2881" y="connsiteY2881"/>
                        </a:cxn>
                        <a:cxn ang="0">
                          <a:pos x="connsiteX2882" y="connsiteY2882"/>
                        </a:cxn>
                        <a:cxn ang="0">
                          <a:pos x="connsiteX2883" y="connsiteY2883"/>
                        </a:cxn>
                        <a:cxn ang="0">
                          <a:pos x="connsiteX2884" y="connsiteY2884"/>
                        </a:cxn>
                        <a:cxn ang="0">
                          <a:pos x="connsiteX2885" y="connsiteY2885"/>
                        </a:cxn>
                        <a:cxn ang="0">
                          <a:pos x="connsiteX2886" y="connsiteY2886"/>
                        </a:cxn>
                        <a:cxn ang="0">
                          <a:pos x="connsiteX2887" y="connsiteY2887"/>
                        </a:cxn>
                        <a:cxn ang="0">
                          <a:pos x="connsiteX2888" y="connsiteY2888"/>
                        </a:cxn>
                        <a:cxn ang="0">
                          <a:pos x="connsiteX2889" y="connsiteY2889"/>
                        </a:cxn>
                        <a:cxn ang="0">
                          <a:pos x="connsiteX2890" y="connsiteY2890"/>
                        </a:cxn>
                        <a:cxn ang="0">
                          <a:pos x="connsiteX2891" y="connsiteY2891"/>
                        </a:cxn>
                        <a:cxn ang="0">
                          <a:pos x="connsiteX2892" y="connsiteY2892"/>
                        </a:cxn>
                        <a:cxn ang="0">
                          <a:pos x="connsiteX2893" y="connsiteY2893"/>
                        </a:cxn>
                        <a:cxn ang="0">
                          <a:pos x="connsiteX2894" y="connsiteY2894"/>
                        </a:cxn>
                        <a:cxn ang="0">
                          <a:pos x="connsiteX2895" y="connsiteY2895"/>
                        </a:cxn>
                        <a:cxn ang="0">
                          <a:pos x="connsiteX2896" y="connsiteY2896"/>
                        </a:cxn>
                        <a:cxn ang="0">
                          <a:pos x="connsiteX2897" y="connsiteY2897"/>
                        </a:cxn>
                        <a:cxn ang="0">
                          <a:pos x="connsiteX2898" y="connsiteY2898"/>
                        </a:cxn>
                        <a:cxn ang="0">
                          <a:pos x="connsiteX2899" y="connsiteY2899"/>
                        </a:cxn>
                        <a:cxn ang="0">
                          <a:pos x="connsiteX2900" y="connsiteY2900"/>
                        </a:cxn>
                        <a:cxn ang="0">
                          <a:pos x="connsiteX2901" y="connsiteY2901"/>
                        </a:cxn>
                        <a:cxn ang="0">
                          <a:pos x="connsiteX2902" y="connsiteY2902"/>
                        </a:cxn>
                        <a:cxn ang="0">
                          <a:pos x="connsiteX2903" y="connsiteY2903"/>
                        </a:cxn>
                        <a:cxn ang="0">
                          <a:pos x="connsiteX2904" y="connsiteY2904"/>
                        </a:cxn>
                        <a:cxn ang="0">
                          <a:pos x="connsiteX2905" y="connsiteY2905"/>
                        </a:cxn>
                        <a:cxn ang="0">
                          <a:pos x="connsiteX2906" y="connsiteY2906"/>
                        </a:cxn>
                        <a:cxn ang="0">
                          <a:pos x="connsiteX2907" y="connsiteY2907"/>
                        </a:cxn>
                        <a:cxn ang="0">
                          <a:pos x="connsiteX2908" y="connsiteY2908"/>
                        </a:cxn>
                        <a:cxn ang="0">
                          <a:pos x="connsiteX2909" y="connsiteY2909"/>
                        </a:cxn>
                        <a:cxn ang="0">
                          <a:pos x="connsiteX2910" y="connsiteY2910"/>
                        </a:cxn>
                        <a:cxn ang="0">
                          <a:pos x="connsiteX2911" y="connsiteY2911"/>
                        </a:cxn>
                        <a:cxn ang="0">
                          <a:pos x="connsiteX2912" y="connsiteY2912"/>
                        </a:cxn>
                        <a:cxn ang="0">
                          <a:pos x="connsiteX2913" y="connsiteY2913"/>
                        </a:cxn>
                        <a:cxn ang="0">
                          <a:pos x="connsiteX2914" y="connsiteY2914"/>
                        </a:cxn>
                        <a:cxn ang="0">
                          <a:pos x="connsiteX2915" y="connsiteY2915"/>
                        </a:cxn>
                        <a:cxn ang="0">
                          <a:pos x="connsiteX2916" y="connsiteY2916"/>
                        </a:cxn>
                        <a:cxn ang="0">
                          <a:pos x="connsiteX2917" y="connsiteY2917"/>
                        </a:cxn>
                        <a:cxn ang="0">
                          <a:pos x="connsiteX2918" y="connsiteY2918"/>
                        </a:cxn>
                        <a:cxn ang="0">
                          <a:pos x="connsiteX2919" y="connsiteY2919"/>
                        </a:cxn>
                        <a:cxn ang="0">
                          <a:pos x="connsiteX2920" y="connsiteY2920"/>
                        </a:cxn>
                        <a:cxn ang="0">
                          <a:pos x="connsiteX2921" y="connsiteY2921"/>
                        </a:cxn>
                        <a:cxn ang="0">
                          <a:pos x="connsiteX2922" y="connsiteY2922"/>
                        </a:cxn>
                        <a:cxn ang="0">
                          <a:pos x="connsiteX2923" y="connsiteY2923"/>
                        </a:cxn>
                        <a:cxn ang="0">
                          <a:pos x="connsiteX2924" y="connsiteY2924"/>
                        </a:cxn>
                        <a:cxn ang="0">
                          <a:pos x="connsiteX2925" y="connsiteY2925"/>
                        </a:cxn>
                        <a:cxn ang="0">
                          <a:pos x="connsiteX2926" y="connsiteY2926"/>
                        </a:cxn>
                        <a:cxn ang="0">
                          <a:pos x="connsiteX2927" y="connsiteY2927"/>
                        </a:cxn>
                        <a:cxn ang="0">
                          <a:pos x="connsiteX2928" y="connsiteY2928"/>
                        </a:cxn>
                        <a:cxn ang="0">
                          <a:pos x="connsiteX2929" y="connsiteY2929"/>
                        </a:cxn>
                        <a:cxn ang="0">
                          <a:pos x="connsiteX2930" y="connsiteY2930"/>
                        </a:cxn>
                        <a:cxn ang="0">
                          <a:pos x="connsiteX2931" y="connsiteY2931"/>
                        </a:cxn>
                        <a:cxn ang="0">
                          <a:pos x="connsiteX2932" y="connsiteY2932"/>
                        </a:cxn>
                        <a:cxn ang="0">
                          <a:pos x="connsiteX2933" y="connsiteY2933"/>
                        </a:cxn>
                        <a:cxn ang="0">
                          <a:pos x="connsiteX2934" y="connsiteY2934"/>
                        </a:cxn>
                        <a:cxn ang="0">
                          <a:pos x="connsiteX2935" y="connsiteY2935"/>
                        </a:cxn>
                        <a:cxn ang="0">
                          <a:pos x="connsiteX2936" y="connsiteY2936"/>
                        </a:cxn>
                        <a:cxn ang="0">
                          <a:pos x="connsiteX2937" y="connsiteY2937"/>
                        </a:cxn>
                        <a:cxn ang="0">
                          <a:pos x="connsiteX2938" y="connsiteY2938"/>
                        </a:cxn>
                        <a:cxn ang="0">
                          <a:pos x="connsiteX2939" y="connsiteY2939"/>
                        </a:cxn>
                        <a:cxn ang="0">
                          <a:pos x="connsiteX2940" y="connsiteY2940"/>
                        </a:cxn>
                        <a:cxn ang="0">
                          <a:pos x="connsiteX2941" y="connsiteY2941"/>
                        </a:cxn>
                        <a:cxn ang="0">
                          <a:pos x="connsiteX2942" y="connsiteY2942"/>
                        </a:cxn>
                        <a:cxn ang="0">
                          <a:pos x="connsiteX2943" y="connsiteY2943"/>
                        </a:cxn>
                        <a:cxn ang="0">
                          <a:pos x="connsiteX2944" y="connsiteY2944"/>
                        </a:cxn>
                        <a:cxn ang="0">
                          <a:pos x="connsiteX2945" y="connsiteY2945"/>
                        </a:cxn>
                        <a:cxn ang="0">
                          <a:pos x="connsiteX2946" y="connsiteY2946"/>
                        </a:cxn>
                        <a:cxn ang="0">
                          <a:pos x="connsiteX2947" y="connsiteY2947"/>
                        </a:cxn>
                        <a:cxn ang="0">
                          <a:pos x="connsiteX2948" y="connsiteY2948"/>
                        </a:cxn>
                        <a:cxn ang="0">
                          <a:pos x="connsiteX2949" y="connsiteY2949"/>
                        </a:cxn>
                        <a:cxn ang="0">
                          <a:pos x="connsiteX2950" y="connsiteY2950"/>
                        </a:cxn>
                        <a:cxn ang="0">
                          <a:pos x="connsiteX2951" y="connsiteY2951"/>
                        </a:cxn>
                        <a:cxn ang="0">
                          <a:pos x="connsiteX2952" y="connsiteY2952"/>
                        </a:cxn>
                        <a:cxn ang="0">
                          <a:pos x="connsiteX2953" y="connsiteY2953"/>
                        </a:cxn>
                        <a:cxn ang="0">
                          <a:pos x="connsiteX2954" y="connsiteY2954"/>
                        </a:cxn>
                        <a:cxn ang="0">
                          <a:pos x="connsiteX2955" y="connsiteY2955"/>
                        </a:cxn>
                        <a:cxn ang="0">
                          <a:pos x="connsiteX2956" y="connsiteY2956"/>
                        </a:cxn>
                        <a:cxn ang="0">
                          <a:pos x="connsiteX2957" y="connsiteY2957"/>
                        </a:cxn>
                        <a:cxn ang="0">
                          <a:pos x="connsiteX2958" y="connsiteY2958"/>
                        </a:cxn>
                        <a:cxn ang="0">
                          <a:pos x="connsiteX2959" y="connsiteY2959"/>
                        </a:cxn>
                        <a:cxn ang="0">
                          <a:pos x="connsiteX2960" y="connsiteY2960"/>
                        </a:cxn>
                        <a:cxn ang="0">
                          <a:pos x="connsiteX2961" y="connsiteY2961"/>
                        </a:cxn>
                        <a:cxn ang="0">
                          <a:pos x="connsiteX2962" y="connsiteY2962"/>
                        </a:cxn>
                        <a:cxn ang="0">
                          <a:pos x="connsiteX2963" y="connsiteY2963"/>
                        </a:cxn>
                        <a:cxn ang="0">
                          <a:pos x="connsiteX2964" y="connsiteY2964"/>
                        </a:cxn>
                        <a:cxn ang="0">
                          <a:pos x="connsiteX2965" y="connsiteY2965"/>
                        </a:cxn>
                        <a:cxn ang="0">
                          <a:pos x="connsiteX2966" y="connsiteY2966"/>
                        </a:cxn>
                        <a:cxn ang="0">
                          <a:pos x="connsiteX2967" y="connsiteY2967"/>
                        </a:cxn>
                        <a:cxn ang="0">
                          <a:pos x="connsiteX2968" y="connsiteY2968"/>
                        </a:cxn>
                        <a:cxn ang="0">
                          <a:pos x="connsiteX2969" y="connsiteY2969"/>
                        </a:cxn>
                        <a:cxn ang="0">
                          <a:pos x="connsiteX2970" y="connsiteY2970"/>
                        </a:cxn>
                        <a:cxn ang="0">
                          <a:pos x="connsiteX2971" y="connsiteY2971"/>
                        </a:cxn>
                        <a:cxn ang="0">
                          <a:pos x="connsiteX2972" y="connsiteY2972"/>
                        </a:cxn>
                        <a:cxn ang="0">
                          <a:pos x="connsiteX2973" y="connsiteY2973"/>
                        </a:cxn>
                        <a:cxn ang="0">
                          <a:pos x="connsiteX2974" y="connsiteY2974"/>
                        </a:cxn>
                        <a:cxn ang="0">
                          <a:pos x="connsiteX2975" y="connsiteY2975"/>
                        </a:cxn>
                        <a:cxn ang="0">
                          <a:pos x="connsiteX2976" y="connsiteY2976"/>
                        </a:cxn>
                        <a:cxn ang="0">
                          <a:pos x="connsiteX2977" y="connsiteY2977"/>
                        </a:cxn>
                        <a:cxn ang="0">
                          <a:pos x="connsiteX2978" y="connsiteY2978"/>
                        </a:cxn>
                        <a:cxn ang="0">
                          <a:pos x="connsiteX2979" y="connsiteY2979"/>
                        </a:cxn>
                        <a:cxn ang="0">
                          <a:pos x="connsiteX2980" y="connsiteY2980"/>
                        </a:cxn>
                        <a:cxn ang="0">
                          <a:pos x="connsiteX2981" y="connsiteY2981"/>
                        </a:cxn>
                        <a:cxn ang="0">
                          <a:pos x="connsiteX2982" y="connsiteY2982"/>
                        </a:cxn>
                        <a:cxn ang="0">
                          <a:pos x="connsiteX2983" y="connsiteY2983"/>
                        </a:cxn>
                        <a:cxn ang="0">
                          <a:pos x="connsiteX2984" y="connsiteY2984"/>
                        </a:cxn>
                        <a:cxn ang="0">
                          <a:pos x="connsiteX2985" y="connsiteY2985"/>
                        </a:cxn>
                        <a:cxn ang="0">
                          <a:pos x="connsiteX2986" y="connsiteY2986"/>
                        </a:cxn>
                        <a:cxn ang="0">
                          <a:pos x="connsiteX2987" y="connsiteY2987"/>
                        </a:cxn>
                        <a:cxn ang="0">
                          <a:pos x="connsiteX2988" y="connsiteY2988"/>
                        </a:cxn>
                        <a:cxn ang="0">
                          <a:pos x="connsiteX2989" y="connsiteY2989"/>
                        </a:cxn>
                        <a:cxn ang="0">
                          <a:pos x="connsiteX2990" y="connsiteY2990"/>
                        </a:cxn>
                        <a:cxn ang="0">
                          <a:pos x="connsiteX2991" y="connsiteY2991"/>
                        </a:cxn>
                        <a:cxn ang="0">
                          <a:pos x="connsiteX2992" y="connsiteY2992"/>
                        </a:cxn>
                        <a:cxn ang="0">
                          <a:pos x="connsiteX2993" y="connsiteY2993"/>
                        </a:cxn>
                        <a:cxn ang="0">
                          <a:pos x="connsiteX2994" y="connsiteY2994"/>
                        </a:cxn>
                        <a:cxn ang="0">
                          <a:pos x="connsiteX2995" y="connsiteY2995"/>
                        </a:cxn>
                        <a:cxn ang="0">
                          <a:pos x="connsiteX2996" y="connsiteY2996"/>
                        </a:cxn>
                        <a:cxn ang="0">
                          <a:pos x="connsiteX2997" y="connsiteY2997"/>
                        </a:cxn>
                        <a:cxn ang="0">
                          <a:pos x="connsiteX2998" y="connsiteY2998"/>
                        </a:cxn>
                        <a:cxn ang="0">
                          <a:pos x="connsiteX2999" y="connsiteY2999"/>
                        </a:cxn>
                        <a:cxn ang="0">
                          <a:pos x="connsiteX3000" y="connsiteY3000"/>
                        </a:cxn>
                        <a:cxn ang="0">
                          <a:pos x="connsiteX3001" y="connsiteY3001"/>
                        </a:cxn>
                        <a:cxn ang="0">
                          <a:pos x="connsiteX3002" y="connsiteY3002"/>
                        </a:cxn>
                        <a:cxn ang="0">
                          <a:pos x="connsiteX3003" y="connsiteY3003"/>
                        </a:cxn>
                        <a:cxn ang="0">
                          <a:pos x="connsiteX3004" y="connsiteY3004"/>
                        </a:cxn>
                        <a:cxn ang="0">
                          <a:pos x="connsiteX3005" y="connsiteY3005"/>
                        </a:cxn>
                        <a:cxn ang="0">
                          <a:pos x="connsiteX3006" y="connsiteY3006"/>
                        </a:cxn>
                        <a:cxn ang="0">
                          <a:pos x="connsiteX3007" y="connsiteY3007"/>
                        </a:cxn>
                        <a:cxn ang="0">
                          <a:pos x="connsiteX3008" y="connsiteY3008"/>
                        </a:cxn>
                        <a:cxn ang="0">
                          <a:pos x="connsiteX3009" y="connsiteY3009"/>
                        </a:cxn>
                        <a:cxn ang="0">
                          <a:pos x="connsiteX3010" y="connsiteY3010"/>
                        </a:cxn>
                        <a:cxn ang="0">
                          <a:pos x="connsiteX3011" y="connsiteY3011"/>
                        </a:cxn>
                        <a:cxn ang="0">
                          <a:pos x="connsiteX3012" y="connsiteY3012"/>
                        </a:cxn>
                        <a:cxn ang="0">
                          <a:pos x="connsiteX3013" y="connsiteY3013"/>
                        </a:cxn>
                        <a:cxn ang="0">
                          <a:pos x="connsiteX3014" y="connsiteY3014"/>
                        </a:cxn>
                        <a:cxn ang="0">
                          <a:pos x="connsiteX3015" y="connsiteY3015"/>
                        </a:cxn>
                        <a:cxn ang="0">
                          <a:pos x="connsiteX3016" y="connsiteY3016"/>
                        </a:cxn>
                        <a:cxn ang="0">
                          <a:pos x="connsiteX3017" y="connsiteY3017"/>
                        </a:cxn>
                        <a:cxn ang="0">
                          <a:pos x="connsiteX3018" y="connsiteY3018"/>
                        </a:cxn>
                        <a:cxn ang="0">
                          <a:pos x="connsiteX3019" y="connsiteY3019"/>
                        </a:cxn>
                        <a:cxn ang="0">
                          <a:pos x="connsiteX3020" y="connsiteY3020"/>
                        </a:cxn>
                        <a:cxn ang="0">
                          <a:pos x="connsiteX3021" y="connsiteY3021"/>
                        </a:cxn>
                        <a:cxn ang="0">
                          <a:pos x="connsiteX3022" y="connsiteY3022"/>
                        </a:cxn>
                        <a:cxn ang="0">
                          <a:pos x="connsiteX3023" y="connsiteY3023"/>
                        </a:cxn>
                        <a:cxn ang="0">
                          <a:pos x="connsiteX3024" y="connsiteY3024"/>
                        </a:cxn>
                        <a:cxn ang="0">
                          <a:pos x="connsiteX3025" y="connsiteY3025"/>
                        </a:cxn>
                        <a:cxn ang="0">
                          <a:pos x="connsiteX3026" y="connsiteY3026"/>
                        </a:cxn>
                        <a:cxn ang="0">
                          <a:pos x="connsiteX3027" y="connsiteY3027"/>
                        </a:cxn>
                        <a:cxn ang="0">
                          <a:pos x="connsiteX3028" y="connsiteY3028"/>
                        </a:cxn>
                        <a:cxn ang="0">
                          <a:pos x="connsiteX3029" y="connsiteY3029"/>
                        </a:cxn>
                        <a:cxn ang="0">
                          <a:pos x="connsiteX3030" y="connsiteY3030"/>
                        </a:cxn>
                        <a:cxn ang="0">
                          <a:pos x="connsiteX3031" y="connsiteY3031"/>
                        </a:cxn>
                        <a:cxn ang="0">
                          <a:pos x="connsiteX3032" y="connsiteY3032"/>
                        </a:cxn>
                        <a:cxn ang="0">
                          <a:pos x="connsiteX3033" y="connsiteY3033"/>
                        </a:cxn>
                        <a:cxn ang="0">
                          <a:pos x="connsiteX3034" y="connsiteY3034"/>
                        </a:cxn>
                        <a:cxn ang="0">
                          <a:pos x="connsiteX3035" y="connsiteY3035"/>
                        </a:cxn>
                        <a:cxn ang="0">
                          <a:pos x="connsiteX3036" y="connsiteY3036"/>
                        </a:cxn>
                        <a:cxn ang="0">
                          <a:pos x="connsiteX3037" y="connsiteY3037"/>
                        </a:cxn>
                        <a:cxn ang="0">
                          <a:pos x="connsiteX3038" y="connsiteY3038"/>
                        </a:cxn>
                        <a:cxn ang="0">
                          <a:pos x="connsiteX3039" y="connsiteY3039"/>
                        </a:cxn>
                        <a:cxn ang="0">
                          <a:pos x="connsiteX3040" y="connsiteY3040"/>
                        </a:cxn>
                        <a:cxn ang="0">
                          <a:pos x="connsiteX3041" y="connsiteY3041"/>
                        </a:cxn>
                        <a:cxn ang="0">
                          <a:pos x="connsiteX3042" y="connsiteY3042"/>
                        </a:cxn>
                        <a:cxn ang="0">
                          <a:pos x="connsiteX3043" y="connsiteY3043"/>
                        </a:cxn>
                        <a:cxn ang="0">
                          <a:pos x="connsiteX3044" y="connsiteY3044"/>
                        </a:cxn>
                        <a:cxn ang="0">
                          <a:pos x="connsiteX3045" y="connsiteY3045"/>
                        </a:cxn>
                        <a:cxn ang="0">
                          <a:pos x="connsiteX3046" y="connsiteY3046"/>
                        </a:cxn>
                        <a:cxn ang="0">
                          <a:pos x="connsiteX3047" y="connsiteY3047"/>
                        </a:cxn>
                        <a:cxn ang="0">
                          <a:pos x="connsiteX3048" y="connsiteY3048"/>
                        </a:cxn>
                        <a:cxn ang="0">
                          <a:pos x="connsiteX3049" y="connsiteY3049"/>
                        </a:cxn>
                        <a:cxn ang="0">
                          <a:pos x="connsiteX3050" y="connsiteY3050"/>
                        </a:cxn>
                        <a:cxn ang="0">
                          <a:pos x="connsiteX3051" y="connsiteY3051"/>
                        </a:cxn>
                        <a:cxn ang="0">
                          <a:pos x="connsiteX3052" y="connsiteY3052"/>
                        </a:cxn>
                        <a:cxn ang="0">
                          <a:pos x="connsiteX3053" y="connsiteY3053"/>
                        </a:cxn>
                        <a:cxn ang="0">
                          <a:pos x="connsiteX3054" y="connsiteY3054"/>
                        </a:cxn>
                        <a:cxn ang="0">
                          <a:pos x="connsiteX3055" y="connsiteY3055"/>
                        </a:cxn>
                        <a:cxn ang="0">
                          <a:pos x="connsiteX3056" y="connsiteY3056"/>
                        </a:cxn>
                        <a:cxn ang="0">
                          <a:pos x="connsiteX3057" y="connsiteY3057"/>
                        </a:cxn>
                        <a:cxn ang="0">
                          <a:pos x="connsiteX3058" y="connsiteY3058"/>
                        </a:cxn>
                        <a:cxn ang="0">
                          <a:pos x="connsiteX3059" y="connsiteY3059"/>
                        </a:cxn>
                        <a:cxn ang="0">
                          <a:pos x="connsiteX3060" y="connsiteY3060"/>
                        </a:cxn>
                        <a:cxn ang="0">
                          <a:pos x="connsiteX3061" y="connsiteY3061"/>
                        </a:cxn>
                        <a:cxn ang="0">
                          <a:pos x="connsiteX3062" y="connsiteY3062"/>
                        </a:cxn>
                        <a:cxn ang="0">
                          <a:pos x="connsiteX3063" y="connsiteY3063"/>
                        </a:cxn>
                        <a:cxn ang="0">
                          <a:pos x="connsiteX3064" y="connsiteY3064"/>
                        </a:cxn>
                        <a:cxn ang="0">
                          <a:pos x="connsiteX3065" y="connsiteY3065"/>
                        </a:cxn>
                        <a:cxn ang="0">
                          <a:pos x="connsiteX3066" y="connsiteY3066"/>
                        </a:cxn>
                        <a:cxn ang="0">
                          <a:pos x="connsiteX3067" y="connsiteY3067"/>
                        </a:cxn>
                        <a:cxn ang="0">
                          <a:pos x="connsiteX3068" y="connsiteY3068"/>
                        </a:cxn>
                        <a:cxn ang="0">
                          <a:pos x="connsiteX3069" y="connsiteY3069"/>
                        </a:cxn>
                        <a:cxn ang="0">
                          <a:pos x="connsiteX3070" y="connsiteY3070"/>
                        </a:cxn>
                        <a:cxn ang="0">
                          <a:pos x="connsiteX3071" y="connsiteY3071"/>
                        </a:cxn>
                        <a:cxn ang="0">
                          <a:pos x="connsiteX3072" y="connsiteY3072"/>
                        </a:cxn>
                        <a:cxn ang="0">
                          <a:pos x="connsiteX3073" y="connsiteY3073"/>
                        </a:cxn>
                        <a:cxn ang="0">
                          <a:pos x="connsiteX3074" y="connsiteY3074"/>
                        </a:cxn>
                        <a:cxn ang="0">
                          <a:pos x="connsiteX3075" y="connsiteY3075"/>
                        </a:cxn>
                        <a:cxn ang="0">
                          <a:pos x="connsiteX3076" y="connsiteY3076"/>
                        </a:cxn>
                        <a:cxn ang="0">
                          <a:pos x="connsiteX3077" y="connsiteY3077"/>
                        </a:cxn>
                        <a:cxn ang="0">
                          <a:pos x="connsiteX3078" y="connsiteY3078"/>
                        </a:cxn>
                        <a:cxn ang="0">
                          <a:pos x="connsiteX3079" y="connsiteY3079"/>
                        </a:cxn>
                        <a:cxn ang="0">
                          <a:pos x="connsiteX3080" y="connsiteY3080"/>
                        </a:cxn>
                        <a:cxn ang="0">
                          <a:pos x="connsiteX3081" y="connsiteY3081"/>
                        </a:cxn>
                        <a:cxn ang="0">
                          <a:pos x="connsiteX3082" y="connsiteY3082"/>
                        </a:cxn>
                        <a:cxn ang="0">
                          <a:pos x="connsiteX3083" y="connsiteY3083"/>
                        </a:cxn>
                        <a:cxn ang="0">
                          <a:pos x="connsiteX3084" y="connsiteY3084"/>
                        </a:cxn>
                        <a:cxn ang="0">
                          <a:pos x="connsiteX3085" y="connsiteY3085"/>
                        </a:cxn>
                        <a:cxn ang="0">
                          <a:pos x="connsiteX3086" y="connsiteY3086"/>
                        </a:cxn>
                        <a:cxn ang="0">
                          <a:pos x="connsiteX3087" y="connsiteY3087"/>
                        </a:cxn>
                        <a:cxn ang="0">
                          <a:pos x="connsiteX3088" y="connsiteY3088"/>
                        </a:cxn>
                        <a:cxn ang="0">
                          <a:pos x="connsiteX3089" y="connsiteY3089"/>
                        </a:cxn>
                        <a:cxn ang="0">
                          <a:pos x="connsiteX3090" y="connsiteY3090"/>
                        </a:cxn>
                        <a:cxn ang="0">
                          <a:pos x="connsiteX3091" y="connsiteY3091"/>
                        </a:cxn>
                        <a:cxn ang="0">
                          <a:pos x="connsiteX3092" y="connsiteY3092"/>
                        </a:cxn>
                        <a:cxn ang="0">
                          <a:pos x="connsiteX3093" y="connsiteY3093"/>
                        </a:cxn>
                        <a:cxn ang="0">
                          <a:pos x="connsiteX3094" y="connsiteY3094"/>
                        </a:cxn>
                        <a:cxn ang="0">
                          <a:pos x="connsiteX3095" y="connsiteY3095"/>
                        </a:cxn>
                        <a:cxn ang="0">
                          <a:pos x="connsiteX3096" y="connsiteY3096"/>
                        </a:cxn>
                        <a:cxn ang="0">
                          <a:pos x="connsiteX3097" y="connsiteY3097"/>
                        </a:cxn>
                        <a:cxn ang="0">
                          <a:pos x="connsiteX3098" y="connsiteY3098"/>
                        </a:cxn>
                        <a:cxn ang="0">
                          <a:pos x="connsiteX3099" y="connsiteY3099"/>
                        </a:cxn>
                        <a:cxn ang="0">
                          <a:pos x="connsiteX3100" y="connsiteY3100"/>
                        </a:cxn>
                        <a:cxn ang="0">
                          <a:pos x="connsiteX3101" y="connsiteY3101"/>
                        </a:cxn>
                        <a:cxn ang="0">
                          <a:pos x="connsiteX3102" y="connsiteY3102"/>
                        </a:cxn>
                        <a:cxn ang="0">
                          <a:pos x="connsiteX3103" y="connsiteY3103"/>
                        </a:cxn>
                        <a:cxn ang="0">
                          <a:pos x="connsiteX3104" y="connsiteY3104"/>
                        </a:cxn>
                        <a:cxn ang="0">
                          <a:pos x="connsiteX3105" y="connsiteY3105"/>
                        </a:cxn>
                        <a:cxn ang="0">
                          <a:pos x="connsiteX3106" y="connsiteY3106"/>
                        </a:cxn>
                        <a:cxn ang="0">
                          <a:pos x="connsiteX3107" y="connsiteY3107"/>
                        </a:cxn>
                        <a:cxn ang="0">
                          <a:pos x="connsiteX3108" y="connsiteY3108"/>
                        </a:cxn>
                        <a:cxn ang="0">
                          <a:pos x="connsiteX3109" y="connsiteY3109"/>
                        </a:cxn>
                        <a:cxn ang="0">
                          <a:pos x="connsiteX3110" y="connsiteY3110"/>
                        </a:cxn>
                        <a:cxn ang="0">
                          <a:pos x="connsiteX3111" y="connsiteY3111"/>
                        </a:cxn>
                        <a:cxn ang="0">
                          <a:pos x="connsiteX3112" y="connsiteY3112"/>
                        </a:cxn>
                        <a:cxn ang="0">
                          <a:pos x="connsiteX3113" y="connsiteY3113"/>
                        </a:cxn>
                        <a:cxn ang="0">
                          <a:pos x="connsiteX3114" y="connsiteY3114"/>
                        </a:cxn>
                        <a:cxn ang="0">
                          <a:pos x="connsiteX3115" y="connsiteY3115"/>
                        </a:cxn>
                        <a:cxn ang="0">
                          <a:pos x="connsiteX3116" y="connsiteY3116"/>
                        </a:cxn>
                        <a:cxn ang="0">
                          <a:pos x="connsiteX3117" y="connsiteY3117"/>
                        </a:cxn>
                        <a:cxn ang="0">
                          <a:pos x="connsiteX3118" y="connsiteY3118"/>
                        </a:cxn>
                        <a:cxn ang="0">
                          <a:pos x="connsiteX3119" y="connsiteY3119"/>
                        </a:cxn>
                        <a:cxn ang="0">
                          <a:pos x="connsiteX3120" y="connsiteY3120"/>
                        </a:cxn>
                        <a:cxn ang="0">
                          <a:pos x="connsiteX3121" y="connsiteY3121"/>
                        </a:cxn>
                        <a:cxn ang="0">
                          <a:pos x="connsiteX3122" y="connsiteY3122"/>
                        </a:cxn>
                        <a:cxn ang="0">
                          <a:pos x="connsiteX3123" y="connsiteY3123"/>
                        </a:cxn>
                        <a:cxn ang="0">
                          <a:pos x="connsiteX3124" y="connsiteY3124"/>
                        </a:cxn>
                        <a:cxn ang="0">
                          <a:pos x="connsiteX3125" y="connsiteY3125"/>
                        </a:cxn>
                        <a:cxn ang="0">
                          <a:pos x="connsiteX3126" y="connsiteY3126"/>
                        </a:cxn>
                        <a:cxn ang="0">
                          <a:pos x="connsiteX3127" y="connsiteY3127"/>
                        </a:cxn>
                        <a:cxn ang="0">
                          <a:pos x="connsiteX3128" y="connsiteY3128"/>
                        </a:cxn>
                        <a:cxn ang="0">
                          <a:pos x="connsiteX3129" y="connsiteY3129"/>
                        </a:cxn>
                        <a:cxn ang="0">
                          <a:pos x="connsiteX3130" y="connsiteY3130"/>
                        </a:cxn>
                        <a:cxn ang="0">
                          <a:pos x="connsiteX3131" y="connsiteY3131"/>
                        </a:cxn>
                        <a:cxn ang="0">
                          <a:pos x="connsiteX3132" y="connsiteY3132"/>
                        </a:cxn>
                        <a:cxn ang="0">
                          <a:pos x="connsiteX3133" y="connsiteY3133"/>
                        </a:cxn>
                        <a:cxn ang="0">
                          <a:pos x="connsiteX3134" y="connsiteY3134"/>
                        </a:cxn>
                        <a:cxn ang="0">
                          <a:pos x="connsiteX3135" y="connsiteY3135"/>
                        </a:cxn>
                        <a:cxn ang="0">
                          <a:pos x="connsiteX3136" y="connsiteY3136"/>
                        </a:cxn>
                        <a:cxn ang="0">
                          <a:pos x="connsiteX3137" y="connsiteY3137"/>
                        </a:cxn>
                        <a:cxn ang="0">
                          <a:pos x="connsiteX3138" y="connsiteY3138"/>
                        </a:cxn>
                        <a:cxn ang="0">
                          <a:pos x="connsiteX3139" y="connsiteY3139"/>
                        </a:cxn>
                        <a:cxn ang="0">
                          <a:pos x="connsiteX3140" y="connsiteY3140"/>
                        </a:cxn>
                        <a:cxn ang="0">
                          <a:pos x="connsiteX3141" y="connsiteY3141"/>
                        </a:cxn>
                        <a:cxn ang="0">
                          <a:pos x="connsiteX3142" y="connsiteY3142"/>
                        </a:cxn>
                        <a:cxn ang="0">
                          <a:pos x="connsiteX3143" y="connsiteY3143"/>
                        </a:cxn>
                        <a:cxn ang="0">
                          <a:pos x="connsiteX3144" y="connsiteY3144"/>
                        </a:cxn>
                        <a:cxn ang="0">
                          <a:pos x="connsiteX3145" y="connsiteY3145"/>
                        </a:cxn>
                        <a:cxn ang="0">
                          <a:pos x="connsiteX3146" y="connsiteY3146"/>
                        </a:cxn>
                        <a:cxn ang="0">
                          <a:pos x="connsiteX3147" y="connsiteY3147"/>
                        </a:cxn>
                        <a:cxn ang="0">
                          <a:pos x="connsiteX3148" y="connsiteY3148"/>
                        </a:cxn>
                        <a:cxn ang="0">
                          <a:pos x="connsiteX3149" y="connsiteY3149"/>
                        </a:cxn>
                        <a:cxn ang="0">
                          <a:pos x="connsiteX3150" y="connsiteY3150"/>
                        </a:cxn>
                        <a:cxn ang="0">
                          <a:pos x="connsiteX3151" y="connsiteY3151"/>
                        </a:cxn>
                        <a:cxn ang="0">
                          <a:pos x="connsiteX3152" y="connsiteY3152"/>
                        </a:cxn>
                        <a:cxn ang="0">
                          <a:pos x="connsiteX3153" y="connsiteY3153"/>
                        </a:cxn>
                        <a:cxn ang="0">
                          <a:pos x="connsiteX3154" y="connsiteY3154"/>
                        </a:cxn>
                        <a:cxn ang="0">
                          <a:pos x="connsiteX3155" y="connsiteY3155"/>
                        </a:cxn>
                        <a:cxn ang="0">
                          <a:pos x="connsiteX3156" y="connsiteY3156"/>
                        </a:cxn>
                        <a:cxn ang="0">
                          <a:pos x="connsiteX3157" y="connsiteY3157"/>
                        </a:cxn>
                        <a:cxn ang="0">
                          <a:pos x="connsiteX3158" y="connsiteY3158"/>
                        </a:cxn>
                        <a:cxn ang="0">
                          <a:pos x="connsiteX3159" y="connsiteY3159"/>
                        </a:cxn>
                        <a:cxn ang="0">
                          <a:pos x="connsiteX3160" y="connsiteY3160"/>
                        </a:cxn>
                        <a:cxn ang="0">
                          <a:pos x="connsiteX3161" y="connsiteY3161"/>
                        </a:cxn>
                        <a:cxn ang="0">
                          <a:pos x="connsiteX3162" y="connsiteY3162"/>
                        </a:cxn>
                        <a:cxn ang="0">
                          <a:pos x="connsiteX3163" y="connsiteY3163"/>
                        </a:cxn>
                        <a:cxn ang="0">
                          <a:pos x="connsiteX3164" y="connsiteY3164"/>
                        </a:cxn>
                        <a:cxn ang="0">
                          <a:pos x="connsiteX3165" y="connsiteY3165"/>
                        </a:cxn>
                        <a:cxn ang="0">
                          <a:pos x="connsiteX3166" y="connsiteY3166"/>
                        </a:cxn>
                        <a:cxn ang="0">
                          <a:pos x="connsiteX3167" y="connsiteY3167"/>
                        </a:cxn>
                        <a:cxn ang="0">
                          <a:pos x="connsiteX3168" y="connsiteY3168"/>
                        </a:cxn>
                        <a:cxn ang="0">
                          <a:pos x="connsiteX3169" y="connsiteY3169"/>
                        </a:cxn>
                        <a:cxn ang="0">
                          <a:pos x="connsiteX3170" y="connsiteY3170"/>
                        </a:cxn>
                        <a:cxn ang="0">
                          <a:pos x="connsiteX3171" y="connsiteY3171"/>
                        </a:cxn>
                        <a:cxn ang="0">
                          <a:pos x="connsiteX3172" y="connsiteY3172"/>
                        </a:cxn>
                        <a:cxn ang="0">
                          <a:pos x="connsiteX3173" y="connsiteY3173"/>
                        </a:cxn>
                        <a:cxn ang="0">
                          <a:pos x="connsiteX3174" y="connsiteY3174"/>
                        </a:cxn>
                        <a:cxn ang="0">
                          <a:pos x="connsiteX3175" y="connsiteY3175"/>
                        </a:cxn>
                        <a:cxn ang="0">
                          <a:pos x="connsiteX3176" y="connsiteY3176"/>
                        </a:cxn>
                        <a:cxn ang="0">
                          <a:pos x="connsiteX3177" y="connsiteY3177"/>
                        </a:cxn>
                        <a:cxn ang="0">
                          <a:pos x="connsiteX3178" y="connsiteY3178"/>
                        </a:cxn>
                        <a:cxn ang="0">
                          <a:pos x="connsiteX3179" y="connsiteY3179"/>
                        </a:cxn>
                        <a:cxn ang="0">
                          <a:pos x="connsiteX3180" y="connsiteY3180"/>
                        </a:cxn>
                        <a:cxn ang="0">
                          <a:pos x="connsiteX3181" y="connsiteY3181"/>
                        </a:cxn>
                        <a:cxn ang="0">
                          <a:pos x="connsiteX3182" y="connsiteY3182"/>
                        </a:cxn>
                        <a:cxn ang="0">
                          <a:pos x="connsiteX3183" y="connsiteY3183"/>
                        </a:cxn>
                        <a:cxn ang="0">
                          <a:pos x="connsiteX3184" y="connsiteY3184"/>
                        </a:cxn>
                        <a:cxn ang="0">
                          <a:pos x="connsiteX3185" y="connsiteY3185"/>
                        </a:cxn>
                        <a:cxn ang="0">
                          <a:pos x="connsiteX3186" y="connsiteY3186"/>
                        </a:cxn>
                        <a:cxn ang="0">
                          <a:pos x="connsiteX3187" y="connsiteY3187"/>
                        </a:cxn>
                        <a:cxn ang="0">
                          <a:pos x="connsiteX3188" y="connsiteY3188"/>
                        </a:cxn>
                        <a:cxn ang="0">
                          <a:pos x="connsiteX3189" y="connsiteY3189"/>
                        </a:cxn>
                        <a:cxn ang="0">
                          <a:pos x="connsiteX3190" y="connsiteY3190"/>
                        </a:cxn>
                        <a:cxn ang="0">
                          <a:pos x="connsiteX3191" y="connsiteY3191"/>
                        </a:cxn>
                        <a:cxn ang="0">
                          <a:pos x="connsiteX3192" y="connsiteY3192"/>
                        </a:cxn>
                        <a:cxn ang="0">
                          <a:pos x="connsiteX3193" y="connsiteY3193"/>
                        </a:cxn>
                        <a:cxn ang="0">
                          <a:pos x="connsiteX3194" y="connsiteY3194"/>
                        </a:cxn>
                        <a:cxn ang="0">
                          <a:pos x="connsiteX3195" y="connsiteY3195"/>
                        </a:cxn>
                        <a:cxn ang="0">
                          <a:pos x="connsiteX3196" y="connsiteY3196"/>
                        </a:cxn>
                        <a:cxn ang="0">
                          <a:pos x="connsiteX3197" y="connsiteY3197"/>
                        </a:cxn>
                        <a:cxn ang="0">
                          <a:pos x="connsiteX3198" y="connsiteY3198"/>
                        </a:cxn>
                        <a:cxn ang="0">
                          <a:pos x="connsiteX3199" y="connsiteY3199"/>
                        </a:cxn>
                        <a:cxn ang="0">
                          <a:pos x="connsiteX3200" y="connsiteY3200"/>
                        </a:cxn>
                        <a:cxn ang="0">
                          <a:pos x="connsiteX3201" y="connsiteY3201"/>
                        </a:cxn>
                        <a:cxn ang="0">
                          <a:pos x="connsiteX3202" y="connsiteY3202"/>
                        </a:cxn>
                        <a:cxn ang="0">
                          <a:pos x="connsiteX3203" y="connsiteY3203"/>
                        </a:cxn>
                        <a:cxn ang="0">
                          <a:pos x="connsiteX3204" y="connsiteY3204"/>
                        </a:cxn>
                        <a:cxn ang="0">
                          <a:pos x="connsiteX3205" y="connsiteY3205"/>
                        </a:cxn>
                        <a:cxn ang="0">
                          <a:pos x="connsiteX3206" y="connsiteY3206"/>
                        </a:cxn>
                        <a:cxn ang="0">
                          <a:pos x="connsiteX3207" y="connsiteY3207"/>
                        </a:cxn>
                        <a:cxn ang="0">
                          <a:pos x="connsiteX3208" y="connsiteY3208"/>
                        </a:cxn>
                        <a:cxn ang="0">
                          <a:pos x="connsiteX3209" y="connsiteY3209"/>
                        </a:cxn>
                        <a:cxn ang="0">
                          <a:pos x="connsiteX3210" y="connsiteY3210"/>
                        </a:cxn>
                        <a:cxn ang="0">
                          <a:pos x="connsiteX3211" y="connsiteY3211"/>
                        </a:cxn>
                        <a:cxn ang="0">
                          <a:pos x="connsiteX3212" y="connsiteY3212"/>
                        </a:cxn>
                        <a:cxn ang="0">
                          <a:pos x="connsiteX3213" y="connsiteY3213"/>
                        </a:cxn>
                        <a:cxn ang="0">
                          <a:pos x="connsiteX3214" y="connsiteY3214"/>
                        </a:cxn>
                        <a:cxn ang="0">
                          <a:pos x="connsiteX3215" y="connsiteY3215"/>
                        </a:cxn>
                        <a:cxn ang="0">
                          <a:pos x="connsiteX3216" y="connsiteY3216"/>
                        </a:cxn>
                        <a:cxn ang="0">
                          <a:pos x="connsiteX3217" y="connsiteY3217"/>
                        </a:cxn>
                        <a:cxn ang="0">
                          <a:pos x="connsiteX3218" y="connsiteY3218"/>
                        </a:cxn>
                        <a:cxn ang="0">
                          <a:pos x="connsiteX3219" y="connsiteY3219"/>
                        </a:cxn>
                        <a:cxn ang="0">
                          <a:pos x="connsiteX3220" y="connsiteY3220"/>
                        </a:cxn>
                        <a:cxn ang="0">
                          <a:pos x="connsiteX3221" y="connsiteY3221"/>
                        </a:cxn>
                        <a:cxn ang="0">
                          <a:pos x="connsiteX3222" y="connsiteY3222"/>
                        </a:cxn>
                        <a:cxn ang="0">
                          <a:pos x="connsiteX3223" y="connsiteY3223"/>
                        </a:cxn>
                        <a:cxn ang="0">
                          <a:pos x="connsiteX3224" y="connsiteY3224"/>
                        </a:cxn>
                        <a:cxn ang="0">
                          <a:pos x="connsiteX3225" y="connsiteY3225"/>
                        </a:cxn>
                        <a:cxn ang="0">
                          <a:pos x="connsiteX3226" y="connsiteY3226"/>
                        </a:cxn>
                        <a:cxn ang="0">
                          <a:pos x="connsiteX3227" y="connsiteY3227"/>
                        </a:cxn>
                        <a:cxn ang="0">
                          <a:pos x="connsiteX3228" y="connsiteY3228"/>
                        </a:cxn>
                        <a:cxn ang="0">
                          <a:pos x="connsiteX3229" y="connsiteY3229"/>
                        </a:cxn>
                        <a:cxn ang="0">
                          <a:pos x="connsiteX3230" y="connsiteY3230"/>
                        </a:cxn>
                        <a:cxn ang="0">
                          <a:pos x="connsiteX3231" y="connsiteY3231"/>
                        </a:cxn>
                        <a:cxn ang="0">
                          <a:pos x="connsiteX3232" y="connsiteY3232"/>
                        </a:cxn>
                        <a:cxn ang="0">
                          <a:pos x="connsiteX3233" y="connsiteY3233"/>
                        </a:cxn>
                        <a:cxn ang="0">
                          <a:pos x="connsiteX3234" y="connsiteY3234"/>
                        </a:cxn>
                        <a:cxn ang="0">
                          <a:pos x="connsiteX3235" y="connsiteY3235"/>
                        </a:cxn>
                        <a:cxn ang="0">
                          <a:pos x="connsiteX3236" y="connsiteY3236"/>
                        </a:cxn>
                        <a:cxn ang="0">
                          <a:pos x="connsiteX3237" y="connsiteY3237"/>
                        </a:cxn>
                        <a:cxn ang="0">
                          <a:pos x="connsiteX3238" y="connsiteY3238"/>
                        </a:cxn>
                        <a:cxn ang="0">
                          <a:pos x="connsiteX3239" y="connsiteY3239"/>
                        </a:cxn>
                        <a:cxn ang="0">
                          <a:pos x="connsiteX3240" y="connsiteY3240"/>
                        </a:cxn>
                        <a:cxn ang="0">
                          <a:pos x="connsiteX3241" y="connsiteY3241"/>
                        </a:cxn>
                        <a:cxn ang="0">
                          <a:pos x="connsiteX3242" y="connsiteY3242"/>
                        </a:cxn>
                        <a:cxn ang="0">
                          <a:pos x="connsiteX3243" y="connsiteY3243"/>
                        </a:cxn>
                        <a:cxn ang="0">
                          <a:pos x="connsiteX3244" y="connsiteY3244"/>
                        </a:cxn>
                        <a:cxn ang="0">
                          <a:pos x="connsiteX3245" y="connsiteY3245"/>
                        </a:cxn>
                        <a:cxn ang="0">
                          <a:pos x="connsiteX3246" y="connsiteY3246"/>
                        </a:cxn>
                        <a:cxn ang="0">
                          <a:pos x="connsiteX3247" y="connsiteY3247"/>
                        </a:cxn>
                        <a:cxn ang="0">
                          <a:pos x="connsiteX3248" y="connsiteY3248"/>
                        </a:cxn>
                        <a:cxn ang="0">
                          <a:pos x="connsiteX3249" y="connsiteY3249"/>
                        </a:cxn>
                        <a:cxn ang="0">
                          <a:pos x="connsiteX3250" y="connsiteY3250"/>
                        </a:cxn>
                        <a:cxn ang="0">
                          <a:pos x="connsiteX3251" y="connsiteY3251"/>
                        </a:cxn>
                        <a:cxn ang="0">
                          <a:pos x="connsiteX3252" y="connsiteY3252"/>
                        </a:cxn>
                        <a:cxn ang="0">
                          <a:pos x="connsiteX3253" y="connsiteY3253"/>
                        </a:cxn>
                        <a:cxn ang="0">
                          <a:pos x="connsiteX3254" y="connsiteY3254"/>
                        </a:cxn>
                        <a:cxn ang="0">
                          <a:pos x="connsiteX3255" y="connsiteY3255"/>
                        </a:cxn>
                        <a:cxn ang="0">
                          <a:pos x="connsiteX3256" y="connsiteY3256"/>
                        </a:cxn>
                        <a:cxn ang="0">
                          <a:pos x="connsiteX3257" y="connsiteY3257"/>
                        </a:cxn>
                        <a:cxn ang="0">
                          <a:pos x="connsiteX3258" y="connsiteY3258"/>
                        </a:cxn>
                        <a:cxn ang="0">
                          <a:pos x="connsiteX3259" y="connsiteY3259"/>
                        </a:cxn>
                        <a:cxn ang="0">
                          <a:pos x="connsiteX3260" y="connsiteY3260"/>
                        </a:cxn>
                        <a:cxn ang="0">
                          <a:pos x="connsiteX3261" y="connsiteY3261"/>
                        </a:cxn>
                        <a:cxn ang="0">
                          <a:pos x="connsiteX3262" y="connsiteY3262"/>
                        </a:cxn>
                        <a:cxn ang="0">
                          <a:pos x="connsiteX3263" y="connsiteY3263"/>
                        </a:cxn>
                        <a:cxn ang="0">
                          <a:pos x="connsiteX3264" y="connsiteY3264"/>
                        </a:cxn>
                        <a:cxn ang="0">
                          <a:pos x="connsiteX3265" y="connsiteY3265"/>
                        </a:cxn>
                        <a:cxn ang="0">
                          <a:pos x="connsiteX3266" y="connsiteY3266"/>
                        </a:cxn>
                        <a:cxn ang="0">
                          <a:pos x="connsiteX3267" y="connsiteY3267"/>
                        </a:cxn>
                        <a:cxn ang="0">
                          <a:pos x="connsiteX3268" y="connsiteY3268"/>
                        </a:cxn>
                        <a:cxn ang="0">
                          <a:pos x="connsiteX3269" y="connsiteY3269"/>
                        </a:cxn>
                        <a:cxn ang="0">
                          <a:pos x="connsiteX3270" y="connsiteY3270"/>
                        </a:cxn>
                        <a:cxn ang="0">
                          <a:pos x="connsiteX3271" y="connsiteY3271"/>
                        </a:cxn>
                        <a:cxn ang="0">
                          <a:pos x="connsiteX3272" y="connsiteY3272"/>
                        </a:cxn>
                        <a:cxn ang="0">
                          <a:pos x="connsiteX3273" y="connsiteY3273"/>
                        </a:cxn>
                        <a:cxn ang="0">
                          <a:pos x="connsiteX3274" y="connsiteY3274"/>
                        </a:cxn>
                        <a:cxn ang="0">
                          <a:pos x="connsiteX3275" y="connsiteY3275"/>
                        </a:cxn>
                        <a:cxn ang="0">
                          <a:pos x="connsiteX3276" y="connsiteY3276"/>
                        </a:cxn>
                        <a:cxn ang="0">
                          <a:pos x="connsiteX3277" y="connsiteY3277"/>
                        </a:cxn>
                        <a:cxn ang="0">
                          <a:pos x="connsiteX3278" y="connsiteY3278"/>
                        </a:cxn>
                        <a:cxn ang="0">
                          <a:pos x="connsiteX3279" y="connsiteY3279"/>
                        </a:cxn>
                        <a:cxn ang="0">
                          <a:pos x="connsiteX3280" y="connsiteY3280"/>
                        </a:cxn>
                        <a:cxn ang="0">
                          <a:pos x="connsiteX3281" y="connsiteY3281"/>
                        </a:cxn>
                        <a:cxn ang="0">
                          <a:pos x="connsiteX3282" y="connsiteY3282"/>
                        </a:cxn>
                        <a:cxn ang="0">
                          <a:pos x="connsiteX3283" y="connsiteY3283"/>
                        </a:cxn>
                        <a:cxn ang="0">
                          <a:pos x="connsiteX3284" y="connsiteY3284"/>
                        </a:cxn>
                        <a:cxn ang="0">
                          <a:pos x="connsiteX3285" y="connsiteY3285"/>
                        </a:cxn>
                        <a:cxn ang="0">
                          <a:pos x="connsiteX3286" y="connsiteY3286"/>
                        </a:cxn>
                        <a:cxn ang="0">
                          <a:pos x="connsiteX3287" y="connsiteY3287"/>
                        </a:cxn>
                        <a:cxn ang="0">
                          <a:pos x="connsiteX3288" y="connsiteY3288"/>
                        </a:cxn>
                        <a:cxn ang="0">
                          <a:pos x="connsiteX3289" y="connsiteY3289"/>
                        </a:cxn>
                        <a:cxn ang="0">
                          <a:pos x="connsiteX3290" y="connsiteY3290"/>
                        </a:cxn>
                        <a:cxn ang="0">
                          <a:pos x="connsiteX3291" y="connsiteY3291"/>
                        </a:cxn>
                        <a:cxn ang="0">
                          <a:pos x="connsiteX3292" y="connsiteY3292"/>
                        </a:cxn>
                        <a:cxn ang="0">
                          <a:pos x="connsiteX3293" y="connsiteY3293"/>
                        </a:cxn>
                        <a:cxn ang="0">
                          <a:pos x="connsiteX3294" y="connsiteY3294"/>
                        </a:cxn>
                        <a:cxn ang="0">
                          <a:pos x="connsiteX3295" y="connsiteY3295"/>
                        </a:cxn>
                        <a:cxn ang="0">
                          <a:pos x="connsiteX3296" y="connsiteY3296"/>
                        </a:cxn>
                        <a:cxn ang="0">
                          <a:pos x="connsiteX3297" y="connsiteY3297"/>
                        </a:cxn>
                        <a:cxn ang="0">
                          <a:pos x="connsiteX3298" y="connsiteY3298"/>
                        </a:cxn>
                        <a:cxn ang="0">
                          <a:pos x="connsiteX3299" y="connsiteY3299"/>
                        </a:cxn>
                        <a:cxn ang="0">
                          <a:pos x="connsiteX3300" y="connsiteY3300"/>
                        </a:cxn>
                        <a:cxn ang="0">
                          <a:pos x="connsiteX3301" y="connsiteY3301"/>
                        </a:cxn>
                        <a:cxn ang="0">
                          <a:pos x="connsiteX3302" y="connsiteY3302"/>
                        </a:cxn>
                        <a:cxn ang="0">
                          <a:pos x="connsiteX3303" y="connsiteY3303"/>
                        </a:cxn>
                        <a:cxn ang="0">
                          <a:pos x="connsiteX3304" y="connsiteY3304"/>
                        </a:cxn>
                        <a:cxn ang="0">
                          <a:pos x="connsiteX3305" y="connsiteY3305"/>
                        </a:cxn>
                        <a:cxn ang="0">
                          <a:pos x="connsiteX3306" y="connsiteY3306"/>
                        </a:cxn>
                        <a:cxn ang="0">
                          <a:pos x="connsiteX3307" y="connsiteY3307"/>
                        </a:cxn>
                        <a:cxn ang="0">
                          <a:pos x="connsiteX3308" y="connsiteY3308"/>
                        </a:cxn>
                        <a:cxn ang="0">
                          <a:pos x="connsiteX3309" y="connsiteY3309"/>
                        </a:cxn>
                        <a:cxn ang="0">
                          <a:pos x="connsiteX3310" y="connsiteY3310"/>
                        </a:cxn>
                        <a:cxn ang="0">
                          <a:pos x="connsiteX3311" y="connsiteY3311"/>
                        </a:cxn>
                        <a:cxn ang="0">
                          <a:pos x="connsiteX3312" y="connsiteY3312"/>
                        </a:cxn>
                        <a:cxn ang="0">
                          <a:pos x="connsiteX3313" y="connsiteY3313"/>
                        </a:cxn>
                        <a:cxn ang="0">
                          <a:pos x="connsiteX3314" y="connsiteY3314"/>
                        </a:cxn>
                        <a:cxn ang="0">
                          <a:pos x="connsiteX3315" y="connsiteY3315"/>
                        </a:cxn>
                        <a:cxn ang="0">
                          <a:pos x="connsiteX3316" y="connsiteY3316"/>
                        </a:cxn>
                        <a:cxn ang="0">
                          <a:pos x="connsiteX3317" y="connsiteY3317"/>
                        </a:cxn>
                        <a:cxn ang="0">
                          <a:pos x="connsiteX3318" y="connsiteY3318"/>
                        </a:cxn>
                        <a:cxn ang="0">
                          <a:pos x="connsiteX3319" y="connsiteY3319"/>
                        </a:cxn>
                        <a:cxn ang="0">
                          <a:pos x="connsiteX3320" y="connsiteY3320"/>
                        </a:cxn>
                        <a:cxn ang="0">
                          <a:pos x="connsiteX3321" y="connsiteY3321"/>
                        </a:cxn>
                        <a:cxn ang="0">
                          <a:pos x="connsiteX3322" y="connsiteY3322"/>
                        </a:cxn>
                        <a:cxn ang="0">
                          <a:pos x="connsiteX3323" y="connsiteY3323"/>
                        </a:cxn>
                        <a:cxn ang="0">
                          <a:pos x="connsiteX3324" y="connsiteY3324"/>
                        </a:cxn>
                        <a:cxn ang="0">
                          <a:pos x="connsiteX3325" y="connsiteY3325"/>
                        </a:cxn>
                        <a:cxn ang="0">
                          <a:pos x="connsiteX3326" y="connsiteY3326"/>
                        </a:cxn>
                        <a:cxn ang="0">
                          <a:pos x="connsiteX3327" y="connsiteY3327"/>
                        </a:cxn>
                        <a:cxn ang="0">
                          <a:pos x="connsiteX3328" y="connsiteY3328"/>
                        </a:cxn>
                        <a:cxn ang="0">
                          <a:pos x="connsiteX3329" y="connsiteY3329"/>
                        </a:cxn>
                        <a:cxn ang="0">
                          <a:pos x="connsiteX3330" y="connsiteY3330"/>
                        </a:cxn>
                        <a:cxn ang="0">
                          <a:pos x="connsiteX3331" y="connsiteY3331"/>
                        </a:cxn>
                        <a:cxn ang="0">
                          <a:pos x="connsiteX3332" y="connsiteY3332"/>
                        </a:cxn>
                        <a:cxn ang="0">
                          <a:pos x="connsiteX3333" y="connsiteY3333"/>
                        </a:cxn>
                        <a:cxn ang="0">
                          <a:pos x="connsiteX3334" y="connsiteY3334"/>
                        </a:cxn>
                        <a:cxn ang="0">
                          <a:pos x="connsiteX3335" y="connsiteY3335"/>
                        </a:cxn>
                        <a:cxn ang="0">
                          <a:pos x="connsiteX3336" y="connsiteY3336"/>
                        </a:cxn>
                        <a:cxn ang="0">
                          <a:pos x="connsiteX3337" y="connsiteY3337"/>
                        </a:cxn>
                        <a:cxn ang="0">
                          <a:pos x="connsiteX3338" y="connsiteY3338"/>
                        </a:cxn>
                        <a:cxn ang="0">
                          <a:pos x="connsiteX3339" y="connsiteY3339"/>
                        </a:cxn>
                        <a:cxn ang="0">
                          <a:pos x="connsiteX3340" y="connsiteY3340"/>
                        </a:cxn>
                        <a:cxn ang="0">
                          <a:pos x="connsiteX3341" y="connsiteY3341"/>
                        </a:cxn>
                        <a:cxn ang="0">
                          <a:pos x="connsiteX3342" y="connsiteY3342"/>
                        </a:cxn>
                        <a:cxn ang="0">
                          <a:pos x="connsiteX3343" y="connsiteY3343"/>
                        </a:cxn>
                        <a:cxn ang="0">
                          <a:pos x="connsiteX3344" y="connsiteY3344"/>
                        </a:cxn>
                        <a:cxn ang="0">
                          <a:pos x="connsiteX3345" y="connsiteY3345"/>
                        </a:cxn>
                        <a:cxn ang="0">
                          <a:pos x="connsiteX3346" y="connsiteY3346"/>
                        </a:cxn>
                        <a:cxn ang="0">
                          <a:pos x="connsiteX3347" y="connsiteY3347"/>
                        </a:cxn>
                        <a:cxn ang="0">
                          <a:pos x="connsiteX3348" y="connsiteY3348"/>
                        </a:cxn>
                        <a:cxn ang="0">
                          <a:pos x="connsiteX3349" y="connsiteY3349"/>
                        </a:cxn>
                        <a:cxn ang="0">
                          <a:pos x="connsiteX3350" y="connsiteY3350"/>
                        </a:cxn>
                        <a:cxn ang="0">
                          <a:pos x="connsiteX3351" y="connsiteY3351"/>
                        </a:cxn>
                        <a:cxn ang="0">
                          <a:pos x="connsiteX3352" y="connsiteY3352"/>
                        </a:cxn>
                        <a:cxn ang="0">
                          <a:pos x="connsiteX3353" y="connsiteY3353"/>
                        </a:cxn>
                        <a:cxn ang="0">
                          <a:pos x="connsiteX3354" y="connsiteY3354"/>
                        </a:cxn>
                        <a:cxn ang="0">
                          <a:pos x="connsiteX3355" y="connsiteY3355"/>
                        </a:cxn>
                        <a:cxn ang="0">
                          <a:pos x="connsiteX3356" y="connsiteY3356"/>
                        </a:cxn>
                        <a:cxn ang="0">
                          <a:pos x="connsiteX3357" y="connsiteY3357"/>
                        </a:cxn>
                        <a:cxn ang="0">
                          <a:pos x="connsiteX3358" y="connsiteY3358"/>
                        </a:cxn>
                        <a:cxn ang="0">
                          <a:pos x="connsiteX3359" y="connsiteY3359"/>
                        </a:cxn>
                        <a:cxn ang="0">
                          <a:pos x="connsiteX3360" y="connsiteY3360"/>
                        </a:cxn>
                        <a:cxn ang="0">
                          <a:pos x="connsiteX3361" y="connsiteY3361"/>
                        </a:cxn>
                        <a:cxn ang="0">
                          <a:pos x="connsiteX3362" y="connsiteY3362"/>
                        </a:cxn>
                        <a:cxn ang="0">
                          <a:pos x="connsiteX3363" y="connsiteY3363"/>
                        </a:cxn>
                        <a:cxn ang="0">
                          <a:pos x="connsiteX3364" y="connsiteY3364"/>
                        </a:cxn>
                        <a:cxn ang="0">
                          <a:pos x="connsiteX3365" y="connsiteY3365"/>
                        </a:cxn>
                        <a:cxn ang="0">
                          <a:pos x="connsiteX3366" y="connsiteY3366"/>
                        </a:cxn>
                        <a:cxn ang="0">
                          <a:pos x="connsiteX3367" y="connsiteY3367"/>
                        </a:cxn>
                        <a:cxn ang="0">
                          <a:pos x="connsiteX3368" y="connsiteY3368"/>
                        </a:cxn>
                        <a:cxn ang="0">
                          <a:pos x="connsiteX3369" y="connsiteY3369"/>
                        </a:cxn>
                        <a:cxn ang="0">
                          <a:pos x="connsiteX3370" y="connsiteY3370"/>
                        </a:cxn>
                        <a:cxn ang="0">
                          <a:pos x="connsiteX3371" y="connsiteY3371"/>
                        </a:cxn>
                        <a:cxn ang="0">
                          <a:pos x="connsiteX3372" y="connsiteY3372"/>
                        </a:cxn>
                        <a:cxn ang="0">
                          <a:pos x="connsiteX3373" y="connsiteY3373"/>
                        </a:cxn>
                        <a:cxn ang="0">
                          <a:pos x="connsiteX3374" y="connsiteY3374"/>
                        </a:cxn>
                        <a:cxn ang="0">
                          <a:pos x="connsiteX3375" y="connsiteY3375"/>
                        </a:cxn>
                        <a:cxn ang="0">
                          <a:pos x="connsiteX3376" y="connsiteY3376"/>
                        </a:cxn>
                        <a:cxn ang="0">
                          <a:pos x="connsiteX3377" y="connsiteY3377"/>
                        </a:cxn>
                        <a:cxn ang="0">
                          <a:pos x="connsiteX3378" y="connsiteY3378"/>
                        </a:cxn>
                        <a:cxn ang="0">
                          <a:pos x="connsiteX3379" y="connsiteY3379"/>
                        </a:cxn>
                        <a:cxn ang="0">
                          <a:pos x="connsiteX3380" y="connsiteY3380"/>
                        </a:cxn>
                        <a:cxn ang="0">
                          <a:pos x="connsiteX3381" y="connsiteY3381"/>
                        </a:cxn>
                        <a:cxn ang="0">
                          <a:pos x="connsiteX3382" y="connsiteY3382"/>
                        </a:cxn>
                        <a:cxn ang="0">
                          <a:pos x="connsiteX3383" y="connsiteY3383"/>
                        </a:cxn>
                        <a:cxn ang="0">
                          <a:pos x="connsiteX3384" y="connsiteY3384"/>
                        </a:cxn>
                        <a:cxn ang="0">
                          <a:pos x="connsiteX3385" y="connsiteY3385"/>
                        </a:cxn>
                        <a:cxn ang="0">
                          <a:pos x="connsiteX3386" y="connsiteY3386"/>
                        </a:cxn>
                        <a:cxn ang="0">
                          <a:pos x="connsiteX3387" y="connsiteY3387"/>
                        </a:cxn>
                        <a:cxn ang="0">
                          <a:pos x="connsiteX3388" y="connsiteY3388"/>
                        </a:cxn>
                        <a:cxn ang="0">
                          <a:pos x="connsiteX3389" y="connsiteY3389"/>
                        </a:cxn>
                        <a:cxn ang="0">
                          <a:pos x="connsiteX3390" y="connsiteY3390"/>
                        </a:cxn>
                        <a:cxn ang="0">
                          <a:pos x="connsiteX3391" y="connsiteY3391"/>
                        </a:cxn>
                        <a:cxn ang="0">
                          <a:pos x="connsiteX3392" y="connsiteY3392"/>
                        </a:cxn>
                        <a:cxn ang="0">
                          <a:pos x="connsiteX3393" y="connsiteY3393"/>
                        </a:cxn>
                        <a:cxn ang="0">
                          <a:pos x="connsiteX3394" y="connsiteY3394"/>
                        </a:cxn>
                        <a:cxn ang="0">
                          <a:pos x="connsiteX3395" y="connsiteY3395"/>
                        </a:cxn>
                        <a:cxn ang="0">
                          <a:pos x="connsiteX3396" y="connsiteY3396"/>
                        </a:cxn>
                        <a:cxn ang="0">
                          <a:pos x="connsiteX3397" y="connsiteY3397"/>
                        </a:cxn>
                        <a:cxn ang="0">
                          <a:pos x="connsiteX3398" y="connsiteY3398"/>
                        </a:cxn>
                        <a:cxn ang="0">
                          <a:pos x="connsiteX3399" y="connsiteY3399"/>
                        </a:cxn>
                        <a:cxn ang="0">
                          <a:pos x="connsiteX3400" y="connsiteY3400"/>
                        </a:cxn>
                        <a:cxn ang="0">
                          <a:pos x="connsiteX3401" y="connsiteY3401"/>
                        </a:cxn>
                        <a:cxn ang="0">
                          <a:pos x="connsiteX3402" y="connsiteY3402"/>
                        </a:cxn>
                        <a:cxn ang="0">
                          <a:pos x="connsiteX3403" y="connsiteY3403"/>
                        </a:cxn>
                        <a:cxn ang="0">
                          <a:pos x="connsiteX3404" y="connsiteY3404"/>
                        </a:cxn>
                        <a:cxn ang="0">
                          <a:pos x="connsiteX3405" y="connsiteY3405"/>
                        </a:cxn>
                        <a:cxn ang="0">
                          <a:pos x="connsiteX3406" y="connsiteY3406"/>
                        </a:cxn>
                        <a:cxn ang="0">
                          <a:pos x="connsiteX3407" y="connsiteY3407"/>
                        </a:cxn>
                        <a:cxn ang="0">
                          <a:pos x="connsiteX3408" y="connsiteY3408"/>
                        </a:cxn>
                        <a:cxn ang="0">
                          <a:pos x="connsiteX3409" y="connsiteY3409"/>
                        </a:cxn>
                        <a:cxn ang="0">
                          <a:pos x="connsiteX3410" y="connsiteY3410"/>
                        </a:cxn>
                        <a:cxn ang="0">
                          <a:pos x="connsiteX3411" y="connsiteY3411"/>
                        </a:cxn>
                        <a:cxn ang="0">
                          <a:pos x="connsiteX3412" y="connsiteY3412"/>
                        </a:cxn>
                        <a:cxn ang="0">
                          <a:pos x="connsiteX3413" y="connsiteY3413"/>
                        </a:cxn>
                        <a:cxn ang="0">
                          <a:pos x="connsiteX3414" y="connsiteY3414"/>
                        </a:cxn>
                        <a:cxn ang="0">
                          <a:pos x="connsiteX3415" y="connsiteY3415"/>
                        </a:cxn>
                        <a:cxn ang="0">
                          <a:pos x="connsiteX3416" y="connsiteY3416"/>
                        </a:cxn>
                        <a:cxn ang="0">
                          <a:pos x="connsiteX3417" y="connsiteY3417"/>
                        </a:cxn>
                        <a:cxn ang="0">
                          <a:pos x="connsiteX3418" y="connsiteY3418"/>
                        </a:cxn>
                        <a:cxn ang="0">
                          <a:pos x="connsiteX3419" y="connsiteY3419"/>
                        </a:cxn>
                        <a:cxn ang="0">
                          <a:pos x="connsiteX3420" y="connsiteY3420"/>
                        </a:cxn>
                        <a:cxn ang="0">
                          <a:pos x="connsiteX3421" y="connsiteY3421"/>
                        </a:cxn>
                        <a:cxn ang="0">
                          <a:pos x="connsiteX3422" y="connsiteY3422"/>
                        </a:cxn>
                        <a:cxn ang="0">
                          <a:pos x="connsiteX3423" y="connsiteY3423"/>
                        </a:cxn>
                        <a:cxn ang="0">
                          <a:pos x="connsiteX3424" y="connsiteY3424"/>
                        </a:cxn>
                        <a:cxn ang="0">
                          <a:pos x="connsiteX3425" y="connsiteY3425"/>
                        </a:cxn>
                        <a:cxn ang="0">
                          <a:pos x="connsiteX3426" y="connsiteY3426"/>
                        </a:cxn>
                        <a:cxn ang="0">
                          <a:pos x="connsiteX3427" y="connsiteY3427"/>
                        </a:cxn>
                        <a:cxn ang="0">
                          <a:pos x="connsiteX3428" y="connsiteY3428"/>
                        </a:cxn>
                        <a:cxn ang="0">
                          <a:pos x="connsiteX3429" y="connsiteY3429"/>
                        </a:cxn>
                        <a:cxn ang="0">
                          <a:pos x="connsiteX3430" y="connsiteY3430"/>
                        </a:cxn>
                        <a:cxn ang="0">
                          <a:pos x="connsiteX3431" y="connsiteY3431"/>
                        </a:cxn>
                        <a:cxn ang="0">
                          <a:pos x="connsiteX3432" y="connsiteY3432"/>
                        </a:cxn>
                        <a:cxn ang="0">
                          <a:pos x="connsiteX3433" y="connsiteY3433"/>
                        </a:cxn>
                        <a:cxn ang="0">
                          <a:pos x="connsiteX3434" y="connsiteY3434"/>
                        </a:cxn>
                        <a:cxn ang="0">
                          <a:pos x="connsiteX3435" y="connsiteY3435"/>
                        </a:cxn>
                        <a:cxn ang="0">
                          <a:pos x="connsiteX3436" y="connsiteY3436"/>
                        </a:cxn>
                        <a:cxn ang="0">
                          <a:pos x="connsiteX3437" y="connsiteY3437"/>
                        </a:cxn>
                        <a:cxn ang="0">
                          <a:pos x="connsiteX3438" y="connsiteY3438"/>
                        </a:cxn>
                        <a:cxn ang="0">
                          <a:pos x="connsiteX3439" y="connsiteY3439"/>
                        </a:cxn>
                        <a:cxn ang="0">
                          <a:pos x="connsiteX3440" y="connsiteY3440"/>
                        </a:cxn>
                        <a:cxn ang="0">
                          <a:pos x="connsiteX3441" y="connsiteY3441"/>
                        </a:cxn>
                        <a:cxn ang="0">
                          <a:pos x="connsiteX3442" y="connsiteY3442"/>
                        </a:cxn>
                        <a:cxn ang="0">
                          <a:pos x="connsiteX3443" y="connsiteY3443"/>
                        </a:cxn>
                        <a:cxn ang="0">
                          <a:pos x="connsiteX3444" y="connsiteY3444"/>
                        </a:cxn>
                        <a:cxn ang="0">
                          <a:pos x="connsiteX3445" y="connsiteY3445"/>
                        </a:cxn>
                        <a:cxn ang="0">
                          <a:pos x="connsiteX3446" y="connsiteY3446"/>
                        </a:cxn>
                        <a:cxn ang="0">
                          <a:pos x="connsiteX3447" y="connsiteY3447"/>
                        </a:cxn>
                        <a:cxn ang="0">
                          <a:pos x="connsiteX3448" y="connsiteY3448"/>
                        </a:cxn>
                        <a:cxn ang="0">
                          <a:pos x="connsiteX3449" y="connsiteY3449"/>
                        </a:cxn>
                        <a:cxn ang="0">
                          <a:pos x="connsiteX3450" y="connsiteY3450"/>
                        </a:cxn>
                        <a:cxn ang="0">
                          <a:pos x="connsiteX3451" y="connsiteY3451"/>
                        </a:cxn>
                        <a:cxn ang="0">
                          <a:pos x="connsiteX3452" y="connsiteY3452"/>
                        </a:cxn>
                        <a:cxn ang="0">
                          <a:pos x="connsiteX3453" y="connsiteY3453"/>
                        </a:cxn>
                        <a:cxn ang="0">
                          <a:pos x="connsiteX3454" y="connsiteY3454"/>
                        </a:cxn>
                        <a:cxn ang="0">
                          <a:pos x="connsiteX3455" y="connsiteY3455"/>
                        </a:cxn>
                        <a:cxn ang="0">
                          <a:pos x="connsiteX3456" y="connsiteY3456"/>
                        </a:cxn>
                        <a:cxn ang="0">
                          <a:pos x="connsiteX3457" y="connsiteY3457"/>
                        </a:cxn>
                        <a:cxn ang="0">
                          <a:pos x="connsiteX3458" y="connsiteY3458"/>
                        </a:cxn>
                        <a:cxn ang="0">
                          <a:pos x="connsiteX3459" y="connsiteY3459"/>
                        </a:cxn>
                        <a:cxn ang="0">
                          <a:pos x="connsiteX3460" y="connsiteY3460"/>
                        </a:cxn>
                        <a:cxn ang="0">
                          <a:pos x="connsiteX3461" y="connsiteY3461"/>
                        </a:cxn>
                        <a:cxn ang="0">
                          <a:pos x="connsiteX3462" y="connsiteY3462"/>
                        </a:cxn>
                        <a:cxn ang="0">
                          <a:pos x="connsiteX3463" y="connsiteY3463"/>
                        </a:cxn>
                        <a:cxn ang="0">
                          <a:pos x="connsiteX3464" y="connsiteY3464"/>
                        </a:cxn>
                        <a:cxn ang="0">
                          <a:pos x="connsiteX3465" y="connsiteY3465"/>
                        </a:cxn>
                        <a:cxn ang="0">
                          <a:pos x="connsiteX3466" y="connsiteY3466"/>
                        </a:cxn>
                        <a:cxn ang="0">
                          <a:pos x="connsiteX3467" y="connsiteY3467"/>
                        </a:cxn>
                        <a:cxn ang="0">
                          <a:pos x="connsiteX3468" y="connsiteY3468"/>
                        </a:cxn>
                        <a:cxn ang="0">
                          <a:pos x="connsiteX3469" y="connsiteY3469"/>
                        </a:cxn>
                        <a:cxn ang="0">
                          <a:pos x="connsiteX3470" y="connsiteY3470"/>
                        </a:cxn>
                        <a:cxn ang="0">
                          <a:pos x="connsiteX3471" y="connsiteY3471"/>
                        </a:cxn>
                        <a:cxn ang="0">
                          <a:pos x="connsiteX3472" y="connsiteY3472"/>
                        </a:cxn>
                        <a:cxn ang="0">
                          <a:pos x="connsiteX3473" y="connsiteY3473"/>
                        </a:cxn>
                        <a:cxn ang="0">
                          <a:pos x="connsiteX3474" y="connsiteY3474"/>
                        </a:cxn>
                        <a:cxn ang="0">
                          <a:pos x="connsiteX3475" y="connsiteY3475"/>
                        </a:cxn>
                        <a:cxn ang="0">
                          <a:pos x="connsiteX3476" y="connsiteY3476"/>
                        </a:cxn>
                        <a:cxn ang="0">
                          <a:pos x="connsiteX3477" y="connsiteY3477"/>
                        </a:cxn>
                        <a:cxn ang="0">
                          <a:pos x="connsiteX3478" y="connsiteY3478"/>
                        </a:cxn>
                        <a:cxn ang="0">
                          <a:pos x="connsiteX3479" y="connsiteY3479"/>
                        </a:cxn>
                        <a:cxn ang="0">
                          <a:pos x="connsiteX3480" y="connsiteY3480"/>
                        </a:cxn>
                        <a:cxn ang="0">
                          <a:pos x="connsiteX3481" y="connsiteY3481"/>
                        </a:cxn>
                        <a:cxn ang="0">
                          <a:pos x="connsiteX3482" y="connsiteY3482"/>
                        </a:cxn>
                        <a:cxn ang="0">
                          <a:pos x="connsiteX3483" y="connsiteY3483"/>
                        </a:cxn>
                        <a:cxn ang="0">
                          <a:pos x="connsiteX3484" y="connsiteY3484"/>
                        </a:cxn>
                        <a:cxn ang="0">
                          <a:pos x="connsiteX3485" y="connsiteY3485"/>
                        </a:cxn>
                        <a:cxn ang="0">
                          <a:pos x="connsiteX3486" y="connsiteY3486"/>
                        </a:cxn>
                        <a:cxn ang="0">
                          <a:pos x="connsiteX3487" y="connsiteY3487"/>
                        </a:cxn>
                        <a:cxn ang="0">
                          <a:pos x="connsiteX3488" y="connsiteY3488"/>
                        </a:cxn>
                        <a:cxn ang="0">
                          <a:pos x="connsiteX3489" y="connsiteY3489"/>
                        </a:cxn>
                        <a:cxn ang="0">
                          <a:pos x="connsiteX3490" y="connsiteY3490"/>
                        </a:cxn>
                        <a:cxn ang="0">
                          <a:pos x="connsiteX3491" y="connsiteY3491"/>
                        </a:cxn>
                        <a:cxn ang="0">
                          <a:pos x="connsiteX3492" y="connsiteY3492"/>
                        </a:cxn>
                        <a:cxn ang="0">
                          <a:pos x="connsiteX3493" y="connsiteY3493"/>
                        </a:cxn>
                        <a:cxn ang="0">
                          <a:pos x="connsiteX3494" y="connsiteY3494"/>
                        </a:cxn>
                        <a:cxn ang="0">
                          <a:pos x="connsiteX3495" y="connsiteY3495"/>
                        </a:cxn>
                        <a:cxn ang="0">
                          <a:pos x="connsiteX3496" y="connsiteY3496"/>
                        </a:cxn>
                        <a:cxn ang="0">
                          <a:pos x="connsiteX3497" y="connsiteY3497"/>
                        </a:cxn>
                        <a:cxn ang="0">
                          <a:pos x="connsiteX3498" y="connsiteY3498"/>
                        </a:cxn>
                        <a:cxn ang="0">
                          <a:pos x="connsiteX3499" y="connsiteY3499"/>
                        </a:cxn>
                        <a:cxn ang="0">
                          <a:pos x="connsiteX3500" y="connsiteY3500"/>
                        </a:cxn>
                        <a:cxn ang="0">
                          <a:pos x="connsiteX3501" y="connsiteY3501"/>
                        </a:cxn>
                        <a:cxn ang="0">
                          <a:pos x="connsiteX3502" y="connsiteY3502"/>
                        </a:cxn>
                        <a:cxn ang="0">
                          <a:pos x="connsiteX3503" y="connsiteY3503"/>
                        </a:cxn>
                        <a:cxn ang="0">
                          <a:pos x="connsiteX3504" y="connsiteY3504"/>
                        </a:cxn>
                        <a:cxn ang="0">
                          <a:pos x="connsiteX3505" y="connsiteY3505"/>
                        </a:cxn>
                        <a:cxn ang="0">
                          <a:pos x="connsiteX3506" y="connsiteY3506"/>
                        </a:cxn>
                        <a:cxn ang="0">
                          <a:pos x="connsiteX3507" y="connsiteY3507"/>
                        </a:cxn>
                        <a:cxn ang="0">
                          <a:pos x="connsiteX3508" y="connsiteY3508"/>
                        </a:cxn>
                        <a:cxn ang="0">
                          <a:pos x="connsiteX3509" y="connsiteY3509"/>
                        </a:cxn>
                        <a:cxn ang="0">
                          <a:pos x="connsiteX3510" y="connsiteY3510"/>
                        </a:cxn>
                        <a:cxn ang="0">
                          <a:pos x="connsiteX3511" y="connsiteY3511"/>
                        </a:cxn>
                        <a:cxn ang="0">
                          <a:pos x="connsiteX3512" y="connsiteY3512"/>
                        </a:cxn>
                        <a:cxn ang="0">
                          <a:pos x="connsiteX3513" y="connsiteY3513"/>
                        </a:cxn>
                        <a:cxn ang="0">
                          <a:pos x="connsiteX3514" y="connsiteY3514"/>
                        </a:cxn>
                        <a:cxn ang="0">
                          <a:pos x="connsiteX3515" y="connsiteY3515"/>
                        </a:cxn>
                        <a:cxn ang="0">
                          <a:pos x="connsiteX3516" y="connsiteY3516"/>
                        </a:cxn>
                        <a:cxn ang="0">
                          <a:pos x="connsiteX3517" y="connsiteY3517"/>
                        </a:cxn>
                        <a:cxn ang="0">
                          <a:pos x="connsiteX3518" y="connsiteY3518"/>
                        </a:cxn>
                        <a:cxn ang="0">
                          <a:pos x="connsiteX3519" y="connsiteY3519"/>
                        </a:cxn>
                        <a:cxn ang="0">
                          <a:pos x="connsiteX3520" y="connsiteY3520"/>
                        </a:cxn>
                        <a:cxn ang="0">
                          <a:pos x="connsiteX3521" y="connsiteY3521"/>
                        </a:cxn>
                        <a:cxn ang="0">
                          <a:pos x="connsiteX3522" y="connsiteY3522"/>
                        </a:cxn>
                        <a:cxn ang="0">
                          <a:pos x="connsiteX3523" y="connsiteY3523"/>
                        </a:cxn>
                        <a:cxn ang="0">
                          <a:pos x="connsiteX3524" y="connsiteY3524"/>
                        </a:cxn>
                        <a:cxn ang="0">
                          <a:pos x="connsiteX3525" y="connsiteY3525"/>
                        </a:cxn>
                        <a:cxn ang="0">
                          <a:pos x="connsiteX3526" y="connsiteY3526"/>
                        </a:cxn>
                        <a:cxn ang="0">
                          <a:pos x="connsiteX3527" y="connsiteY3527"/>
                        </a:cxn>
                        <a:cxn ang="0">
                          <a:pos x="connsiteX3528" y="connsiteY3528"/>
                        </a:cxn>
                        <a:cxn ang="0">
                          <a:pos x="connsiteX3529" y="connsiteY3529"/>
                        </a:cxn>
                        <a:cxn ang="0">
                          <a:pos x="connsiteX3530" y="connsiteY3530"/>
                        </a:cxn>
                        <a:cxn ang="0">
                          <a:pos x="connsiteX3531" y="connsiteY3531"/>
                        </a:cxn>
                        <a:cxn ang="0">
                          <a:pos x="connsiteX3532" y="connsiteY3532"/>
                        </a:cxn>
                        <a:cxn ang="0">
                          <a:pos x="connsiteX3533" y="connsiteY3533"/>
                        </a:cxn>
                        <a:cxn ang="0">
                          <a:pos x="connsiteX3534" y="connsiteY3534"/>
                        </a:cxn>
                        <a:cxn ang="0">
                          <a:pos x="connsiteX3535" y="connsiteY3535"/>
                        </a:cxn>
                        <a:cxn ang="0">
                          <a:pos x="connsiteX3536" y="connsiteY3536"/>
                        </a:cxn>
                        <a:cxn ang="0">
                          <a:pos x="connsiteX3537" y="connsiteY3537"/>
                        </a:cxn>
                        <a:cxn ang="0">
                          <a:pos x="connsiteX3538" y="connsiteY3538"/>
                        </a:cxn>
                        <a:cxn ang="0">
                          <a:pos x="connsiteX3539" y="connsiteY3539"/>
                        </a:cxn>
                        <a:cxn ang="0">
                          <a:pos x="connsiteX3540" y="connsiteY3540"/>
                        </a:cxn>
                        <a:cxn ang="0">
                          <a:pos x="connsiteX3541" y="connsiteY3541"/>
                        </a:cxn>
                        <a:cxn ang="0">
                          <a:pos x="connsiteX3542" y="connsiteY3542"/>
                        </a:cxn>
                        <a:cxn ang="0">
                          <a:pos x="connsiteX3543" y="connsiteY3543"/>
                        </a:cxn>
                        <a:cxn ang="0">
                          <a:pos x="connsiteX3544" y="connsiteY3544"/>
                        </a:cxn>
                        <a:cxn ang="0">
                          <a:pos x="connsiteX3545" y="connsiteY3545"/>
                        </a:cxn>
                        <a:cxn ang="0">
                          <a:pos x="connsiteX3546" y="connsiteY3546"/>
                        </a:cxn>
                        <a:cxn ang="0">
                          <a:pos x="connsiteX3547" y="connsiteY3547"/>
                        </a:cxn>
                        <a:cxn ang="0">
                          <a:pos x="connsiteX3548" y="connsiteY3548"/>
                        </a:cxn>
                        <a:cxn ang="0">
                          <a:pos x="connsiteX3549" y="connsiteY3549"/>
                        </a:cxn>
                        <a:cxn ang="0">
                          <a:pos x="connsiteX3550" y="connsiteY3550"/>
                        </a:cxn>
                        <a:cxn ang="0">
                          <a:pos x="connsiteX3551" y="connsiteY3551"/>
                        </a:cxn>
                        <a:cxn ang="0">
                          <a:pos x="connsiteX3552" y="connsiteY3552"/>
                        </a:cxn>
                        <a:cxn ang="0">
                          <a:pos x="connsiteX3553" y="connsiteY3553"/>
                        </a:cxn>
                        <a:cxn ang="0">
                          <a:pos x="connsiteX3554" y="connsiteY3554"/>
                        </a:cxn>
                        <a:cxn ang="0">
                          <a:pos x="connsiteX3555" y="connsiteY3555"/>
                        </a:cxn>
                        <a:cxn ang="0">
                          <a:pos x="connsiteX3556" y="connsiteY3556"/>
                        </a:cxn>
                        <a:cxn ang="0">
                          <a:pos x="connsiteX3557" y="connsiteY3557"/>
                        </a:cxn>
                        <a:cxn ang="0">
                          <a:pos x="connsiteX3558" y="connsiteY3558"/>
                        </a:cxn>
                        <a:cxn ang="0">
                          <a:pos x="connsiteX3559" y="connsiteY3559"/>
                        </a:cxn>
                        <a:cxn ang="0">
                          <a:pos x="connsiteX3560" y="connsiteY3560"/>
                        </a:cxn>
                        <a:cxn ang="0">
                          <a:pos x="connsiteX3561" y="connsiteY3561"/>
                        </a:cxn>
                        <a:cxn ang="0">
                          <a:pos x="connsiteX3562" y="connsiteY3562"/>
                        </a:cxn>
                        <a:cxn ang="0">
                          <a:pos x="connsiteX3563" y="connsiteY3563"/>
                        </a:cxn>
                        <a:cxn ang="0">
                          <a:pos x="connsiteX3564" y="connsiteY3564"/>
                        </a:cxn>
                        <a:cxn ang="0">
                          <a:pos x="connsiteX3565" y="connsiteY3565"/>
                        </a:cxn>
                        <a:cxn ang="0">
                          <a:pos x="connsiteX3566" y="connsiteY3566"/>
                        </a:cxn>
                        <a:cxn ang="0">
                          <a:pos x="connsiteX3567" y="connsiteY3567"/>
                        </a:cxn>
                        <a:cxn ang="0">
                          <a:pos x="connsiteX3568" y="connsiteY3568"/>
                        </a:cxn>
                        <a:cxn ang="0">
                          <a:pos x="connsiteX3569" y="connsiteY3569"/>
                        </a:cxn>
                        <a:cxn ang="0">
                          <a:pos x="connsiteX3570" y="connsiteY3570"/>
                        </a:cxn>
                        <a:cxn ang="0">
                          <a:pos x="connsiteX3571" y="connsiteY3571"/>
                        </a:cxn>
                        <a:cxn ang="0">
                          <a:pos x="connsiteX3572" y="connsiteY3572"/>
                        </a:cxn>
                        <a:cxn ang="0">
                          <a:pos x="connsiteX3573" y="connsiteY3573"/>
                        </a:cxn>
                        <a:cxn ang="0">
                          <a:pos x="connsiteX3574" y="connsiteY3574"/>
                        </a:cxn>
                        <a:cxn ang="0">
                          <a:pos x="connsiteX3575" y="connsiteY3575"/>
                        </a:cxn>
                        <a:cxn ang="0">
                          <a:pos x="connsiteX3576" y="connsiteY3576"/>
                        </a:cxn>
                        <a:cxn ang="0">
                          <a:pos x="connsiteX3577" y="connsiteY3577"/>
                        </a:cxn>
                        <a:cxn ang="0">
                          <a:pos x="connsiteX3578" y="connsiteY3578"/>
                        </a:cxn>
                        <a:cxn ang="0">
                          <a:pos x="connsiteX3579" y="connsiteY3579"/>
                        </a:cxn>
                        <a:cxn ang="0">
                          <a:pos x="connsiteX3580" y="connsiteY3580"/>
                        </a:cxn>
                        <a:cxn ang="0">
                          <a:pos x="connsiteX3581" y="connsiteY3581"/>
                        </a:cxn>
                        <a:cxn ang="0">
                          <a:pos x="connsiteX3582" y="connsiteY3582"/>
                        </a:cxn>
                        <a:cxn ang="0">
                          <a:pos x="connsiteX3583" y="connsiteY3583"/>
                        </a:cxn>
                        <a:cxn ang="0">
                          <a:pos x="connsiteX3584" y="connsiteY3584"/>
                        </a:cxn>
                        <a:cxn ang="0">
                          <a:pos x="connsiteX3585" y="connsiteY3585"/>
                        </a:cxn>
                        <a:cxn ang="0">
                          <a:pos x="connsiteX3586" y="connsiteY3586"/>
                        </a:cxn>
                        <a:cxn ang="0">
                          <a:pos x="connsiteX3587" y="connsiteY3587"/>
                        </a:cxn>
                        <a:cxn ang="0">
                          <a:pos x="connsiteX3588" y="connsiteY3588"/>
                        </a:cxn>
                        <a:cxn ang="0">
                          <a:pos x="connsiteX3589" y="connsiteY3589"/>
                        </a:cxn>
                        <a:cxn ang="0">
                          <a:pos x="connsiteX3590" y="connsiteY3590"/>
                        </a:cxn>
                        <a:cxn ang="0">
                          <a:pos x="connsiteX3591" y="connsiteY3591"/>
                        </a:cxn>
                        <a:cxn ang="0">
                          <a:pos x="connsiteX3592" y="connsiteY3592"/>
                        </a:cxn>
                        <a:cxn ang="0">
                          <a:pos x="connsiteX3593" y="connsiteY3593"/>
                        </a:cxn>
                        <a:cxn ang="0">
                          <a:pos x="connsiteX3594" y="connsiteY3594"/>
                        </a:cxn>
                        <a:cxn ang="0">
                          <a:pos x="connsiteX3595" y="connsiteY3595"/>
                        </a:cxn>
                        <a:cxn ang="0">
                          <a:pos x="connsiteX3596" y="connsiteY3596"/>
                        </a:cxn>
                        <a:cxn ang="0">
                          <a:pos x="connsiteX3597" y="connsiteY3597"/>
                        </a:cxn>
                        <a:cxn ang="0">
                          <a:pos x="connsiteX3598" y="connsiteY3598"/>
                        </a:cxn>
                        <a:cxn ang="0">
                          <a:pos x="connsiteX3599" y="connsiteY3599"/>
                        </a:cxn>
                        <a:cxn ang="0">
                          <a:pos x="connsiteX3600" y="connsiteY3600"/>
                        </a:cxn>
                        <a:cxn ang="0">
                          <a:pos x="connsiteX3601" y="connsiteY3601"/>
                        </a:cxn>
                        <a:cxn ang="0">
                          <a:pos x="connsiteX3602" y="connsiteY3602"/>
                        </a:cxn>
                        <a:cxn ang="0">
                          <a:pos x="connsiteX3603" y="connsiteY3603"/>
                        </a:cxn>
                        <a:cxn ang="0">
                          <a:pos x="connsiteX3604" y="connsiteY3604"/>
                        </a:cxn>
                        <a:cxn ang="0">
                          <a:pos x="connsiteX3605" y="connsiteY3605"/>
                        </a:cxn>
                        <a:cxn ang="0">
                          <a:pos x="connsiteX3606" y="connsiteY3606"/>
                        </a:cxn>
                        <a:cxn ang="0">
                          <a:pos x="connsiteX3607" y="connsiteY3607"/>
                        </a:cxn>
                        <a:cxn ang="0">
                          <a:pos x="connsiteX3608" y="connsiteY3608"/>
                        </a:cxn>
                        <a:cxn ang="0">
                          <a:pos x="connsiteX3609" y="connsiteY3609"/>
                        </a:cxn>
                        <a:cxn ang="0">
                          <a:pos x="connsiteX3610" y="connsiteY3610"/>
                        </a:cxn>
                        <a:cxn ang="0">
                          <a:pos x="connsiteX3611" y="connsiteY3611"/>
                        </a:cxn>
                        <a:cxn ang="0">
                          <a:pos x="connsiteX3612" y="connsiteY3612"/>
                        </a:cxn>
                        <a:cxn ang="0">
                          <a:pos x="connsiteX3613" y="connsiteY3613"/>
                        </a:cxn>
                        <a:cxn ang="0">
                          <a:pos x="connsiteX3614" y="connsiteY3614"/>
                        </a:cxn>
                        <a:cxn ang="0">
                          <a:pos x="connsiteX3615" y="connsiteY3615"/>
                        </a:cxn>
                        <a:cxn ang="0">
                          <a:pos x="connsiteX3616" y="connsiteY3616"/>
                        </a:cxn>
                        <a:cxn ang="0">
                          <a:pos x="connsiteX3617" y="connsiteY3617"/>
                        </a:cxn>
                        <a:cxn ang="0">
                          <a:pos x="connsiteX3618" y="connsiteY3618"/>
                        </a:cxn>
                        <a:cxn ang="0">
                          <a:pos x="connsiteX3619" y="connsiteY3619"/>
                        </a:cxn>
                        <a:cxn ang="0">
                          <a:pos x="connsiteX3620" y="connsiteY3620"/>
                        </a:cxn>
                        <a:cxn ang="0">
                          <a:pos x="connsiteX3621" y="connsiteY3621"/>
                        </a:cxn>
                        <a:cxn ang="0">
                          <a:pos x="connsiteX3622" y="connsiteY3622"/>
                        </a:cxn>
                        <a:cxn ang="0">
                          <a:pos x="connsiteX3623" y="connsiteY3623"/>
                        </a:cxn>
                        <a:cxn ang="0">
                          <a:pos x="connsiteX3624" y="connsiteY3624"/>
                        </a:cxn>
                        <a:cxn ang="0">
                          <a:pos x="connsiteX3625" y="connsiteY3625"/>
                        </a:cxn>
                        <a:cxn ang="0">
                          <a:pos x="connsiteX3626" y="connsiteY3626"/>
                        </a:cxn>
                        <a:cxn ang="0">
                          <a:pos x="connsiteX3627" y="connsiteY3627"/>
                        </a:cxn>
                        <a:cxn ang="0">
                          <a:pos x="connsiteX3628" y="connsiteY3628"/>
                        </a:cxn>
                        <a:cxn ang="0">
                          <a:pos x="connsiteX3629" y="connsiteY3629"/>
                        </a:cxn>
                        <a:cxn ang="0">
                          <a:pos x="connsiteX3630" y="connsiteY3630"/>
                        </a:cxn>
                        <a:cxn ang="0">
                          <a:pos x="connsiteX3631" y="connsiteY3631"/>
                        </a:cxn>
                        <a:cxn ang="0">
                          <a:pos x="connsiteX3632" y="connsiteY3632"/>
                        </a:cxn>
                        <a:cxn ang="0">
                          <a:pos x="connsiteX3633" y="connsiteY3633"/>
                        </a:cxn>
                        <a:cxn ang="0">
                          <a:pos x="connsiteX3634" y="connsiteY3634"/>
                        </a:cxn>
                        <a:cxn ang="0">
                          <a:pos x="connsiteX3635" y="connsiteY3635"/>
                        </a:cxn>
                        <a:cxn ang="0">
                          <a:pos x="connsiteX3636" y="connsiteY3636"/>
                        </a:cxn>
                        <a:cxn ang="0">
                          <a:pos x="connsiteX3637" y="connsiteY3637"/>
                        </a:cxn>
                        <a:cxn ang="0">
                          <a:pos x="connsiteX3638" y="connsiteY3638"/>
                        </a:cxn>
                        <a:cxn ang="0">
                          <a:pos x="connsiteX3639" y="connsiteY3639"/>
                        </a:cxn>
                        <a:cxn ang="0">
                          <a:pos x="connsiteX3640" y="connsiteY3640"/>
                        </a:cxn>
                        <a:cxn ang="0">
                          <a:pos x="connsiteX3641" y="connsiteY3641"/>
                        </a:cxn>
                        <a:cxn ang="0">
                          <a:pos x="connsiteX3642" y="connsiteY3642"/>
                        </a:cxn>
                        <a:cxn ang="0">
                          <a:pos x="connsiteX3643" y="connsiteY3643"/>
                        </a:cxn>
                        <a:cxn ang="0">
                          <a:pos x="connsiteX3644" y="connsiteY3644"/>
                        </a:cxn>
                        <a:cxn ang="0">
                          <a:pos x="connsiteX3645" y="connsiteY3645"/>
                        </a:cxn>
                        <a:cxn ang="0">
                          <a:pos x="connsiteX3646" y="connsiteY3646"/>
                        </a:cxn>
                        <a:cxn ang="0">
                          <a:pos x="connsiteX3647" y="connsiteY3647"/>
                        </a:cxn>
                        <a:cxn ang="0">
                          <a:pos x="connsiteX3648" y="connsiteY3648"/>
                        </a:cxn>
                        <a:cxn ang="0">
                          <a:pos x="connsiteX3649" y="connsiteY3649"/>
                        </a:cxn>
                        <a:cxn ang="0">
                          <a:pos x="connsiteX3650" y="connsiteY3650"/>
                        </a:cxn>
                        <a:cxn ang="0">
                          <a:pos x="connsiteX3651" y="connsiteY3651"/>
                        </a:cxn>
                        <a:cxn ang="0">
                          <a:pos x="connsiteX3652" y="connsiteY3652"/>
                        </a:cxn>
                        <a:cxn ang="0">
                          <a:pos x="connsiteX3653" y="connsiteY3653"/>
                        </a:cxn>
                        <a:cxn ang="0">
                          <a:pos x="connsiteX3654" y="connsiteY3654"/>
                        </a:cxn>
                        <a:cxn ang="0">
                          <a:pos x="connsiteX3655" y="connsiteY3655"/>
                        </a:cxn>
                        <a:cxn ang="0">
                          <a:pos x="connsiteX3656" y="connsiteY3656"/>
                        </a:cxn>
                        <a:cxn ang="0">
                          <a:pos x="connsiteX3657" y="connsiteY3657"/>
                        </a:cxn>
                        <a:cxn ang="0">
                          <a:pos x="connsiteX3658" y="connsiteY3658"/>
                        </a:cxn>
                        <a:cxn ang="0">
                          <a:pos x="connsiteX3659" y="connsiteY3659"/>
                        </a:cxn>
                        <a:cxn ang="0">
                          <a:pos x="connsiteX3660" y="connsiteY3660"/>
                        </a:cxn>
                        <a:cxn ang="0">
                          <a:pos x="connsiteX3661" y="connsiteY3661"/>
                        </a:cxn>
                        <a:cxn ang="0">
                          <a:pos x="connsiteX3662" y="connsiteY3662"/>
                        </a:cxn>
                        <a:cxn ang="0">
                          <a:pos x="connsiteX3663" y="connsiteY3663"/>
                        </a:cxn>
                        <a:cxn ang="0">
                          <a:pos x="connsiteX3664" y="connsiteY3664"/>
                        </a:cxn>
                        <a:cxn ang="0">
                          <a:pos x="connsiteX3665" y="connsiteY3665"/>
                        </a:cxn>
                        <a:cxn ang="0">
                          <a:pos x="connsiteX3666" y="connsiteY3666"/>
                        </a:cxn>
                        <a:cxn ang="0">
                          <a:pos x="connsiteX3667" y="connsiteY3667"/>
                        </a:cxn>
                        <a:cxn ang="0">
                          <a:pos x="connsiteX3668" y="connsiteY3668"/>
                        </a:cxn>
                        <a:cxn ang="0">
                          <a:pos x="connsiteX3669" y="connsiteY3669"/>
                        </a:cxn>
                        <a:cxn ang="0">
                          <a:pos x="connsiteX3670" y="connsiteY3670"/>
                        </a:cxn>
                        <a:cxn ang="0">
                          <a:pos x="connsiteX3671" y="connsiteY3671"/>
                        </a:cxn>
                        <a:cxn ang="0">
                          <a:pos x="connsiteX3672" y="connsiteY3672"/>
                        </a:cxn>
                        <a:cxn ang="0">
                          <a:pos x="connsiteX3673" y="connsiteY3673"/>
                        </a:cxn>
                        <a:cxn ang="0">
                          <a:pos x="connsiteX3674" y="connsiteY3674"/>
                        </a:cxn>
                        <a:cxn ang="0">
                          <a:pos x="connsiteX3675" y="connsiteY3675"/>
                        </a:cxn>
                        <a:cxn ang="0">
                          <a:pos x="connsiteX3676" y="connsiteY3676"/>
                        </a:cxn>
                        <a:cxn ang="0">
                          <a:pos x="connsiteX3677" y="connsiteY3677"/>
                        </a:cxn>
                        <a:cxn ang="0">
                          <a:pos x="connsiteX3678" y="connsiteY3678"/>
                        </a:cxn>
                        <a:cxn ang="0">
                          <a:pos x="connsiteX3679" y="connsiteY3679"/>
                        </a:cxn>
                        <a:cxn ang="0">
                          <a:pos x="connsiteX3680" y="connsiteY3680"/>
                        </a:cxn>
                        <a:cxn ang="0">
                          <a:pos x="connsiteX3681" y="connsiteY3681"/>
                        </a:cxn>
                        <a:cxn ang="0">
                          <a:pos x="connsiteX3682" y="connsiteY3682"/>
                        </a:cxn>
                        <a:cxn ang="0">
                          <a:pos x="connsiteX3683" y="connsiteY3683"/>
                        </a:cxn>
                        <a:cxn ang="0">
                          <a:pos x="connsiteX3684" y="connsiteY3684"/>
                        </a:cxn>
                        <a:cxn ang="0">
                          <a:pos x="connsiteX3685" y="connsiteY3685"/>
                        </a:cxn>
                        <a:cxn ang="0">
                          <a:pos x="connsiteX3686" y="connsiteY3686"/>
                        </a:cxn>
                        <a:cxn ang="0">
                          <a:pos x="connsiteX3687" y="connsiteY3687"/>
                        </a:cxn>
                        <a:cxn ang="0">
                          <a:pos x="connsiteX3688" y="connsiteY3688"/>
                        </a:cxn>
                        <a:cxn ang="0">
                          <a:pos x="connsiteX3689" y="connsiteY3689"/>
                        </a:cxn>
                        <a:cxn ang="0">
                          <a:pos x="connsiteX3690" y="connsiteY3690"/>
                        </a:cxn>
                        <a:cxn ang="0">
                          <a:pos x="connsiteX3691" y="connsiteY3691"/>
                        </a:cxn>
                        <a:cxn ang="0">
                          <a:pos x="connsiteX3692" y="connsiteY3692"/>
                        </a:cxn>
                        <a:cxn ang="0">
                          <a:pos x="connsiteX3693" y="connsiteY3693"/>
                        </a:cxn>
                        <a:cxn ang="0">
                          <a:pos x="connsiteX3694" y="connsiteY3694"/>
                        </a:cxn>
                        <a:cxn ang="0">
                          <a:pos x="connsiteX3695" y="connsiteY3695"/>
                        </a:cxn>
                        <a:cxn ang="0">
                          <a:pos x="connsiteX3696" y="connsiteY3696"/>
                        </a:cxn>
                        <a:cxn ang="0">
                          <a:pos x="connsiteX3697" y="connsiteY3697"/>
                        </a:cxn>
                        <a:cxn ang="0">
                          <a:pos x="connsiteX3698" y="connsiteY3698"/>
                        </a:cxn>
                        <a:cxn ang="0">
                          <a:pos x="connsiteX3699" y="connsiteY3699"/>
                        </a:cxn>
                        <a:cxn ang="0">
                          <a:pos x="connsiteX3700" y="connsiteY3700"/>
                        </a:cxn>
                        <a:cxn ang="0">
                          <a:pos x="connsiteX3701" y="connsiteY3701"/>
                        </a:cxn>
                        <a:cxn ang="0">
                          <a:pos x="connsiteX3702" y="connsiteY3702"/>
                        </a:cxn>
                        <a:cxn ang="0">
                          <a:pos x="connsiteX3703" y="connsiteY3703"/>
                        </a:cxn>
                        <a:cxn ang="0">
                          <a:pos x="connsiteX3704" y="connsiteY3704"/>
                        </a:cxn>
                        <a:cxn ang="0">
                          <a:pos x="connsiteX3705" y="connsiteY3705"/>
                        </a:cxn>
                        <a:cxn ang="0">
                          <a:pos x="connsiteX3706" y="connsiteY3706"/>
                        </a:cxn>
                        <a:cxn ang="0">
                          <a:pos x="connsiteX3707" y="connsiteY3707"/>
                        </a:cxn>
                        <a:cxn ang="0">
                          <a:pos x="connsiteX3708" y="connsiteY3708"/>
                        </a:cxn>
                        <a:cxn ang="0">
                          <a:pos x="connsiteX3709" y="connsiteY3709"/>
                        </a:cxn>
                        <a:cxn ang="0">
                          <a:pos x="connsiteX3710" y="connsiteY3710"/>
                        </a:cxn>
                        <a:cxn ang="0">
                          <a:pos x="connsiteX3711" y="connsiteY3711"/>
                        </a:cxn>
                        <a:cxn ang="0">
                          <a:pos x="connsiteX3712" y="connsiteY3712"/>
                        </a:cxn>
                        <a:cxn ang="0">
                          <a:pos x="connsiteX3713" y="connsiteY3713"/>
                        </a:cxn>
                        <a:cxn ang="0">
                          <a:pos x="connsiteX3714" y="connsiteY3714"/>
                        </a:cxn>
                        <a:cxn ang="0">
                          <a:pos x="connsiteX3715" y="connsiteY3715"/>
                        </a:cxn>
                        <a:cxn ang="0">
                          <a:pos x="connsiteX3716" y="connsiteY3716"/>
                        </a:cxn>
                        <a:cxn ang="0">
                          <a:pos x="connsiteX3717" y="connsiteY3717"/>
                        </a:cxn>
                        <a:cxn ang="0">
                          <a:pos x="connsiteX3718" y="connsiteY3718"/>
                        </a:cxn>
                        <a:cxn ang="0">
                          <a:pos x="connsiteX3719" y="connsiteY3719"/>
                        </a:cxn>
                        <a:cxn ang="0">
                          <a:pos x="connsiteX3720" y="connsiteY3720"/>
                        </a:cxn>
                        <a:cxn ang="0">
                          <a:pos x="connsiteX3721" y="connsiteY3721"/>
                        </a:cxn>
                        <a:cxn ang="0">
                          <a:pos x="connsiteX3722" y="connsiteY3722"/>
                        </a:cxn>
                        <a:cxn ang="0">
                          <a:pos x="connsiteX3723" y="connsiteY3723"/>
                        </a:cxn>
                        <a:cxn ang="0">
                          <a:pos x="connsiteX3724" y="connsiteY3724"/>
                        </a:cxn>
                        <a:cxn ang="0">
                          <a:pos x="connsiteX3725" y="connsiteY3725"/>
                        </a:cxn>
                        <a:cxn ang="0">
                          <a:pos x="connsiteX3726" y="connsiteY3726"/>
                        </a:cxn>
                        <a:cxn ang="0">
                          <a:pos x="connsiteX3727" y="connsiteY3727"/>
                        </a:cxn>
                        <a:cxn ang="0">
                          <a:pos x="connsiteX3728" y="connsiteY3728"/>
                        </a:cxn>
                        <a:cxn ang="0">
                          <a:pos x="connsiteX3729" y="connsiteY3729"/>
                        </a:cxn>
                        <a:cxn ang="0">
                          <a:pos x="connsiteX3730" y="connsiteY3730"/>
                        </a:cxn>
                        <a:cxn ang="0">
                          <a:pos x="connsiteX3731" y="connsiteY3731"/>
                        </a:cxn>
                        <a:cxn ang="0">
                          <a:pos x="connsiteX3732" y="connsiteY3732"/>
                        </a:cxn>
                        <a:cxn ang="0">
                          <a:pos x="connsiteX3733" y="connsiteY3733"/>
                        </a:cxn>
                        <a:cxn ang="0">
                          <a:pos x="connsiteX3734" y="connsiteY3734"/>
                        </a:cxn>
                        <a:cxn ang="0">
                          <a:pos x="connsiteX3735" y="connsiteY3735"/>
                        </a:cxn>
                        <a:cxn ang="0">
                          <a:pos x="connsiteX3736" y="connsiteY3736"/>
                        </a:cxn>
                        <a:cxn ang="0">
                          <a:pos x="connsiteX3737" y="connsiteY3737"/>
                        </a:cxn>
                        <a:cxn ang="0">
                          <a:pos x="connsiteX3738" y="connsiteY3738"/>
                        </a:cxn>
                        <a:cxn ang="0">
                          <a:pos x="connsiteX3739" y="connsiteY3739"/>
                        </a:cxn>
                        <a:cxn ang="0">
                          <a:pos x="connsiteX3740" y="connsiteY3740"/>
                        </a:cxn>
                        <a:cxn ang="0">
                          <a:pos x="connsiteX3741" y="connsiteY3741"/>
                        </a:cxn>
                        <a:cxn ang="0">
                          <a:pos x="connsiteX3742" y="connsiteY3742"/>
                        </a:cxn>
                        <a:cxn ang="0">
                          <a:pos x="connsiteX3743" y="connsiteY3743"/>
                        </a:cxn>
                        <a:cxn ang="0">
                          <a:pos x="connsiteX3744" y="connsiteY3744"/>
                        </a:cxn>
                        <a:cxn ang="0">
                          <a:pos x="connsiteX3745" y="connsiteY3745"/>
                        </a:cxn>
                        <a:cxn ang="0">
                          <a:pos x="connsiteX3746" y="connsiteY3746"/>
                        </a:cxn>
                        <a:cxn ang="0">
                          <a:pos x="connsiteX3747" y="connsiteY3747"/>
                        </a:cxn>
                        <a:cxn ang="0">
                          <a:pos x="connsiteX3748" y="connsiteY3748"/>
                        </a:cxn>
                        <a:cxn ang="0">
                          <a:pos x="connsiteX3749" y="connsiteY3749"/>
                        </a:cxn>
                        <a:cxn ang="0">
                          <a:pos x="connsiteX3750" y="connsiteY3750"/>
                        </a:cxn>
                        <a:cxn ang="0">
                          <a:pos x="connsiteX3751" y="connsiteY3751"/>
                        </a:cxn>
                        <a:cxn ang="0">
                          <a:pos x="connsiteX3752" y="connsiteY3752"/>
                        </a:cxn>
                        <a:cxn ang="0">
                          <a:pos x="connsiteX3753" y="connsiteY3753"/>
                        </a:cxn>
                        <a:cxn ang="0">
                          <a:pos x="connsiteX3754" y="connsiteY3754"/>
                        </a:cxn>
                        <a:cxn ang="0">
                          <a:pos x="connsiteX3755" y="connsiteY3755"/>
                        </a:cxn>
                        <a:cxn ang="0">
                          <a:pos x="connsiteX3756" y="connsiteY3756"/>
                        </a:cxn>
                        <a:cxn ang="0">
                          <a:pos x="connsiteX3757" y="connsiteY3757"/>
                        </a:cxn>
                        <a:cxn ang="0">
                          <a:pos x="connsiteX3758" y="connsiteY3758"/>
                        </a:cxn>
                        <a:cxn ang="0">
                          <a:pos x="connsiteX3759" y="connsiteY3759"/>
                        </a:cxn>
                        <a:cxn ang="0">
                          <a:pos x="connsiteX3760" y="connsiteY3760"/>
                        </a:cxn>
                        <a:cxn ang="0">
                          <a:pos x="connsiteX3761" y="connsiteY3761"/>
                        </a:cxn>
                        <a:cxn ang="0">
                          <a:pos x="connsiteX3762" y="connsiteY3762"/>
                        </a:cxn>
                        <a:cxn ang="0">
                          <a:pos x="connsiteX3763" y="connsiteY3763"/>
                        </a:cxn>
                        <a:cxn ang="0">
                          <a:pos x="connsiteX3764" y="connsiteY3764"/>
                        </a:cxn>
                        <a:cxn ang="0">
                          <a:pos x="connsiteX3765" y="connsiteY3765"/>
                        </a:cxn>
                        <a:cxn ang="0">
                          <a:pos x="connsiteX3766" y="connsiteY3766"/>
                        </a:cxn>
                        <a:cxn ang="0">
                          <a:pos x="connsiteX3767" y="connsiteY3767"/>
                        </a:cxn>
                        <a:cxn ang="0">
                          <a:pos x="connsiteX3768" y="connsiteY3768"/>
                        </a:cxn>
                        <a:cxn ang="0">
                          <a:pos x="connsiteX3769" y="connsiteY3769"/>
                        </a:cxn>
                        <a:cxn ang="0">
                          <a:pos x="connsiteX3770" y="connsiteY3770"/>
                        </a:cxn>
                        <a:cxn ang="0">
                          <a:pos x="connsiteX3771" y="connsiteY3771"/>
                        </a:cxn>
                        <a:cxn ang="0">
                          <a:pos x="connsiteX3772" y="connsiteY3772"/>
                        </a:cxn>
                        <a:cxn ang="0">
                          <a:pos x="connsiteX3773" y="connsiteY3773"/>
                        </a:cxn>
                        <a:cxn ang="0">
                          <a:pos x="connsiteX3774" y="connsiteY3774"/>
                        </a:cxn>
                        <a:cxn ang="0">
                          <a:pos x="connsiteX3775" y="connsiteY3775"/>
                        </a:cxn>
                        <a:cxn ang="0">
                          <a:pos x="connsiteX3776" y="connsiteY3776"/>
                        </a:cxn>
                        <a:cxn ang="0">
                          <a:pos x="connsiteX3777" y="connsiteY3777"/>
                        </a:cxn>
                        <a:cxn ang="0">
                          <a:pos x="connsiteX3778" y="connsiteY3778"/>
                        </a:cxn>
                        <a:cxn ang="0">
                          <a:pos x="connsiteX3779" y="connsiteY3779"/>
                        </a:cxn>
                        <a:cxn ang="0">
                          <a:pos x="connsiteX3780" y="connsiteY3780"/>
                        </a:cxn>
                        <a:cxn ang="0">
                          <a:pos x="connsiteX3781" y="connsiteY3781"/>
                        </a:cxn>
                        <a:cxn ang="0">
                          <a:pos x="connsiteX3782" y="connsiteY3782"/>
                        </a:cxn>
                        <a:cxn ang="0">
                          <a:pos x="connsiteX3783" y="connsiteY3783"/>
                        </a:cxn>
                        <a:cxn ang="0">
                          <a:pos x="connsiteX3784" y="connsiteY3784"/>
                        </a:cxn>
                        <a:cxn ang="0">
                          <a:pos x="connsiteX3785" y="connsiteY3785"/>
                        </a:cxn>
                        <a:cxn ang="0">
                          <a:pos x="connsiteX3786" y="connsiteY3786"/>
                        </a:cxn>
                        <a:cxn ang="0">
                          <a:pos x="connsiteX3787" y="connsiteY3787"/>
                        </a:cxn>
                        <a:cxn ang="0">
                          <a:pos x="connsiteX3788" y="connsiteY3788"/>
                        </a:cxn>
                        <a:cxn ang="0">
                          <a:pos x="connsiteX3789" y="connsiteY3789"/>
                        </a:cxn>
                        <a:cxn ang="0">
                          <a:pos x="connsiteX3790" y="connsiteY3790"/>
                        </a:cxn>
                        <a:cxn ang="0">
                          <a:pos x="connsiteX3791" y="connsiteY3791"/>
                        </a:cxn>
                        <a:cxn ang="0">
                          <a:pos x="connsiteX3792" y="connsiteY3792"/>
                        </a:cxn>
                        <a:cxn ang="0">
                          <a:pos x="connsiteX3793" y="connsiteY3793"/>
                        </a:cxn>
                        <a:cxn ang="0">
                          <a:pos x="connsiteX3794" y="connsiteY3794"/>
                        </a:cxn>
                        <a:cxn ang="0">
                          <a:pos x="connsiteX3795" y="connsiteY3795"/>
                        </a:cxn>
                        <a:cxn ang="0">
                          <a:pos x="connsiteX3796" y="connsiteY3796"/>
                        </a:cxn>
                        <a:cxn ang="0">
                          <a:pos x="connsiteX3797" y="connsiteY3797"/>
                        </a:cxn>
                        <a:cxn ang="0">
                          <a:pos x="connsiteX3798" y="connsiteY3798"/>
                        </a:cxn>
                        <a:cxn ang="0">
                          <a:pos x="connsiteX3799" y="connsiteY3799"/>
                        </a:cxn>
                        <a:cxn ang="0">
                          <a:pos x="connsiteX3800" y="connsiteY3800"/>
                        </a:cxn>
                        <a:cxn ang="0">
                          <a:pos x="connsiteX3801" y="connsiteY3801"/>
                        </a:cxn>
                        <a:cxn ang="0">
                          <a:pos x="connsiteX3802" y="connsiteY3802"/>
                        </a:cxn>
                        <a:cxn ang="0">
                          <a:pos x="connsiteX3803" y="connsiteY3803"/>
                        </a:cxn>
                        <a:cxn ang="0">
                          <a:pos x="connsiteX3804" y="connsiteY3804"/>
                        </a:cxn>
                        <a:cxn ang="0">
                          <a:pos x="connsiteX3805" y="connsiteY3805"/>
                        </a:cxn>
                        <a:cxn ang="0">
                          <a:pos x="connsiteX3806" y="connsiteY3806"/>
                        </a:cxn>
                        <a:cxn ang="0">
                          <a:pos x="connsiteX3807" y="connsiteY3807"/>
                        </a:cxn>
                        <a:cxn ang="0">
                          <a:pos x="connsiteX3808" y="connsiteY3808"/>
                        </a:cxn>
                        <a:cxn ang="0">
                          <a:pos x="connsiteX3809" y="connsiteY3809"/>
                        </a:cxn>
                        <a:cxn ang="0">
                          <a:pos x="connsiteX3810" y="connsiteY3810"/>
                        </a:cxn>
                        <a:cxn ang="0">
                          <a:pos x="connsiteX3811" y="connsiteY3811"/>
                        </a:cxn>
                        <a:cxn ang="0">
                          <a:pos x="connsiteX3812" y="connsiteY3812"/>
                        </a:cxn>
                        <a:cxn ang="0">
                          <a:pos x="connsiteX3813" y="connsiteY3813"/>
                        </a:cxn>
                        <a:cxn ang="0">
                          <a:pos x="connsiteX3814" y="connsiteY3814"/>
                        </a:cxn>
                        <a:cxn ang="0">
                          <a:pos x="connsiteX3815" y="connsiteY3815"/>
                        </a:cxn>
                        <a:cxn ang="0">
                          <a:pos x="connsiteX3816" y="connsiteY3816"/>
                        </a:cxn>
                        <a:cxn ang="0">
                          <a:pos x="connsiteX3817" y="connsiteY3817"/>
                        </a:cxn>
                        <a:cxn ang="0">
                          <a:pos x="connsiteX3818" y="connsiteY3818"/>
                        </a:cxn>
                        <a:cxn ang="0">
                          <a:pos x="connsiteX3819" y="connsiteY3819"/>
                        </a:cxn>
                        <a:cxn ang="0">
                          <a:pos x="connsiteX3820" y="connsiteY3820"/>
                        </a:cxn>
                        <a:cxn ang="0">
                          <a:pos x="connsiteX3821" y="connsiteY3821"/>
                        </a:cxn>
                        <a:cxn ang="0">
                          <a:pos x="connsiteX3822" y="connsiteY3822"/>
                        </a:cxn>
                        <a:cxn ang="0">
                          <a:pos x="connsiteX3823" y="connsiteY3823"/>
                        </a:cxn>
                        <a:cxn ang="0">
                          <a:pos x="connsiteX3824" y="connsiteY3824"/>
                        </a:cxn>
                        <a:cxn ang="0">
                          <a:pos x="connsiteX3825" y="connsiteY3825"/>
                        </a:cxn>
                        <a:cxn ang="0">
                          <a:pos x="connsiteX3826" y="connsiteY3826"/>
                        </a:cxn>
                        <a:cxn ang="0">
                          <a:pos x="connsiteX3827" y="connsiteY3827"/>
                        </a:cxn>
                        <a:cxn ang="0">
                          <a:pos x="connsiteX3828" y="connsiteY3828"/>
                        </a:cxn>
                        <a:cxn ang="0">
                          <a:pos x="connsiteX3829" y="connsiteY3829"/>
                        </a:cxn>
                        <a:cxn ang="0">
                          <a:pos x="connsiteX3830" y="connsiteY3830"/>
                        </a:cxn>
                        <a:cxn ang="0">
                          <a:pos x="connsiteX3831" y="connsiteY3831"/>
                        </a:cxn>
                        <a:cxn ang="0">
                          <a:pos x="connsiteX3832" y="connsiteY3832"/>
                        </a:cxn>
                        <a:cxn ang="0">
                          <a:pos x="connsiteX3833" y="connsiteY3833"/>
                        </a:cxn>
                        <a:cxn ang="0">
                          <a:pos x="connsiteX3834" y="connsiteY3834"/>
                        </a:cxn>
                        <a:cxn ang="0">
                          <a:pos x="connsiteX3835" y="connsiteY3835"/>
                        </a:cxn>
                        <a:cxn ang="0">
                          <a:pos x="connsiteX3836" y="connsiteY3836"/>
                        </a:cxn>
                        <a:cxn ang="0">
                          <a:pos x="connsiteX3837" y="connsiteY3837"/>
                        </a:cxn>
                        <a:cxn ang="0">
                          <a:pos x="connsiteX3838" y="connsiteY3838"/>
                        </a:cxn>
                        <a:cxn ang="0">
                          <a:pos x="connsiteX3839" y="connsiteY3839"/>
                        </a:cxn>
                        <a:cxn ang="0">
                          <a:pos x="connsiteX3840" y="connsiteY3840"/>
                        </a:cxn>
                        <a:cxn ang="0">
                          <a:pos x="connsiteX3841" y="connsiteY3841"/>
                        </a:cxn>
                        <a:cxn ang="0">
                          <a:pos x="connsiteX3842" y="connsiteY3842"/>
                        </a:cxn>
                        <a:cxn ang="0">
                          <a:pos x="connsiteX3843" y="connsiteY3843"/>
                        </a:cxn>
                        <a:cxn ang="0">
                          <a:pos x="connsiteX3844" y="connsiteY3844"/>
                        </a:cxn>
                        <a:cxn ang="0">
                          <a:pos x="connsiteX3845" y="connsiteY3845"/>
                        </a:cxn>
                        <a:cxn ang="0">
                          <a:pos x="connsiteX3846" y="connsiteY3846"/>
                        </a:cxn>
                        <a:cxn ang="0">
                          <a:pos x="connsiteX3847" y="connsiteY3847"/>
                        </a:cxn>
                        <a:cxn ang="0">
                          <a:pos x="connsiteX3848" y="connsiteY3848"/>
                        </a:cxn>
                        <a:cxn ang="0">
                          <a:pos x="connsiteX3849" y="connsiteY3849"/>
                        </a:cxn>
                        <a:cxn ang="0">
                          <a:pos x="connsiteX3850" y="connsiteY3850"/>
                        </a:cxn>
                        <a:cxn ang="0">
                          <a:pos x="connsiteX3851" y="connsiteY3851"/>
                        </a:cxn>
                        <a:cxn ang="0">
                          <a:pos x="connsiteX3852" y="connsiteY3852"/>
                        </a:cxn>
                        <a:cxn ang="0">
                          <a:pos x="connsiteX3853" y="connsiteY3853"/>
                        </a:cxn>
                        <a:cxn ang="0">
                          <a:pos x="connsiteX3854" y="connsiteY3854"/>
                        </a:cxn>
                        <a:cxn ang="0">
                          <a:pos x="connsiteX3855" y="connsiteY3855"/>
                        </a:cxn>
                        <a:cxn ang="0">
                          <a:pos x="connsiteX3856" y="connsiteY3856"/>
                        </a:cxn>
                        <a:cxn ang="0">
                          <a:pos x="connsiteX3857" y="connsiteY3857"/>
                        </a:cxn>
                        <a:cxn ang="0">
                          <a:pos x="connsiteX3858" y="connsiteY3858"/>
                        </a:cxn>
                        <a:cxn ang="0">
                          <a:pos x="connsiteX3859" y="connsiteY3859"/>
                        </a:cxn>
                        <a:cxn ang="0">
                          <a:pos x="connsiteX3860" y="connsiteY3860"/>
                        </a:cxn>
                        <a:cxn ang="0">
                          <a:pos x="connsiteX3861" y="connsiteY3861"/>
                        </a:cxn>
                        <a:cxn ang="0">
                          <a:pos x="connsiteX3862" y="connsiteY3862"/>
                        </a:cxn>
                        <a:cxn ang="0">
                          <a:pos x="connsiteX3863" y="connsiteY3863"/>
                        </a:cxn>
                        <a:cxn ang="0">
                          <a:pos x="connsiteX3864" y="connsiteY3864"/>
                        </a:cxn>
                        <a:cxn ang="0">
                          <a:pos x="connsiteX3865" y="connsiteY3865"/>
                        </a:cxn>
                        <a:cxn ang="0">
                          <a:pos x="connsiteX3866" y="connsiteY3866"/>
                        </a:cxn>
                        <a:cxn ang="0">
                          <a:pos x="connsiteX3867" y="connsiteY3867"/>
                        </a:cxn>
                        <a:cxn ang="0">
                          <a:pos x="connsiteX3868" y="connsiteY3868"/>
                        </a:cxn>
                        <a:cxn ang="0">
                          <a:pos x="connsiteX3869" y="connsiteY3869"/>
                        </a:cxn>
                        <a:cxn ang="0">
                          <a:pos x="connsiteX3870" y="connsiteY3870"/>
                        </a:cxn>
                        <a:cxn ang="0">
                          <a:pos x="connsiteX3871" y="connsiteY3871"/>
                        </a:cxn>
                        <a:cxn ang="0">
                          <a:pos x="connsiteX3872" y="connsiteY3872"/>
                        </a:cxn>
                        <a:cxn ang="0">
                          <a:pos x="connsiteX3873" y="connsiteY3873"/>
                        </a:cxn>
                        <a:cxn ang="0">
                          <a:pos x="connsiteX3874" y="connsiteY3874"/>
                        </a:cxn>
                        <a:cxn ang="0">
                          <a:pos x="connsiteX3875" y="connsiteY3875"/>
                        </a:cxn>
                        <a:cxn ang="0">
                          <a:pos x="connsiteX3876" y="connsiteY3876"/>
                        </a:cxn>
                        <a:cxn ang="0">
                          <a:pos x="connsiteX3877" y="connsiteY3877"/>
                        </a:cxn>
                        <a:cxn ang="0">
                          <a:pos x="connsiteX3878" y="connsiteY3878"/>
                        </a:cxn>
                        <a:cxn ang="0">
                          <a:pos x="connsiteX3879" y="connsiteY3879"/>
                        </a:cxn>
                        <a:cxn ang="0">
                          <a:pos x="connsiteX3880" y="connsiteY3880"/>
                        </a:cxn>
                        <a:cxn ang="0">
                          <a:pos x="connsiteX3881" y="connsiteY3881"/>
                        </a:cxn>
                        <a:cxn ang="0">
                          <a:pos x="connsiteX3882" y="connsiteY3882"/>
                        </a:cxn>
                        <a:cxn ang="0">
                          <a:pos x="connsiteX3883" y="connsiteY3883"/>
                        </a:cxn>
                        <a:cxn ang="0">
                          <a:pos x="connsiteX3884" y="connsiteY3884"/>
                        </a:cxn>
                        <a:cxn ang="0">
                          <a:pos x="connsiteX3885" y="connsiteY3885"/>
                        </a:cxn>
                        <a:cxn ang="0">
                          <a:pos x="connsiteX3886" y="connsiteY3886"/>
                        </a:cxn>
                        <a:cxn ang="0">
                          <a:pos x="connsiteX3887" y="connsiteY3887"/>
                        </a:cxn>
                        <a:cxn ang="0">
                          <a:pos x="connsiteX3888" y="connsiteY3888"/>
                        </a:cxn>
                        <a:cxn ang="0">
                          <a:pos x="connsiteX3889" y="connsiteY3889"/>
                        </a:cxn>
                        <a:cxn ang="0">
                          <a:pos x="connsiteX3890" y="connsiteY3890"/>
                        </a:cxn>
                        <a:cxn ang="0">
                          <a:pos x="connsiteX3891" y="connsiteY3891"/>
                        </a:cxn>
                        <a:cxn ang="0">
                          <a:pos x="connsiteX3892" y="connsiteY3892"/>
                        </a:cxn>
                        <a:cxn ang="0">
                          <a:pos x="connsiteX3893" y="connsiteY3893"/>
                        </a:cxn>
                        <a:cxn ang="0">
                          <a:pos x="connsiteX3894" y="connsiteY3894"/>
                        </a:cxn>
                        <a:cxn ang="0">
                          <a:pos x="connsiteX3895" y="connsiteY3895"/>
                        </a:cxn>
                        <a:cxn ang="0">
                          <a:pos x="connsiteX3896" y="connsiteY3896"/>
                        </a:cxn>
                        <a:cxn ang="0">
                          <a:pos x="connsiteX3897" y="connsiteY3897"/>
                        </a:cxn>
                        <a:cxn ang="0">
                          <a:pos x="connsiteX3898" y="connsiteY3898"/>
                        </a:cxn>
                        <a:cxn ang="0">
                          <a:pos x="connsiteX3899" y="connsiteY3899"/>
                        </a:cxn>
                        <a:cxn ang="0">
                          <a:pos x="connsiteX3900" y="connsiteY3900"/>
                        </a:cxn>
                        <a:cxn ang="0">
                          <a:pos x="connsiteX3901" y="connsiteY3901"/>
                        </a:cxn>
                        <a:cxn ang="0">
                          <a:pos x="connsiteX3902" y="connsiteY3902"/>
                        </a:cxn>
                        <a:cxn ang="0">
                          <a:pos x="connsiteX3903" y="connsiteY3903"/>
                        </a:cxn>
                        <a:cxn ang="0">
                          <a:pos x="connsiteX3904" y="connsiteY3904"/>
                        </a:cxn>
                        <a:cxn ang="0">
                          <a:pos x="connsiteX3905" y="connsiteY3905"/>
                        </a:cxn>
                        <a:cxn ang="0">
                          <a:pos x="connsiteX3906" y="connsiteY3906"/>
                        </a:cxn>
                        <a:cxn ang="0">
                          <a:pos x="connsiteX3907" y="connsiteY3907"/>
                        </a:cxn>
                        <a:cxn ang="0">
                          <a:pos x="connsiteX3908" y="connsiteY3908"/>
                        </a:cxn>
                        <a:cxn ang="0">
                          <a:pos x="connsiteX3909" y="connsiteY3909"/>
                        </a:cxn>
                        <a:cxn ang="0">
                          <a:pos x="connsiteX3910" y="connsiteY3910"/>
                        </a:cxn>
                        <a:cxn ang="0">
                          <a:pos x="connsiteX3911" y="connsiteY3911"/>
                        </a:cxn>
                        <a:cxn ang="0">
                          <a:pos x="connsiteX3912" y="connsiteY3912"/>
                        </a:cxn>
                        <a:cxn ang="0">
                          <a:pos x="connsiteX3913" y="connsiteY3913"/>
                        </a:cxn>
                        <a:cxn ang="0">
                          <a:pos x="connsiteX3914" y="connsiteY3914"/>
                        </a:cxn>
                        <a:cxn ang="0">
                          <a:pos x="connsiteX3915" y="connsiteY3915"/>
                        </a:cxn>
                        <a:cxn ang="0">
                          <a:pos x="connsiteX3916" y="connsiteY3916"/>
                        </a:cxn>
                        <a:cxn ang="0">
                          <a:pos x="connsiteX3917" y="connsiteY3917"/>
                        </a:cxn>
                        <a:cxn ang="0">
                          <a:pos x="connsiteX3918" y="connsiteY3918"/>
                        </a:cxn>
                        <a:cxn ang="0">
                          <a:pos x="connsiteX3919" y="connsiteY3919"/>
                        </a:cxn>
                        <a:cxn ang="0">
                          <a:pos x="connsiteX3920" y="connsiteY3920"/>
                        </a:cxn>
                        <a:cxn ang="0">
                          <a:pos x="connsiteX3921" y="connsiteY3921"/>
                        </a:cxn>
                        <a:cxn ang="0">
                          <a:pos x="connsiteX3922" y="connsiteY3922"/>
                        </a:cxn>
                        <a:cxn ang="0">
                          <a:pos x="connsiteX3923" y="connsiteY3923"/>
                        </a:cxn>
                        <a:cxn ang="0">
                          <a:pos x="connsiteX3924" y="connsiteY3924"/>
                        </a:cxn>
                        <a:cxn ang="0">
                          <a:pos x="connsiteX3925" y="connsiteY3925"/>
                        </a:cxn>
                        <a:cxn ang="0">
                          <a:pos x="connsiteX3926" y="connsiteY3926"/>
                        </a:cxn>
                        <a:cxn ang="0">
                          <a:pos x="connsiteX3927" y="connsiteY3927"/>
                        </a:cxn>
                        <a:cxn ang="0">
                          <a:pos x="connsiteX3928" y="connsiteY3928"/>
                        </a:cxn>
                        <a:cxn ang="0">
                          <a:pos x="connsiteX3929" y="connsiteY3929"/>
                        </a:cxn>
                        <a:cxn ang="0">
                          <a:pos x="connsiteX3930" y="connsiteY3930"/>
                        </a:cxn>
                        <a:cxn ang="0">
                          <a:pos x="connsiteX3931" y="connsiteY3931"/>
                        </a:cxn>
                        <a:cxn ang="0">
                          <a:pos x="connsiteX3932" y="connsiteY3932"/>
                        </a:cxn>
                        <a:cxn ang="0">
                          <a:pos x="connsiteX3933" y="connsiteY3933"/>
                        </a:cxn>
                        <a:cxn ang="0">
                          <a:pos x="connsiteX3934" y="connsiteY3934"/>
                        </a:cxn>
                        <a:cxn ang="0">
                          <a:pos x="connsiteX3935" y="connsiteY3935"/>
                        </a:cxn>
                        <a:cxn ang="0">
                          <a:pos x="connsiteX3936" y="connsiteY3936"/>
                        </a:cxn>
                        <a:cxn ang="0">
                          <a:pos x="connsiteX3937" y="connsiteY3937"/>
                        </a:cxn>
                        <a:cxn ang="0">
                          <a:pos x="connsiteX3938" y="connsiteY3938"/>
                        </a:cxn>
                        <a:cxn ang="0">
                          <a:pos x="connsiteX3939" y="connsiteY3939"/>
                        </a:cxn>
                        <a:cxn ang="0">
                          <a:pos x="connsiteX3940" y="connsiteY3940"/>
                        </a:cxn>
                        <a:cxn ang="0">
                          <a:pos x="connsiteX3941" y="connsiteY3941"/>
                        </a:cxn>
                        <a:cxn ang="0">
                          <a:pos x="connsiteX3942" y="connsiteY3942"/>
                        </a:cxn>
                        <a:cxn ang="0">
                          <a:pos x="connsiteX3943" y="connsiteY3943"/>
                        </a:cxn>
                        <a:cxn ang="0">
                          <a:pos x="connsiteX3944" y="connsiteY3944"/>
                        </a:cxn>
                        <a:cxn ang="0">
                          <a:pos x="connsiteX3945" y="connsiteY3945"/>
                        </a:cxn>
                        <a:cxn ang="0">
                          <a:pos x="connsiteX3946" y="connsiteY3946"/>
                        </a:cxn>
                        <a:cxn ang="0">
                          <a:pos x="connsiteX3947" y="connsiteY3947"/>
                        </a:cxn>
                        <a:cxn ang="0">
                          <a:pos x="connsiteX3948" y="connsiteY3948"/>
                        </a:cxn>
                        <a:cxn ang="0">
                          <a:pos x="connsiteX3949" y="connsiteY3949"/>
                        </a:cxn>
                        <a:cxn ang="0">
                          <a:pos x="connsiteX3950" y="connsiteY3950"/>
                        </a:cxn>
                        <a:cxn ang="0">
                          <a:pos x="connsiteX3951" y="connsiteY3951"/>
                        </a:cxn>
                        <a:cxn ang="0">
                          <a:pos x="connsiteX3952" y="connsiteY3952"/>
                        </a:cxn>
                        <a:cxn ang="0">
                          <a:pos x="connsiteX3953" y="connsiteY3953"/>
                        </a:cxn>
                        <a:cxn ang="0">
                          <a:pos x="connsiteX3954" y="connsiteY3954"/>
                        </a:cxn>
                        <a:cxn ang="0">
                          <a:pos x="connsiteX3955" y="connsiteY3955"/>
                        </a:cxn>
                        <a:cxn ang="0">
                          <a:pos x="connsiteX3956" y="connsiteY3956"/>
                        </a:cxn>
                        <a:cxn ang="0">
                          <a:pos x="connsiteX3957" y="connsiteY3957"/>
                        </a:cxn>
                        <a:cxn ang="0">
                          <a:pos x="connsiteX3958" y="connsiteY3958"/>
                        </a:cxn>
                        <a:cxn ang="0">
                          <a:pos x="connsiteX3959" y="connsiteY3959"/>
                        </a:cxn>
                        <a:cxn ang="0">
                          <a:pos x="connsiteX3960" y="connsiteY3960"/>
                        </a:cxn>
                        <a:cxn ang="0">
                          <a:pos x="connsiteX3961" y="connsiteY3961"/>
                        </a:cxn>
                        <a:cxn ang="0">
                          <a:pos x="connsiteX3962" y="connsiteY3962"/>
                        </a:cxn>
                        <a:cxn ang="0">
                          <a:pos x="connsiteX3963" y="connsiteY3963"/>
                        </a:cxn>
                        <a:cxn ang="0">
                          <a:pos x="connsiteX3964" y="connsiteY3964"/>
                        </a:cxn>
                        <a:cxn ang="0">
                          <a:pos x="connsiteX3965" y="connsiteY3965"/>
                        </a:cxn>
                        <a:cxn ang="0">
                          <a:pos x="connsiteX3966" y="connsiteY3966"/>
                        </a:cxn>
                        <a:cxn ang="0">
                          <a:pos x="connsiteX3967" y="connsiteY3967"/>
                        </a:cxn>
                        <a:cxn ang="0">
                          <a:pos x="connsiteX3968" y="connsiteY3968"/>
                        </a:cxn>
                        <a:cxn ang="0">
                          <a:pos x="connsiteX3969" y="connsiteY3969"/>
                        </a:cxn>
                        <a:cxn ang="0">
                          <a:pos x="connsiteX3970" y="connsiteY3970"/>
                        </a:cxn>
                        <a:cxn ang="0">
                          <a:pos x="connsiteX3971" y="connsiteY3971"/>
                        </a:cxn>
                        <a:cxn ang="0">
                          <a:pos x="connsiteX3972" y="connsiteY3972"/>
                        </a:cxn>
                        <a:cxn ang="0">
                          <a:pos x="connsiteX3973" y="connsiteY3973"/>
                        </a:cxn>
                        <a:cxn ang="0">
                          <a:pos x="connsiteX3974" y="connsiteY3974"/>
                        </a:cxn>
                        <a:cxn ang="0">
                          <a:pos x="connsiteX3975" y="connsiteY3975"/>
                        </a:cxn>
                        <a:cxn ang="0">
                          <a:pos x="connsiteX3976" y="connsiteY3976"/>
                        </a:cxn>
                        <a:cxn ang="0">
                          <a:pos x="connsiteX3977" y="connsiteY3977"/>
                        </a:cxn>
                        <a:cxn ang="0">
                          <a:pos x="connsiteX3978" y="connsiteY3978"/>
                        </a:cxn>
                        <a:cxn ang="0">
                          <a:pos x="connsiteX3979" y="connsiteY3979"/>
                        </a:cxn>
                        <a:cxn ang="0">
                          <a:pos x="connsiteX3980" y="connsiteY3980"/>
                        </a:cxn>
                        <a:cxn ang="0">
                          <a:pos x="connsiteX3981" y="connsiteY3981"/>
                        </a:cxn>
                        <a:cxn ang="0">
                          <a:pos x="connsiteX3982" y="connsiteY3982"/>
                        </a:cxn>
                        <a:cxn ang="0">
                          <a:pos x="connsiteX3983" y="connsiteY3983"/>
                        </a:cxn>
                        <a:cxn ang="0">
                          <a:pos x="connsiteX3984" y="connsiteY3984"/>
                        </a:cxn>
                        <a:cxn ang="0">
                          <a:pos x="connsiteX3985" y="connsiteY3985"/>
                        </a:cxn>
                        <a:cxn ang="0">
                          <a:pos x="connsiteX3986" y="connsiteY3986"/>
                        </a:cxn>
                        <a:cxn ang="0">
                          <a:pos x="connsiteX3987" y="connsiteY3987"/>
                        </a:cxn>
                        <a:cxn ang="0">
                          <a:pos x="connsiteX3988" y="connsiteY3988"/>
                        </a:cxn>
                        <a:cxn ang="0">
                          <a:pos x="connsiteX3989" y="connsiteY3989"/>
                        </a:cxn>
                        <a:cxn ang="0">
                          <a:pos x="connsiteX3990" y="connsiteY3990"/>
                        </a:cxn>
                        <a:cxn ang="0">
                          <a:pos x="connsiteX3991" y="connsiteY3991"/>
                        </a:cxn>
                        <a:cxn ang="0">
                          <a:pos x="connsiteX3992" y="connsiteY3992"/>
                        </a:cxn>
                        <a:cxn ang="0">
                          <a:pos x="connsiteX3993" y="connsiteY3993"/>
                        </a:cxn>
                        <a:cxn ang="0">
                          <a:pos x="connsiteX3994" y="connsiteY3994"/>
                        </a:cxn>
                        <a:cxn ang="0">
                          <a:pos x="connsiteX3995" y="connsiteY3995"/>
                        </a:cxn>
                        <a:cxn ang="0">
                          <a:pos x="connsiteX3996" y="connsiteY3996"/>
                        </a:cxn>
                        <a:cxn ang="0">
                          <a:pos x="connsiteX3997" y="connsiteY3997"/>
                        </a:cxn>
                        <a:cxn ang="0">
                          <a:pos x="connsiteX3998" y="connsiteY3998"/>
                        </a:cxn>
                        <a:cxn ang="0">
                          <a:pos x="connsiteX3999" y="connsiteY3999"/>
                        </a:cxn>
                        <a:cxn ang="0">
                          <a:pos x="connsiteX4000" y="connsiteY4000"/>
                        </a:cxn>
                        <a:cxn ang="0">
                          <a:pos x="connsiteX4001" y="connsiteY4001"/>
                        </a:cxn>
                        <a:cxn ang="0">
                          <a:pos x="connsiteX4002" y="connsiteY4002"/>
                        </a:cxn>
                        <a:cxn ang="0">
                          <a:pos x="connsiteX4003" y="connsiteY4003"/>
                        </a:cxn>
                        <a:cxn ang="0">
                          <a:pos x="connsiteX4004" y="connsiteY4004"/>
                        </a:cxn>
                        <a:cxn ang="0">
                          <a:pos x="connsiteX4005" y="connsiteY4005"/>
                        </a:cxn>
                        <a:cxn ang="0">
                          <a:pos x="connsiteX4006" y="connsiteY4006"/>
                        </a:cxn>
                        <a:cxn ang="0">
                          <a:pos x="connsiteX4007" y="connsiteY4007"/>
                        </a:cxn>
                        <a:cxn ang="0">
                          <a:pos x="connsiteX4008" y="connsiteY4008"/>
                        </a:cxn>
                        <a:cxn ang="0">
                          <a:pos x="connsiteX4009" y="connsiteY4009"/>
                        </a:cxn>
                        <a:cxn ang="0">
                          <a:pos x="connsiteX4010" y="connsiteY4010"/>
                        </a:cxn>
                        <a:cxn ang="0">
                          <a:pos x="connsiteX4011" y="connsiteY4011"/>
                        </a:cxn>
                        <a:cxn ang="0">
                          <a:pos x="connsiteX4012" y="connsiteY4012"/>
                        </a:cxn>
                        <a:cxn ang="0">
                          <a:pos x="connsiteX4013" y="connsiteY4013"/>
                        </a:cxn>
                        <a:cxn ang="0">
                          <a:pos x="connsiteX4014" y="connsiteY4014"/>
                        </a:cxn>
                        <a:cxn ang="0">
                          <a:pos x="connsiteX4015" y="connsiteY4015"/>
                        </a:cxn>
                        <a:cxn ang="0">
                          <a:pos x="connsiteX4016" y="connsiteY4016"/>
                        </a:cxn>
                        <a:cxn ang="0">
                          <a:pos x="connsiteX4017" y="connsiteY4017"/>
                        </a:cxn>
                        <a:cxn ang="0">
                          <a:pos x="connsiteX4018" y="connsiteY4018"/>
                        </a:cxn>
                        <a:cxn ang="0">
                          <a:pos x="connsiteX4019" y="connsiteY4019"/>
                        </a:cxn>
                        <a:cxn ang="0">
                          <a:pos x="connsiteX4020" y="connsiteY4020"/>
                        </a:cxn>
                        <a:cxn ang="0">
                          <a:pos x="connsiteX4021" y="connsiteY4021"/>
                        </a:cxn>
                        <a:cxn ang="0">
                          <a:pos x="connsiteX4022" y="connsiteY4022"/>
                        </a:cxn>
                        <a:cxn ang="0">
                          <a:pos x="connsiteX4023" y="connsiteY4023"/>
                        </a:cxn>
                        <a:cxn ang="0">
                          <a:pos x="connsiteX4024" y="connsiteY4024"/>
                        </a:cxn>
                        <a:cxn ang="0">
                          <a:pos x="connsiteX4025" y="connsiteY4025"/>
                        </a:cxn>
                        <a:cxn ang="0">
                          <a:pos x="connsiteX4026" y="connsiteY4026"/>
                        </a:cxn>
                        <a:cxn ang="0">
                          <a:pos x="connsiteX4027" y="connsiteY4027"/>
                        </a:cxn>
                        <a:cxn ang="0">
                          <a:pos x="connsiteX4028" y="connsiteY4028"/>
                        </a:cxn>
                        <a:cxn ang="0">
                          <a:pos x="connsiteX4029" y="connsiteY4029"/>
                        </a:cxn>
                        <a:cxn ang="0">
                          <a:pos x="connsiteX4030" y="connsiteY4030"/>
                        </a:cxn>
                        <a:cxn ang="0">
                          <a:pos x="connsiteX4031" y="connsiteY4031"/>
                        </a:cxn>
                        <a:cxn ang="0">
                          <a:pos x="connsiteX4032" y="connsiteY4032"/>
                        </a:cxn>
                        <a:cxn ang="0">
                          <a:pos x="connsiteX4033" y="connsiteY4033"/>
                        </a:cxn>
                        <a:cxn ang="0">
                          <a:pos x="connsiteX4034" y="connsiteY4034"/>
                        </a:cxn>
                        <a:cxn ang="0">
                          <a:pos x="connsiteX4035" y="connsiteY4035"/>
                        </a:cxn>
                        <a:cxn ang="0">
                          <a:pos x="connsiteX4036" y="connsiteY4036"/>
                        </a:cxn>
                        <a:cxn ang="0">
                          <a:pos x="connsiteX4037" y="connsiteY4037"/>
                        </a:cxn>
                        <a:cxn ang="0">
                          <a:pos x="connsiteX4038" y="connsiteY4038"/>
                        </a:cxn>
                        <a:cxn ang="0">
                          <a:pos x="connsiteX4039" y="connsiteY4039"/>
                        </a:cxn>
                        <a:cxn ang="0">
                          <a:pos x="connsiteX4040" y="connsiteY4040"/>
                        </a:cxn>
                        <a:cxn ang="0">
                          <a:pos x="connsiteX4041" y="connsiteY4041"/>
                        </a:cxn>
                        <a:cxn ang="0">
                          <a:pos x="connsiteX4042" y="connsiteY4042"/>
                        </a:cxn>
                        <a:cxn ang="0">
                          <a:pos x="connsiteX4043" y="connsiteY4043"/>
                        </a:cxn>
                        <a:cxn ang="0">
                          <a:pos x="connsiteX4044" y="connsiteY4044"/>
                        </a:cxn>
                        <a:cxn ang="0">
                          <a:pos x="connsiteX4045" y="connsiteY4045"/>
                        </a:cxn>
                        <a:cxn ang="0">
                          <a:pos x="connsiteX4046" y="connsiteY4046"/>
                        </a:cxn>
                        <a:cxn ang="0">
                          <a:pos x="connsiteX4047" y="connsiteY4047"/>
                        </a:cxn>
                        <a:cxn ang="0">
                          <a:pos x="connsiteX4048" y="connsiteY4048"/>
                        </a:cxn>
                        <a:cxn ang="0">
                          <a:pos x="connsiteX4049" y="connsiteY4049"/>
                        </a:cxn>
                        <a:cxn ang="0">
                          <a:pos x="connsiteX4050" y="connsiteY4050"/>
                        </a:cxn>
                        <a:cxn ang="0">
                          <a:pos x="connsiteX4051" y="connsiteY4051"/>
                        </a:cxn>
                        <a:cxn ang="0">
                          <a:pos x="connsiteX4052" y="connsiteY4052"/>
                        </a:cxn>
                        <a:cxn ang="0">
                          <a:pos x="connsiteX4053" y="connsiteY4053"/>
                        </a:cxn>
                        <a:cxn ang="0">
                          <a:pos x="connsiteX4054" y="connsiteY4054"/>
                        </a:cxn>
                        <a:cxn ang="0">
                          <a:pos x="connsiteX4055" y="connsiteY4055"/>
                        </a:cxn>
                        <a:cxn ang="0">
                          <a:pos x="connsiteX4056" y="connsiteY4056"/>
                        </a:cxn>
                        <a:cxn ang="0">
                          <a:pos x="connsiteX4057" y="connsiteY4057"/>
                        </a:cxn>
                        <a:cxn ang="0">
                          <a:pos x="connsiteX4058" y="connsiteY4058"/>
                        </a:cxn>
                        <a:cxn ang="0">
                          <a:pos x="connsiteX4059" y="connsiteY4059"/>
                        </a:cxn>
                        <a:cxn ang="0">
                          <a:pos x="connsiteX4060" y="connsiteY4060"/>
                        </a:cxn>
                        <a:cxn ang="0">
                          <a:pos x="connsiteX4061" y="connsiteY4061"/>
                        </a:cxn>
                        <a:cxn ang="0">
                          <a:pos x="connsiteX4062" y="connsiteY4062"/>
                        </a:cxn>
                        <a:cxn ang="0">
                          <a:pos x="connsiteX4063" y="connsiteY4063"/>
                        </a:cxn>
                        <a:cxn ang="0">
                          <a:pos x="connsiteX4064" y="connsiteY4064"/>
                        </a:cxn>
                        <a:cxn ang="0">
                          <a:pos x="connsiteX4065" y="connsiteY4065"/>
                        </a:cxn>
                        <a:cxn ang="0">
                          <a:pos x="connsiteX4066" y="connsiteY4066"/>
                        </a:cxn>
                        <a:cxn ang="0">
                          <a:pos x="connsiteX4067" y="connsiteY4067"/>
                        </a:cxn>
                        <a:cxn ang="0">
                          <a:pos x="connsiteX4068" y="connsiteY4068"/>
                        </a:cxn>
                        <a:cxn ang="0">
                          <a:pos x="connsiteX4069" y="connsiteY4069"/>
                        </a:cxn>
                        <a:cxn ang="0">
                          <a:pos x="connsiteX4070" y="connsiteY4070"/>
                        </a:cxn>
                        <a:cxn ang="0">
                          <a:pos x="connsiteX4071" y="connsiteY4071"/>
                        </a:cxn>
                        <a:cxn ang="0">
                          <a:pos x="connsiteX4072" y="connsiteY4072"/>
                        </a:cxn>
                        <a:cxn ang="0">
                          <a:pos x="connsiteX4073" y="connsiteY4073"/>
                        </a:cxn>
                        <a:cxn ang="0">
                          <a:pos x="connsiteX4074" y="connsiteY4074"/>
                        </a:cxn>
                        <a:cxn ang="0">
                          <a:pos x="connsiteX4075" y="connsiteY4075"/>
                        </a:cxn>
                        <a:cxn ang="0">
                          <a:pos x="connsiteX4076" y="connsiteY4076"/>
                        </a:cxn>
                        <a:cxn ang="0">
                          <a:pos x="connsiteX4077" y="connsiteY4077"/>
                        </a:cxn>
                        <a:cxn ang="0">
                          <a:pos x="connsiteX4078" y="connsiteY4078"/>
                        </a:cxn>
                        <a:cxn ang="0">
                          <a:pos x="connsiteX4079" y="connsiteY4079"/>
                        </a:cxn>
                        <a:cxn ang="0">
                          <a:pos x="connsiteX4080" y="connsiteY4080"/>
                        </a:cxn>
                        <a:cxn ang="0">
                          <a:pos x="connsiteX4081" y="connsiteY4081"/>
                        </a:cxn>
                        <a:cxn ang="0">
                          <a:pos x="connsiteX4082" y="connsiteY4082"/>
                        </a:cxn>
                        <a:cxn ang="0">
                          <a:pos x="connsiteX4083" y="connsiteY4083"/>
                        </a:cxn>
                        <a:cxn ang="0">
                          <a:pos x="connsiteX4084" y="connsiteY4084"/>
                        </a:cxn>
                        <a:cxn ang="0">
                          <a:pos x="connsiteX4085" y="connsiteY4085"/>
                        </a:cxn>
                        <a:cxn ang="0">
                          <a:pos x="connsiteX4086" y="connsiteY4086"/>
                        </a:cxn>
                        <a:cxn ang="0">
                          <a:pos x="connsiteX4087" y="connsiteY4087"/>
                        </a:cxn>
                        <a:cxn ang="0">
                          <a:pos x="connsiteX4088" y="connsiteY4088"/>
                        </a:cxn>
                        <a:cxn ang="0">
                          <a:pos x="connsiteX4089" y="connsiteY4089"/>
                        </a:cxn>
                        <a:cxn ang="0">
                          <a:pos x="connsiteX4090" y="connsiteY4090"/>
                        </a:cxn>
                        <a:cxn ang="0">
                          <a:pos x="connsiteX4091" y="connsiteY4091"/>
                        </a:cxn>
                        <a:cxn ang="0">
                          <a:pos x="connsiteX4092" y="connsiteY4092"/>
                        </a:cxn>
                        <a:cxn ang="0">
                          <a:pos x="connsiteX4093" y="connsiteY4093"/>
                        </a:cxn>
                        <a:cxn ang="0">
                          <a:pos x="connsiteX4094" y="connsiteY4094"/>
                        </a:cxn>
                        <a:cxn ang="0">
                          <a:pos x="connsiteX4095" y="connsiteY4095"/>
                        </a:cxn>
                        <a:cxn ang="0">
                          <a:pos x="connsiteX4096" y="connsiteY4096"/>
                        </a:cxn>
                        <a:cxn ang="0">
                          <a:pos x="connsiteX4097" y="connsiteY4097"/>
                        </a:cxn>
                        <a:cxn ang="0">
                          <a:pos x="connsiteX4098" y="connsiteY4098"/>
                        </a:cxn>
                        <a:cxn ang="0">
                          <a:pos x="connsiteX4099" y="connsiteY4099"/>
                        </a:cxn>
                        <a:cxn ang="0">
                          <a:pos x="connsiteX4100" y="connsiteY4100"/>
                        </a:cxn>
                        <a:cxn ang="0">
                          <a:pos x="connsiteX4101" y="connsiteY4101"/>
                        </a:cxn>
                        <a:cxn ang="0">
                          <a:pos x="connsiteX4102" y="connsiteY4102"/>
                        </a:cxn>
                        <a:cxn ang="0">
                          <a:pos x="connsiteX4103" y="connsiteY4103"/>
                        </a:cxn>
                        <a:cxn ang="0">
                          <a:pos x="connsiteX4104" y="connsiteY4104"/>
                        </a:cxn>
                        <a:cxn ang="0">
                          <a:pos x="connsiteX4105" y="connsiteY4105"/>
                        </a:cxn>
                        <a:cxn ang="0">
                          <a:pos x="connsiteX4106" y="connsiteY4106"/>
                        </a:cxn>
                        <a:cxn ang="0">
                          <a:pos x="connsiteX4107" y="connsiteY4107"/>
                        </a:cxn>
                        <a:cxn ang="0">
                          <a:pos x="connsiteX4108" y="connsiteY4108"/>
                        </a:cxn>
                        <a:cxn ang="0">
                          <a:pos x="connsiteX4109" y="connsiteY4109"/>
                        </a:cxn>
                        <a:cxn ang="0">
                          <a:pos x="connsiteX4110" y="connsiteY4110"/>
                        </a:cxn>
                        <a:cxn ang="0">
                          <a:pos x="connsiteX4111" y="connsiteY4111"/>
                        </a:cxn>
                        <a:cxn ang="0">
                          <a:pos x="connsiteX4112" y="connsiteY4112"/>
                        </a:cxn>
                        <a:cxn ang="0">
                          <a:pos x="connsiteX4113" y="connsiteY4113"/>
                        </a:cxn>
                        <a:cxn ang="0">
                          <a:pos x="connsiteX4114" y="connsiteY4114"/>
                        </a:cxn>
                        <a:cxn ang="0">
                          <a:pos x="connsiteX4115" y="connsiteY4115"/>
                        </a:cxn>
                        <a:cxn ang="0">
                          <a:pos x="connsiteX4116" y="connsiteY4116"/>
                        </a:cxn>
                        <a:cxn ang="0">
                          <a:pos x="connsiteX4117" y="connsiteY4117"/>
                        </a:cxn>
                        <a:cxn ang="0">
                          <a:pos x="connsiteX4118" y="connsiteY4118"/>
                        </a:cxn>
                        <a:cxn ang="0">
                          <a:pos x="connsiteX4119" y="connsiteY4119"/>
                        </a:cxn>
                        <a:cxn ang="0">
                          <a:pos x="connsiteX4120" y="connsiteY4120"/>
                        </a:cxn>
                        <a:cxn ang="0">
                          <a:pos x="connsiteX4121" y="connsiteY4121"/>
                        </a:cxn>
                        <a:cxn ang="0">
                          <a:pos x="connsiteX4122" y="connsiteY4122"/>
                        </a:cxn>
                        <a:cxn ang="0">
                          <a:pos x="connsiteX4123" y="connsiteY4123"/>
                        </a:cxn>
                        <a:cxn ang="0">
                          <a:pos x="connsiteX4124" y="connsiteY4124"/>
                        </a:cxn>
                        <a:cxn ang="0">
                          <a:pos x="connsiteX4125" y="connsiteY4125"/>
                        </a:cxn>
                        <a:cxn ang="0">
                          <a:pos x="connsiteX4126" y="connsiteY4126"/>
                        </a:cxn>
                        <a:cxn ang="0">
                          <a:pos x="connsiteX4127" y="connsiteY4127"/>
                        </a:cxn>
                        <a:cxn ang="0">
                          <a:pos x="connsiteX4128" y="connsiteY4128"/>
                        </a:cxn>
                        <a:cxn ang="0">
                          <a:pos x="connsiteX4129" y="connsiteY4129"/>
                        </a:cxn>
                        <a:cxn ang="0">
                          <a:pos x="connsiteX4130" y="connsiteY4130"/>
                        </a:cxn>
                        <a:cxn ang="0">
                          <a:pos x="connsiteX4131" y="connsiteY4131"/>
                        </a:cxn>
                        <a:cxn ang="0">
                          <a:pos x="connsiteX4132" y="connsiteY4132"/>
                        </a:cxn>
                        <a:cxn ang="0">
                          <a:pos x="connsiteX4133" y="connsiteY4133"/>
                        </a:cxn>
                        <a:cxn ang="0">
                          <a:pos x="connsiteX4134" y="connsiteY4134"/>
                        </a:cxn>
                        <a:cxn ang="0">
                          <a:pos x="connsiteX4135" y="connsiteY4135"/>
                        </a:cxn>
                        <a:cxn ang="0">
                          <a:pos x="connsiteX4136" y="connsiteY4136"/>
                        </a:cxn>
                        <a:cxn ang="0">
                          <a:pos x="connsiteX4137" y="connsiteY4137"/>
                        </a:cxn>
                        <a:cxn ang="0">
                          <a:pos x="connsiteX4138" y="connsiteY4138"/>
                        </a:cxn>
                        <a:cxn ang="0">
                          <a:pos x="connsiteX4139" y="connsiteY4139"/>
                        </a:cxn>
                        <a:cxn ang="0">
                          <a:pos x="connsiteX4140" y="connsiteY4140"/>
                        </a:cxn>
                        <a:cxn ang="0">
                          <a:pos x="connsiteX4141" y="connsiteY4141"/>
                        </a:cxn>
                        <a:cxn ang="0">
                          <a:pos x="connsiteX4142" y="connsiteY4142"/>
                        </a:cxn>
                        <a:cxn ang="0">
                          <a:pos x="connsiteX4143" y="connsiteY4143"/>
                        </a:cxn>
                        <a:cxn ang="0">
                          <a:pos x="connsiteX4144" y="connsiteY4144"/>
                        </a:cxn>
                        <a:cxn ang="0">
                          <a:pos x="connsiteX4145" y="connsiteY4145"/>
                        </a:cxn>
                        <a:cxn ang="0">
                          <a:pos x="connsiteX4146" y="connsiteY4146"/>
                        </a:cxn>
                        <a:cxn ang="0">
                          <a:pos x="connsiteX4147" y="connsiteY4147"/>
                        </a:cxn>
                        <a:cxn ang="0">
                          <a:pos x="connsiteX4148" y="connsiteY4148"/>
                        </a:cxn>
                        <a:cxn ang="0">
                          <a:pos x="connsiteX4149" y="connsiteY4149"/>
                        </a:cxn>
                        <a:cxn ang="0">
                          <a:pos x="connsiteX4150" y="connsiteY4150"/>
                        </a:cxn>
                        <a:cxn ang="0">
                          <a:pos x="connsiteX4151" y="connsiteY4151"/>
                        </a:cxn>
                        <a:cxn ang="0">
                          <a:pos x="connsiteX4152" y="connsiteY4152"/>
                        </a:cxn>
                        <a:cxn ang="0">
                          <a:pos x="connsiteX4153" y="connsiteY4153"/>
                        </a:cxn>
                        <a:cxn ang="0">
                          <a:pos x="connsiteX4154" y="connsiteY4154"/>
                        </a:cxn>
                        <a:cxn ang="0">
                          <a:pos x="connsiteX4155" y="connsiteY4155"/>
                        </a:cxn>
                        <a:cxn ang="0">
                          <a:pos x="connsiteX4156" y="connsiteY4156"/>
                        </a:cxn>
                        <a:cxn ang="0">
                          <a:pos x="connsiteX4157" y="connsiteY4157"/>
                        </a:cxn>
                        <a:cxn ang="0">
                          <a:pos x="connsiteX4158" y="connsiteY4158"/>
                        </a:cxn>
                        <a:cxn ang="0">
                          <a:pos x="connsiteX4159" y="connsiteY4159"/>
                        </a:cxn>
                        <a:cxn ang="0">
                          <a:pos x="connsiteX4160" y="connsiteY4160"/>
                        </a:cxn>
                        <a:cxn ang="0">
                          <a:pos x="connsiteX4161" y="connsiteY4161"/>
                        </a:cxn>
                        <a:cxn ang="0">
                          <a:pos x="connsiteX4162" y="connsiteY4162"/>
                        </a:cxn>
                        <a:cxn ang="0">
                          <a:pos x="connsiteX4163" y="connsiteY4163"/>
                        </a:cxn>
                        <a:cxn ang="0">
                          <a:pos x="connsiteX4164" y="connsiteY4164"/>
                        </a:cxn>
                        <a:cxn ang="0">
                          <a:pos x="connsiteX4165" y="connsiteY4165"/>
                        </a:cxn>
                        <a:cxn ang="0">
                          <a:pos x="connsiteX4166" y="connsiteY4166"/>
                        </a:cxn>
                        <a:cxn ang="0">
                          <a:pos x="connsiteX4167" y="connsiteY4167"/>
                        </a:cxn>
                        <a:cxn ang="0">
                          <a:pos x="connsiteX4168" y="connsiteY4168"/>
                        </a:cxn>
                        <a:cxn ang="0">
                          <a:pos x="connsiteX4169" y="connsiteY4169"/>
                        </a:cxn>
                        <a:cxn ang="0">
                          <a:pos x="connsiteX4170" y="connsiteY4170"/>
                        </a:cxn>
                        <a:cxn ang="0">
                          <a:pos x="connsiteX4171" y="connsiteY4171"/>
                        </a:cxn>
                        <a:cxn ang="0">
                          <a:pos x="connsiteX4172" y="connsiteY4172"/>
                        </a:cxn>
                        <a:cxn ang="0">
                          <a:pos x="connsiteX4173" y="connsiteY4173"/>
                        </a:cxn>
                        <a:cxn ang="0">
                          <a:pos x="connsiteX4174" y="connsiteY4174"/>
                        </a:cxn>
                        <a:cxn ang="0">
                          <a:pos x="connsiteX4175" y="connsiteY4175"/>
                        </a:cxn>
                        <a:cxn ang="0">
                          <a:pos x="connsiteX4176" y="connsiteY4176"/>
                        </a:cxn>
                        <a:cxn ang="0">
                          <a:pos x="connsiteX4177" y="connsiteY4177"/>
                        </a:cxn>
                        <a:cxn ang="0">
                          <a:pos x="connsiteX4178" y="connsiteY4178"/>
                        </a:cxn>
                        <a:cxn ang="0">
                          <a:pos x="connsiteX4179" y="connsiteY4179"/>
                        </a:cxn>
                        <a:cxn ang="0">
                          <a:pos x="connsiteX4180" y="connsiteY4180"/>
                        </a:cxn>
                        <a:cxn ang="0">
                          <a:pos x="connsiteX4181" y="connsiteY4181"/>
                        </a:cxn>
                        <a:cxn ang="0">
                          <a:pos x="connsiteX4182" y="connsiteY4182"/>
                        </a:cxn>
                        <a:cxn ang="0">
                          <a:pos x="connsiteX4183" y="connsiteY4183"/>
                        </a:cxn>
                        <a:cxn ang="0">
                          <a:pos x="connsiteX4184" y="connsiteY4184"/>
                        </a:cxn>
                        <a:cxn ang="0">
                          <a:pos x="connsiteX4185" y="connsiteY4185"/>
                        </a:cxn>
                        <a:cxn ang="0">
                          <a:pos x="connsiteX4186" y="connsiteY4186"/>
                        </a:cxn>
                        <a:cxn ang="0">
                          <a:pos x="connsiteX4187" y="connsiteY4187"/>
                        </a:cxn>
                        <a:cxn ang="0">
                          <a:pos x="connsiteX4188" y="connsiteY4188"/>
                        </a:cxn>
                        <a:cxn ang="0">
                          <a:pos x="connsiteX4189" y="connsiteY4189"/>
                        </a:cxn>
                        <a:cxn ang="0">
                          <a:pos x="connsiteX4190" y="connsiteY4190"/>
                        </a:cxn>
                        <a:cxn ang="0">
                          <a:pos x="connsiteX4191" y="connsiteY4191"/>
                        </a:cxn>
                        <a:cxn ang="0">
                          <a:pos x="connsiteX4192" y="connsiteY4192"/>
                        </a:cxn>
                        <a:cxn ang="0">
                          <a:pos x="connsiteX4193" y="connsiteY4193"/>
                        </a:cxn>
                        <a:cxn ang="0">
                          <a:pos x="connsiteX4194" y="connsiteY4194"/>
                        </a:cxn>
                        <a:cxn ang="0">
                          <a:pos x="connsiteX4195" y="connsiteY4195"/>
                        </a:cxn>
                        <a:cxn ang="0">
                          <a:pos x="connsiteX4196" y="connsiteY4196"/>
                        </a:cxn>
                        <a:cxn ang="0">
                          <a:pos x="connsiteX4197" y="connsiteY4197"/>
                        </a:cxn>
                        <a:cxn ang="0">
                          <a:pos x="connsiteX4198" y="connsiteY4198"/>
                        </a:cxn>
                        <a:cxn ang="0">
                          <a:pos x="connsiteX4199" y="connsiteY4199"/>
                        </a:cxn>
                        <a:cxn ang="0">
                          <a:pos x="connsiteX4200" y="connsiteY4200"/>
                        </a:cxn>
                        <a:cxn ang="0">
                          <a:pos x="connsiteX4201" y="connsiteY4201"/>
                        </a:cxn>
                        <a:cxn ang="0">
                          <a:pos x="connsiteX4202" y="connsiteY4202"/>
                        </a:cxn>
                        <a:cxn ang="0">
                          <a:pos x="connsiteX4203" y="connsiteY4203"/>
                        </a:cxn>
                        <a:cxn ang="0">
                          <a:pos x="connsiteX4204" y="connsiteY4204"/>
                        </a:cxn>
                        <a:cxn ang="0">
                          <a:pos x="connsiteX4205" y="connsiteY4205"/>
                        </a:cxn>
                        <a:cxn ang="0">
                          <a:pos x="connsiteX4206" y="connsiteY4206"/>
                        </a:cxn>
                        <a:cxn ang="0">
                          <a:pos x="connsiteX4207" y="connsiteY4207"/>
                        </a:cxn>
                        <a:cxn ang="0">
                          <a:pos x="connsiteX4208" y="connsiteY4208"/>
                        </a:cxn>
                        <a:cxn ang="0">
                          <a:pos x="connsiteX4209" y="connsiteY4209"/>
                        </a:cxn>
                        <a:cxn ang="0">
                          <a:pos x="connsiteX4210" y="connsiteY4210"/>
                        </a:cxn>
                        <a:cxn ang="0">
                          <a:pos x="connsiteX4211" y="connsiteY4211"/>
                        </a:cxn>
                        <a:cxn ang="0">
                          <a:pos x="connsiteX4212" y="connsiteY4212"/>
                        </a:cxn>
                        <a:cxn ang="0">
                          <a:pos x="connsiteX4213" y="connsiteY4213"/>
                        </a:cxn>
                        <a:cxn ang="0">
                          <a:pos x="connsiteX4214" y="connsiteY4214"/>
                        </a:cxn>
                        <a:cxn ang="0">
                          <a:pos x="connsiteX4215" y="connsiteY4215"/>
                        </a:cxn>
                        <a:cxn ang="0">
                          <a:pos x="connsiteX4216" y="connsiteY4216"/>
                        </a:cxn>
                        <a:cxn ang="0">
                          <a:pos x="connsiteX4217" y="connsiteY4217"/>
                        </a:cxn>
                        <a:cxn ang="0">
                          <a:pos x="connsiteX4218" y="connsiteY4218"/>
                        </a:cxn>
                        <a:cxn ang="0">
                          <a:pos x="connsiteX4219" y="connsiteY4219"/>
                        </a:cxn>
                        <a:cxn ang="0">
                          <a:pos x="connsiteX4220" y="connsiteY4220"/>
                        </a:cxn>
                        <a:cxn ang="0">
                          <a:pos x="connsiteX4221" y="connsiteY4221"/>
                        </a:cxn>
                        <a:cxn ang="0">
                          <a:pos x="connsiteX4222" y="connsiteY4222"/>
                        </a:cxn>
                        <a:cxn ang="0">
                          <a:pos x="connsiteX4223" y="connsiteY4223"/>
                        </a:cxn>
                        <a:cxn ang="0">
                          <a:pos x="connsiteX4224" y="connsiteY4224"/>
                        </a:cxn>
                        <a:cxn ang="0">
                          <a:pos x="connsiteX4225" y="connsiteY4225"/>
                        </a:cxn>
                        <a:cxn ang="0">
                          <a:pos x="connsiteX4226" y="connsiteY4226"/>
                        </a:cxn>
                        <a:cxn ang="0">
                          <a:pos x="connsiteX4227" y="connsiteY4227"/>
                        </a:cxn>
                        <a:cxn ang="0">
                          <a:pos x="connsiteX4228" y="connsiteY4228"/>
                        </a:cxn>
                        <a:cxn ang="0">
                          <a:pos x="connsiteX4229" y="connsiteY4229"/>
                        </a:cxn>
                        <a:cxn ang="0">
                          <a:pos x="connsiteX4230" y="connsiteY4230"/>
                        </a:cxn>
                        <a:cxn ang="0">
                          <a:pos x="connsiteX4231" y="connsiteY4231"/>
                        </a:cxn>
                        <a:cxn ang="0">
                          <a:pos x="connsiteX4232" y="connsiteY4232"/>
                        </a:cxn>
                        <a:cxn ang="0">
                          <a:pos x="connsiteX4233" y="connsiteY4233"/>
                        </a:cxn>
                        <a:cxn ang="0">
                          <a:pos x="connsiteX4234" y="connsiteY4234"/>
                        </a:cxn>
                        <a:cxn ang="0">
                          <a:pos x="connsiteX4235" y="connsiteY4235"/>
                        </a:cxn>
                        <a:cxn ang="0">
                          <a:pos x="connsiteX4236" y="connsiteY4236"/>
                        </a:cxn>
                        <a:cxn ang="0">
                          <a:pos x="connsiteX4237" y="connsiteY4237"/>
                        </a:cxn>
                        <a:cxn ang="0">
                          <a:pos x="connsiteX4238" y="connsiteY4238"/>
                        </a:cxn>
                        <a:cxn ang="0">
                          <a:pos x="connsiteX4239" y="connsiteY4239"/>
                        </a:cxn>
                        <a:cxn ang="0">
                          <a:pos x="connsiteX4240" y="connsiteY4240"/>
                        </a:cxn>
                        <a:cxn ang="0">
                          <a:pos x="connsiteX4241" y="connsiteY4241"/>
                        </a:cxn>
                        <a:cxn ang="0">
                          <a:pos x="connsiteX4242" y="connsiteY4242"/>
                        </a:cxn>
                        <a:cxn ang="0">
                          <a:pos x="connsiteX4243" y="connsiteY4243"/>
                        </a:cxn>
                        <a:cxn ang="0">
                          <a:pos x="connsiteX4244" y="connsiteY4244"/>
                        </a:cxn>
                        <a:cxn ang="0">
                          <a:pos x="connsiteX4245" y="connsiteY4245"/>
                        </a:cxn>
                        <a:cxn ang="0">
                          <a:pos x="connsiteX4246" y="connsiteY4246"/>
                        </a:cxn>
                        <a:cxn ang="0">
                          <a:pos x="connsiteX4247" y="connsiteY4247"/>
                        </a:cxn>
                        <a:cxn ang="0">
                          <a:pos x="connsiteX4248" y="connsiteY4248"/>
                        </a:cxn>
                        <a:cxn ang="0">
                          <a:pos x="connsiteX4249" y="connsiteY4249"/>
                        </a:cxn>
                        <a:cxn ang="0">
                          <a:pos x="connsiteX4250" y="connsiteY4250"/>
                        </a:cxn>
                        <a:cxn ang="0">
                          <a:pos x="connsiteX4251" y="connsiteY4251"/>
                        </a:cxn>
                        <a:cxn ang="0">
                          <a:pos x="connsiteX4252" y="connsiteY4252"/>
                        </a:cxn>
                        <a:cxn ang="0">
                          <a:pos x="connsiteX4253" y="connsiteY4253"/>
                        </a:cxn>
                        <a:cxn ang="0">
                          <a:pos x="connsiteX4254" y="connsiteY4254"/>
                        </a:cxn>
                        <a:cxn ang="0">
                          <a:pos x="connsiteX4255" y="connsiteY4255"/>
                        </a:cxn>
                        <a:cxn ang="0">
                          <a:pos x="connsiteX4256" y="connsiteY4256"/>
                        </a:cxn>
                        <a:cxn ang="0">
                          <a:pos x="connsiteX4257" y="connsiteY4257"/>
                        </a:cxn>
                        <a:cxn ang="0">
                          <a:pos x="connsiteX4258" y="connsiteY4258"/>
                        </a:cxn>
                        <a:cxn ang="0">
                          <a:pos x="connsiteX4259" y="connsiteY4259"/>
                        </a:cxn>
                        <a:cxn ang="0">
                          <a:pos x="connsiteX4260" y="connsiteY4260"/>
                        </a:cxn>
                        <a:cxn ang="0">
                          <a:pos x="connsiteX4261" y="connsiteY4261"/>
                        </a:cxn>
                        <a:cxn ang="0">
                          <a:pos x="connsiteX4262" y="connsiteY4262"/>
                        </a:cxn>
                        <a:cxn ang="0">
                          <a:pos x="connsiteX4263" y="connsiteY4263"/>
                        </a:cxn>
                        <a:cxn ang="0">
                          <a:pos x="connsiteX4264" y="connsiteY4264"/>
                        </a:cxn>
                        <a:cxn ang="0">
                          <a:pos x="connsiteX4265" y="connsiteY4265"/>
                        </a:cxn>
                        <a:cxn ang="0">
                          <a:pos x="connsiteX4266" y="connsiteY4266"/>
                        </a:cxn>
                        <a:cxn ang="0">
                          <a:pos x="connsiteX4267" y="connsiteY4267"/>
                        </a:cxn>
                        <a:cxn ang="0">
                          <a:pos x="connsiteX4268" y="connsiteY4268"/>
                        </a:cxn>
                        <a:cxn ang="0">
                          <a:pos x="connsiteX4269" y="connsiteY4269"/>
                        </a:cxn>
                        <a:cxn ang="0">
                          <a:pos x="connsiteX4270" y="connsiteY4270"/>
                        </a:cxn>
                        <a:cxn ang="0">
                          <a:pos x="connsiteX4271" y="connsiteY4271"/>
                        </a:cxn>
                        <a:cxn ang="0">
                          <a:pos x="connsiteX4272" y="connsiteY4272"/>
                        </a:cxn>
                        <a:cxn ang="0">
                          <a:pos x="connsiteX4273" y="connsiteY4273"/>
                        </a:cxn>
                        <a:cxn ang="0">
                          <a:pos x="connsiteX4274" y="connsiteY4274"/>
                        </a:cxn>
                        <a:cxn ang="0">
                          <a:pos x="connsiteX4275" y="connsiteY4275"/>
                        </a:cxn>
                        <a:cxn ang="0">
                          <a:pos x="connsiteX4276" y="connsiteY4276"/>
                        </a:cxn>
                        <a:cxn ang="0">
                          <a:pos x="connsiteX4277" y="connsiteY4277"/>
                        </a:cxn>
                        <a:cxn ang="0">
                          <a:pos x="connsiteX4278" y="connsiteY4278"/>
                        </a:cxn>
                        <a:cxn ang="0">
                          <a:pos x="connsiteX4279" y="connsiteY4279"/>
                        </a:cxn>
                        <a:cxn ang="0">
                          <a:pos x="connsiteX4280" y="connsiteY4280"/>
                        </a:cxn>
                        <a:cxn ang="0">
                          <a:pos x="connsiteX4281" y="connsiteY4281"/>
                        </a:cxn>
                        <a:cxn ang="0">
                          <a:pos x="connsiteX4282" y="connsiteY4282"/>
                        </a:cxn>
                        <a:cxn ang="0">
                          <a:pos x="connsiteX4283" y="connsiteY4283"/>
                        </a:cxn>
                        <a:cxn ang="0">
                          <a:pos x="connsiteX4284" y="connsiteY4284"/>
                        </a:cxn>
                        <a:cxn ang="0">
                          <a:pos x="connsiteX4285" y="connsiteY4285"/>
                        </a:cxn>
                        <a:cxn ang="0">
                          <a:pos x="connsiteX4286" y="connsiteY4286"/>
                        </a:cxn>
                        <a:cxn ang="0">
                          <a:pos x="connsiteX4287" y="connsiteY4287"/>
                        </a:cxn>
                        <a:cxn ang="0">
                          <a:pos x="connsiteX4288" y="connsiteY4288"/>
                        </a:cxn>
                        <a:cxn ang="0">
                          <a:pos x="connsiteX4289" y="connsiteY4289"/>
                        </a:cxn>
                        <a:cxn ang="0">
                          <a:pos x="connsiteX4290" y="connsiteY4290"/>
                        </a:cxn>
                        <a:cxn ang="0">
                          <a:pos x="connsiteX4291" y="connsiteY4291"/>
                        </a:cxn>
                        <a:cxn ang="0">
                          <a:pos x="connsiteX4292" y="connsiteY4292"/>
                        </a:cxn>
                        <a:cxn ang="0">
                          <a:pos x="connsiteX4293" y="connsiteY4293"/>
                        </a:cxn>
                        <a:cxn ang="0">
                          <a:pos x="connsiteX4294" y="connsiteY4294"/>
                        </a:cxn>
                        <a:cxn ang="0">
                          <a:pos x="connsiteX4295" y="connsiteY4295"/>
                        </a:cxn>
                        <a:cxn ang="0">
                          <a:pos x="connsiteX4296" y="connsiteY4296"/>
                        </a:cxn>
                        <a:cxn ang="0">
                          <a:pos x="connsiteX4297" y="connsiteY4297"/>
                        </a:cxn>
                        <a:cxn ang="0">
                          <a:pos x="connsiteX4298" y="connsiteY4298"/>
                        </a:cxn>
                        <a:cxn ang="0">
                          <a:pos x="connsiteX4299" y="connsiteY4299"/>
                        </a:cxn>
                        <a:cxn ang="0">
                          <a:pos x="connsiteX4300" y="connsiteY4300"/>
                        </a:cxn>
                        <a:cxn ang="0">
                          <a:pos x="connsiteX4301" y="connsiteY4301"/>
                        </a:cxn>
                        <a:cxn ang="0">
                          <a:pos x="connsiteX4302" y="connsiteY4302"/>
                        </a:cxn>
                        <a:cxn ang="0">
                          <a:pos x="connsiteX4303" y="connsiteY4303"/>
                        </a:cxn>
                        <a:cxn ang="0">
                          <a:pos x="connsiteX4304" y="connsiteY4304"/>
                        </a:cxn>
                        <a:cxn ang="0">
                          <a:pos x="connsiteX4305" y="connsiteY4305"/>
                        </a:cxn>
                        <a:cxn ang="0">
                          <a:pos x="connsiteX4306" y="connsiteY4306"/>
                        </a:cxn>
                        <a:cxn ang="0">
                          <a:pos x="connsiteX4307" y="connsiteY4307"/>
                        </a:cxn>
                        <a:cxn ang="0">
                          <a:pos x="connsiteX4308" y="connsiteY4308"/>
                        </a:cxn>
                        <a:cxn ang="0">
                          <a:pos x="connsiteX4309" y="connsiteY4309"/>
                        </a:cxn>
                        <a:cxn ang="0">
                          <a:pos x="connsiteX4310" y="connsiteY4310"/>
                        </a:cxn>
                        <a:cxn ang="0">
                          <a:pos x="connsiteX4311" y="connsiteY4311"/>
                        </a:cxn>
                        <a:cxn ang="0">
                          <a:pos x="connsiteX4312" y="connsiteY4312"/>
                        </a:cxn>
                        <a:cxn ang="0">
                          <a:pos x="connsiteX4313" y="connsiteY4313"/>
                        </a:cxn>
                        <a:cxn ang="0">
                          <a:pos x="connsiteX4314" y="connsiteY4314"/>
                        </a:cxn>
                        <a:cxn ang="0">
                          <a:pos x="connsiteX4315" y="connsiteY4315"/>
                        </a:cxn>
                        <a:cxn ang="0">
                          <a:pos x="connsiteX4316" y="connsiteY4316"/>
                        </a:cxn>
                        <a:cxn ang="0">
                          <a:pos x="connsiteX4317" y="connsiteY4317"/>
                        </a:cxn>
                        <a:cxn ang="0">
                          <a:pos x="connsiteX4318" y="connsiteY4318"/>
                        </a:cxn>
                        <a:cxn ang="0">
                          <a:pos x="connsiteX4319" y="connsiteY4319"/>
                        </a:cxn>
                        <a:cxn ang="0">
                          <a:pos x="connsiteX4320" y="connsiteY4320"/>
                        </a:cxn>
                        <a:cxn ang="0">
                          <a:pos x="connsiteX4321" y="connsiteY4321"/>
                        </a:cxn>
                        <a:cxn ang="0">
                          <a:pos x="connsiteX4322" y="connsiteY4322"/>
                        </a:cxn>
                        <a:cxn ang="0">
                          <a:pos x="connsiteX4323" y="connsiteY4323"/>
                        </a:cxn>
                        <a:cxn ang="0">
                          <a:pos x="connsiteX4324" y="connsiteY4324"/>
                        </a:cxn>
                        <a:cxn ang="0">
                          <a:pos x="connsiteX4325" y="connsiteY4325"/>
                        </a:cxn>
                        <a:cxn ang="0">
                          <a:pos x="connsiteX4326" y="connsiteY4326"/>
                        </a:cxn>
                        <a:cxn ang="0">
                          <a:pos x="connsiteX4327" y="connsiteY4327"/>
                        </a:cxn>
                        <a:cxn ang="0">
                          <a:pos x="connsiteX4328" y="connsiteY4328"/>
                        </a:cxn>
                        <a:cxn ang="0">
                          <a:pos x="connsiteX4329" y="connsiteY4329"/>
                        </a:cxn>
                        <a:cxn ang="0">
                          <a:pos x="connsiteX4330" y="connsiteY4330"/>
                        </a:cxn>
                        <a:cxn ang="0">
                          <a:pos x="connsiteX4331" y="connsiteY4331"/>
                        </a:cxn>
                        <a:cxn ang="0">
                          <a:pos x="connsiteX4332" y="connsiteY4332"/>
                        </a:cxn>
                        <a:cxn ang="0">
                          <a:pos x="connsiteX4333" y="connsiteY4333"/>
                        </a:cxn>
                        <a:cxn ang="0">
                          <a:pos x="connsiteX4334" y="connsiteY4334"/>
                        </a:cxn>
                        <a:cxn ang="0">
                          <a:pos x="connsiteX4335" y="connsiteY4335"/>
                        </a:cxn>
                        <a:cxn ang="0">
                          <a:pos x="connsiteX4336" y="connsiteY4336"/>
                        </a:cxn>
                        <a:cxn ang="0">
                          <a:pos x="connsiteX4337" y="connsiteY4337"/>
                        </a:cxn>
                        <a:cxn ang="0">
                          <a:pos x="connsiteX4338" y="connsiteY4338"/>
                        </a:cxn>
                        <a:cxn ang="0">
                          <a:pos x="connsiteX4339" y="connsiteY4339"/>
                        </a:cxn>
                        <a:cxn ang="0">
                          <a:pos x="connsiteX4340" y="connsiteY4340"/>
                        </a:cxn>
                        <a:cxn ang="0">
                          <a:pos x="connsiteX4341" y="connsiteY4341"/>
                        </a:cxn>
                        <a:cxn ang="0">
                          <a:pos x="connsiteX4342" y="connsiteY4342"/>
                        </a:cxn>
                        <a:cxn ang="0">
                          <a:pos x="connsiteX4343" y="connsiteY4343"/>
                        </a:cxn>
                        <a:cxn ang="0">
                          <a:pos x="connsiteX4344" y="connsiteY4344"/>
                        </a:cxn>
                        <a:cxn ang="0">
                          <a:pos x="connsiteX4345" y="connsiteY4345"/>
                        </a:cxn>
                        <a:cxn ang="0">
                          <a:pos x="connsiteX4346" y="connsiteY4346"/>
                        </a:cxn>
                        <a:cxn ang="0">
                          <a:pos x="connsiteX4347" y="connsiteY4347"/>
                        </a:cxn>
                        <a:cxn ang="0">
                          <a:pos x="connsiteX4348" y="connsiteY4348"/>
                        </a:cxn>
                        <a:cxn ang="0">
                          <a:pos x="connsiteX4349" y="connsiteY4349"/>
                        </a:cxn>
                        <a:cxn ang="0">
                          <a:pos x="connsiteX4350" y="connsiteY4350"/>
                        </a:cxn>
                        <a:cxn ang="0">
                          <a:pos x="connsiteX4351" y="connsiteY4351"/>
                        </a:cxn>
                        <a:cxn ang="0">
                          <a:pos x="connsiteX4352" y="connsiteY4352"/>
                        </a:cxn>
                        <a:cxn ang="0">
                          <a:pos x="connsiteX4353" y="connsiteY4353"/>
                        </a:cxn>
                        <a:cxn ang="0">
                          <a:pos x="connsiteX4354" y="connsiteY4354"/>
                        </a:cxn>
                        <a:cxn ang="0">
                          <a:pos x="connsiteX4355" y="connsiteY4355"/>
                        </a:cxn>
                        <a:cxn ang="0">
                          <a:pos x="connsiteX4356" y="connsiteY4356"/>
                        </a:cxn>
                        <a:cxn ang="0">
                          <a:pos x="connsiteX4357" y="connsiteY4357"/>
                        </a:cxn>
                        <a:cxn ang="0">
                          <a:pos x="connsiteX4358" y="connsiteY4358"/>
                        </a:cxn>
                        <a:cxn ang="0">
                          <a:pos x="connsiteX4359" y="connsiteY4359"/>
                        </a:cxn>
                        <a:cxn ang="0">
                          <a:pos x="connsiteX4360" y="connsiteY4360"/>
                        </a:cxn>
                        <a:cxn ang="0">
                          <a:pos x="connsiteX4361" y="connsiteY4361"/>
                        </a:cxn>
                        <a:cxn ang="0">
                          <a:pos x="connsiteX4362" y="connsiteY4362"/>
                        </a:cxn>
                        <a:cxn ang="0">
                          <a:pos x="connsiteX4363" y="connsiteY4363"/>
                        </a:cxn>
                        <a:cxn ang="0">
                          <a:pos x="connsiteX4364" y="connsiteY4364"/>
                        </a:cxn>
                        <a:cxn ang="0">
                          <a:pos x="connsiteX4365" y="connsiteY4365"/>
                        </a:cxn>
                        <a:cxn ang="0">
                          <a:pos x="connsiteX4366" y="connsiteY4366"/>
                        </a:cxn>
                        <a:cxn ang="0">
                          <a:pos x="connsiteX4367" y="connsiteY4367"/>
                        </a:cxn>
                        <a:cxn ang="0">
                          <a:pos x="connsiteX4368" y="connsiteY4368"/>
                        </a:cxn>
                        <a:cxn ang="0">
                          <a:pos x="connsiteX4369" y="connsiteY4369"/>
                        </a:cxn>
                        <a:cxn ang="0">
                          <a:pos x="connsiteX4370" y="connsiteY4370"/>
                        </a:cxn>
                        <a:cxn ang="0">
                          <a:pos x="connsiteX4371" y="connsiteY4371"/>
                        </a:cxn>
                        <a:cxn ang="0">
                          <a:pos x="connsiteX4372" y="connsiteY4372"/>
                        </a:cxn>
                        <a:cxn ang="0">
                          <a:pos x="connsiteX4373" y="connsiteY4373"/>
                        </a:cxn>
                        <a:cxn ang="0">
                          <a:pos x="connsiteX4374" y="connsiteY4374"/>
                        </a:cxn>
                        <a:cxn ang="0">
                          <a:pos x="connsiteX4375" y="connsiteY4375"/>
                        </a:cxn>
                        <a:cxn ang="0">
                          <a:pos x="connsiteX4376" y="connsiteY4376"/>
                        </a:cxn>
                        <a:cxn ang="0">
                          <a:pos x="connsiteX4377" y="connsiteY4377"/>
                        </a:cxn>
                        <a:cxn ang="0">
                          <a:pos x="connsiteX4378" y="connsiteY4378"/>
                        </a:cxn>
                        <a:cxn ang="0">
                          <a:pos x="connsiteX4379" y="connsiteY4379"/>
                        </a:cxn>
                        <a:cxn ang="0">
                          <a:pos x="connsiteX4380" y="connsiteY4380"/>
                        </a:cxn>
                        <a:cxn ang="0">
                          <a:pos x="connsiteX4381" y="connsiteY4381"/>
                        </a:cxn>
                        <a:cxn ang="0">
                          <a:pos x="connsiteX4382" y="connsiteY4382"/>
                        </a:cxn>
                        <a:cxn ang="0">
                          <a:pos x="connsiteX4383" y="connsiteY4383"/>
                        </a:cxn>
                        <a:cxn ang="0">
                          <a:pos x="connsiteX4384" y="connsiteY4384"/>
                        </a:cxn>
                        <a:cxn ang="0">
                          <a:pos x="connsiteX4385" y="connsiteY4385"/>
                        </a:cxn>
                        <a:cxn ang="0">
                          <a:pos x="connsiteX4386" y="connsiteY4386"/>
                        </a:cxn>
                        <a:cxn ang="0">
                          <a:pos x="connsiteX4387" y="connsiteY4387"/>
                        </a:cxn>
                        <a:cxn ang="0">
                          <a:pos x="connsiteX4388" y="connsiteY4388"/>
                        </a:cxn>
                        <a:cxn ang="0">
                          <a:pos x="connsiteX4389" y="connsiteY4389"/>
                        </a:cxn>
                        <a:cxn ang="0">
                          <a:pos x="connsiteX4390" y="connsiteY4390"/>
                        </a:cxn>
                        <a:cxn ang="0">
                          <a:pos x="connsiteX4391" y="connsiteY4391"/>
                        </a:cxn>
                        <a:cxn ang="0">
                          <a:pos x="connsiteX4392" y="connsiteY4392"/>
                        </a:cxn>
                        <a:cxn ang="0">
                          <a:pos x="connsiteX4393" y="connsiteY4393"/>
                        </a:cxn>
                        <a:cxn ang="0">
                          <a:pos x="connsiteX4394" y="connsiteY4394"/>
                        </a:cxn>
                        <a:cxn ang="0">
                          <a:pos x="connsiteX4395" y="connsiteY4395"/>
                        </a:cxn>
                        <a:cxn ang="0">
                          <a:pos x="connsiteX4396" y="connsiteY4396"/>
                        </a:cxn>
                        <a:cxn ang="0">
                          <a:pos x="connsiteX4397" y="connsiteY4397"/>
                        </a:cxn>
                        <a:cxn ang="0">
                          <a:pos x="connsiteX4398" y="connsiteY4398"/>
                        </a:cxn>
                        <a:cxn ang="0">
                          <a:pos x="connsiteX4399" y="connsiteY4399"/>
                        </a:cxn>
                        <a:cxn ang="0">
                          <a:pos x="connsiteX4400" y="connsiteY4400"/>
                        </a:cxn>
                        <a:cxn ang="0">
                          <a:pos x="connsiteX4401" y="connsiteY4401"/>
                        </a:cxn>
                        <a:cxn ang="0">
                          <a:pos x="connsiteX4402" y="connsiteY4402"/>
                        </a:cxn>
                        <a:cxn ang="0">
                          <a:pos x="connsiteX4403" y="connsiteY4403"/>
                        </a:cxn>
                        <a:cxn ang="0">
                          <a:pos x="connsiteX4404" y="connsiteY4404"/>
                        </a:cxn>
                        <a:cxn ang="0">
                          <a:pos x="connsiteX4405" y="connsiteY4405"/>
                        </a:cxn>
                        <a:cxn ang="0">
                          <a:pos x="connsiteX4406" y="connsiteY4406"/>
                        </a:cxn>
                        <a:cxn ang="0">
                          <a:pos x="connsiteX4407" y="connsiteY4407"/>
                        </a:cxn>
                        <a:cxn ang="0">
                          <a:pos x="connsiteX4408" y="connsiteY4408"/>
                        </a:cxn>
                        <a:cxn ang="0">
                          <a:pos x="connsiteX4409" y="connsiteY4409"/>
                        </a:cxn>
                        <a:cxn ang="0">
                          <a:pos x="connsiteX4410" y="connsiteY4410"/>
                        </a:cxn>
                        <a:cxn ang="0">
                          <a:pos x="connsiteX4411" y="connsiteY4411"/>
                        </a:cxn>
                        <a:cxn ang="0">
                          <a:pos x="connsiteX4412" y="connsiteY4412"/>
                        </a:cxn>
                        <a:cxn ang="0">
                          <a:pos x="connsiteX4413" y="connsiteY4413"/>
                        </a:cxn>
                        <a:cxn ang="0">
                          <a:pos x="connsiteX4414" y="connsiteY4414"/>
                        </a:cxn>
                        <a:cxn ang="0">
                          <a:pos x="connsiteX4415" y="connsiteY4415"/>
                        </a:cxn>
                        <a:cxn ang="0">
                          <a:pos x="connsiteX4416" y="connsiteY4416"/>
                        </a:cxn>
                        <a:cxn ang="0">
                          <a:pos x="connsiteX4417" y="connsiteY4417"/>
                        </a:cxn>
                        <a:cxn ang="0">
                          <a:pos x="connsiteX4418" y="connsiteY4418"/>
                        </a:cxn>
                        <a:cxn ang="0">
                          <a:pos x="connsiteX4419" y="connsiteY4419"/>
                        </a:cxn>
                        <a:cxn ang="0">
                          <a:pos x="connsiteX4420" y="connsiteY4420"/>
                        </a:cxn>
                        <a:cxn ang="0">
                          <a:pos x="connsiteX4421" y="connsiteY4421"/>
                        </a:cxn>
                        <a:cxn ang="0">
                          <a:pos x="connsiteX4422" y="connsiteY4422"/>
                        </a:cxn>
                        <a:cxn ang="0">
                          <a:pos x="connsiteX4423" y="connsiteY4423"/>
                        </a:cxn>
                        <a:cxn ang="0">
                          <a:pos x="connsiteX4424" y="connsiteY4424"/>
                        </a:cxn>
                        <a:cxn ang="0">
                          <a:pos x="connsiteX4425" y="connsiteY4425"/>
                        </a:cxn>
                        <a:cxn ang="0">
                          <a:pos x="connsiteX4426" y="connsiteY4426"/>
                        </a:cxn>
                        <a:cxn ang="0">
                          <a:pos x="connsiteX4427" y="connsiteY4427"/>
                        </a:cxn>
                        <a:cxn ang="0">
                          <a:pos x="connsiteX4428" y="connsiteY4428"/>
                        </a:cxn>
                        <a:cxn ang="0">
                          <a:pos x="connsiteX4429" y="connsiteY4429"/>
                        </a:cxn>
                        <a:cxn ang="0">
                          <a:pos x="connsiteX4430" y="connsiteY4430"/>
                        </a:cxn>
                        <a:cxn ang="0">
                          <a:pos x="connsiteX4431" y="connsiteY4431"/>
                        </a:cxn>
                        <a:cxn ang="0">
                          <a:pos x="connsiteX4432" y="connsiteY4432"/>
                        </a:cxn>
                        <a:cxn ang="0">
                          <a:pos x="connsiteX4433" y="connsiteY4433"/>
                        </a:cxn>
                        <a:cxn ang="0">
                          <a:pos x="connsiteX4434" y="connsiteY4434"/>
                        </a:cxn>
                        <a:cxn ang="0">
                          <a:pos x="connsiteX4435" y="connsiteY4435"/>
                        </a:cxn>
                        <a:cxn ang="0">
                          <a:pos x="connsiteX4436" y="connsiteY4436"/>
                        </a:cxn>
                        <a:cxn ang="0">
                          <a:pos x="connsiteX4437" y="connsiteY4437"/>
                        </a:cxn>
                        <a:cxn ang="0">
                          <a:pos x="connsiteX4438" y="connsiteY4438"/>
                        </a:cxn>
                        <a:cxn ang="0">
                          <a:pos x="connsiteX4439" y="connsiteY4439"/>
                        </a:cxn>
                        <a:cxn ang="0">
                          <a:pos x="connsiteX4440" y="connsiteY4440"/>
                        </a:cxn>
                        <a:cxn ang="0">
                          <a:pos x="connsiteX4441" y="connsiteY4441"/>
                        </a:cxn>
                        <a:cxn ang="0">
                          <a:pos x="connsiteX4442" y="connsiteY4442"/>
                        </a:cxn>
                        <a:cxn ang="0">
                          <a:pos x="connsiteX4443" y="connsiteY4443"/>
                        </a:cxn>
                        <a:cxn ang="0">
                          <a:pos x="connsiteX4444" y="connsiteY4444"/>
                        </a:cxn>
                        <a:cxn ang="0">
                          <a:pos x="connsiteX4445" y="connsiteY4445"/>
                        </a:cxn>
                        <a:cxn ang="0">
                          <a:pos x="connsiteX4446" y="connsiteY4446"/>
                        </a:cxn>
                        <a:cxn ang="0">
                          <a:pos x="connsiteX4447" y="connsiteY4447"/>
                        </a:cxn>
                        <a:cxn ang="0">
                          <a:pos x="connsiteX4448" y="connsiteY4448"/>
                        </a:cxn>
                        <a:cxn ang="0">
                          <a:pos x="connsiteX4449" y="connsiteY4449"/>
                        </a:cxn>
                        <a:cxn ang="0">
                          <a:pos x="connsiteX4450" y="connsiteY4450"/>
                        </a:cxn>
                        <a:cxn ang="0">
                          <a:pos x="connsiteX4451" y="connsiteY4451"/>
                        </a:cxn>
                        <a:cxn ang="0">
                          <a:pos x="connsiteX4452" y="connsiteY4452"/>
                        </a:cxn>
                        <a:cxn ang="0">
                          <a:pos x="connsiteX4453" y="connsiteY4453"/>
                        </a:cxn>
                        <a:cxn ang="0">
                          <a:pos x="connsiteX4454" y="connsiteY4454"/>
                        </a:cxn>
                        <a:cxn ang="0">
                          <a:pos x="connsiteX4455" y="connsiteY4455"/>
                        </a:cxn>
                        <a:cxn ang="0">
                          <a:pos x="connsiteX4456" y="connsiteY4456"/>
                        </a:cxn>
                        <a:cxn ang="0">
                          <a:pos x="connsiteX4457" y="connsiteY4457"/>
                        </a:cxn>
                        <a:cxn ang="0">
                          <a:pos x="connsiteX4458" y="connsiteY4458"/>
                        </a:cxn>
                        <a:cxn ang="0">
                          <a:pos x="connsiteX4459" y="connsiteY4459"/>
                        </a:cxn>
                        <a:cxn ang="0">
                          <a:pos x="connsiteX4460" y="connsiteY4460"/>
                        </a:cxn>
                        <a:cxn ang="0">
                          <a:pos x="connsiteX4461" y="connsiteY4461"/>
                        </a:cxn>
                        <a:cxn ang="0">
                          <a:pos x="connsiteX4462" y="connsiteY4462"/>
                        </a:cxn>
                        <a:cxn ang="0">
                          <a:pos x="connsiteX4463" y="connsiteY4463"/>
                        </a:cxn>
                        <a:cxn ang="0">
                          <a:pos x="connsiteX4464" y="connsiteY4464"/>
                        </a:cxn>
                        <a:cxn ang="0">
                          <a:pos x="connsiteX4465" y="connsiteY4465"/>
                        </a:cxn>
                        <a:cxn ang="0">
                          <a:pos x="connsiteX4466" y="connsiteY4466"/>
                        </a:cxn>
                        <a:cxn ang="0">
                          <a:pos x="connsiteX4467" y="connsiteY4467"/>
                        </a:cxn>
                        <a:cxn ang="0">
                          <a:pos x="connsiteX4468" y="connsiteY4468"/>
                        </a:cxn>
                        <a:cxn ang="0">
                          <a:pos x="connsiteX4469" y="connsiteY4469"/>
                        </a:cxn>
                        <a:cxn ang="0">
                          <a:pos x="connsiteX4470" y="connsiteY4470"/>
                        </a:cxn>
                        <a:cxn ang="0">
                          <a:pos x="connsiteX4471" y="connsiteY4471"/>
                        </a:cxn>
                        <a:cxn ang="0">
                          <a:pos x="connsiteX4472" y="connsiteY4472"/>
                        </a:cxn>
                        <a:cxn ang="0">
                          <a:pos x="connsiteX4473" y="connsiteY4473"/>
                        </a:cxn>
                        <a:cxn ang="0">
                          <a:pos x="connsiteX4474" y="connsiteY4474"/>
                        </a:cxn>
                        <a:cxn ang="0">
                          <a:pos x="connsiteX4475" y="connsiteY4475"/>
                        </a:cxn>
                        <a:cxn ang="0">
                          <a:pos x="connsiteX4476" y="connsiteY4476"/>
                        </a:cxn>
                        <a:cxn ang="0">
                          <a:pos x="connsiteX4477" y="connsiteY4477"/>
                        </a:cxn>
                        <a:cxn ang="0">
                          <a:pos x="connsiteX4478" y="connsiteY4478"/>
                        </a:cxn>
                        <a:cxn ang="0">
                          <a:pos x="connsiteX4479" y="connsiteY4479"/>
                        </a:cxn>
                        <a:cxn ang="0">
                          <a:pos x="connsiteX4480" y="connsiteY4480"/>
                        </a:cxn>
                        <a:cxn ang="0">
                          <a:pos x="connsiteX4481" y="connsiteY4481"/>
                        </a:cxn>
                        <a:cxn ang="0">
                          <a:pos x="connsiteX4482" y="connsiteY4482"/>
                        </a:cxn>
                        <a:cxn ang="0">
                          <a:pos x="connsiteX4483" y="connsiteY4483"/>
                        </a:cxn>
                        <a:cxn ang="0">
                          <a:pos x="connsiteX4484" y="connsiteY4484"/>
                        </a:cxn>
                        <a:cxn ang="0">
                          <a:pos x="connsiteX4485" y="connsiteY4485"/>
                        </a:cxn>
                        <a:cxn ang="0">
                          <a:pos x="connsiteX4486" y="connsiteY4486"/>
                        </a:cxn>
                        <a:cxn ang="0">
                          <a:pos x="connsiteX4487" y="connsiteY4487"/>
                        </a:cxn>
                        <a:cxn ang="0">
                          <a:pos x="connsiteX4488" y="connsiteY4488"/>
                        </a:cxn>
                        <a:cxn ang="0">
                          <a:pos x="connsiteX4489" y="connsiteY4489"/>
                        </a:cxn>
                        <a:cxn ang="0">
                          <a:pos x="connsiteX4490" y="connsiteY4490"/>
                        </a:cxn>
                        <a:cxn ang="0">
                          <a:pos x="connsiteX4491" y="connsiteY4491"/>
                        </a:cxn>
                        <a:cxn ang="0">
                          <a:pos x="connsiteX4492" y="connsiteY4492"/>
                        </a:cxn>
                        <a:cxn ang="0">
                          <a:pos x="connsiteX4493" y="connsiteY4493"/>
                        </a:cxn>
                        <a:cxn ang="0">
                          <a:pos x="connsiteX4494" y="connsiteY4494"/>
                        </a:cxn>
                        <a:cxn ang="0">
                          <a:pos x="connsiteX4495" y="connsiteY4495"/>
                        </a:cxn>
                        <a:cxn ang="0">
                          <a:pos x="connsiteX4496" y="connsiteY4496"/>
                        </a:cxn>
                        <a:cxn ang="0">
                          <a:pos x="connsiteX4497" y="connsiteY4497"/>
                        </a:cxn>
                        <a:cxn ang="0">
                          <a:pos x="connsiteX4498" y="connsiteY4498"/>
                        </a:cxn>
                        <a:cxn ang="0">
                          <a:pos x="connsiteX4499" y="connsiteY4499"/>
                        </a:cxn>
                        <a:cxn ang="0">
                          <a:pos x="connsiteX4500" y="connsiteY4500"/>
                        </a:cxn>
                        <a:cxn ang="0">
                          <a:pos x="connsiteX4501" y="connsiteY4501"/>
                        </a:cxn>
                        <a:cxn ang="0">
                          <a:pos x="connsiteX4502" y="connsiteY4502"/>
                        </a:cxn>
                        <a:cxn ang="0">
                          <a:pos x="connsiteX4503" y="connsiteY4503"/>
                        </a:cxn>
                        <a:cxn ang="0">
                          <a:pos x="connsiteX4504" y="connsiteY4504"/>
                        </a:cxn>
                        <a:cxn ang="0">
                          <a:pos x="connsiteX4505" y="connsiteY4505"/>
                        </a:cxn>
                        <a:cxn ang="0">
                          <a:pos x="connsiteX4506" y="connsiteY4506"/>
                        </a:cxn>
                        <a:cxn ang="0">
                          <a:pos x="connsiteX4507" y="connsiteY4507"/>
                        </a:cxn>
                        <a:cxn ang="0">
                          <a:pos x="connsiteX4508" y="connsiteY4508"/>
                        </a:cxn>
                        <a:cxn ang="0">
                          <a:pos x="connsiteX4509" y="connsiteY4509"/>
                        </a:cxn>
                        <a:cxn ang="0">
                          <a:pos x="connsiteX4510" y="connsiteY4510"/>
                        </a:cxn>
                        <a:cxn ang="0">
                          <a:pos x="connsiteX4511" y="connsiteY4511"/>
                        </a:cxn>
                        <a:cxn ang="0">
                          <a:pos x="connsiteX4512" y="connsiteY4512"/>
                        </a:cxn>
                        <a:cxn ang="0">
                          <a:pos x="connsiteX4513" y="connsiteY4513"/>
                        </a:cxn>
                        <a:cxn ang="0">
                          <a:pos x="connsiteX4514" y="connsiteY4514"/>
                        </a:cxn>
                        <a:cxn ang="0">
                          <a:pos x="connsiteX4515" y="connsiteY4515"/>
                        </a:cxn>
                        <a:cxn ang="0">
                          <a:pos x="connsiteX4516" y="connsiteY4516"/>
                        </a:cxn>
                        <a:cxn ang="0">
                          <a:pos x="connsiteX4517" y="connsiteY4517"/>
                        </a:cxn>
                        <a:cxn ang="0">
                          <a:pos x="connsiteX4518" y="connsiteY4518"/>
                        </a:cxn>
                        <a:cxn ang="0">
                          <a:pos x="connsiteX4519" y="connsiteY4519"/>
                        </a:cxn>
                        <a:cxn ang="0">
                          <a:pos x="connsiteX4520" y="connsiteY4520"/>
                        </a:cxn>
                        <a:cxn ang="0">
                          <a:pos x="connsiteX4521" y="connsiteY4521"/>
                        </a:cxn>
                        <a:cxn ang="0">
                          <a:pos x="connsiteX4522" y="connsiteY4522"/>
                        </a:cxn>
                        <a:cxn ang="0">
                          <a:pos x="connsiteX4523" y="connsiteY4523"/>
                        </a:cxn>
                        <a:cxn ang="0">
                          <a:pos x="connsiteX4524" y="connsiteY4524"/>
                        </a:cxn>
                        <a:cxn ang="0">
                          <a:pos x="connsiteX4525" y="connsiteY4525"/>
                        </a:cxn>
                        <a:cxn ang="0">
                          <a:pos x="connsiteX4526" y="connsiteY4526"/>
                        </a:cxn>
                        <a:cxn ang="0">
                          <a:pos x="connsiteX4527" y="connsiteY4527"/>
                        </a:cxn>
                        <a:cxn ang="0">
                          <a:pos x="connsiteX4528" y="connsiteY4528"/>
                        </a:cxn>
                        <a:cxn ang="0">
                          <a:pos x="connsiteX4529" y="connsiteY4529"/>
                        </a:cxn>
                        <a:cxn ang="0">
                          <a:pos x="connsiteX4530" y="connsiteY4530"/>
                        </a:cxn>
                        <a:cxn ang="0">
                          <a:pos x="connsiteX4531" y="connsiteY4531"/>
                        </a:cxn>
                        <a:cxn ang="0">
                          <a:pos x="connsiteX4532" y="connsiteY4532"/>
                        </a:cxn>
                        <a:cxn ang="0">
                          <a:pos x="connsiteX4533" y="connsiteY4533"/>
                        </a:cxn>
                        <a:cxn ang="0">
                          <a:pos x="connsiteX4534" y="connsiteY4534"/>
                        </a:cxn>
                        <a:cxn ang="0">
                          <a:pos x="connsiteX4535" y="connsiteY4535"/>
                        </a:cxn>
                        <a:cxn ang="0">
                          <a:pos x="connsiteX4536" y="connsiteY4536"/>
                        </a:cxn>
                        <a:cxn ang="0">
                          <a:pos x="connsiteX4537" y="connsiteY4537"/>
                        </a:cxn>
                        <a:cxn ang="0">
                          <a:pos x="connsiteX4538" y="connsiteY4538"/>
                        </a:cxn>
                        <a:cxn ang="0">
                          <a:pos x="connsiteX4539" y="connsiteY4539"/>
                        </a:cxn>
                        <a:cxn ang="0">
                          <a:pos x="connsiteX4540" y="connsiteY4540"/>
                        </a:cxn>
                        <a:cxn ang="0">
                          <a:pos x="connsiteX4541" y="connsiteY4541"/>
                        </a:cxn>
                        <a:cxn ang="0">
                          <a:pos x="connsiteX4542" y="connsiteY4542"/>
                        </a:cxn>
                        <a:cxn ang="0">
                          <a:pos x="connsiteX4543" y="connsiteY4543"/>
                        </a:cxn>
                        <a:cxn ang="0">
                          <a:pos x="connsiteX4544" y="connsiteY4544"/>
                        </a:cxn>
                        <a:cxn ang="0">
                          <a:pos x="connsiteX4545" y="connsiteY4545"/>
                        </a:cxn>
                        <a:cxn ang="0">
                          <a:pos x="connsiteX4546" y="connsiteY4546"/>
                        </a:cxn>
                        <a:cxn ang="0">
                          <a:pos x="connsiteX4547" y="connsiteY4547"/>
                        </a:cxn>
                        <a:cxn ang="0">
                          <a:pos x="connsiteX4548" y="connsiteY4548"/>
                        </a:cxn>
                        <a:cxn ang="0">
                          <a:pos x="connsiteX4549" y="connsiteY4549"/>
                        </a:cxn>
                        <a:cxn ang="0">
                          <a:pos x="connsiteX4550" y="connsiteY4550"/>
                        </a:cxn>
                        <a:cxn ang="0">
                          <a:pos x="connsiteX4551" y="connsiteY4551"/>
                        </a:cxn>
                        <a:cxn ang="0">
                          <a:pos x="connsiteX4552" y="connsiteY4552"/>
                        </a:cxn>
                        <a:cxn ang="0">
                          <a:pos x="connsiteX4553" y="connsiteY4553"/>
                        </a:cxn>
                        <a:cxn ang="0">
                          <a:pos x="connsiteX4554" y="connsiteY4554"/>
                        </a:cxn>
                        <a:cxn ang="0">
                          <a:pos x="connsiteX4555" y="connsiteY4555"/>
                        </a:cxn>
                        <a:cxn ang="0">
                          <a:pos x="connsiteX4556" y="connsiteY4556"/>
                        </a:cxn>
                        <a:cxn ang="0">
                          <a:pos x="connsiteX4557" y="connsiteY4557"/>
                        </a:cxn>
                        <a:cxn ang="0">
                          <a:pos x="connsiteX4558" y="connsiteY4558"/>
                        </a:cxn>
                        <a:cxn ang="0">
                          <a:pos x="connsiteX4559" y="connsiteY4559"/>
                        </a:cxn>
                        <a:cxn ang="0">
                          <a:pos x="connsiteX4560" y="connsiteY4560"/>
                        </a:cxn>
                        <a:cxn ang="0">
                          <a:pos x="connsiteX4561" y="connsiteY4561"/>
                        </a:cxn>
                        <a:cxn ang="0">
                          <a:pos x="connsiteX4562" y="connsiteY4562"/>
                        </a:cxn>
                        <a:cxn ang="0">
                          <a:pos x="connsiteX4563" y="connsiteY4563"/>
                        </a:cxn>
                        <a:cxn ang="0">
                          <a:pos x="connsiteX4564" y="connsiteY4564"/>
                        </a:cxn>
                        <a:cxn ang="0">
                          <a:pos x="connsiteX4565" y="connsiteY4565"/>
                        </a:cxn>
                        <a:cxn ang="0">
                          <a:pos x="connsiteX4566" y="connsiteY4566"/>
                        </a:cxn>
                        <a:cxn ang="0">
                          <a:pos x="connsiteX4567" y="connsiteY4567"/>
                        </a:cxn>
                        <a:cxn ang="0">
                          <a:pos x="connsiteX4568" y="connsiteY4568"/>
                        </a:cxn>
                        <a:cxn ang="0">
                          <a:pos x="connsiteX4569" y="connsiteY4569"/>
                        </a:cxn>
                        <a:cxn ang="0">
                          <a:pos x="connsiteX4570" y="connsiteY4570"/>
                        </a:cxn>
                        <a:cxn ang="0">
                          <a:pos x="connsiteX4571" y="connsiteY4571"/>
                        </a:cxn>
                        <a:cxn ang="0">
                          <a:pos x="connsiteX4572" y="connsiteY4572"/>
                        </a:cxn>
                        <a:cxn ang="0">
                          <a:pos x="connsiteX4573" y="connsiteY4573"/>
                        </a:cxn>
                        <a:cxn ang="0">
                          <a:pos x="connsiteX4574" y="connsiteY4574"/>
                        </a:cxn>
                        <a:cxn ang="0">
                          <a:pos x="connsiteX4575" y="connsiteY4575"/>
                        </a:cxn>
                        <a:cxn ang="0">
                          <a:pos x="connsiteX4576" y="connsiteY4576"/>
                        </a:cxn>
                        <a:cxn ang="0">
                          <a:pos x="connsiteX4577" y="connsiteY4577"/>
                        </a:cxn>
                        <a:cxn ang="0">
                          <a:pos x="connsiteX4578" y="connsiteY4578"/>
                        </a:cxn>
                        <a:cxn ang="0">
                          <a:pos x="connsiteX4579" y="connsiteY4579"/>
                        </a:cxn>
                        <a:cxn ang="0">
                          <a:pos x="connsiteX4580" y="connsiteY4580"/>
                        </a:cxn>
                        <a:cxn ang="0">
                          <a:pos x="connsiteX4581" y="connsiteY4581"/>
                        </a:cxn>
                        <a:cxn ang="0">
                          <a:pos x="connsiteX4582" y="connsiteY4582"/>
                        </a:cxn>
                        <a:cxn ang="0">
                          <a:pos x="connsiteX4583" y="connsiteY4583"/>
                        </a:cxn>
                        <a:cxn ang="0">
                          <a:pos x="connsiteX4584" y="connsiteY4584"/>
                        </a:cxn>
                        <a:cxn ang="0">
                          <a:pos x="connsiteX4585" y="connsiteY4585"/>
                        </a:cxn>
                        <a:cxn ang="0">
                          <a:pos x="connsiteX4586" y="connsiteY4586"/>
                        </a:cxn>
                        <a:cxn ang="0">
                          <a:pos x="connsiteX4587" y="connsiteY4587"/>
                        </a:cxn>
                        <a:cxn ang="0">
                          <a:pos x="connsiteX4588" y="connsiteY4588"/>
                        </a:cxn>
                        <a:cxn ang="0">
                          <a:pos x="connsiteX4589" y="connsiteY4589"/>
                        </a:cxn>
                        <a:cxn ang="0">
                          <a:pos x="connsiteX4590" y="connsiteY4590"/>
                        </a:cxn>
                        <a:cxn ang="0">
                          <a:pos x="connsiteX4591" y="connsiteY4591"/>
                        </a:cxn>
                        <a:cxn ang="0">
                          <a:pos x="connsiteX4592" y="connsiteY4592"/>
                        </a:cxn>
                        <a:cxn ang="0">
                          <a:pos x="connsiteX4593" y="connsiteY4593"/>
                        </a:cxn>
                        <a:cxn ang="0">
                          <a:pos x="connsiteX4594" y="connsiteY4594"/>
                        </a:cxn>
                        <a:cxn ang="0">
                          <a:pos x="connsiteX4595" y="connsiteY4595"/>
                        </a:cxn>
                        <a:cxn ang="0">
                          <a:pos x="connsiteX4596" y="connsiteY4596"/>
                        </a:cxn>
                        <a:cxn ang="0">
                          <a:pos x="connsiteX4597" y="connsiteY4597"/>
                        </a:cxn>
                        <a:cxn ang="0">
                          <a:pos x="connsiteX4598" y="connsiteY4598"/>
                        </a:cxn>
                        <a:cxn ang="0">
                          <a:pos x="connsiteX4599" y="connsiteY4599"/>
                        </a:cxn>
                        <a:cxn ang="0">
                          <a:pos x="connsiteX4600" y="connsiteY4600"/>
                        </a:cxn>
                        <a:cxn ang="0">
                          <a:pos x="connsiteX4601" y="connsiteY4601"/>
                        </a:cxn>
                        <a:cxn ang="0">
                          <a:pos x="connsiteX4602" y="connsiteY4602"/>
                        </a:cxn>
                        <a:cxn ang="0">
                          <a:pos x="connsiteX4603" y="connsiteY4603"/>
                        </a:cxn>
                        <a:cxn ang="0">
                          <a:pos x="connsiteX4604" y="connsiteY4604"/>
                        </a:cxn>
                        <a:cxn ang="0">
                          <a:pos x="connsiteX4605" y="connsiteY4605"/>
                        </a:cxn>
                        <a:cxn ang="0">
                          <a:pos x="connsiteX4606" y="connsiteY4606"/>
                        </a:cxn>
                        <a:cxn ang="0">
                          <a:pos x="connsiteX4607" y="connsiteY4607"/>
                        </a:cxn>
                        <a:cxn ang="0">
                          <a:pos x="connsiteX4608" y="connsiteY4608"/>
                        </a:cxn>
                        <a:cxn ang="0">
                          <a:pos x="connsiteX4609" y="connsiteY4609"/>
                        </a:cxn>
                        <a:cxn ang="0">
                          <a:pos x="connsiteX4610" y="connsiteY4610"/>
                        </a:cxn>
                        <a:cxn ang="0">
                          <a:pos x="connsiteX4611" y="connsiteY4611"/>
                        </a:cxn>
                        <a:cxn ang="0">
                          <a:pos x="connsiteX4612" y="connsiteY4612"/>
                        </a:cxn>
                        <a:cxn ang="0">
                          <a:pos x="connsiteX4613" y="connsiteY4613"/>
                        </a:cxn>
                        <a:cxn ang="0">
                          <a:pos x="connsiteX4614" y="connsiteY4614"/>
                        </a:cxn>
                        <a:cxn ang="0">
                          <a:pos x="connsiteX4615" y="connsiteY4615"/>
                        </a:cxn>
                        <a:cxn ang="0">
                          <a:pos x="connsiteX4616" y="connsiteY4616"/>
                        </a:cxn>
                        <a:cxn ang="0">
                          <a:pos x="connsiteX4617" y="connsiteY4617"/>
                        </a:cxn>
                        <a:cxn ang="0">
                          <a:pos x="connsiteX4618" y="connsiteY4618"/>
                        </a:cxn>
                        <a:cxn ang="0">
                          <a:pos x="connsiteX4619" y="connsiteY4619"/>
                        </a:cxn>
                        <a:cxn ang="0">
                          <a:pos x="connsiteX4620" y="connsiteY4620"/>
                        </a:cxn>
                        <a:cxn ang="0">
                          <a:pos x="connsiteX4621" y="connsiteY4621"/>
                        </a:cxn>
                        <a:cxn ang="0">
                          <a:pos x="connsiteX4622" y="connsiteY4622"/>
                        </a:cxn>
                        <a:cxn ang="0">
                          <a:pos x="connsiteX4623" y="connsiteY4623"/>
                        </a:cxn>
                        <a:cxn ang="0">
                          <a:pos x="connsiteX4624" y="connsiteY4624"/>
                        </a:cxn>
                        <a:cxn ang="0">
                          <a:pos x="connsiteX4625" y="connsiteY4625"/>
                        </a:cxn>
                        <a:cxn ang="0">
                          <a:pos x="connsiteX4626" y="connsiteY4626"/>
                        </a:cxn>
                        <a:cxn ang="0">
                          <a:pos x="connsiteX4627" y="connsiteY4627"/>
                        </a:cxn>
                        <a:cxn ang="0">
                          <a:pos x="connsiteX4628" y="connsiteY4628"/>
                        </a:cxn>
                        <a:cxn ang="0">
                          <a:pos x="connsiteX4629" y="connsiteY4629"/>
                        </a:cxn>
                        <a:cxn ang="0">
                          <a:pos x="connsiteX4630" y="connsiteY4630"/>
                        </a:cxn>
                        <a:cxn ang="0">
                          <a:pos x="connsiteX4631" y="connsiteY4631"/>
                        </a:cxn>
                        <a:cxn ang="0">
                          <a:pos x="connsiteX4632" y="connsiteY4632"/>
                        </a:cxn>
                        <a:cxn ang="0">
                          <a:pos x="connsiteX4633" y="connsiteY4633"/>
                        </a:cxn>
                        <a:cxn ang="0">
                          <a:pos x="connsiteX4634" y="connsiteY4634"/>
                        </a:cxn>
                        <a:cxn ang="0">
                          <a:pos x="connsiteX4635" y="connsiteY4635"/>
                        </a:cxn>
                        <a:cxn ang="0">
                          <a:pos x="connsiteX4636" y="connsiteY4636"/>
                        </a:cxn>
                        <a:cxn ang="0">
                          <a:pos x="connsiteX4637" y="connsiteY4637"/>
                        </a:cxn>
                        <a:cxn ang="0">
                          <a:pos x="connsiteX4638" y="connsiteY4638"/>
                        </a:cxn>
                        <a:cxn ang="0">
                          <a:pos x="connsiteX4639" y="connsiteY4639"/>
                        </a:cxn>
                        <a:cxn ang="0">
                          <a:pos x="connsiteX4640" y="connsiteY4640"/>
                        </a:cxn>
                        <a:cxn ang="0">
                          <a:pos x="connsiteX4641" y="connsiteY4641"/>
                        </a:cxn>
                        <a:cxn ang="0">
                          <a:pos x="connsiteX4642" y="connsiteY4642"/>
                        </a:cxn>
                        <a:cxn ang="0">
                          <a:pos x="connsiteX4643" y="connsiteY4643"/>
                        </a:cxn>
                        <a:cxn ang="0">
                          <a:pos x="connsiteX4644" y="connsiteY4644"/>
                        </a:cxn>
                        <a:cxn ang="0">
                          <a:pos x="connsiteX4645" y="connsiteY4645"/>
                        </a:cxn>
                        <a:cxn ang="0">
                          <a:pos x="connsiteX4646" y="connsiteY4646"/>
                        </a:cxn>
                        <a:cxn ang="0">
                          <a:pos x="connsiteX4647" y="connsiteY4647"/>
                        </a:cxn>
                        <a:cxn ang="0">
                          <a:pos x="connsiteX4648" y="connsiteY4648"/>
                        </a:cxn>
                        <a:cxn ang="0">
                          <a:pos x="connsiteX4649" y="connsiteY4649"/>
                        </a:cxn>
                        <a:cxn ang="0">
                          <a:pos x="connsiteX4650" y="connsiteY4650"/>
                        </a:cxn>
                        <a:cxn ang="0">
                          <a:pos x="connsiteX4651" y="connsiteY4651"/>
                        </a:cxn>
                        <a:cxn ang="0">
                          <a:pos x="connsiteX4652" y="connsiteY4652"/>
                        </a:cxn>
                        <a:cxn ang="0">
                          <a:pos x="connsiteX4653" y="connsiteY4653"/>
                        </a:cxn>
                        <a:cxn ang="0">
                          <a:pos x="connsiteX4654" y="connsiteY4654"/>
                        </a:cxn>
                        <a:cxn ang="0">
                          <a:pos x="connsiteX4655" y="connsiteY4655"/>
                        </a:cxn>
                        <a:cxn ang="0">
                          <a:pos x="connsiteX4656" y="connsiteY4656"/>
                        </a:cxn>
                        <a:cxn ang="0">
                          <a:pos x="connsiteX4657" y="connsiteY4657"/>
                        </a:cxn>
                        <a:cxn ang="0">
                          <a:pos x="connsiteX4658" y="connsiteY4658"/>
                        </a:cxn>
                        <a:cxn ang="0">
                          <a:pos x="connsiteX4659" y="connsiteY4659"/>
                        </a:cxn>
                        <a:cxn ang="0">
                          <a:pos x="connsiteX4660" y="connsiteY4660"/>
                        </a:cxn>
                        <a:cxn ang="0">
                          <a:pos x="connsiteX4661" y="connsiteY4661"/>
                        </a:cxn>
                        <a:cxn ang="0">
                          <a:pos x="connsiteX4662" y="connsiteY4662"/>
                        </a:cxn>
                        <a:cxn ang="0">
                          <a:pos x="connsiteX4663" y="connsiteY4663"/>
                        </a:cxn>
                        <a:cxn ang="0">
                          <a:pos x="connsiteX4664" y="connsiteY4664"/>
                        </a:cxn>
                        <a:cxn ang="0">
                          <a:pos x="connsiteX4665" y="connsiteY4665"/>
                        </a:cxn>
                        <a:cxn ang="0">
                          <a:pos x="connsiteX4666" y="connsiteY4666"/>
                        </a:cxn>
                        <a:cxn ang="0">
                          <a:pos x="connsiteX4667" y="connsiteY4667"/>
                        </a:cxn>
                        <a:cxn ang="0">
                          <a:pos x="connsiteX4668" y="connsiteY4668"/>
                        </a:cxn>
                        <a:cxn ang="0">
                          <a:pos x="connsiteX4669" y="connsiteY4669"/>
                        </a:cxn>
                        <a:cxn ang="0">
                          <a:pos x="connsiteX4670" y="connsiteY4670"/>
                        </a:cxn>
                        <a:cxn ang="0">
                          <a:pos x="connsiteX4671" y="connsiteY4671"/>
                        </a:cxn>
                        <a:cxn ang="0">
                          <a:pos x="connsiteX4672" y="connsiteY4672"/>
                        </a:cxn>
                        <a:cxn ang="0">
                          <a:pos x="connsiteX4673" y="connsiteY4673"/>
                        </a:cxn>
                        <a:cxn ang="0">
                          <a:pos x="connsiteX4674" y="connsiteY4674"/>
                        </a:cxn>
                        <a:cxn ang="0">
                          <a:pos x="connsiteX4675" y="connsiteY4675"/>
                        </a:cxn>
                        <a:cxn ang="0">
                          <a:pos x="connsiteX4676" y="connsiteY4676"/>
                        </a:cxn>
                        <a:cxn ang="0">
                          <a:pos x="connsiteX4677" y="connsiteY4677"/>
                        </a:cxn>
                        <a:cxn ang="0">
                          <a:pos x="connsiteX4678" y="connsiteY4678"/>
                        </a:cxn>
                        <a:cxn ang="0">
                          <a:pos x="connsiteX4679" y="connsiteY4679"/>
                        </a:cxn>
                        <a:cxn ang="0">
                          <a:pos x="connsiteX4680" y="connsiteY4680"/>
                        </a:cxn>
                        <a:cxn ang="0">
                          <a:pos x="connsiteX4681" y="connsiteY4681"/>
                        </a:cxn>
                        <a:cxn ang="0">
                          <a:pos x="connsiteX4682" y="connsiteY4682"/>
                        </a:cxn>
                        <a:cxn ang="0">
                          <a:pos x="connsiteX4683" y="connsiteY4683"/>
                        </a:cxn>
                        <a:cxn ang="0">
                          <a:pos x="connsiteX4684" y="connsiteY4684"/>
                        </a:cxn>
                        <a:cxn ang="0">
                          <a:pos x="connsiteX4685" y="connsiteY4685"/>
                        </a:cxn>
                        <a:cxn ang="0">
                          <a:pos x="connsiteX4686" y="connsiteY4686"/>
                        </a:cxn>
                        <a:cxn ang="0">
                          <a:pos x="connsiteX4687" y="connsiteY4687"/>
                        </a:cxn>
                        <a:cxn ang="0">
                          <a:pos x="connsiteX4688" y="connsiteY4688"/>
                        </a:cxn>
                        <a:cxn ang="0">
                          <a:pos x="connsiteX4689" y="connsiteY4689"/>
                        </a:cxn>
                        <a:cxn ang="0">
                          <a:pos x="connsiteX4690" y="connsiteY4690"/>
                        </a:cxn>
                        <a:cxn ang="0">
                          <a:pos x="connsiteX4691" y="connsiteY4691"/>
                        </a:cxn>
                        <a:cxn ang="0">
                          <a:pos x="connsiteX4692" y="connsiteY4692"/>
                        </a:cxn>
                        <a:cxn ang="0">
                          <a:pos x="connsiteX4693" y="connsiteY4693"/>
                        </a:cxn>
                        <a:cxn ang="0">
                          <a:pos x="connsiteX4694" y="connsiteY4694"/>
                        </a:cxn>
                        <a:cxn ang="0">
                          <a:pos x="connsiteX4695" y="connsiteY4695"/>
                        </a:cxn>
                        <a:cxn ang="0">
                          <a:pos x="connsiteX4696" y="connsiteY4696"/>
                        </a:cxn>
                        <a:cxn ang="0">
                          <a:pos x="connsiteX4697" y="connsiteY4697"/>
                        </a:cxn>
                        <a:cxn ang="0">
                          <a:pos x="connsiteX4698" y="connsiteY4698"/>
                        </a:cxn>
                        <a:cxn ang="0">
                          <a:pos x="connsiteX4699" y="connsiteY4699"/>
                        </a:cxn>
                        <a:cxn ang="0">
                          <a:pos x="connsiteX4700" y="connsiteY4700"/>
                        </a:cxn>
                        <a:cxn ang="0">
                          <a:pos x="connsiteX4701" y="connsiteY4701"/>
                        </a:cxn>
                        <a:cxn ang="0">
                          <a:pos x="connsiteX4702" y="connsiteY4702"/>
                        </a:cxn>
                        <a:cxn ang="0">
                          <a:pos x="connsiteX4703" y="connsiteY4703"/>
                        </a:cxn>
                        <a:cxn ang="0">
                          <a:pos x="connsiteX4704" y="connsiteY4704"/>
                        </a:cxn>
                        <a:cxn ang="0">
                          <a:pos x="connsiteX4705" y="connsiteY4705"/>
                        </a:cxn>
                        <a:cxn ang="0">
                          <a:pos x="connsiteX4706" y="connsiteY4706"/>
                        </a:cxn>
                        <a:cxn ang="0">
                          <a:pos x="connsiteX4707" y="connsiteY4707"/>
                        </a:cxn>
                        <a:cxn ang="0">
                          <a:pos x="connsiteX4708" y="connsiteY4708"/>
                        </a:cxn>
                        <a:cxn ang="0">
                          <a:pos x="connsiteX4709" y="connsiteY4709"/>
                        </a:cxn>
                        <a:cxn ang="0">
                          <a:pos x="connsiteX4710" y="connsiteY4710"/>
                        </a:cxn>
                        <a:cxn ang="0">
                          <a:pos x="connsiteX4711" y="connsiteY4711"/>
                        </a:cxn>
                        <a:cxn ang="0">
                          <a:pos x="connsiteX4712" y="connsiteY4712"/>
                        </a:cxn>
                        <a:cxn ang="0">
                          <a:pos x="connsiteX4713" y="connsiteY4713"/>
                        </a:cxn>
                        <a:cxn ang="0">
                          <a:pos x="connsiteX4714" y="connsiteY4714"/>
                        </a:cxn>
                        <a:cxn ang="0">
                          <a:pos x="connsiteX4715" y="connsiteY4715"/>
                        </a:cxn>
                        <a:cxn ang="0">
                          <a:pos x="connsiteX4716" y="connsiteY4716"/>
                        </a:cxn>
                        <a:cxn ang="0">
                          <a:pos x="connsiteX4717" y="connsiteY4717"/>
                        </a:cxn>
                        <a:cxn ang="0">
                          <a:pos x="connsiteX4718" y="connsiteY4718"/>
                        </a:cxn>
                        <a:cxn ang="0">
                          <a:pos x="connsiteX4719" y="connsiteY4719"/>
                        </a:cxn>
                        <a:cxn ang="0">
                          <a:pos x="connsiteX4720" y="connsiteY4720"/>
                        </a:cxn>
                        <a:cxn ang="0">
                          <a:pos x="connsiteX4721" y="connsiteY4721"/>
                        </a:cxn>
                        <a:cxn ang="0">
                          <a:pos x="connsiteX4722" y="connsiteY4722"/>
                        </a:cxn>
                        <a:cxn ang="0">
                          <a:pos x="connsiteX4723" y="connsiteY4723"/>
                        </a:cxn>
                        <a:cxn ang="0">
                          <a:pos x="connsiteX4724" y="connsiteY4724"/>
                        </a:cxn>
                        <a:cxn ang="0">
                          <a:pos x="connsiteX4725" y="connsiteY4725"/>
                        </a:cxn>
                        <a:cxn ang="0">
                          <a:pos x="connsiteX4726" y="connsiteY4726"/>
                        </a:cxn>
                        <a:cxn ang="0">
                          <a:pos x="connsiteX4727" y="connsiteY4727"/>
                        </a:cxn>
                        <a:cxn ang="0">
                          <a:pos x="connsiteX4728" y="connsiteY4728"/>
                        </a:cxn>
                        <a:cxn ang="0">
                          <a:pos x="connsiteX4729" y="connsiteY4729"/>
                        </a:cxn>
                        <a:cxn ang="0">
                          <a:pos x="connsiteX4730" y="connsiteY4730"/>
                        </a:cxn>
                        <a:cxn ang="0">
                          <a:pos x="connsiteX4731" y="connsiteY4731"/>
                        </a:cxn>
                        <a:cxn ang="0">
                          <a:pos x="connsiteX4732" y="connsiteY4732"/>
                        </a:cxn>
                        <a:cxn ang="0">
                          <a:pos x="connsiteX4733" y="connsiteY4733"/>
                        </a:cxn>
                        <a:cxn ang="0">
                          <a:pos x="connsiteX4734" y="connsiteY4734"/>
                        </a:cxn>
                        <a:cxn ang="0">
                          <a:pos x="connsiteX4735" y="connsiteY4735"/>
                        </a:cxn>
                        <a:cxn ang="0">
                          <a:pos x="connsiteX4736" y="connsiteY4736"/>
                        </a:cxn>
                        <a:cxn ang="0">
                          <a:pos x="connsiteX4737" y="connsiteY4737"/>
                        </a:cxn>
                        <a:cxn ang="0">
                          <a:pos x="connsiteX4738" y="connsiteY4738"/>
                        </a:cxn>
                        <a:cxn ang="0">
                          <a:pos x="connsiteX4739" y="connsiteY4739"/>
                        </a:cxn>
                        <a:cxn ang="0">
                          <a:pos x="connsiteX4740" y="connsiteY4740"/>
                        </a:cxn>
                        <a:cxn ang="0">
                          <a:pos x="connsiteX4741" y="connsiteY4741"/>
                        </a:cxn>
                        <a:cxn ang="0">
                          <a:pos x="connsiteX4742" y="connsiteY4742"/>
                        </a:cxn>
                        <a:cxn ang="0">
                          <a:pos x="connsiteX4743" y="connsiteY4743"/>
                        </a:cxn>
                        <a:cxn ang="0">
                          <a:pos x="connsiteX4744" y="connsiteY4744"/>
                        </a:cxn>
                        <a:cxn ang="0">
                          <a:pos x="connsiteX4745" y="connsiteY4745"/>
                        </a:cxn>
                        <a:cxn ang="0">
                          <a:pos x="connsiteX4746" y="connsiteY4746"/>
                        </a:cxn>
                        <a:cxn ang="0">
                          <a:pos x="connsiteX4747" y="connsiteY4747"/>
                        </a:cxn>
                        <a:cxn ang="0">
                          <a:pos x="connsiteX4748" y="connsiteY4748"/>
                        </a:cxn>
                        <a:cxn ang="0">
                          <a:pos x="connsiteX4749" y="connsiteY4749"/>
                        </a:cxn>
                        <a:cxn ang="0">
                          <a:pos x="connsiteX4750" y="connsiteY4750"/>
                        </a:cxn>
                        <a:cxn ang="0">
                          <a:pos x="connsiteX4751" y="connsiteY4751"/>
                        </a:cxn>
                        <a:cxn ang="0">
                          <a:pos x="connsiteX4752" y="connsiteY4752"/>
                        </a:cxn>
                        <a:cxn ang="0">
                          <a:pos x="connsiteX4753" y="connsiteY4753"/>
                        </a:cxn>
                        <a:cxn ang="0">
                          <a:pos x="connsiteX4754" y="connsiteY4754"/>
                        </a:cxn>
                        <a:cxn ang="0">
                          <a:pos x="connsiteX4755" y="connsiteY4755"/>
                        </a:cxn>
                        <a:cxn ang="0">
                          <a:pos x="connsiteX4756" y="connsiteY4756"/>
                        </a:cxn>
                        <a:cxn ang="0">
                          <a:pos x="connsiteX4757" y="connsiteY4757"/>
                        </a:cxn>
                        <a:cxn ang="0">
                          <a:pos x="connsiteX4758" y="connsiteY4758"/>
                        </a:cxn>
                        <a:cxn ang="0">
                          <a:pos x="connsiteX4759" y="connsiteY4759"/>
                        </a:cxn>
                        <a:cxn ang="0">
                          <a:pos x="connsiteX4760" y="connsiteY4760"/>
                        </a:cxn>
                        <a:cxn ang="0">
                          <a:pos x="connsiteX4761" y="connsiteY4761"/>
                        </a:cxn>
                        <a:cxn ang="0">
                          <a:pos x="connsiteX4762" y="connsiteY4762"/>
                        </a:cxn>
                        <a:cxn ang="0">
                          <a:pos x="connsiteX4763" y="connsiteY4763"/>
                        </a:cxn>
                        <a:cxn ang="0">
                          <a:pos x="connsiteX4764" y="connsiteY4764"/>
                        </a:cxn>
                        <a:cxn ang="0">
                          <a:pos x="connsiteX4765" y="connsiteY4765"/>
                        </a:cxn>
                        <a:cxn ang="0">
                          <a:pos x="connsiteX4766" y="connsiteY4766"/>
                        </a:cxn>
                        <a:cxn ang="0">
                          <a:pos x="connsiteX4767" y="connsiteY4767"/>
                        </a:cxn>
                        <a:cxn ang="0">
                          <a:pos x="connsiteX4768" y="connsiteY4768"/>
                        </a:cxn>
                        <a:cxn ang="0">
                          <a:pos x="connsiteX4769" y="connsiteY4769"/>
                        </a:cxn>
                        <a:cxn ang="0">
                          <a:pos x="connsiteX4770" y="connsiteY4770"/>
                        </a:cxn>
                        <a:cxn ang="0">
                          <a:pos x="connsiteX4771" y="connsiteY4771"/>
                        </a:cxn>
                        <a:cxn ang="0">
                          <a:pos x="connsiteX4772" y="connsiteY4772"/>
                        </a:cxn>
                        <a:cxn ang="0">
                          <a:pos x="connsiteX4773" y="connsiteY4773"/>
                        </a:cxn>
                        <a:cxn ang="0">
                          <a:pos x="connsiteX4774" y="connsiteY4774"/>
                        </a:cxn>
                        <a:cxn ang="0">
                          <a:pos x="connsiteX4775" y="connsiteY4775"/>
                        </a:cxn>
                        <a:cxn ang="0">
                          <a:pos x="connsiteX4776" y="connsiteY4776"/>
                        </a:cxn>
                        <a:cxn ang="0">
                          <a:pos x="connsiteX4777" y="connsiteY4777"/>
                        </a:cxn>
                        <a:cxn ang="0">
                          <a:pos x="connsiteX4778" y="connsiteY4778"/>
                        </a:cxn>
                        <a:cxn ang="0">
                          <a:pos x="connsiteX4779" y="connsiteY4779"/>
                        </a:cxn>
                        <a:cxn ang="0">
                          <a:pos x="connsiteX4780" y="connsiteY4780"/>
                        </a:cxn>
                        <a:cxn ang="0">
                          <a:pos x="connsiteX4781" y="connsiteY4781"/>
                        </a:cxn>
                        <a:cxn ang="0">
                          <a:pos x="connsiteX4782" y="connsiteY4782"/>
                        </a:cxn>
                        <a:cxn ang="0">
                          <a:pos x="connsiteX4783" y="connsiteY4783"/>
                        </a:cxn>
                        <a:cxn ang="0">
                          <a:pos x="connsiteX4784" y="connsiteY4784"/>
                        </a:cxn>
                        <a:cxn ang="0">
                          <a:pos x="connsiteX4785" y="connsiteY4785"/>
                        </a:cxn>
                        <a:cxn ang="0">
                          <a:pos x="connsiteX4786" y="connsiteY4786"/>
                        </a:cxn>
                        <a:cxn ang="0">
                          <a:pos x="connsiteX4787" y="connsiteY4787"/>
                        </a:cxn>
                        <a:cxn ang="0">
                          <a:pos x="connsiteX4788" y="connsiteY4788"/>
                        </a:cxn>
                        <a:cxn ang="0">
                          <a:pos x="connsiteX4789" y="connsiteY4789"/>
                        </a:cxn>
                        <a:cxn ang="0">
                          <a:pos x="connsiteX4790" y="connsiteY4790"/>
                        </a:cxn>
                        <a:cxn ang="0">
                          <a:pos x="connsiteX4791" y="connsiteY4791"/>
                        </a:cxn>
                        <a:cxn ang="0">
                          <a:pos x="connsiteX4792" y="connsiteY4792"/>
                        </a:cxn>
                        <a:cxn ang="0">
                          <a:pos x="connsiteX4793" y="connsiteY4793"/>
                        </a:cxn>
                        <a:cxn ang="0">
                          <a:pos x="connsiteX4794" y="connsiteY4794"/>
                        </a:cxn>
                        <a:cxn ang="0">
                          <a:pos x="connsiteX4795" y="connsiteY4795"/>
                        </a:cxn>
                        <a:cxn ang="0">
                          <a:pos x="connsiteX4796" y="connsiteY4796"/>
                        </a:cxn>
                        <a:cxn ang="0">
                          <a:pos x="connsiteX4797" y="connsiteY4797"/>
                        </a:cxn>
                        <a:cxn ang="0">
                          <a:pos x="connsiteX4798" y="connsiteY4798"/>
                        </a:cxn>
                        <a:cxn ang="0">
                          <a:pos x="connsiteX4799" y="connsiteY4799"/>
                        </a:cxn>
                        <a:cxn ang="0">
                          <a:pos x="connsiteX4800" y="connsiteY4800"/>
                        </a:cxn>
                        <a:cxn ang="0">
                          <a:pos x="connsiteX4801" y="connsiteY4801"/>
                        </a:cxn>
                        <a:cxn ang="0">
                          <a:pos x="connsiteX4802" y="connsiteY4802"/>
                        </a:cxn>
                        <a:cxn ang="0">
                          <a:pos x="connsiteX4803" y="connsiteY4803"/>
                        </a:cxn>
                        <a:cxn ang="0">
                          <a:pos x="connsiteX4804" y="connsiteY4804"/>
                        </a:cxn>
                        <a:cxn ang="0">
                          <a:pos x="connsiteX4805" y="connsiteY4805"/>
                        </a:cxn>
                        <a:cxn ang="0">
                          <a:pos x="connsiteX4806" y="connsiteY4806"/>
                        </a:cxn>
                        <a:cxn ang="0">
                          <a:pos x="connsiteX4807" y="connsiteY4807"/>
                        </a:cxn>
                        <a:cxn ang="0">
                          <a:pos x="connsiteX4808" y="connsiteY4808"/>
                        </a:cxn>
                        <a:cxn ang="0">
                          <a:pos x="connsiteX4809" y="connsiteY4809"/>
                        </a:cxn>
                        <a:cxn ang="0">
                          <a:pos x="connsiteX4810" y="connsiteY4810"/>
                        </a:cxn>
                        <a:cxn ang="0">
                          <a:pos x="connsiteX4811" y="connsiteY4811"/>
                        </a:cxn>
                        <a:cxn ang="0">
                          <a:pos x="connsiteX4812" y="connsiteY4812"/>
                        </a:cxn>
                        <a:cxn ang="0">
                          <a:pos x="connsiteX4813" y="connsiteY4813"/>
                        </a:cxn>
                        <a:cxn ang="0">
                          <a:pos x="connsiteX4814" y="connsiteY4814"/>
                        </a:cxn>
                        <a:cxn ang="0">
                          <a:pos x="connsiteX4815" y="connsiteY4815"/>
                        </a:cxn>
                        <a:cxn ang="0">
                          <a:pos x="connsiteX4816" y="connsiteY4816"/>
                        </a:cxn>
                        <a:cxn ang="0">
                          <a:pos x="connsiteX4817" y="connsiteY4817"/>
                        </a:cxn>
                        <a:cxn ang="0">
                          <a:pos x="connsiteX4818" y="connsiteY4818"/>
                        </a:cxn>
                        <a:cxn ang="0">
                          <a:pos x="connsiteX4819" y="connsiteY4819"/>
                        </a:cxn>
                        <a:cxn ang="0">
                          <a:pos x="connsiteX4820" y="connsiteY4820"/>
                        </a:cxn>
                        <a:cxn ang="0">
                          <a:pos x="connsiteX4821" y="connsiteY4821"/>
                        </a:cxn>
                        <a:cxn ang="0">
                          <a:pos x="connsiteX4822" y="connsiteY4822"/>
                        </a:cxn>
                        <a:cxn ang="0">
                          <a:pos x="connsiteX4823" y="connsiteY4823"/>
                        </a:cxn>
                        <a:cxn ang="0">
                          <a:pos x="connsiteX4824" y="connsiteY4824"/>
                        </a:cxn>
                        <a:cxn ang="0">
                          <a:pos x="connsiteX4825" y="connsiteY4825"/>
                        </a:cxn>
                        <a:cxn ang="0">
                          <a:pos x="connsiteX4826" y="connsiteY4826"/>
                        </a:cxn>
                        <a:cxn ang="0">
                          <a:pos x="connsiteX4827" y="connsiteY4827"/>
                        </a:cxn>
                        <a:cxn ang="0">
                          <a:pos x="connsiteX4828" y="connsiteY4828"/>
                        </a:cxn>
                        <a:cxn ang="0">
                          <a:pos x="connsiteX4829" y="connsiteY4829"/>
                        </a:cxn>
                        <a:cxn ang="0">
                          <a:pos x="connsiteX4830" y="connsiteY4830"/>
                        </a:cxn>
                        <a:cxn ang="0">
                          <a:pos x="connsiteX4831" y="connsiteY4831"/>
                        </a:cxn>
                        <a:cxn ang="0">
                          <a:pos x="connsiteX4832" y="connsiteY4832"/>
                        </a:cxn>
                        <a:cxn ang="0">
                          <a:pos x="connsiteX4833" y="connsiteY4833"/>
                        </a:cxn>
                        <a:cxn ang="0">
                          <a:pos x="connsiteX4834" y="connsiteY4834"/>
                        </a:cxn>
                        <a:cxn ang="0">
                          <a:pos x="connsiteX4835" y="connsiteY4835"/>
                        </a:cxn>
                        <a:cxn ang="0">
                          <a:pos x="connsiteX4836" y="connsiteY4836"/>
                        </a:cxn>
                        <a:cxn ang="0">
                          <a:pos x="connsiteX4837" y="connsiteY4837"/>
                        </a:cxn>
                        <a:cxn ang="0">
                          <a:pos x="connsiteX4838" y="connsiteY4838"/>
                        </a:cxn>
                        <a:cxn ang="0">
                          <a:pos x="connsiteX4839" y="connsiteY4839"/>
                        </a:cxn>
                        <a:cxn ang="0">
                          <a:pos x="connsiteX4840" y="connsiteY4840"/>
                        </a:cxn>
                        <a:cxn ang="0">
                          <a:pos x="connsiteX4841" y="connsiteY4841"/>
                        </a:cxn>
                        <a:cxn ang="0">
                          <a:pos x="connsiteX4842" y="connsiteY4842"/>
                        </a:cxn>
                        <a:cxn ang="0">
                          <a:pos x="connsiteX4843" y="connsiteY4843"/>
                        </a:cxn>
                        <a:cxn ang="0">
                          <a:pos x="connsiteX4844" y="connsiteY4844"/>
                        </a:cxn>
                        <a:cxn ang="0">
                          <a:pos x="connsiteX4845" y="connsiteY4845"/>
                        </a:cxn>
                        <a:cxn ang="0">
                          <a:pos x="connsiteX4846" y="connsiteY4846"/>
                        </a:cxn>
                        <a:cxn ang="0">
                          <a:pos x="connsiteX4847" y="connsiteY4847"/>
                        </a:cxn>
                        <a:cxn ang="0">
                          <a:pos x="connsiteX4848" y="connsiteY4848"/>
                        </a:cxn>
                        <a:cxn ang="0">
                          <a:pos x="connsiteX4849" y="connsiteY4849"/>
                        </a:cxn>
                        <a:cxn ang="0">
                          <a:pos x="connsiteX4850" y="connsiteY4850"/>
                        </a:cxn>
                        <a:cxn ang="0">
                          <a:pos x="connsiteX4851" y="connsiteY4851"/>
                        </a:cxn>
                        <a:cxn ang="0">
                          <a:pos x="connsiteX4852" y="connsiteY4852"/>
                        </a:cxn>
                        <a:cxn ang="0">
                          <a:pos x="connsiteX4853" y="connsiteY4853"/>
                        </a:cxn>
                        <a:cxn ang="0">
                          <a:pos x="connsiteX4854" y="connsiteY4854"/>
                        </a:cxn>
                        <a:cxn ang="0">
                          <a:pos x="connsiteX4855" y="connsiteY4855"/>
                        </a:cxn>
                        <a:cxn ang="0">
                          <a:pos x="connsiteX4856" y="connsiteY4856"/>
                        </a:cxn>
                        <a:cxn ang="0">
                          <a:pos x="connsiteX4857" y="connsiteY4857"/>
                        </a:cxn>
                        <a:cxn ang="0">
                          <a:pos x="connsiteX4858" y="connsiteY4858"/>
                        </a:cxn>
                        <a:cxn ang="0">
                          <a:pos x="connsiteX4859" y="connsiteY4859"/>
                        </a:cxn>
                        <a:cxn ang="0">
                          <a:pos x="connsiteX4860" y="connsiteY4860"/>
                        </a:cxn>
                        <a:cxn ang="0">
                          <a:pos x="connsiteX4861" y="connsiteY4861"/>
                        </a:cxn>
                        <a:cxn ang="0">
                          <a:pos x="connsiteX4862" y="connsiteY4862"/>
                        </a:cxn>
                        <a:cxn ang="0">
                          <a:pos x="connsiteX4863" y="connsiteY4863"/>
                        </a:cxn>
                        <a:cxn ang="0">
                          <a:pos x="connsiteX4864" y="connsiteY4864"/>
                        </a:cxn>
                        <a:cxn ang="0">
                          <a:pos x="connsiteX4865" y="connsiteY4865"/>
                        </a:cxn>
                        <a:cxn ang="0">
                          <a:pos x="connsiteX4866" y="connsiteY4866"/>
                        </a:cxn>
                        <a:cxn ang="0">
                          <a:pos x="connsiteX4867" y="connsiteY4867"/>
                        </a:cxn>
                        <a:cxn ang="0">
                          <a:pos x="connsiteX4868" y="connsiteY4868"/>
                        </a:cxn>
                        <a:cxn ang="0">
                          <a:pos x="connsiteX4869" y="connsiteY4869"/>
                        </a:cxn>
                        <a:cxn ang="0">
                          <a:pos x="connsiteX4870" y="connsiteY4870"/>
                        </a:cxn>
                        <a:cxn ang="0">
                          <a:pos x="connsiteX4871" y="connsiteY4871"/>
                        </a:cxn>
                        <a:cxn ang="0">
                          <a:pos x="connsiteX4872" y="connsiteY4872"/>
                        </a:cxn>
                        <a:cxn ang="0">
                          <a:pos x="connsiteX4873" y="connsiteY4873"/>
                        </a:cxn>
                        <a:cxn ang="0">
                          <a:pos x="connsiteX4874" y="connsiteY4874"/>
                        </a:cxn>
                        <a:cxn ang="0">
                          <a:pos x="connsiteX4875" y="connsiteY4875"/>
                        </a:cxn>
                        <a:cxn ang="0">
                          <a:pos x="connsiteX4876" y="connsiteY4876"/>
                        </a:cxn>
                        <a:cxn ang="0">
                          <a:pos x="connsiteX4877" y="connsiteY4877"/>
                        </a:cxn>
                        <a:cxn ang="0">
                          <a:pos x="connsiteX4878" y="connsiteY4878"/>
                        </a:cxn>
                        <a:cxn ang="0">
                          <a:pos x="connsiteX4879" y="connsiteY4879"/>
                        </a:cxn>
                        <a:cxn ang="0">
                          <a:pos x="connsiteX4880" y="connsiteY4880"/>
                        </a:cxn>
                        <a:cxn ang="0">
                          <a:pos x="connsiteX4881" y="connsiteY4881"/>
                        </a:cxn>
                        <a:cxn ang="0">
                          <a:pos x="connsiteX4882" y="connsiteY4882"/>
                        </a:cxn>
                        <a:cxn ang="0">
                          <a:pos x="connsiteX4883" y="connsiteY4883"/>
                        </a:cxn>
                        <a:cxn ang="0">
                          <a:pos x="connsiteX4884" y="connsiteY4884"/>
                        </a:cxn>
                        <a:cxn ang="0">
                          <a:pos x="connsiteX4885" y="connsiteY4885"/>
                        </a:cxn>
                        <a:cxn ang="0">
                          <a:pos x="connsiteX4886" y="connsiteY4886"/>
                        </a:cxn>
                        <a:cxn ang="0">
                          <a:pos x="connsiteX4887" y="connsiteY4887"/>
                        </a:cxn>
                        <a:cxn ang="0">
                          <a:pos x="connsiteX4888" y="connsiteY4888"/>
                        </a:cxn>
                        <a:cxn ang="0">
                          <a:pos x="connsiteX4889" y="connsiteY4889"/>
                        </a:cxn>
                        <a:cxn ang="0">
                          <a:pos x="connsiteX4890" y="connsiteY4890"/>
                        </a:cxn>
                        <a:cxn ang="0">
                          <a:pos x="connsiteX4891" y="connsiteY4891"/>
                        </a:cxn>
                        <a:cxn ang="0">
                          <a:pos x="connsiteX4892" y="connsiteY4892"/>
                        </a:cxn>
                        <a:cxn ang="0">
                          <a:pos x="connsiteX4893" y="connsiteY4893"/>
                        </a:cxn>
                        <a:cxn ang="0">
                          <a:pos x="connsiteX4894" y="connsiteY4894"/>
                        </a:cxn>
                        <a:cxn ang="0">
                          <a:pos x="connsiteX4895" y="connsiteY4895"/>
                        </a:cxn>
                        <a:cxn ang="0">
                          <a:pos x="connsiteX4896" y="connsiteY4896"/>
                        </a:cxn>
                        <a:cxn ang="0">
                          <a:pos x="connsiteX4897" y="connsiteY4897"/>
                        </a:cxn>
                        <a:cxn ang="0">
                          <a:pos x="connsiteX4898" y="connsiteY4898"/>
                        </a:cxn>
                        <a:cxn ang="0">
                          <a:pos x="connsiteX4899" y="connsiteY4899"/>
                        </a:cxn>
                        <a:cxn ang="0">
                          <a:pos x="connsiteX4900" y="connsiteY4900"/>
                        </a:cxn>
                        <a:cxn ang="0">
                          <a:pos x="connsiteX4901" y="connsiteY4901"/>
                        </a:cxn>
                        <a:cxn ang="0">
                          <a:pos x="connsiteX4902" y="connsiteY4902"/>
                        </a:cxn>
                        <a:cxn ang="0">
                          <a:pos x="connsiteX4903" y="connsiteY4903"/>
                        </a:cxn>
                        <a:cxn ang="0">
                          <a:pos x="connsiteX4904" y="connsiteY4904"/>
                        </a:cxn>
                        <a:cxn ang="0">
                          <a:pos x="connsiteX4905" y="connsiteY4905"/>
                        </a:cxn>
                        <a:cxn ang="0">
                          <a:pos x="connsiteX4906" y="connsiteY4906"/>
                        </a:cxn>
                        <a:cxn ang="0">
                          <a:pos x="connsiteX4907" y="connsiteY4907"/>
                        </a:cxn>
                        <a:cxn ang="0">
                          <a:pos x="connsiteX4908" y="connsiteY4908"/>
                        </a:cxn>
                        <a:cxn ang="0">
                          <a:pos x="connsiteX4909" y="connsiteY4909"/>
                        </a:cxn>
                        <a:cxn ang="0">
                          <a:pos x="connsiteX4910" y="connsiteY4910"/>
                        </a:cxn>
                        <a:cxn ang="0">
                          <a:pos x="connsiteX4911" y="connsiteY4911"/>
                        </a:cxn>
                        <a:cxn ang="0">
                          <a:pos x="connsiteX4912" y="connsiteY4912"/>
                        </a:cxn>
                        <a:cxn ang="0">
                          <a:pos x="connsiteX4913" y="connsiteY4913"/>
                        </a:cxn>
                        <a:cxn ang="0">
                          <a:pos x="connsiteX4914" y="connsiteY4914"/>
                        </a:cxn>
                        <a:cxn ang="0">
                          <a:pos x="connsiteX4915" y="connsiteY4915"/>
                        </a:cxn>
                        <a:cxn ang="0">
                          <a:pos x="connsiteX4916" y="connsiteY4916"/>
                        </a:cxn>
                        <a:cxn ang="0">
                          <a:pos x="connsiteX4917" y="connsiteY4917"/>
                        </a:cxn>
                        <a:cxn ang="0">
                          <a:pos x="connsiteX4918" y="connsiteY4918"/>
                        </a:cxn>
                        <a:cxn ang="0">
                          <a:pos x="connsiteX4919" y="connsiteY4919"/>
                        </a:cxn>
                        <a:cxn ang="0">
                          <a:pos x="connsiteX4920" y="connsiteY4920"/>
                        </a:cxn>
                        <a:cxn ang="0">
                          <a:pos x="connsiteX4921" y="connsiteY4921"/>
                        </a:cxn>
                        <a:cxn ang="0">
                          <a:pos x="connsiteX4922" y="connsiteY4922"/>
                        </a:cxn>
                        <a:cxn ang="0">
                          <a:pos x="connsiteX4923" y="connsiteY4923"/>
                        </a:cxn>
                        <a:cxn ang="0">
                          <a:pos x="connsiteX4924" y="connsiteY4924"/>
                        </a:cxn>
                        <a:cxn ang="0">
                          <a:pos x="connsiteX4925" y="connsiteY4925"/>
                        </a:cxn>
                        <a:cxn ang="0">
                          <a:pos x="connsiteX4926" y="connsiteY4926"/>
                        </a:cxn>
                        <a:cxn ang="0">
                          <a:pos x="connsiteX4927" y="connsiteY4927"/>
                        </a:cxn>
                        <a:cxn ang="0">
                          <a:pos x="connsiteX4928" y="connsiteY4928"/>
                        </a:cxn>
                        <a:cxn ang="0">
                          <a:pos x="connsiteX4929" y="connsiteY4929"/>
                        </a:cxn>
                        <a:cxn ang="0">
                          <a:pos x="connsiteX4930" y="connsiteY4930"/>
                        </a:cxn>
                        <a:cxn ang="0">
                          <a:pos x="connsiteX4931" y="connsiteY4931"/>
                        </a:cxn>
                        <a:cxn ang="0">
                          <a:pos x="connsiteX4932" y="connsiteY4932"/>
                        </a:cxn>
                        <a:cxn ang="0">
                          <a:pos x="connsiteX4933" y="connsiteY4933"/>
                        </a:cxn>
                        <a:cxn ang="0">
                          <a:pos x="connsiteX4934" y="connsiteY4934"/>
                        </a:cxn>
                        <a:cxn ang="0">
                          <a:pos x="connsiteX4935" y="connsiteY4935"/>
                        </a:cxn>
                        <a:cxn ang="0">
                          <a:pos x="connsiteX4936" y="connsiteY4936"/>
                        </a:cxn>
                        <a:cxn ang="0">
                          <a:pos x="connsiteX4937" y="connsiteY4937"/>
                        </a:cxn>
                        <a:cxn ang="0">
                          <a:pos x="connsiteX4938" y="connsiteY4938"/>
                        </a:cxn>
                        <a:cxn ang="0">
                          <a:pos x="connsiteX4939" y="connsiteY4939"/>
                        </a:cxn>
                        <a:cxn ang="0">
                          <a:pos x="connsiteX4940" y="connsiteY4940"/>
                        </a:cxn>
                        <a:cxn ang="0">
                          <a:pos x="connsiteX4941" y="connsiteY4941"/>
                        </a:cxn>
                        <a:cxn ang="0">
                          <a:pos x="connsiteX4942" y="connsiteY4942"/>
                        </a:cxn>
                        <a:cxn ang="0">
                          <a:pos x="connsiteX4943" y="connsiteY4943"/>
                        </a:cxn>
                        <a:cxn ang="0">
                          <a:pos x="connsiteX4944" y="connsiteY4944"/>
                        </a:cxn>
                        <a:cxn ang="0">
                          <a:pos x="connsiteX4945" y="connsiteY4945"/>
                        </a:cxn>
                        <a:cxn ang="0">
                          <a:pos x="connsiteX4946" y="connsiteY4946"/>
                        </a:cxn>
                        <a:cxn ang="0">
                          <a:pos x="connsiteX4947" y="connsiteY4947"/>
                        </a:cxn>
                        <a:cxn ang="0">
                          <a:pos x="connsiteX4948" y="connsiteY4948"/>
                        </a:cxn>
                        <a:cxn ang="0">
                          <a:pos x="connsiteX4949" y="connsiteY4949"/>
                        </a:cxn>
                        <a:cxn ang="0">
                          <a:pos x="connsiteX4950" y="connsiteY4950"/>
                        </a:cxn>
                        <a:cxn ang="0">
                          <a:pos x="connsiteX4951" y="connsiteY4951"/>
                        </a:cxn>
                        <a:cxn ang="0">
                          <a:pos x="connsiteX4952" y="connsiteY4952"/>
                        </a:cxn>
                        <a:cxn ang="0">
                          <a:pos x="connsiteX4953" y="connsiteY4953"/>
                        </a:cxn>
                        <a:cxn ang="0">
                          <a:pos x="connsiteX4954" y="connsiteY4954"/>
                        </a:cxn>
                        <a:cxn ang="0">
                          <a:pos x="connsiteX4955" y="connsiteY4955"/>
                        </a:cxn>
                        <a:cxn ang="0">
                          <a:pos x="connsiteX4956" y="connsiteY4956"/>
                        </a:cxn>
                        <a:cxn ang="0">
                          <a:pos x="connsiteX4957" y="connsiteY4957"/>
                        </a:cxn>
                        <a:cxn ang="0">
                          <a:pos x="connsiteX4958" y="connsiteY4958"/>
                        </a:cxn>
                        <a:cxn ang="0">
                          <a:pos x="connsiteX4959" y="connsiteY4959"/>
                        </a:cxn>
                        <a:cxn ang="0">
                          <a:pos x="connsiteX4960" y="connsiteY4960"/>
                        </a:cxn>
                        <a:cxn ang="0">
                          <a:pos x="connsiteX4961" y="connsiteY4961"/>
                        </a:cxn>
                        <a:cxn ang="0">
                          <a:pos x="connsiteX4962" y="connsiteY4962"/>
                        </a:cxn>
                        <a:cxn ang="0">
                          <a:pos x="connsiteX4963" y="connsiteY4963"/>
                        </a:cxn>
                        <a:cxn ang="0">
                          <a:pos x="connsiteX4964" y="connsiteY4964"/>
                        </a:cxn>
                        <a:cxn ang="0">
                          <a:pos x="connsiteX4965" y="connsiteY4965"/>
                        </a:cxn>
                        <a:cxn ang="0">
                          <a:pos x="connsiteX4966" y="connsiteY4966"/>
                        </a:cxn>
                        <a:cxn ang="0">
                          <a:pos x="connsiteX4967" y="connsiteY4967"/>
                        </a:cxn>
                        <a:cxn ang="0">
                          <a:pos x="connsiteX4968" y="connsiteY4968"/>
                        </a:cxn>
                        <a:cxn ang="0">
                          <a:pos x="connsiteX4969" y="connsiteY4969"/>
                        </a:cxn>
                        <a:cxn ang="0">
                          <a:pos x="connsiteX4970" y="connsiteY4970"/>
                        </a:cxn>
                        <a:cxn ang="0">
                          <a:pos x="connsiteX4971" y="connsiteY4971"/>
                        </a:cxn>
                        <a:cxn ang="0">
                          <a:pos x="connsiteX4972" y="connsiteY4972"/>
                        </a:cxn>
                        <a:cxn ang="0">
                          <a:pos x="connsiteX4973" y="connsiteY4973"/>
                        </a:cxn>
                        <a:cxn ang="0">
                          <a:pos x="connsiteX4974" y="connsiteY4974"/>
                        </a:cxn>
                        <a:cxn ang="0">
                          <a:pos x="connsiteX4975" y="connsiteY4975"/>
                        </a:cxn>
                        <a:cxn ang="0">
                          <a:pos x="connsiteX4976" y="connsiteY4976"/>
                        </a:cxn>
                        <a:cxn ang="0">
                          <a:pos x="connsiteX4977" y="connsiteY4977"/>
                        </a:cxn>
                        <a:cxn ang="0">
                          <a:pos x="connsiteX4978" y="connsiteY4978"/>
                        </a:cxn>
                        <a:cxn ang="0">
                          <a:pos x="connsiteX4979" y="connsiteY4979"/>
                        </a:cxn>
                        <a:cxn ang="0">
                          <a:pos x="connsiteX4980" y="connsiteY4980"/>
                        </a:cxn>
                        <a:cxn ang="0">
                          <a:pos x="connsiteX4981" y="connsiteY4981"/>
                        </a:cxn>
                        <a:cxn ang="0">
                          <a:pos x="connsiteX4982" y="connsiteY4982"/>
                        </a:cxn>
                        <a:cxn ang="0">
                          <a:pos x="connsiteX4983" y="connsiteY4983"/>
                        </a:cxn>
                        <a:cxn ang="0">
                          <a:pos x="connsiteX4984" y="connsiteY4984"/>
                        </a:cxn>
                        <a:cxn ang="0">
                          <a:pos x="connsiteX4985" y="connsiteY4985"/>
                        </a:cxn>
                        <a:cxn ang="0">
                          <a:pos x="connsiteX4986" y="connsiteY4986"/>
                        </a:cxn>
                        <a:cxn ang="0">
                          <a:pos x="connsiteX4987" y="connsiteY4987"/>
                        </a:cxn>
                        <a:cxn ang="0">
                          <a:pos x="connsiteX4988" y="connsiteY4988"/>
                        </a:cxn>
                        <a:cxn ang="0">
                          <a:pos x="connsiteX4989" y="connsiteY4989"/>
                        </a:cxn>
                        <a:cxn ang="0">
                          <a:pos x="connsiteX4990" y="connsiteY4990"/>
                        </a:cxn>
                        <a:cxn ang="0">
                          <a:pos x="connsiteX4991" y="connsiteY4991"/>
                        </a:cxn>
                        <a:cxn ang="0">
                          <a:pos x="connsiteX4992" y="connsiteY4992"/>
                        </a:cxn>
                        <a:cxn ang="0">
                          <a:pos x="connsiteX4993" y="connsiteY4993"/>
                        </a:cxn>
                        <a:cxn ang="0">
                          <a:pos x="connsiteX4994" y="connsiteY4994"/>
                        </a:cxn>
                        <a:cxn ang="0">
                          <a:pos x="connsiteX4995" y="connsiteY4995"/>
                        </a:cxn>
                        <a:cxn ang="0">
                          <a:pos x="connsiteX4996" y="connsiteY4996"/>
                        </a:cxn>
                        <a:cxn ang="0">
                          <a:pos x="connsiteX4997" y="connsiteY4997"/>
                        </a:cxn>
                        <a:cxn ang="0">
                          <a:pos x="connsiteX4998" y="connsiteY4998"/>
                        </a:cxn>
                        <a:cxn ang="0">
                          <a:pos x="connsiteX4999" y="connsiteY4999"/>
                        </a:cxn>
                        <a:cxn ang="0">
                          <a:pos x="connsiteX5000" y="connsiteY5000"/>
                        </a:cxn>
                        <a:cxn ang="0">
                          <a:pos x="connsiteX5001" y="connsiteY5001"/>
                        </a:cxn>
                        <a:cxn ang="0">
                          <a:pos x="connsiteX5002" y="connsiteY5002"/>
                        </a:cxn>
                        <a:cxn ang="0">
                          <a:pos x="connsiteX5003" y="connsiteY5003"/>
                        </a:cxn>
                        <a:cxn ang="0">
                          <a:pos x="connsiteX5004" y="connsiteY5004"/>
                        </a:cxn>
                        <a:cxn ang="0">
                          <a:pos x="connsiteX5005" y="connsiteY5005"/>
                        </a:cxn>
                        <a:cxn ang="0">
                          <a:pos x="connsiteX5006" y="connsiteY5006"/>
                        </a:cxn>
                        <a:cxn ang="0">
                          <a:pos x="connsiteX5007" y="connsiteY5007"/>
                        </a:cxn>
                        <a:cxn ang="0">
                          <a:pos x="connsiteX5008" y="connsiteY5008"/>
                        </a:cxn>
                        <a:cxn ang="0">
                          <a:pos x="connsiteX5009" y="connsiteY5009"/>
                        </a:cxn>
                        <a:cxn ang="0">
                          <a:pos x="connsiteX5010" y="connsiteY5010"/>
                        </a:cxn>
                        <a:cxn ang="0">
                          <a:pos x="connsiteX5011" y="connsiteY5011"/>
                        </a:cxn>
                        <a:cxn ang="0">
                          <a:pos x="connsiteX5012" y="connsiteY5012"/>
                        </a:cxn>
                        <a:cxn ang="0">
                          <a:pos x="connsiteX5013" y="connsiteY5013"/>
                        </a:cxn>
                        <a:cxn ang="0">
                          <a:pos x="connsiteX5014" y="connsiteY5014"/>
                        </a:cxn>
                        <a:cxn ang="0">
                          <a:pos x="connsiteX5015" y="connsiteY5015"/>
                        </a:cxn>
                        <a:cxn ang="0">
                          <a:pos x="connsiteX5016" y="connsiteY5016"/>
                        </a:cxn>
                        <a:cxn ang="0">
                          <a:pos x="connsiteX5017" y="connsiteY5017"/>
                        </a:cxn>
                        <a:cxn ang="0">
                          <a:pos x="connsiteX5018" y="connsiteY5018"/>
                        </a:cxn>
                        <a:cxn ang="0">
                          <a:pos x="connsiteX5019" y="connsiteY5019"/>
                        </a:cxn>
                        <a:cxn ang="0">
                          <a:pos x="connsiteX5020" y="connsiteY5020"/>
                        </a:cxn>
                        <a:cxn ang="0">
                          <a:pos x="connsiteX5021" y="connsiteY5021"/>
                        </a:cxn>
                        <a:cxn ang="0">
                          <a:pos x="connsiteX5022" y="connsiteY5022"/>
                        </a:cxn>
                        <a:cxn ang="0">
                          <a:pos x="connsiteX5023" y="connsiteY5023"/>
                        </a:cxn>
                        <a:cxn ang="0">
                          <a:pos x="connsiteX5024" y="connsiteY5024"/>
                        </a:cxn>
                        <a:cxn ang="0">
                          <a:pos x="connsiteX5025" y="connsiteY5025"/>
                        </a:cxn>
                        <a:cxn ang="0">
                          <a:pos x="connsiteX5026" y="connsiteY5026"/>
                        </a:cxn>
                        <a:cxn ang="0">
                          <a:pos x="connsiteX5027" y="connsiteY5027"/>
                        </a:cxn>
                        <a:cxn ang="0">
                          <a:pos x="connsiteX5028" y="connsiteY5028"/>
                        </a:cxn>
                        <a:cxn ang="0">
                          <a:pos x="connsiteX5029" y="connsiteY5029"/>
                        </a:cxn>
                        <a:cxn ang="0">
                          <a:pos x="connsiteX5030" y="connsiteY5030"/>
                        </a:cxn>
                        <a:cxn ang="0">
                          <a:pos x="connsiteX5031" y="connsiteY5031"/>
                        </a:cxn>
                        <a:cxn ang="0">
                          <a:pos x="connsiteX5032" y="connsiteY5032"/>
                        </a:cxn>
                        <a:cxn ang="0">
                          <a:pos x="connsiteX5033" y="connsiteY5033"/>
                        </a:cxn>
                        <a:cxn ang="0">
                          <a:pos x="connsiteX5034" y="connsiteY5034"/>
                        </a:cxn>
                        <a:cxn ang="0">
                          <a:pos x="connsiteX5035" y="connsiteY5035"/>
                        </a:cxn>
                        <a:cxn ang="0">
                          <a:pos x="connsiteX5036" y="connsiteY5036"/>
                        </a:cxn>
                        <a:cxn ang="0">
                          <a:pos x="connsiteX5037" y="connsiteY5037"/>
                        </a:cxn>
                        <a:cxn ang="0">
                          <a:pos x="connsiteX5038" y="connsiteY5038"/>
                        </a:cxn>
                        <a:cxn ang="0">
                          <a:pos x="connsiteX5039" y="connsiteY5039"/>
                        </a:cxn>
                        <a:cxn ang="0">
                          <a:pos x="connsiteX5040" y="connsiteY5040"/>
                        </a:cxn>
                        <a:cxn ang="0">
                          <a:pos x="connsiteX5041" y="connsiteY5041"/>
                        </a:cxn>
                        <a:cxn ang="0">
                          <a:pos x="connsiteX5042" y="connsiteY5042"/>
                        </a:cxn>
                        <a:cxn ang="0">
                          <a:pos x="connsiteX5043" y="connsiteY5043"/>
                        </a:cxn>
                        <a:cxn ang="0">
                          <a:pos x="connsiteX5044" y="connsiteY5044"/>
                        </a:cxn>
                        <a:cxn ang="0">
                          <a:pos x="connsiteX5045" y="connsiteY5045"/>
                        </a:cxn>
                        <a:cxn ang="0">
                          <a:pos x="connsiteX5046" y="connsiteY5046"/>
                        </a:cxn>
                        <a:cxn ang="0">
                          <a:pos x="connsiteX5047" y="connsiteY5047"/>
                        </a:cxn>
                        <a:cxn ang="0">
                          <a:pos x="connsiteX5048" y="connsiteY5048"/>
                        </a:cxn>
                        <a:cxn ang="0">
                          <a:pos x="connsiteX5049" y="connsiteY5049"/>
                        </a:cxn>
                        <a:cxn ang="0">
                          <a:pos x="connsiteX5050" y="connsiteY5050"/>
                        </a:cxn>
                        <a:cxn ang="0">
                          <a:pos x="connsiteX5051" y="connsiteY5051"/>
                        </a:cxn>
                        <a:cxn ang="0">
                          <a:pos x="connsiteX5052" y="connsiteY5052"/>
                        </a:cxn>
                        <a:cxn ang="0">
                          <a:pos x="connsiteX5053" y="connsiteY5053"/>
                        </a:cxn>
                        <a:cxn ang="0">
                          <a:pos x="connsiteX5054" y="connsiteY5054"/>
                        </a:cxn>
                        <a:cxn ang="0">
                          <a:pos x="connsiteX5055" y="connsiteY5055"/>
                        </a:cxn>
                        <a:cxn ang="0">
                          <a:pos x="connsiteX5056" y="connsiteY5056"/>
                        </a:cxn>
                        <a:cxn ang="0">
                          <a:pos x="connsiteX5057" y="connsiteY5057"/>
                        </a:cxn>
                        <a:cxn ang="0">
                          <a:pos x="connsiteX5058" y="connsiteY5058"/>
                        </a:cxn>
                        <a:cxn ang="0">
                          <a:pos x="connsiteX5059" y="connsiteY5059"/>
                        </a:cxn>
                        <a:cxn ang="0">
                          <a:pos x="connsiteX5060" y="connsiteY5060"/>
                        </a:cxn>
                        <a:cxn ang="0">
                          <a:pos x="connsiteX5061" y="connsiteY5061"/>
                        </a:cxn>
                        <a:cxn ang="0">
                          <a:pos x="connsiteX5062" y="connsiteY5062"/>
                        </a:cxn>
                        <a:cxn ang="0">
                          <a:pos x="connsiteX5063" y="connsiteY5063"/>
                        </a:cxn>
                        <a:cxn ang="0">
                          <a:pos x="connsiteX5064" y="connsiteY5064"/>
                        </a:cxn>
                        <a:cxn ang="0">
                          <a:pos x="connsiteX5065" y="connsiteY5065"/>
                        </a:cxn>
                        <a:cxn ang="0">
                          <a:pos x="connsiteX5066" y="connsiteY5066"/>
                        </a:cxn>
                        <a:cxn ang="0">
                          <a:pos x="connsiteX5067" y="connsiteY5067"/>
                        </a:cxn>
                        <a:cxn ang="0">
                          <a:pos x="connsiteX5068" y="connsiteY5068"/>
                        </a:cxn>
                        <a:cxn ang="0">
                          <a:pos x="connsiteX5069" y="connsiteY5069"/>
                        </a:cxn>
                        <a:cxn ang="0">
                          <a:pos x="connsiteX5070" y="connsiteY5070"/>
                        </a:cxn>
                        <a:cxn ang="0">
                          <a:pos x="connsiteX5071" y="connsiteY5071"/>
                        </a:cxn>
                        <a:cxn ang="0">
                          <a:pos x="connsiteX5072" y="connsiteY5072"/>
                        </a:cxn>
                        <a:cxn ang="0">
                          <a:pos x="connsiteX5073" y="connsiteY5073"/>
                        </a:cxn>
                        <a:cxn ang="0">
                          <a:pos x="connsiteX5074" y="connsiteY5074"/>
                        </a:cxn>
                        <a:cxn ang="0">
                          <a:pos x="connsiteX5075" y="connsiteY5075"/>
                        </a:cxn>
                        <a:cxn ang="0">
                          <a:pos x="connsiteX5076" y="connsiteY5076"/>
                        </a:cxn>
                        <a:cxn ang="0">
                          <a:pos x="connsiteX5077" y="connsiteY5077"/>
                        </a:cxn>
                        <a:cxn ang="0">
                          <a:pos x="connsiteX5078" y="connsiteY5078"/>
                        </a:cxn>
                        <a:cxn ang="0">
                          <a:pos x="connsiteX5079" y="connsiteY5079"/>
                        </a:cxn>
                        <a:cxn ang="0">
                          <a:pos x="connsiteX5080" y="connsiteY5080"/>
                        </a:cxn>
                        <a:cxn ang="0">
                          <a:pos x="connsiteX5081" y="connsiteY5081"/>
                        </a:cxn>
                        <a:cxn ang="0">
                          <a:pos x="connsiteX5082" y="connsiteY5082"/>
                        </a:cxn>
                        <a:cxn ang="0">
                          <a:pos x="connsiteX5083" y="connsiteY5083"/>
                        </a:cxn>
                        <a:cxn ang="0">
                          <a:pos x="connsiteX5084" y="connsiteY5084"/>
                        </a:cxn>
                        <a:cxn ang="0">
                          <a:pos x="connsiteX5085" y="connsiteY5085"/>
                        </a:cxn>
                        <a:cxn ang="0">
                          <a:pos x="connsiteX5086" y="connsiteY5086"/>
                        </a:cxn>
                        <a:cxn ang="0">
                          <a:pos x="connsiteX5087" y="connsiteY5087"/>
                        </a:cxn>
                        <a:cxn ang="0">
                          <a:pos x="connsiteX5088" y="connsiteY5088"/>
                        </a:cxn>
                        <a:cxn ang="0">
                          <a:pos x="connsiteX5089" y="connsiteY5089"/>
                        </a:cxn>
                        <a:cxn ang="0">
                          <a:pos x="connsiteX5090" y="connsiteY5090"/>
                        </a:cxn>
                        <a:cxn ang="0">
                          <a:pos x="connsiteX5091" y="connsiteY5091"/>
                        </a:cxn>
                        <a:cxn ang="0">
                          <a:pos x="connsiteX5092" y="connsiteY5092"/>
                        </a:cxn>
                        <a:cxn ang="0">
                          <a:pos x="connsiteX5093" y="connsiteY5093"/>
                        </a:cxn>
                        <a:cxn ang="0">
                          <a:pos x="connsiteX5094" y="connsiteY5094"/>
                        </a:cxn>
                        <a:cxn ang="0">
                          <a:pos x="connsiteX5095" y="connsiteY5095"/>
                        </a:cxn>
                        <a:cxn ang="0">
                          <a:pos x="connsiteX5096" y="connsiteY5096"/>
                        </a:cxn>
                        <a:cxn ang="0">
                          <a:pos x="connsiteX5097" y="connsiteY5097"/>
                        </a:cxn>
                        <a:cxn ang="0">
                          <a:pos x="connsiteX5098" y="connsiteY5098"/>
                        </a:cxn>
                        <a:cxn ang="0">
                          <a:pos x="connsiteX5099" y="connsiteY5099"/>
                        </a:cxn>
                        <a:cxn ang="0">
                          <a:pos x="connsiteX5100" y="connsiteY5100"/>
                        </a:cxn>
                        <a:cxn ang="0">
                          <a:pos x="connsiteX5101" y="connsiteY5101"/>
                        </a:cxn>
                        <a:cxn ang="0">
                          <a:pos x="connsiteX5102" y="connsiteY5102"/>
                        </a:cxn>
                        <a:cxn ang="0">
                          <a:pos x="connsiteX5103" y="connsiteY5103"/>
                        </a:cxn>
                        <a:cxn ang="0">
                          <a:pos x="connsiteX5104" y="connsiteY5104"/>
                        </a:cxn>
                        <a:cxn ang="0">
                          <a:pos x="connsiteX5105" y="connsiteY5105"/>
                        </a:cxn>
                        <a:cxn ang="0">
                          <a:pos x="connsiteX5106" y="connsiteY5106"/>
                        </a:cxn>
                        <a:cxn ang="0">
                          <a:pos x="connsiteX5107" y="connsiteY5107"/>
                        </a:cxn>
                        <a:cxn ang="0">
                          <a:pos x="connsiteX5108" y="connsiteY5108"/>
                        </a:cxn>
                        <a:cxn ang="0">
                          <a:pos x="connsiteX5109" y="connsiteY5109"/>
                        </a:cxn>
                        <a:cxn ang="0">
                          <a:pos x="connsiteX5110" y="connsiteY5110"/>
                        </a:cxn>
                        <a:cxn ang="0">
                          <a:pos x="connsiteX5111" y="connsiteY5111"/>
                        </a:cxn>
                        <a:cxn ang="0">
                          <a:pos x="connsiteX5112" y="connsiteY5112"/>
                        </a:cxn>
                        <a:cxn ang="0">
                          <a:pos x="connsiteX5113" y="connsiteY5113"/>
                        </a:cxn>
                        <a:cxn ang="0">
                          <a:pos x="connsiteX5114" y="connsiteY5114"/>
                        </a:cxn>
                        <a:cxn ang="0">
                          <a:pos x="connsiteX5115" y="connsiteY5115"/>
                        </a:cxn>
                        <a:cxn ang="0">
                          <a:pos x="connsiteX5116" y="connsiteY5116"/>
                        </a:cxn>
                        <a:cxn ang="0">
                          <a:pos x="connsiteX5117" y="connsiteY5117"/>
                        </a:cxn>
                        <a:cxn ang="0">
                          <a:pos x="connsiteX5118" y="connsiteY5118"/>
                        </a:cxn>
                        <a:cxn ang="0">
                          <a:pos x="connsiteX5119" y="connsiteY5119"/>
                        </a:cxn>
                        <a:cxn ang="0">
                          <a:pos x="connsiteX5120" y="connsiteY5120"/>
                        </a:cxn>
                        <a:cxn ang="0">
                          <a:pos x="connsiteX5121" y="connsiteY5121"/>
                        </a:cxn>
                        <a:cxn ang="0">
                          <a:pos x="connsiteX5122" y="connsiteY5122"/>
                        </a:cxn>
                        <a:cxn ang="0">
                          <a:pos x="connsiteX5123" y="connsiteY5123"/>
                        </a:cxn>
                        <a:cxn ang="0">
                          <a:pos x="connsiteX5124" y="connsiteY5124"/>
                        </a:cxn>
                        <a:cxn ang="0">
                          <a:pos x="connsiteX5125" y="connsiteY5125"/>
                        </a:cxn>
                        <a:cxn ang="0">
                          <a:pos x="connsiteX5126" y="connsiteY5126"/>
                        </a:cxn>
                        <a:cxn ang="0">
                          <a:pos x="connsiteX5127" y="connsiteY5127"/>
                        </a:cxn>
                        <a:cxn ang="0">
                          <a:pos x="connsiteX5128" y="connsiteY5128"/>
                        </a:cxn>
                        <a:cxn ang="0">
                          <a:pos x="connsiteX5129" y="connsiteY5129"/>
                        </a:cxn>
                        <a:cxn ang="0">
                          <a:pos x="connsiteX5130" y="connsiteY5130"/>
                        </a:cxn>
                        <a:cxn ang="0">
                          <a:pos x="connsiteX5131" y="connsiteY5131"/>
                        </a:cxn>
                        <a:cxn ang="0">
                          <a:pos x="connsiteX5132" y="connsiteY5132"/>
                        </a:cxn>
                        <a:cxn ang="0">
                          <a:pos x="connsiteX5133" y="connsiteY5133"/>
                        </a:cxn>
                        <a:cxn ang="0">
                          <a:pos x="connsiteX5134" y="connsiteY5134"/>
                        </a:cxn>
                        <a:cxn ang="0">
                          <a:pos x="connsiteX5135" y="connsiteY5135"/>
                        </a:cxn>
                        <a:cxn ang="0">
                          <a:pos x="connsiteX5136" y="connsiteY5136"/>
                        </a:cxn>
                        <a:cxn ang="0">
                          <a:pos x="connsiteX5137" y="connsiteY5137"/>
                        </a:cxn>
                        <a:cxn ang="0">
                          <a:pos x="connsiteX5138" y="connsiteY5138"/>
                        </a:cxn>
                        <a:cxn ang="0">
                          <a:pos x="connsiteX5139" y="connsiteY5139"/>
                        </a:cxn>
                        <a:cxn ang="0">
                          <a:pos x="connsiteX5140" y="connsiteY5140"/>
                        </a:cxn>
                        <a:cxn ang="0">
                          <a:pos x="connsiteX5141" y="connsiteY5141"/>
                        </a:cxn>
                        <a:cxn ang="0">
                          <a:pos x="connsiteX5142" y="connsiteY5142"/>
                        </a:cxn>
                        <a:cxn ang="0">
                          <a:pos x="connsiteX5143" y="connsiteY5143"/>
                        </a:cxn>
                        <a:cxn ang="0">
                          <a:pos x="connsiteX5144" y="connsiteY5144"/>
                        </a:cxn>
                        <a:cxn ang="0">
                          <a:pos x="connsiteX5145" y="connsiteY5145"/>
                        </a:cxn>
                        <a:cxn ang="0">
                          <a:pos x="connsiteX5146" y="connsiteY5146"/>
                        </a:cxn>
                        <a:cxn ang="0">
                          <a:pos x="connsiteX5147" y="connsiteY5147"/>
                        </a:cxn>
                        <a:cxn ang="0">
                          <a:pos x="connsiteX5148" y="connsiteY5148"/>
                        </a:cxn>
                        <a:cxn ang="0">
                          <a:pos x="connsiteX5149" y="connsiteY5149"/>
                        </a:cxn>
                        <a:cxn ang="0">
                          <a:pos x="connsiteX5150" y="connsiteY5150"/>
                        </a:cxn>
                        <a:cxn ang="0">
                          <a:pos x="connsiteX5151" y="connsiteY5151"/>
                        </a:cxn>
                        <a:cxn ang="0">
                          <a:pos x="connsiteX5152" y="connsiteY5152"/>
                        </a:cxn>
                        <a:cxn ang="0">
                          <a:pos x="connsiteX5153" y="connsiteY5153"/>
                        </a:cxn>
                        <a:cxn ang="0">
                          <a:pos x="connsiteX5154" y="connsiteY5154"/>
                        </a:cxn>
                        <a:cxn ang="0">
                          <a:pos x="connsiteX5155" y="connsiteY5155"/>
                        </a:cxn>
                        <a:cxn ang="0">
                          <a:pos x="connsiteX5156" y="connsiteY5156"/>
                        </a:cxn>
                        <a:cxn ang="0">
                          <a:pos x="connsiteX5157" y="connsiteY5157"/>
                        </a:cxn>
                        <a:cxn ang="0">
                          <a:pos x="connsiteX5158" y="connsiteY5158"/>
                        </a:cxn>
                        <a:cxn ang="0">
                          <a:pos x="connsiteX5159" y="connsiteY5159"/>
                        </a:cxn>
                        <a:cxn ang="0">
                          <a:pos x="connsiteX5160" y="connsiteY5160"/>
                        </a:cxn>
                        <a:cxn ang="0">
                          <a:pos x="connsiteX5161" y="connsiteY5161"/>
                        </a:cxn>
                        <a:cxn ang="0">
                          <a:pos x="connsiteX5162" y="connsiteY5162"/>
                        </a:cxn>
                        <a:cxn ang="0">
                          <a:pos x="connsiteX5163" y="connsiteY5163"/>
                        </a:cxn>
                        <a:cxn ang="0">
                          <a:pos x="connsiteX5164" y="connsiteY5164"/>
                        </a:cxn>
                        <a:cxn ang="0">
                          <a:pos x="connsiteX5165" y="connsiteY5165"/>
                        </a:cxn>
                        <a:cxn ang="0">
                          <a:pos x="connsiteX5166" y="connsiteY5166"/>
                        </a:cxn>
                        <a:cxn ang="0">
                          <a:pos x="connsiteX5167" y="connsiteY5167"/>
                        </a:cxn>
                        <a:cxn ang="0">
                          <a:pos x="connsiteX5168" y="connsiteY5168"/>
                        </a:cxn>
                        <a:cxn ang="0">
                          <a:pos x="connsiteX5169" y="connsiteY5169"/>
                        </a:cxn>
                        <a:cxn ang="0">
                          <a:pos x="connsiteX5170" y="connsiteY5170"/>
                        </a:cxn>
                        <a:cxn ang="0">
                          <a:pos x="connsiteX5171" y="connsiteY5171"/>
                        </a:cxn>
                        <a:cxn ang="0">
                          <a:pos x="connsiteX5172" y="connsiteY5172"/>
                        </a:cxn>
                        <a:cxn ang="0">
                          <a:pos x="connsiteX5173" y="connsiteY5173"/>
                        </a:cxn>
                        <a:cxn ang="0">
                          <a:pos x="connsiteX5174" y="connsiteY5174"/>
                        </a:cxn>
                        <a:cxn ang="0">
                          <a:pos x="connsiteX5175" y="connsiteY5175"/>
                        </a:cxn>
                        <a:cxn ang="0">
                          <a:pos x="connsiteX5176" y="connsiteY5176"/>
                        </a:cxn>
                        <a:cxn ang="0">
                          <a:pos x="connsiteX5177" y="connsiteY5177"/>
                        </a:cxn>
                        <a:cxn ang="0">
                          <a:pos x="connsiteX5178" y="connsiteY5178"/>
                        </a:cxn>
                        <a:cxn ang="0">
                          <a:pos x="connsiteX5179" y="connsiteY5179"/>
                        </a:cxn>
                        <a:cxn ang="0">
                          <a:pos x="connsiteX5180" y="connsiteY5180"/>
                        </a:cxn>
                        <a:cxn ang="0">
                          <a:pos x="connsiteX5181" y="connsiteY5181"/>
                        </a:cxn>
                        <a:cxn ang="0">
                          <a:pos x="connsiteX5182" y="connsiteY5182"/>
                        </a:cxn>
                        <a:cxn ang="0">
                          <a:pos x="connsiteX5183" y="connsiteY5183"/>
                        </a:cxn>
                        <a:cxn ang="0">
                          <a:pos x="connsiteX5184" y="connsiteY5184"/>
                        </a:cxn>
                        <a:cxn ang="0">
                          <a:pos x="connsiteX5185" y="connsiteY5185"/>
                        </a:cxn>
                        <a:cxn ang="0">
                          <a:pos x="connsiteX5186" y="connsiteY5186"/>
                        </a:cxn>
                        <a:cxn ang="0">
                          <a:pos x="connsiteX5187" y="connsiteY5187"/>
                        </a:cxn>
                        <a:cxn ang="0">
                          <a:pos x="connsiteX5188" y="connsiteY5188"/>
                        </a:cxn>
                        <a:cxn ang="0">
                          <a:pos x="connsiteX5189" y="connsiteY5189"/>
                        </a:cxn>
                        <a:cxn ang="0">
                          <a:pos x="connsiteX5190" y="connsiteY5190"/>
                        </a:cxn>
                        <a:cxn ang="0">
                          <a:pos x="connsiteX5191" y="connsiteY5191"/>
                        </a:cxn>
                        <a:cxn ang="0">
                          <a:pos x="connsiteX5192" y="connsiteY5192"/>
                        </a:cxn>
                        <a:cxn ang="0">
                          <a:pos x="connsiteX5193" y="connsiteY5193"/>
                        </a:cxn>
                        <a:cxn ang="0">
                          <a:pos x="connsiteX5194" y="connsiteY5194"/>
                        </a:cxn>
                        <a:cxn ang="0">
                          <a:pos x="connsiteX5195" y="connsiteY5195"/>
                        </a:cxn>
                        <a:cxn ang="0">
                          <a:pos x="connsiteX5196" y="connsiteY5196"/>
                        </a:cxn>
                        <a:cxn ang="0">
                          <a:pos x="connsiteX5197" y="connsiteY5197"/>
                        </a:cxn>
                        <a:cxn ang="0">
                          <a:pos x="connsiteX5198" y="connsiteY5198"/>
                        </a:cxn>
                        <a:cxn ang="0">
                          <a:pos x="connsiteX5199" y="connsiteY5199"/>
                        </a:cxn>
                        <a:cxn ang="0">
                          <a:pos x="connsiteX5200" y="connsiteY5200"/>
                        </a:cxn>
                        <a:cxn ang="0">
                          <a:pos x="connsiteX5201" y="connsiteY5201"/>
                        </a:cxn>
                        <a:cxn ang="0">
                          <a:pos x="connsiteX5202" y="connsiteY5202"/>
                        </a:cxn>
                        <a:cxn ang="0">
                          <a:pos x="connsiteX5203" y="connsiteY5203"/>
                        </a:cxn>
                        <a:cxn ang="0">
                          <a:pos x="connsiteX5204" y="connsiteY5204"/>
                        </a:cxn>
                        <a:cxn ang="0">
                          <a:pos x="connsiteX5205" y="connsiteY5205"/>
                        </a:cxn>
                        <a:cxn ang="0">
                          <a:pos x="connsiteX5206" y="connsiteY5206"/>
                        </a:cxn>
                        <a:cxn ang="0">
                          <a:pos x="connsiteX5207" y="connsiteY5207"/>
                        </a:cxn>
                        <a:cxn ang="0">
                          <a:pos x="connsiteX5208" y="connsiteY5208"/>
                        </a:cxn>
                        <a:cxn ang="0">
                          <a:pos x="connsiteX5209" y="connsiteY5209"/>
                        </a:cxn>
                        <a:cxn ang="0">
                          <a:pos x="connsiteX5210" y="connsiteY5210"/>
                        </a:cxn>
                        <a:cxn ang="0">
                          <a:pos x="connsiteX5211" y="connsiteY5211"/>
                        </a:cxn>
                        <a:cxn ang="0">
                          <a:pos x="connsiteX5212" y="connsiteY5212"/>
                        </a:cxn>
                        <a:cxn ang="0">
                          <a:pos x="connsiteX5213" y="connsiteY5213"/>
                        </a:cxn>
                        <a:cxn ang="0">
                          <a:pos x="connsiteX5214" y="connsiteY5214"/>
                        </a:cxn>
                        <a:cxn ang="0">
                          <a:pos x="connsiteX5215" y="connsiteY5215"/>
                        </a:cxn>
                        <a:cxn ang="0">
                          <a:pos x="connsiteX5216" y="connsiteY5216"/>
                        </a:cxn>
                        <a:cxn ang="0">
                          <a:pos x="connsiteX5217" y="connsiteY5217"/>
                        </a:cxn>
                        <a:cxn ang="0">
                          <a:pos x="connsiteX5218" y="connsiteY5218"/>
                        </a:cxn>
                        <a:cxn ang="0">
                          <a:pos x="connsiteX5219" y="connsiteY5219"/>
                        </a:cxn>
                        <a:cxn ang="0">
                          <a:pos x="connsiteX5220" y="connsiteY5220"/>
                        </a:cxn>
                        <a:cxn ang="0">
                          <a:pos x="connsiteX5221" y="connsiteY5221"/>
                        </a:cxn>
                        <a:cxn ang="0">
                          <a:pos x="connsiteX5222" y="connsiteY5222"/>
                        </a:cxn>
                        <a:cxn ang="0">
                          <a:pos x="connsiteX5223" y="connsiteY5223"/>
                        </a:cxn>
                        <a:cxn ang="0">
                          <a:pos x="connsiteX5224" y="connsiteY5224"/>
                        </a:cxn>
                        <a:cxn ang="0">
                          <a:pos x="connsiteX5225" y="connsiteY5225"/>
                        </a:cxn>
                        <a:cxn ang="0">
                          <a:pos x="connsiteX5226" y="connsiteY5226"/>
                        </a:cxn>
                        <a:cxn ang="0">
                          <a:pos x="connsiteX5227" y="connsiteY5227"/>
                        </a:cxn>
                        <a:cxn ang="0">
                          <a:pos x="connsiteX5228" y="connsiteY5228"/>
                        </a:cxn>
                        <a:cxn ang="0">
                          <a:pos x="connsiteX5229" y="connsiteY5229"/>
                        </a:cxn>
                        <a:cxn ang="0">
                          <a:pos x="connsiteX5230" y="connsiteY5230"/>
                        </a:cxn>
                        <a:cxn ang="0">
                          <a:pos x="connsiteX5231" y="connsiteY5231"/>
                        </a:cxn>
                        <a:cxn ang="0">
                          <a:pos x="connsiteX5232" y="connsiteY5232"/>
                        </a:cxn>
                        <a:cxn ang="0">
                          <a:pos x="connsiteX5233" y="connsiteY5233"/>
                        </a:cxn>
                        <a:cxn ang="0">
                          <a:pos x="connsiteX5234" y="connsiteY5234"/>
                        </a:cxn>
                        <a:cxn ang="0">
                          <a:pos x="connsiteX5235" y="connsiteY5235"/>
                        </a:cxn>
                        <a:cxn ang="0">
                          <a:pos x="connsiteX5236" y="connsiteY5236"/>
                        </a:cxn>
                        <a:cxn ang="0">
                          <a:pos x="connsiteX5237" y="connsiteY5237"/>
                        </a:cxn>
                        <a:cxn ang="0">
                          <a:pos x="connsiteX5238" y="connsiteY5238"/>
                        </a:cxn>
                        <a:cxn ang="0">
                          <a:pos x="connsiteX5239" y="connsiteY5239"/>
                        </a:cxn>
                        <a:cxn ang="0">
                          <a:pos x="connsiteX5240" y="connsiteY5240"/>
                        </a:cxn>
                        <a:cxn ang="0">
                          <a:pos x="connsiteX5241" y="connsiteY5241"/>
                        </a:cxn>
                        <a:cxn ang="0">
                          <a:pos x="connsiteX5242" y="connsiteY5242"/>
                        </a:cxn>
                        <a:cxn ang="0">
                          <a:pos x="connsiteX5243" y="connsiteY5243"/>
                        </a:cxn>
                        <a:cxn ang="0">
                          <a:pos x="connsiteX5244" y="connsiteY5244"/>
                        </a:cxn>
                        <a:cxn ang="0">
                          <a:pos x="connsiteX5245" y="connsiteY5245"/>
                        </a:cxn>
                        <a:cxn ang="0">
                          <a:pos x="connsiteX5246" y="connsiteY5246"/>
                        </a:cxn>
                        <a:cxn ang="0">
                          <a:pos x="connsiteX5247" y="connsiteY5247"/>
                        </a:cxn>
                        <a:cxn ang="0">
                          <a:pos x="connsiteX5248" y="connsiteY5248"/>
                        </a:cxn>
                        <a:cxn ang="0">
                          <a:pos x="connsiteX5249" y="connsiteY5249"/>
                        </a:cxn>
                        <a:cxn ang="0">
                          <a:pos x="connsiteX5250" y="connsiteY5250"/>
                        </a:cxn>
                        <a:cxn ang="0">
                          <a:pos x="connsiteX5251" y="connsiteY5251"/>
                        </a:cxn>
                        <a:cxn ang="0">
                          <a:pos x="connsiteX5252" y="connsiteY5252"/>
                        </a:cxn>
                        <a:cxn ang="0">
                          <a:pos x="connsiteX5253" y="connsiteY5253"/>
                        </a:cxn>
                        <a:cxn ang="0">
                          <a:pos x="connsiteX5254" y="connsiteY5254"/>
                        </a:cxn>
                        <a:cxn ang="0">
                          <a:pos x="connsiteX5255" y="connsiteY5255"/>
                        </a:cxn>
                        <a:cxn ang="0">
                          <a:pos x="connsiteX5256" y="connsiteY5256"/>
                        </a:cxn>
                        <a:cxn ang="0">
                          <a:pos x="connsiteX5257" y="connsiteY5257"/>
                        </a:cxn>
                        <a:cxn ang="0">
                          <a:pos x="connsiteX5258" y="connsiteY5258"/>
                        </a:cxn>
                        <a:cxn ang="0">
                          <a:pos x="connsiteX5259" y="connsiteY5259"/>
                        </a:cxn>
                        <a:cxn ang="0">
                          <a:pos x="connsiteX5260" y="connsiteY5260"/>
                        </a:cxn>
                        <a:cxn ang="0">
                          <a:pos x="connsiteX5261" y="connsiteY5261"/>
                        </a:cxn>
                        <a:cxn ang="0">
                          <a:pos x="connsiteX5262" y="connsiteY5262"/>
                        </a:cxn>
                        <a:cxn ang="0">
                          <a:pos x="connsiteX5263" y="connsiteY5263"/>
                        </a:cxn>
                        <a:cxn ang="0">
                          <a:pos x="connsiteX5264" y="connsiteY5264"/>
                        </a:cxn>
                        <a:cxn ang="0">
                          <a:pos x="connsiteX5265" y="connsiteY5265"/>
                        </a:cxn>
                        <a:cxn ang="0">
                          <a:pos x="connsiteX5266" y="connsiteY5266"/>
                        </a:cxn>
                        <a:cxn ang="0">
                          <a:pos x="connsiteX5267" y="connsiteY5267"/>
                        </a:cxn>
                        <a:cxn ang="0">
                          <a:pos x="connsiteX5268" y="connsiteY5268"/>
                        </a:cxn>
                        <a:cxn ang="0">
                          <a:pos x="connsiteX5269" y="connsiteY5269"/>
                        </a:cxn>
                        <a:cxn ang="0">
                          <a:pos x="connsiteX5270" y="connsiteY5270"/>
                        </a:cxn>
                        <a:cxn ang="0">
                          <a:pos x="connsiteX5271" y="connsiteY5271"/>
                        </a:cxn>
                        <a:cxn ang="0">
                          <a:pos x="connsiteX5272" y="connsiteY5272"/>
                        </a:cxn>
                        <a:cxn ang="0">
                          <a:pos x="connsiteX5273" y="connsiteY5273"/>
                        </a:cxn>
                        <a:cxn ang="0">
                          <a:pos x="connsiteX5274" y="connsiteY5274"/>
                        </a:cxn>
                        <a:cxn ang="0">
                          <a:pos x="connsiteX5275" y="connsiteY5275"/>
                        </a:cxn>
                        <a:cxn ang="0">
                          <a:pos x="connsiteX5276" y="connsiteY5276"/>
                        </a:cxn>
                        <a:cxn ang="0">
                          <a:pos x="connsiteX5277" y="connsiteY5277"/>
                        </a:cxn>
                        <a:cxn ang="0">
                          <a:pos x="connsiteX5278" y="connsiteY5278"/>
                        </a:cxn>
                        <a:cxn ang="0">
                          <a:pos x="connsiteX5279" y="connsiteY5279"/>
                        </a:cxn>
                        <a:cxn ang="0">
                          <a:pos x="connsiteX5280" y="connsiteY5280"/>
                        </a:cxn>
                        <a:cxn ang="0">
                          <a:pos x="connsiteX5281" y="connsiteY5281"/>
                        </a:cxn>
                        <a:cxn ang="0">
                          <a:pos x="connsiteX5282" y="connsiteY5282"/>
                        </a:cxn>
                        <a:cxn ang="0">
                          <a:pos x="connsiteX5283" y="connsiteY5283"/>
                        </a:cxn>
                        <a:cxn ang="0">
                          <a:pos x="connsiteX5284" y="connsiteY5284"/>
                        </a:cxn>
                        <a:cxn ang="0">
                          <a:pos x="connsiteX5285" y="connsiteY5285"/>
                        </a:cxn>
                        <a:cxn ang="0">
                          <a:pos x="connsiteX5286" y="connsiteY5286"/>
                        </a:cxn>
                        <a:cxn ang="0">
                          <a:pos x="connsiteX5287" y="connsiteY5287"/>
                        </a:cxn>
                        <a:cxn ang="0">
                          <a:pos x="connsiteX5288" y="connsiteY5288"/>
                        </a:cxn>
                        <a:cxn ang="0">
                          <a:pos x="connsiteX5289" y="connsiteY5289"/>
                        </a:cxn>
                        <a:cxn ang="0">
                          <a:pos x="connsiteX5290" y="connsiteY5290"/>
                        </a:cxn>
                        <a:cxn ang="0">
                          <a:pos x="connsiteX5291" y="connsiteY5291"/>
                        </a:cxn>
                        <a:cxn ang="0">
                          <a:pos x="connsiteX5292" y="connsiteY5292"/>
                        </a:cxn>
                        <a:cxn ang="0">
                          <a:pos x="connsiteX5293" y="connsiteY5293"/>
                        </a:cxn>
                        <a:cxn ang="0">
                          <a:pos x="connsiteX5294" y="connsiteY5294"/>
                        </a:cxn>
                        <a:cxn ang="0">
                          <a:pos x="connsiteX5295" y="connsiteY5295"/>
                        </a:cxn>
                        <a:cxn ang="0">
                          <a:pos x="connsiteX5296" y="connsiteY5296"/>
                        </a:cxn>
                        <a:cxn ang="0">
                          <a:pos x="connsiteX5297" y="connsiteY5297"/>
                        </a:cxn>
                        <a:cxn ang="0">
                          <a:pos x="connsiteX5298" y="connsiteY5298"/>
                        </a:cxn>
                        <a:cxn ang="0">
                          <a:pos x="connsiteX5299" y="connsiteY5299"/>
                        </a:cxn>
                        <a:cxn ang="0">
                          <a:pos x="connsiteX5300" y="connsiteY5300"/>
                        </a:cxn>
                        <a:cxn ang="0">
                          <a:pos x="connsiteX5301" y="connsiteY5301"/>
                        </a:cxn>
                        <a:cxn ang="0">
                          <a:pos x="connsiteX5302" y="connsiteY5302"/>
                        </a:cxn>
                        <a:cxn ang="0">
                          <a:pos x="connsiteX5303" y="connsiteY5303"/>
                        </a:cxn>
                        <a:cxn ang="0">
                          <a:pos x="connsiteX5304" y="connsiteY5304"/>
                        </a:cxn>
                        <a:cxn ang="0">
                          <a:pos x="connsiteX5305" y="connsiteY5305"/>
                        </a:cxn>
                        <a:cxn ang="0">
                          <a:pos x="connsiteX5306" y="connsiteY5306"/>
                        </a:cxn>
                        <a:cxn ang="0">
                          <a:pos x="connsiteX5307" y="connsiteY5307"/>
                        </a:cxn>
                        <a:cxn ang="0">
                          <a:pos x="connsiteX5308" y="connsiteY5308"/>
                        </a:cxn>
                        <a:cxn ang="0">
                          <a:pos x="connsiteX5309" y="connsiteY5309"/>
                        </a:cxn>
                        <a:cxn ang="0">
                          <a:pos x="connsiteX5310" y="connsiteY5310"/>
                        </a:cxn>
                        <a:cxn ang="0">
                          <a:pos x="connsiteX5311" y="connsiteY5311"/>
                        </a:cxn>
                        <a:cxn ang="0">
                          <a:pos x="connsiteX5312" y="connsiteY5312"/>
                        </a:cxn>
                        <a:cxn ang="0">
                          <a:pos x="connsiteX5313" y="connsiteY5313"/>
                        </a:cxn>
                        <a:cxn ang="0">
                          <a:pos x="connsiteX5314" y="connsiteY5314"/>
                        </a:cxn>
                        <a:cxn ang="0">
                          <a:pos x="connsiteX5315" y="connsiteY5315"/>
                        </a:cxn>
                        <a:cxn ang="0">
                          <a:pos x="connsiteX5316" y="connsiteY5316"/>
                        </a:cxn>
                        <a:cxn ang="0">
                          <a:pos x="connsiteX5317" y="connsiteY5317"/>
                        </a:cxn>
                        <a:cxn ang="0">
                          <a:pos x="connsiteX5318" y="connsiteY5318"/>
                        </a:cxn>
                        <a:cxn ang="0">
                          <a:pos x="connsiteX5319" y="connsiteY5319"/>
                        </a:cxn>
                        <a:cxn ang="0">
                          <a:pos x="connsiteX5320" y="connsiteY5320"/>
                        </a:cxn>
                        <a:cxn ang="0">
                          <a:pos x="connsiteX5321" y="connsiteY5321"/>
                        </a:cxn>
                        <a:cxn ang="0">
                          <a:pos x="connsiteX5322" y="connsiteY5322"/>
                        </a:cxn>
                        <a:cxn ang="0">
                          <a:pos x="connsiteX5323" y="connsiteY5323"/>
                        </a:cxn>
                        <a:cxn ang="0">
                          <a:pos x="connsiteX5324" y="connsiteY5324"/>
                        </a:cxn>
                        <a:cxn ang="0">
                          <a:pos x="connsiteX5325" y="connsiteY5325"/>
                        </a:cxn>
                        <a:cxn ang="0">
                          <a:pos x="connsiteX5326" y="connsiteY5326"/>
                        </a:cxn>
                        <a:cxn ang="0">
                          <a:pos x="connsiteX5327" y="connsiteY5327"/>
                        </a:cxn>
                        <a:cxn ang="0">
                          <a:pos x="connsiteX5328" y="connsiteY5328"/>
                        </a:cxn>
                        <a:cxn ang="0">
                          <a:pos x="connsiteX5329" y="connsiteY5329"/>
                        </a:cxn>
                        <a:cxn ang="0">
                          <a:pos x="connsiteX5330" y="connsiteY5330"/>
                        </a:cxn>
                        <a:cxn ang="0">
                          <a:pos x="connsiteX5331" y="connsiteY5331"/>
                        </a:cxn>
                        <a:cxn ang="0">
                          <a:pos x="connsiteX5332" y="connsiteY5332"/>
                        </a:cxn>
                        <a:cxn ang="0">
                          <a:pos x="connsiteX5333" y="connsiteY5333"/>
                        </a:cxn>
                        <a:cxn ang="0">
                          <a:pos x="connsiteX5334" y="connsiteY5334"/>
                        </a:cxn>
                        <a:cxn ang="0">
                          <a:pos x="connsiteX5335" y="connsiteY5335"/>
                        </a:cxn>
                        <a:cxn ang="0">
                          <a:pos x="connsiteX5336" y="connsiteY5336"/>
                        </a:cxn>
                        <a:cxn ang="0">
                          <a:pos x="connsiteX5337" y="connsiteY5337"/>
                        </a:cxn>
                        <a:cxn ang="0">
                          <a:pos x="connsiteX5338" y="connsiteY5338"/>
                        </a:cxn>
                        <a:cxn ang="0">
                          <a:pos x="connsiteX5339" y="connsiteY5339"/>
                        </a:cxn>
                        <a:cxn ang="0">
                          <a:pos x="connsiteX5340" y="connsiteY5340"/>
                        </a:cxn>
                        <a:cxn ang="0">
                          <a:pos x="connsiteX5341" y="connsiteY5341"/>
                        </a:cxn>
                        <a:cxn ang="0">
                          <a:pos x="connsiteX5342" y="connsiteY5342"/>
                        </a:cxn>
                        <a:cxn ang="0">
                          <a:pos x="connsiteX5343" y="connsiteY5343"/>
                        </a:cxn>
                        <a:cxn ang="0">
                          <a:pos x="connsiteX5344" y="connsiteY5344"/>
                        </a:cxn>
                        <a:cxn ang="0">
                          <a:pos x="connsiteX5345" y="connsiteY5345"/>
                        </a:cxn>
                        <a:cxn ang="0">
                          <a:pos x="connsiteX5346" y="connsiteY5346"/>
                        </a:cxn>
                        <a:cxn ang="0">
                          <a:pos x="connsiteX5347" y="connsiteY5347"/>
                        </a:cxn>
                        <a:cxn ang="0">
                          <a:pos x="connsiteX5348" y="connsiteY5348"/>
                        </a:cxn>
                        <a:cxn ang="0">
                          <a:pos x="connsiteX5349" y="connsiteY5349"/>
                        </a:cxn>
                        <a:cxn ang="0">
                          <a:pos x="connsiteX5350" y="connsiteY5350"/>
                        </a:cxn>
                        <a:cxn ang="0">
                          <a:pos x="connsiteX5351" y="connsiteY5351"/>
                        </a:cxn>
                        <a:cxn ang="0">
                          <a:pos x="connsiteX5352" y="connsiteY5352"/>
                        </a:cxn>
                        <a:cxn ang="0">
                          <a:pos x="connsiteX5353" y="connsiteY5353"/>
                        </a:cxn>
                        <a:cxn ang="0">
                          <a:pos x="connsiteX5354" y="connsiteY5354"/>
                        </a:cxn>
                        <a:cxn ang="0">
                          <a:pos x="connsiteX5355" y="connsiteY5355"/>
                        </a:cxn>
                        <a:cxn ang="0">
                          <a:pos x="connsiteX5356" y="connsiteY5356"/>
                        </a:cxn>
                        <a:cxn ang="0">
                          <a:pos x="connsiteX5357" y="connsiteY5357"/>
                        </a:cxn>
                        <a:cxn ang="0">
                          <a:pos x="connsiteX5358" y="connsiteY5358"/>
                        </a:cxn>
                        <a:cxn ang="0">
                          <a:pos x="connsiteX5359" y="connsiteY5359"/>
                        </a:cxn>
                        <a:cxn ang="0">
                          <a:pos x="connsiteX5360" y="connsiteY5360"/>
                        </a:cxn>
                        <a:cxn ang="0">
                          <a:pos x="connsiteX5361" y="connsiteY5361"/>
                        </a:cxn>
                        <a:cxn ang="0">
                          <a:pos x="connsiteX5362" y="connsiteY5362"/>
                        </a:cxn>
                        <a:cxn ang="0">
                          <a:pos x="connsiteX5363" y="connsiteY5363"/>
                        </a:cxn>
                        <a:cxn ang="0">
                          <a:pos x="connsiteX5364" y="connsiteY5364"/>
                        </a:cxn>
                        <a:cxn ang="0">
                          <a:pos x="connsiteX5365" y="connsiteY5365"/>
                        </a:cxn>
                        <a:cxn ang="0">
                          <a:pos x="connsiteX5366" y="connsiteY5366"/>
                        </a:cxn>
                        <a:cxn ang="0">
                          <a:pos x="connsiteX5367" y="connsiteY5367"/>
                        </a:cxn>
                        <a:cxn ang="0">
                          <a:pos x="connsiteX5368" y="connsiteY5368"/>
                        </a:cxn>
                        <a:cxn ang="0">
                          <a:pos x="connsiteX5369" y="connsiteY5369"/>
                        </a:cxn>
                        <a:cxn ang="0">
                          <a:pos x="connsiteX5370" y="connsiteY5370"/>
                        </a:cxn>
                        <a:cxn ang="0">
                          <a:pos x="connsiteX5371" y="connsiteY5371"/>
                        </a:cxn>
                        <a:cxn ang="0">
                          <a:pos x="connsiteX5372" y="connsiteY5372"/>
                        </a:cxn>
                        <a:cxn ang="0">
                          <a:pos x="connsiteX5373" y="connsiteY5373"/>
                        </a:cxn>
                        <a:cxn ang="0">
                          <a:pos x="connsiteX5374" y="connsiteY5374"/>
                        </a:cxn>
                        <a:cxn ang="0">
                          <a:pos x="connsiteX5375" y="connsiteY5375"/>
                        </a:cxn>
                        <a:cxn ang="0">
                          <a:pos x="connsiteX5376" y="connsiteY5376"/>
                        </a:cxn>
                        <a:cxn ang="0">
                          <a:pos x="connsiteX5377" y="connsiteY5377"/>
                        </a:cxn>
                        <a:cxn ang="0">
                          <a:pos x="connsiteX5378" y="connsiteY5378"/>
                        </a:cxn>
                        <a:cxn ang="0">
                          <a:pos x="connsiteX5379" y="connsiteY5379"/>
                        </a:cxn>
                        <a:cxn ang="0">
                          <a:pos x="connsiteX5380" y="connsiteY5380"/>
                        </a:cxn>
                        <a:cxn ang="0">
                          <a:pos x="connsiteX5381" y="connsiteY5381"/>
                        </a:cxn>
                        <a:cxn ang="0">
                          <a:pos x="connsiteX5382" y="connsiteY5382"/>
                        </a:cxn>
                        <a:cxn ang="0">
                          <a:pos x="connsiteX5383" y="connsiteY5383"/>
                        </a:cxn>
                        <a:cxn ang="0">
                          <a:pos x="connsiteX5384" y="connsiteY5384"/>
                        </a:cxn>
                        <a:cxn ang="0">
                          <a:pos x="connsiteX5385" y="connsiteY5385"/>
                        </a:cxn>
                        <a:cxn ang="0">
                          <a:pos x="connsiteX5386" y="connsiteY5386"/>
                        </a:cxn>
                        <a:cxn ang="0">
                          <a:pos x="connsiteX5387" y="connsiteY5387"/>
                        </a:cxn>
                        <a:cxn ang="0">
                          <a:pos x="connsiteX5388" y="connsiteY5388"/>
                        </a:cxn>
                        <a:cxn ang="0">
                          <a:pos x="connsiteX5389" y="connsiteY5389"/>
                        </a:cxn>
                        <a:cxn ang="0">
                          <a:pos x="connsiteX5390" y="connsiteY5390"/>
                        </a:cxn>
                        <a:cxn ang="0">
                          <a:pos x="connsiteX5391" y="connsiteY5391"/>
                        </a:cxn>
                        <a:cxn ang="0">
                          <a:pos x="connsiteX5392" y="connsiteY5392"/>
                        </a:cxn>
                        <a:cxn ang="0">
                          <a:pos x="connsiteX5393" y="connsiteY5393"/>
                        </a:cxn>
                        <a:cxn ang="0">
                          <a:pos x="connsiteX5394" y="connsiteY5394"/>
                        </a:cxn>
                        <a:cxn ang="0">
                          <a:pos x="connsiteX5395" y="connsiteY5395"/>
                        </a:cxn>
                        <a:cxn ang="0">
                          <a:pos x="connsiteX5396" y="connsiteY5396"/>
                        </a:cxn>
                        <a:cxn ang="0">
                          <a:pos x="connsiteX5397" y="connsiteY5397"/>
                        </a:cxn>
                        <a:cxn ang="0">
                          <a:pos x="connsiteX5398" y="connsiteY5398"/>
                        </a:cxn>
                        <a:cxn ang="0">
                          <a:pos x="connsiteX5399" y="connsiteY5399"/>
                        </a:cxn>
                        <a:cxn ang="0">
                          <a:pos x="connsiteX5400" y="connsiteY5400"/>
                        </a:cxn>
                        <a:cxn ang="0">
                          <a:pos x="connsiteX5401" y="connsiteY5401"/>
                        </a:cxn>
                        <a:cxn ang="0">
                          <a:pos x="connsiteX5402" y="connsiteY5402"/>
                        </a:cxn>
                        <a:cxn ang="0">
                          <a:pos x="connsiteX5403" y="connsiteY5403"/>
                        </a:cxn>
                        <a:cxn ang="0">
                          <a:pos x="connsiteX5404" y="connsiteY5404"/>
                        </a:cxn>
                        <a:cxn ang="0">
                          <a:pos x="connsiteX5405" y="connsiteY5405"/>
                        </a:cxn>
                        <a:cxn ang="0">
                          <a:pos x="connsiteX5406" y="connsiteY5406"/>
                        </a:cxn>
                        <a:cxn ang="0">
                          <a:pos x="connsiteX5407" y="connsiteY5407"/>
                        </a:cxn>
                        <a:cxn ang="0">
                          <a:pos x="connsiteX5408" y="connsiteY5408"/>
                        </a:cxn>
                        <a:cxn ang="0">
                          <a:pos x="connsiteX5409" y="connsiteY5409"/>
                        </a:cxn>
                        <a:cxn ang="0">
                          <a:pos x="connsiteX5410" y="connsiteY5410"/>
                        </a:cxn>
                        <a:cxn ang="0">
                          <a:pos x="connsiteX5411" y="connsiteY5411"/>
                        </a:cxn>
                        <a:cxn ang="0">
                          <a:pos x="connsiteX5412" y="connsiteY5412"/>
                        </a:cxn>
                        <a:cxn ang="0">
                          <a:pos x="connsiteX5413" y="connsiteY5413"/>
                        </a:cxn>
                        <a:cxn ang="0">
                          <a:pos x="connsiteX5414" y="connsiteY5414"/>
                        </a:cxn>
                        <a:cxn ang="0">
                          <a:pos x="connsiteX5415" y="connsiteY5415"/>
                        </a:cxn>
                        <a:cxn ang="0">
                          <a:pos x="connsiteX5416" y="connsiteY5416"/>
                        </a:cxn>
                        <a:cxn ang="0">
                          <a:pos x="connsiteX5417" y="connsiteY5417"/>
                        </a:cxn>
                        <a:cxn ang="0">
                          <a:pos x="connsiteX5418" y="connsiteY5418"/>
                        </a:cxn>
                        <a:cxn ang="0">
                          <a:pos x="connsiteX5419" y="connsiteY5419"/>
                        </a:cxn>
                        <a:cxn ang="0">
                          <a:pos x="connsiteX5420" y="connsiteY5420"/>
                        </a:cxn>
                        <a:cxn ang="0">
                          <a:pos x="connsiteX5421" y="connsiteY5421"/>
                        </a:cxn>
                        <a:cxn ang="0">
                          <a:pos x="connsiteX5422" y="connsiteY5422"/>
                        </a:cxn>
                        <a:cxn ang="0">
                          <a:pos x="connsiteX5423" y="connsiteY5423"/>
                        </a:cxn>
                        <a:cxn ang="0">
                          <a:pos x="connsiteX5424" y="connsiteY5424"/>
                        </a:cxn>
                        <a:cxn ang="0">
                          <a:pos x="connsiteX5425" y="connsiteY5425"/>
                        </a:cxn>
                        <a:cxn ang="0">
                          <a:pos x="connsiteX5426" y="connsiteY5426"/>
                        </a:cxn>
                        <a:cxn ang="0">
                          <a:pos x="connsiteX5427" y="connsiteY5427"/>
                        </a:cxn>
                        <a:cxn ang="0">
                          <a:pos x="connsiteX5428" y="connsiteY5428"/>
                        </a:cxn>
                        <a:cxn ang="0">
                          <a:pos x="connsiteX5429" y="connsiteY5429"/>
                        </a:cxn>
                        <a:cxn ang="0">
                          <a:pos x="connsiteX5430" y="connsiteY5430"/>
                        </a:cxn>
                        <a:cxn ang="0">
                          <a:pos x="connsiteX5431" y="connsiteY5431"/>
                        </a:cxn>
                        <a:cxn ang="0">
                          <a:pos x="connsiteX5432" y="connsiteY5432"/>
                        </a:cxn>
                        <a:cxn ang="0">
                          <a:pos x="connsiteX5433" y="connsiteY5433"/>
                        </a:cxn>
                        <a:cxn ang="0">
                          <a:pos x="connsiteX5434" y="connsiteY5434"/>
                        </a:cxn>
                        <a:cxn ang="0">
                          <a:pos x="connsiteX5435" y="connsiteY5435"/>
                        </a:cxn>
                        <a:cxn ang="0">
                          <a:pos x="connsiteX5436" y="connsiteY5436"/>
                        </a:cxn>
                        <a:cxn ang="0">
                          <a:pos x="connsiteX5437" y="connsiteY5437"/>
                        </a:cxn>
                        <a:cxn ang="0">
                          <a:pos x="connsiteX5438" y="connsiteY5438"/>
                        </a:cxn>
                        <a:cxn ang="0">
                          <a:pos x="connsiteX5439" y="connsiteY5439"/>
                        </a:cxn>
                        <a:cxn ang="0">
                          <a:pos x="connsiteX5440" y="connsiteY5440"/>
                        </a:cxn>
                        <a:cxn ang="0">
                          <a:pos x="connsiteX5441" y="connsiteY5441"/>
                        </a:cxn>
                        <a:cxn ang="0">
                          <a:pos x="connsiteX5442" y="connsiteY5442"/>
                        </a:cxn>
                        <a:cxn ang="0">
                          <a:pos x="connsiteX5443" y="connsiteY5443"/>
                        </a:cxn>
                        <a:cxn ang="0">
                          <a:pos x="connsiteX5444" y="connsiteY5444"/>
                        </a:cxn>
                        <a:cxn ang="0">
                          <a:pos x="connsiteX5445" y="connsiteY5445"/>
                        </a:cxn>
                        <a:cxn ang="0">
                          <a:pos x="connsiteX5446" y="connsiteY5446"/>
                        </a:cxn>
                        <a:cxn ang="0">
                          <a:pos x="connsiteX5447" y="connsiteY5447"/>
                        </a:cxn>
                        <a:cxn ang="0">
                          <a:pos x="connsiteX5448" y="connsiteY5448"/>
                        </a:cxn>
                        <a:cxn ang="0">
                          <a:pos x="connsiteX5449" y="connsiteY5449"/>
                        </a:cxn>
                        <a:cxn ang="0">
                          <a:pos x="connsiteX5450" y="connsiteY5450"/>
                        </a:cxn>
                        <a:cxn ang="0">
                          <a:pos x="connsiteX5451" y="connsiteY5451"/>
                        </a:cxn>
                        <a:cxn ang="0">
                          <a:pos x="connsiteX5452" y="connsiteY5452"/>
                        </a:cxn>
                        <a:cxn ang="0">
                          <a:pos x="connsiteX5453" y="connsiteY5453"/>
                        </a:cxn>
                        <a:cxn ang="0">
                          <a:pos x="connsiteX5454" y="connsiteY5454"/>
                        </a:cxn>
                        <a:cxn ang="0">
                          <a:pos x="connsiteX5455" y="connsiteY5455"/>
                        </a:cxn>
                        <a:cxn ang="0">
                          <a:pos x="connsiteX5456" y="connsiteY5456"/>
                        </a:cxn>
                        <a:cxn ang="0">
                          <a:pos x="connsiteX5457" y="connsiteY5457"/>
                        </a:cxn>
                        <a:cxn ang="0">
                          <a:pos x="connsiteX5458" y="connsiteY5458"/>
                        </a:cxn>
                        <a:cxn ang="0">
                          <a:pos x="connsiteX5459" y="connsiteY5459"/>
                        </a:cxn>
                        <a:cxn ang="0">
                          <a:pos x="connsiteX5460" y="connsiteY5460"/>
                        </a:cxn>
                        <a:cxn ang="0">
                          <a:pos x="connsiteX5461" y="connsiteY5461"/>
                        </a:cxn>
                        <a:cxn ang="0">
                          <a:pos x="connsiteX5462" y="connsiteY5462"/>
                        </a:cxn>
                        <a:cxn ang="0">
                          <a:pos x="connsiteX5463" y="connsiteY5463"/>
                        </a:cxn>
                        <a:cxn ang="0">
                          <a:pos x="connsiteX5464" y="connsiteY5464"/>
                        </a:cxn>
                        <a:cxn ang="0">
                          <a:pos x="connsiteX5465" y="connsiteY5465"/>
                        </a:cxn>
                        <a:cxn ang="0">
                          <a:pos x="connsiteX5466" y="connsiteY5466"/>
                        </a:cxn>
                        <a:cxn ang="0">
                          <a:pos x="connsiteX5467" y="connsiteY5467"/>
                        </a:cxn>
                        <a:cxn ang="0">
                          <a:pos x="connsiteX5468" y="connsiteY5468"/>
                        </a:cxn>
                        <a:cxn ang="0">
                          <a:pos x="connsiteX5469" y="connsiteY5469"/>
                        </a:cxn>
                        <a:cxn ang="0">
                          <a:pos x="connsiteX5470" y="connsiteY5470"/>
                        </a:cxn>
                        <a:cxn ang="0">
                          <a:pos x="connsiteX5471" y="connsiteY5471"/>
                        </a:cxn>
                        <a:cxn ang="0">
                          <a:pos x="connsiteX5472" y="connsiteY5472"/>
                        </a:cxn>
                        <a:cxn ang="0">
                          <a:pos x="connsiteX5473" y="connsiteY5473"/>
                        </a:cxn>
                        <a:cxn ang="0">
                          <a:pos x="connsiteX5474" y="connsiteY5474"/>
                        </a:cxn>
                        <a:cxn ang="0">
                          <a:pos x="connsiteX5475" y="connsiteY5475"/>
                        </a:cxn>
                        <a:cxn ang="0">
                          <a:pos x="connsiteX5476" y="connsiteY5476"/>
                        </a:cxn>
                        <a:cxn ang="0">
                          <a:pos x="connsiteX5477" y="connsiteY5477"/>
                        </a:cxn>
                        <a:cxn ang="0">
                          <a:pos x="connsiteX5478" y="connsiteY5478"/>
                        </a:cxn>
                        <a:cxn ang="0">
                          <a:pos x="connsiteX5479" y="connsiteY5479"/>
                        </a:cxn>
                        <a:cxn ang="0">
                          <a:pos x="connsiteX5480" y="connsiteY5480"/>
                        </a:cxn>
                        <a:cxn ang="0">
                          <a:pos x="connsiteX5481" y="connsiteY5481"/>
                        </a:cxn>
                        <a:cxn ang="0">
                          <a:pos x="connsiteX5482" y="connsiteY5482"/>
                        </a:cxn>
                        <a:cxn ang="0">
                          <a:pos x="connsiteX5483" y="connsiteY5483"/>
                        </a:cxn>
                        <a:cxn ang="0">
                          <a:pos x="connsiteX5484" y="connsiteY5484"/>
                        </a:cxn>
                        <a:cxn ang="0">
                          <a:pos x="connsiteX5485" y="connsiteY5485"/>
                        </a:cxn>
                        <a:cxn ang="0">
                          <a:pos x="connsiteX5486" y="connsiteY5486"/>
                        </a:cxn>
                        <a:cxn ang="0">
                          <a:pos x="connsiteX5487" y="connsiteY5487"/>
                        </a:cxn>
                        <a:cxn ang="0">
                          <a:pos x="connsiteX5488" y="connsiteY5488"/>
                        </a:cxn>
                        <a:cxn ang="0">
                          <a:pos x="connsiteX5489" y="connsiteY5489"/>
                        </a:cxn>
                        <a:cxn ang="0">
                          <a:pos x="connsiteX5490" y="connsiteY5490"/>
                        </a:cxn>
                        <a:cxn ang="0">
                          <a:pos x="connsiteX5491" y="connsiteY5491"/>
                        </a:cxn>
                        <a:cxn ang="0">
                          <a:pos x="connsiteX5492" y="connsiteY5492"/>
                        </a:cxn>
                        <a:cxn ang="0">
                          <a:pos x="connsiteX5493" y="connsiteY5493"/>
                        </a:cxn>
                        <a:cxn ang="0">
                          <a:pos x="connsiteX5494" y="connsiteY5494"/>
                        </a:cxn>
                        <a:cxn ang="0">
                          <a:pos x="connsiteX5495" y="connsiteY5495"/>
                        </a:cxn>
                        <a:cxn ang="0">
                          <a:pos x="connsiteX5496" y="connsiteY5496"/>
                        </a:cxn>
                        <a:cxn ang="0">
                          <a:pos x="connsiteX5497" y="connsiteY5497"/>
                        </a:cxn>
                        <a:cxn ang="0">
                          <a:pos x="connsiteX5498" y="connsiteY5498"/>
                        </a:cxn>
                        <a:cxn ang="0">
                          <a:pos x="connsiteX5499" y="connsiteY5499"/>
                        </a:cxn>
                        <a:cxn ang="0">
                          <a:pos x="connsiteX5500" y="connsiteY5500"/>
                        </a:cxn>
                        <a:cxn ang="0">
                          <a:pos x="connsiteX5501" y="connsiteY5501"/>
                        </a:cxn>
                        <a:cxn ang="0">
                          <a:pos x="connsiteX5502" y="connsiteY5502"/>
                        </a:cxn>
                        <a:cxn ang="0">
                          <a:pos x="connsiteX5503" y="connsiteY5503"/>
                        </a:cxn>
                        <a:cxn ang="0">
                          <a:pos x="connsiteX5504" y="connsiteY5504"/>
                        </a:cxn>
                        <a:cxn ang="0">
                          <a:pos x="connsiteX5505" y="connsiteY5505"/>
                        </a:cxn>
                        <a:cxn ang="0">
                          <a:pos x="connsiteX5506" y="connsiteY5506"/>
                        </a:cxn>
                        <a:cxn ang="0">
                          <a:pos x="connsiteX5507" y="connsiteY5507"/>
                        </a:cxn>
                        <a:cxn ang="0">
                          <a:pos x="connsiteX5508" y="connsiteY5508"/>
                        </a:cxn>
                        <a:cxn ang="0">
                          <a:pos x="connsiteX5509" y="connsiteY5509"/>
                        </a:cxn>
                        <a:cxn ang="0">
                          <a:pos x="connsiteX5510" y="connsiteY5510"/>
                        </a:cxn>
                        <a:cxn ang="0">
                          <a:pos x="connsiteX5511" y="connsiteY5511"/>
                        </a:cxn>
                        <a:cxn ang="0">
                          <a:pos x="connsiteX5512" y="connsiteY5512"/>
                        </a:cxn>
                        <a:cxn ang="0">
                          <a:pos x="connsiteX5513" y="connsiteY5513"/>
                        </a:cxn>
                        <a:cxn ang="0">
                          <a:pos x="connsiteX5514" y="connsiteY5514"/>
                        </a:cxn>
                        <a:cxn ang="0">
                          <a:pos x="connsiteX5515" y="connsiteY5515"/>
                        </a:cxn>
                        <a:cxn ang="0">
                          <a:pos x="connsiteX5516" y="connsiteY5516"/>
                        </a:cxn>
                        <a:cxn ang="0">
                          <a:pos x="connsiteX5517" y="connsiteY5517"/>
                        </a:cxn>
                        <a:cxn ang="0">
                          <a:pos x="connsiteX5518" y="connsiteY5518"/>
                        </a:cxn>
                        <a:cxn ang="0">
                          <a:pos x="connsiteX5519" y="connsiteY5519"/>
                        </a:cxn>
                        <a:cxn ang="0">
                          <a:pos x="connsiteX5520" y="connsiteY5520"/>
                        </a:cxn>
                        <a:cxn ang="0">
                          <a:pos x="connsiteX5521" y="connsiteY5521"/>
                        </a:cxn>
                        <a:cxn ang="0">
                          <a:pos x="connsiteX5522" y="connsiteY5522"/>
                        </a:cxn>
                        <a:cxn ang="0">
                          <a:pos x="connsiteX5523" y="connsiteY5523"/>
                        </a:cxn>
                        <a:cxn ang="0">
                          <a:pos x="connsiteX5524" y="connsiteY5524"/>
                        </a:cxn>
                        <a:cxn ang="0">
                          <a:pos x="connsiteX5525" y="connsiteY5525"/>
                        </a:cxn>
                        <a:cxn ang="0">
                          <a:pos x="connsiteX5526" y="connsiteY5526"/>
                        </a:cxn>
                        <a:cxn ang="0">
                          <a:pos x="connsiteX5527" y="connsiteY5527"/>
                        </a:cxn>
                        <a:cxn ang="0">
                          <a:pos x="connsiteX5528" y="connsiteY5528"/>
                        </a:cxn>
                        <a:cxn ang="0">
                          <a:pos x="connsiteX5529" y="connsiteY5529"/>
                        </a:cxn>
                        <a:cxn ang="0">
                          <a:pos x="connsiteX5530" y="connsiteY5530"/>
                        </a:cxn>
                        <a:cxn ang="0">
                          <a:pos x="connsiteX5531" y="connsiteY5531"/>
                        </a:cxn>
                        <a:cxn ang="0">
                          <a:pos x="connsiteX5532" y="connsiteY5532"/>
                        </a:cxn>
                        <a:cxn ang="0">
                          <a:pos x="connsiteX5533" y="connsiteY5533"/>
                        </a:cxn>
                        <a:cxn ang="0">
                          <a:pos x="connsiteX5534" y="connsiteY5534"/>
                        </a:cxn>
                        <a:cxn ang="0">
                          <a:pos x="connsiteX5535" y="connsiteY5535"/>
                        </a:cxn>
                        <a:cxn ang="0">
                          <a:pos x="connsiteX5536" y="connsiteY5536"/>
                        </a:cxn>
                        <a:cxn ang="0">
                          <a:pos x="connsiteX5537" y="connsiteY5537"/>
                        </a:cxn>
                        <a:cxn ang="0">
                          <a:pos x="connsiteX5538" y="connsiteY5538"/>
                        </a:cxn>
                        <a:cxn ang="0">
                          <a:pos x="connsiteX5539" y="connsiteY5539"/>
                        </a:cxn>
                        <a:cxn ang="0">
                          <a:pos x="connsiteX5540" y="connsiteY5540"/>
                        </a:cxn>
                        <a:cxn ang="0">
                          <a:pos x="connsiteX5541" y="connsiteY5541"/>
                        </a:cxn>
                        <a:cxn ang="0">
                          <a:pos x="connsiteX5542" y="connsiteY5542"/>
                        </a:cxn>
                        <a:cxn ang="0">
                          <a:pos x="connsiteX5543" y="connsiteY5543"/>
                        </a:cxn>
                        <a:cxn ang="0">
                          <a:pos x="connsiteX5544" y="connsiteY5544"/>
                        </a:cxn>
                        <a:cxn ang="0">
                          <a:pos x="connsiteX5545" y="connsiteY5545"/>
                        </a:cxn>
                        <a:cxn ang="0">
                          <a:pos x="connsiteX5546" y="connsiteY5546"/>
                        </a:cxn>
                        <a:cxn ang="0">
                          <a:pos x="connsiteX5547" y="connsiteY5547"/>
                        </a:cxn>
                        <a:cxn ang="0">
                          <a:pos x="connsiteX5548" y="connsiteY5548"/>
                        </a:cxn>
                        <a:cxn ang="0">
                          <a:pos x="connsiteX5549" y="connsiteY5549"/>
                        </a:cxn>
                        <a:cxn ang="0">
                          <a:pos x="connsiteX5550" y="connsiteY5550"/>
                        </a:cxn>
                        <a:cxn ang="0">
                          <a:pos x="connsiteX5551" y="connsiteY5551"/>
                        </a:cxn>
                        <a:cxn ang="0">
                          <a:pos x="connsiteX5552" y="connsiteY5552"/>
                        </a:cxn>
                        <a:cxn ang="0">
                          <a:pos x="connsiteX5553" y="connsiteY5553"/>
                        </a:cxn>
                        <a:cxn ang="0">
                          <a:pos x="connsiteX5554" y="connsiteY5554"/>
                        </a:cxn>
                        <a:cxn ang="0">
                          <a:pos x="connsiteX5555" y="connsiteY5555"/>
                        </a:cxn>
                        <a:cxn ang="0">
                          <a:pos x="connsiteX5556" y="connsiteY5556"/>
                        </a:cxn>
                        <a:cxn ang="0">
                          <a:pos x="connsiteX5557" y="connsiteY5557"/>
                        </a:cxn>
                        <a:cxn ang="0">
                          <a:pos x="connsiteX5558" y="connsiteY5558"/>
                        </a:cxn>
                        <a:cxn ang="0">
                          <a:pos x="connsiteX5559" y="connsiteY5559"/>
                        </a:cxn>
                        <a:cxn ang="0">
                          <a:pos x="connsiteX5560" y="connsiteY5560"/>
                        </a:cxn>
                        <a:cxn ang="0">
                          <a:pos x="connsiteX5561" y="connsiteY5561"/>
                        </a:cxn>
                        <a:cxn ang="0">
                          <a:pos x="connsiteX5562" y="connsiteY5562"/>
                        </a:cxn>
                        <a:cxn ang="0">
                          <a:pos x="connsiteX5563" y="connsiteY5563"/>
                        </a:cxn>
                        <a:cxn ang="0">
                          <a:pos x="connsiteX5564" y="connsiteY5564"/>
                        </a:cxn>
                        <a:cxn ang="0">
                          <a:pos x="connsiteX5565" y="connsiteY5565"/>
                        </a:cxn>
                        <a:cxn ang="0">
                          <a:pos x="connsiteX5566" y="connsiteY5566"/>
                        </a:cxn>
                        <a:cxn ang="0">
                          <a:pos x="connsiteX5567" y="connsiteY5567"/>
                        </a:cxn>
                        <a:cxn ang="0">
                          <a:pos x="connsiteX5568" y="connsiteY5568"/>
                        </a:cxn>
                        <a:cxn ang="0">
                          <a:pos x="connsiteX5569" y="connsiteY5569"/>
                        </a:cxn>
                        <a:cxn ang="0">
                          <a:pos x="connsiteX5570" y="connsiteY5570"/>
                        </a:cxn>
                        <a:cxn ang="0">
                          <a:pos x="connsiteX5571" y="connsiteY5571"/>
                        </a:cxn>
                        <a:cxn ang="0">
                          <a:pos x="connsiteX5572" y="connsiteY5572"/>
                        </a:cxn>
                        <a:cxn ang="0">
                          <a:pos x="connsiteX5573" y="connsiteY5573"/>
                        </a:cxn>
                        <a:cxn ang="0">
                          <a:pos x="connsiteX5574" y="connsiteY5574"/>
                        </a:cxn>
                        <a:cxn ang="0">
                          <a:pos x="connsiteX5575" y="connsiteY5575"/>
                        </a:cxn>
                        <a:cxn ang="0">
                          <a:pos x="connsiteX5576" y="connsiteY5576"/>
                        </a:cxn>
                        <a:cxn ang="0">
                          <a:pos x="connsiteX5577" y="connsiteY5577"/>
                        </a:cxn>
                        <a:cxn ang="0">
                          <a:pos x="connsiteX5578" y="connsiteY5578"/>
                        </a:cxn>
                        <a:cxn ang="0">
                          <a:pos x="connsiteX5579" y="connsiteY5579"/>
                        </a:cxn>
                        <a:cxn ang="0">
                          <a:pos x="connsiteX5580" y="connsiteY5580"/>
                        </a:cxn>
                        <a:cxn ang="0">
                          <a:pos x="connsiteX5581" y="connsiteY5581"/>
                        </a:cxn>
                        <a:cxn ang="0">
                          <a:pos x="connsiteX5582" y="connsiteY5582"/>
                        </a:cxn>
                        <a:cxn ang="0">
                          <a:pos x="connsiteX5583" y="connsiteY5583"/>
                        </a:cxn>
                        <a:cxn ang="0">
                          <a:pos x="connsiteX5584" y="connsiteY5584"/>
                        </a:cxn>
                        <a:cxn ang="0">
                          <a:pos x="connsiteX5585" y="connsiteY5585"/>
                        </a:cxn>
                        <a:cxn ang="0">
                          <a:pos x="connsiteX5586" y="connsiteY5586"/>
                        </a:cxn>
                        <a:cxn ang="0">
                          <a:pos x="connsiteX5587" y="connsiteY5587"/>
                        </a:cxn>
                        <a:cxn ang="0">
                          <a:pos x="connsiteX5588" y="connsiteY5588"/>
                        </a:cxn>
                        <a:cxn ang="0">
                          <a:pos x="connsiteX5589" y="connsiteY5589"/>
                        </a:cxn>
                        <a:cxn ang="0">
                          <a:pos x="connsiteX5590" y="connsiteY5590"/>
                        </a:cxn>
                        <a:cxn ang="0">
                          <a:pos x="connsiteX5591" y="connsiteY5591"/>
                        </a:cxn>
                        <a:cxn ang="0">
                          <a:pos x="connsiteX5592" y="connsiteY5592"/>
                        </a:cxn>
                        <a:cxn ang="0">
                          <a:pos x="connsiteX5593" y="connsiteY5593"/>
                        </a:cxn>
                        <a:cxn ang="0">
                          <a:pos x="connsiteX5594" y="connsiteY5594"/>
                        </a:cxn>
                        <a:cxn ang="0">
                          <a:pos x="connsiteX5595" y="connsiteY5595"/>
                        </a:cxn>
                        <a:cxn ang="0">
                          <a:pos x="connsiteX5596" y="connsiteY5596"/>
                        </a:cxn>
                        <a:cxn ang="0">
                          <a:pos x="connsiteX5597" y="connsiteY5597"/>
                        </a:cxn>
                        <a:cxn ang="0">
                          <a:pos x="connsiteX5598" y="connsiteY5598"/>
                        </a:cxn>
                        <a:cxn ang="0">
                          <a:pos x="connsiteX5599" y="connsiteY5599"/>
                        </a:cxn>
                        <a:cxn ang="0">
                          <a:pos x="connsiteX5600" y="connsiteY5600"/>
                        </a:cxn>
                        <a:cxn ang="0">
                          <a:pos x="connsiteX5601" y="connsiteY5601"/>
                        </a:cxn>
                        <a:cxn ang="0">
                          <a:pos x="connsiteX5602" y="connsiteY5602"/>
                        </a:cxn>
                        <a:cxn ang="0">
                          <a:pos x="connsiteX5603" y="connsiteY5603"/>
                        </a:cxn>
                        <a:cxn ang="0">
                          <a:pos x="connsiteX5604" y="connsiteY5604"/>
                        </a:cxn>
                        <a:cxn ang="0">
                          <a:pos x="connsiteX5605" y="connsiteY5605"/>
                        </a:cxn>
                        <a:cxn ang="0">
                          <a:pos x="connsiteX5606" y="connsiteY5606"/>
                        </a:cxn>
                        <a:cxn ang="0">
                          <a:pos x="connsiteX5607" y="connsiteY5607"/>
                        </a:cxn>
                        <a:cxn ang="0">
                          <a:pos x="connsiteX5608" y="connsiteY5608"/>
                        </a:cxn>
                        <a:cxn ang="0">
                          <a:pos x="connsiteX5609" y="connsiteY5609"/>
                        </a:cxn>
                        <a:cxn ang="0">
                          <a:pos x="connsiteX5610" y="connsiteY5610"/>
                        </a:cxn>
                        <a:cxn ang="0">
                          <a:pos x="connsiteX5611" y="connsiteY5611"/>
                        </a:cxn>
                        <a:cxn ang="0">
                          <a:pos x="connsiteX5612" y="connsiteY5612"/>
                        </a:cxn>
                        <a:cxn ang="0">
                          <a:pos x="connsiteX5613" y="connsiteY5613"/>
                        </a:cxn>
                        <a:cxn ang="0">
                          <a:pos x="connsiteX5614" y="connsiteY5614"/>
                        </a:cxn>
                        <a:cxn ang="0">
                          <a:pos x="connsiteX5615" y="connsiteY5615"/>
                        </a:cxn>
                        <a:cxn ang="0">
                          <a:pos x="connsiteX5616" y="connsiteY5616"/>
                        </a:cxn>
                        <a:cxn ang="0">
                          <a:pos x="connsiteX5617" y="connsiteY5617"/>
                        </a:cxn>
                        <a:cxn ang="0">
                          <a:pos x="connsiteX5618" y="connsiteY5618"/>
                        </a:cxn>
                        <a:cxn ang="0">
                          <a:pos x="connsiteX5619" y="connsiteY5619"/>
                        </a:cxn>
                        <a:cxn ang="0">
                          <a:pos x="connsiteX5620" y="connsiteY5620"/>
                        </a:cxn>
                        <a:cxn ang="0">
                          <a:pos x="connsiteX5621" y="connsiteY5621"/>
                        </a:cxn>
                        <a:cxn ang="0">
                          <a:pos x="connsiteX5622" y="connsiteY5622"/>
                        </a:cxn>
                        <a:cxn ang="0">
                          <a:pos x="connsiteX5623" y="connsiteY5623"/>
                        </a:cxn>
                        <a:cxn ang="0">
                          <a:pos x="connsiteX5624" y="connsiteY5624"/>
                        </a:cxn>
                        <a:cxn ang="0">
                          <a:pos x="connsiteX5625" y="connsiteY5625"/>
                        </a:cxn>
                        <a:cxn ang="0">
                          <a:pos x="connsiteX5626" y="connsiteY5626"/>
                        </a:cxn>
                        <a:cxn ang="0">
                          <a:pos x="connsiteX5627" y="connsiteY5627"/>
                        </a:cxn>
                        <a:cxn ang="0">
                          <a:pos x="connsiteX5628" y="connsiteY5628"/>
                        </a:cxn>
                        <a:cxn ang="0">
                          <a:pos x="connsiteX5629" y="connsiteY5629"/>
                        </a:cxn>
                        <a:cxn ang="0">
                          <a:pos x="connsiteX5630" y="connsiteY5630"/>
                        </a:cxn>
                        <a:cxn ang="0">
                          <a:pos x="connsiteX5631" y="connsiteY5631"/>
                        </a:cxn>
                        <a:cxn ang="0">
                          <a:pos x="connsiteX5632" y="connsiteY5632"/>
                        </a:cxn>
                        <a:cxn ang="0">
                          <a:pos x="connsiteX5633" y="connsiteY5633"/>
                        </a:cxn>
                        <a:cxn ang="0">
                          <a:pos x="connsiteX5634" y="connsiteY5634"/>
                        </a:cxn>
                        <a:cxn ang="0">
                          <a:pos x="connsiteX5635" y="connsiteY5635"/>
                        </a:cxn>
                        <a:cxn ang="0">
                          <a:pos x="connsiteX5636" y="connsiteY5636"/>
                        </a:cxn>
                        <a:cxn ang="0">
                          <a:pos x="connsiteX5637" y="connsiteY5637"/>
                        </a:cxn>
                        <a:cxn ang="0">
                          <a:pos x="connsiteX5638" y="connsiteY5638"/>
                        </a:cxn>
                        <a:cxn ang="0">
                          <a:pos x="connsiteX5639" y="connsiteY5639"/>
                        </a:cxn>
                        <a:cxn ang="0">
                          <a:pos x="connsiteX5640" y="connsiteY5640"/>
                        </a:cxn>
                        <a:cxn ang="0">
                          <a:pos x="connsiteX5641" y="connsiteY5641"/>
                        </a:cxn>
                        <a:cxn ang="0">
                          <a:pos x="connsiteX5642" y="connsiteY5642"/>
                        </a:cxn>
                        <a:cxn ang="0">
                          <a:pos x="connsiteX5643" y="connsiteY5643"/>
                        </a:cxn>
                        <a:cxn ang="0">
                          <a:pos x="connsiteX5644" y="connsiteY5644"/>
                        </a:cxn>
                        <a:cxn ang="0">
                          <a:pos x="connsiteX5645" y="connsiteY5645"/>
                        </a:cxn>
                        <a:cxn ang="0">
                          <a:pos x="connsiteX5646" y="connsiteY5646"/>
                        </a:cxn>
                        <a:cxn ang="0">
                          <a:pos x="connsiteX5647" y="connsiteY5647"/>
                        </a:cxn>
                        <a:cxn ang="0">
                          <a:pos x="connsiteX5648" y="connsiteY5648"/>
                        </a:cxn>
                        <a:cxn ang="0">
                          <a:pos x="connsiteX5649" y="connsiteY5649"/>
                        </a:cxn>
                        <a:cxn ang="0">
                          <a:pos x="connsiteX5650" y="connsiteY5650"/>
                        </a:cxn>
                        <a:cxn ang="0">
                          <a:pos x="connsiteX5651" y="connsiteY5651"/>
                        </a:cxn>
                        <a:cxn ang="0">
                          <a:pos x="connsiteX5652" y="connsiteY5652"/>
                        </a:cxn>
                        <a:cxn ang="0">
                          <a:pos x="connsiteX5653" y="connsiteY5653"/>
                        </a:cxn>
                        <a:cxn ang="0">
                          <a:pos x="connsiteX5654" y="connsiteY5654"/>
                        </a:cxn>
                        <a:cxn ang="0">
                          <a:pos x="connsiteX5655" y="connsiteY5655"/>
                        </a:cxn>
                        <a:cxn ang="0">
                          <a:pos x="connsiteX5656" y="connsiteY5656"/>
                        </a:cxn>
                        <a:cxn ang="0">
                          <a:pos x="connsiteX5657" y="connsiteY5657"/>
                        </a:cxn>
                        <a:cxn ang="0">
                          <a:pos x="connsiteX5658" y="connsiteY5658"/>
                        </a:cxn>
                        <a:cxn ang="0">
                          <a:pos x="connsiteX5659" y="connsiteY5659"/>
                        </a:cxn>
                        <a:cxn ang="0">
                          <a:pos x="connsiteX5660" y="connsiteY5660"/>
                        </a:cxn>
                        <a:cxn ang="0">
                          <a:pos x="connsiteX5661" y="connsiteY5661"/>
                        </a:cxn>
                        <a:cxn ang="0">
                          <a:pos x="connsiteX5662" y="connsiteY5662"/>
                        </a:cxn>
                        <a:cxn ang="0">
                          <a:pos x="connsiteX5663" y="connsiteY5663"/>
                        </a:cxn>
                        <a:cxn ang="0">
                          <a:pos x="connsiteX5664" y="connsiteY5664"/>
                        </a:cxn>
                        <a:cxn ang="0">
                          <a:pos x="connsiteX5665" y="connsiteY5665"/>
                        </a:cxn>
                        <a:cxn ang="0">
                          <a:pos x="connsiteX5666" y="connsiteY5666"/>
                        </a:cxn>
                        <a:cxn ang="0">
                          <a:pos x="connsiteX5667" y="connsiteY5667"/>
                        </a:cxn>
                        <a:cxn ang="0">
                          <a:pos x="connsiteX5668" y="connsiteY5668"/>
                        </a:cxn>
                        <a:cxn ang="0">
                          <a:pos x="connsiteX5669" y="connsiteY5669"/>
                        </a:cxn>
                        <a:cxn ang="0">
                          <a:pos x="connsiteX5670" y="connsiteY5670"/>
                        </a:cxn>
                        <a:cxn ang="0">
                          <a:pos x="connsiteX5671" y="connsiteY5671"/>
                        </a:cxn>
                        <a:cxn ang="0">
                          <a:pos x="connsiteX5672" y="connsiteY5672"/>
                        </a:cxn>
                        <a:cxn ang="0">
                          <a:pos x="connsiteX5673" y="connsiteY5673"/>
                        </a:cxn>
                        <a:cxn ang="0">
                          <a:pos x="connsiteX5674" y="connsiteY5674"/>
                        </a:cxn>
                        <a:cxn ang="0">
                          <a:pos x="connsiteX5675" y="connsiteY5675"/>
                        </a:cxn>
                        <a:cxn ang="0">
                          <a:pos x="connsiteX5676" y="connsiteY5676"/>
                        </a:cxn>
                        <a:cxn ang="0">
                          <a:pos x="connsiteX5677" y="connsiteY5677"/>
                        </a:cxn>
                        <a:cxn ang="0">
                          <a:pos x="connsiteX5678" y="connsiteY5678"/>
                        </a:cxn>
                        <a:cxn ang="0">
                          <a:pos x="connsiteX5679" y="connsiteY5679"/>
                        </a:cxn>
                        <a:cxn ang="0">
                          <a:pos x="connsiteX5680" y="connsiteY5680"/>
                        </a:cxn>
                        <a:cxn ang="0">
                          <a:pos x="connsiteX5681" y="connsiteY5681"/>
                        </a:cxn>
                        <a:cxn ang="0">
                          <a:pos x="connsiteX5682" y="connsiteY5682"/>
                        </a:cxn>
                        <a:cxn ang="0">
                          <a:pos x="connsiteX5683" y="connsiteY5683"/>
                        </a:cxn>
                        <a:cxn ang="0">
                          <a:pos x="connsiteX5684" y="connsiteY5684"/>
                        </a:cxn>
                        <a:cxn ang="0">
                          <a:pos x="connsiteX5685" y="connsiteY5685"/>
                        </a:cxn>
                        <a:cxn ang="0">
                          <a:pos x="connsiteX5686" y="connsiteY5686"/>
                        </a:cxn>
                        <a:cxn ang="0">
                          <a:pos x="connsiteX5687" y="connsiteY5687"/>
                        </a:cxn>
                        <a:cxn ang="0">
                          <a:pos x="connsiteX5688" y="connsiteY5688"/>
                        </a:cxn>
                        <a:cxn ang="0">
                          <a:pos x="connsiteX5689" y="connsiteY5689"/>
                        </a:cxn>
                        <a:cxn ang="0">
                          <a:pos x="connsiteX5690" y="connsiteY5690"/>
                        </a:cxn>
                        <a:cxn ang="0">
                          <a:pos x="connsiteX5691" y="connsiteY5691"/>
                        </a:cxn>
                        <a:cxn ang="0">
                          <a:pos x="connsiteX5692" y="connsiteY5692"/>
                        </a:cxn>
                        <a:cxn ang="0">
                          <a:pos x="connsiteX5693" y="connsiteY5693"/>
                        </a:cxn>
                        <a:cxn ang="0">
                          <a:pos x="connsiteX5694" y="connsiteY5694"/>
                        </a:cxn>
                        <a:cxn ang="0">
                          <a:pos x="connsiteX5695" y="connsiteY5695"/>
                        </a:cxn>
                        <a:cxn ang="0">
                          <a:pos x="connsiteX5696" y="connsiteY5696"/>
                        </a:cxn>
                        <a:cxn ang="0">
                          <a:pos x="connsiteX5697" y="connsiteY5697"/>
                        </a:cxn>
                        <a:cxn ang="0">
                          <a:pos x="connsiteX5698" y="connsiteY5698"/>
                        </a:cxn>
                        <a:cxn ang="0">
                          <a:pos x="connsiteX5699" y="connsiteY5699"/>
                        </a:cxn>
                        <a:cxn ang="0">
                          <a:pos x="connsiteX5700" y="connsiteY5700"/>
                        </a:cxn>
                        <a:cxn ang="0">
                          <a:pos x="connsiteX5701" y="connsiteY5701"/>
                        </a:cxn>
                        <a:cxn ang="0">
                          <a:pos x="connsiteX5702" y="connsiteY5702"/>
                        </a:cxn>
                        <a:cxn ang="0">
                          <a:pos x="connsiteX5703" y="connsiteY5703"/>
                        </a:cxn>
                        <a:cxn ang="0">
                          <a:pos x="connsiteX5704" y="connsiteY5704"/>
                        </a:cxn>
                        <a:cxn ang="0">
                          <a:pos x="connsiteX5705" y="connsiteY5705"/>
                        </a:cxn>
                        <a:cxn ang="0">
                          <a:pos x="connsiteX5706" y="connsiteY5706"/>
                        </a:cxn>
                        <a:cxn ang="0">
                          <a:pos x="connsiteX5707" y="connsiteY5707"/>
                        </a:cxn>
                        <a:cxn ang="0">
                          <a:pos x="connsiteX5708" y="connsiteY5708"/>
                        </a:cxn>
                        <a:cxn ang="0">
                          <a:pos x="connsiteX5709" y="connsiteY5709"/>
                        </a:cxn>
                        <a:cxn ang="0">
                          <a:pos x="connsiteX5710" y="connsiteY5710"/>
                        </a:cxn>
                        <a:cxn ang="0">
                          <a:pos x="connsiteX5711" y="connsiteY5711"/>
                        </a:cxn>
                        <a:cxn ang="0">
                          <a:pos x="connsiteX5712" y="connsiteY5712"/>
                        </a:cxn>
                        <a:cxn ang="0">
                          <a:pos x="connsiteX5713" y="connsiteY5713"/>
                        </a:cxn>
                        <a:cxn ang="0">
                          <a:pos x="connsiteX5714" y="connsiteY5714"/>
                        </a:cxn>
                        <a:cxn ang="0">
                          <a:pos x="connsiteX5715" y="connsiteY5715"/>
                        </a:cxn>
                        <a:cxn ang="0">
                          <a:pos x="connsiteX5716" y="connsiteY5716"/>
                        </a:cxn>
                        <a:cxn ang="0">
                          <a:pos x="connsiteX5717" y="connsiteY5717"/>
                        </a:cxn>
                        <a:cxn ang="0">
                          <a:pos x="connsiteX5718" y="connsiteY5718"/>
                        </a:cxn>
                        <a:cxn ang="0">
                          <a:pos x="connsiteX5719" y="connsiteY5719"/>
                        </a:cxn>
                        <a:cxn ang="0">
                          <a:pos x="connsiteX5720" y="connsiteY5720"/>
                        </a:cxn>
                        <a:cxn ang="0">
                          <a:pos x="connsiteX5721" y="connsiteY5721"/>
                        </a:cxn>
                        <a:cxn ang="0">
                          <a:pos x="connsiteX5722" y="connsiteY5722"/>
                        </a:cxn>
                        <a:cxn ang="0">
                          <a:pos x="connsiteX5723" y="connsiteY5723"/>
                        </a:cxn>
                        <a:cxn ang="0">
                          <a:pos x="connsiteX5724" y="connsiteY5724"/>
                        </a:cxn>
                        <a:cxn ang="0">
                          <a:pos x="connsiteX5725" y="connsiteY5725"/>
                        </a:cxn>
                        <a:cxn ang="0">
                          <a:pos x="connsiteX5726" y="connsiteY5726"/>
                        </a:cxn>
                        <a:cxn ang="0">
                          <a:pos x="connsiteX5727" y="connsiteY5727"/>
                        </a:cxn>
                        <a:cxn ang="0">
                          <a:pos x="connsiteX5728" y="connsiteY5728"/>
                        </a:cxn>
                        <a:cxn ang="0">
                          <a:pos x="connsiteX5729" y="connsiteY5729"/>
                        </a:cxn>
                        <a:cxn ang="0">
                          <a:pos x="connsiteX5730" y="connsiteY5730"/>
                        </a:cxn>
                        <a:cxn ang="0">
                          <a:pos x="connsiteX5731" y="connsiteY5731"/>
                        </a:cxn>
                        <a:cxn ang="0">
                          <a:pos x="connsiteX5732" y="connsiteY5732"/>
                        </a:cxn>
                        <a:cxn ang="0">
                          <a:pos x="connsiteX5733" y="connsiteY5733"/>
                        </a:cxn>
                        <a:cxn ang="0">
                          <a:pos x="connsiteX5734" y="connsiteY5734"/>
                        </a:cxn>
                        <a:cxn ang="0">
                          <a:pos x="connsiteX5735" y="connsiteY5735"/>
                        </a:cxn>
                        <a:cxn ang="0">
                          <a:pos x="connsiteX5736" y="connsiteY5736"/>
                        </a:cxn>
                        <a:cxn ang="0">
                          <a:pos x="connsiteX5737" y="connsiteY5737"/>
                        </a:cxn>
                        <a:cxn ang="0">
                          <a:pos x="connsiteX5738" y="connsiteY5738"/>
                        </a:cxn>
                        <a:cxn ang="0">
                          <a:pos x="connsiteX5739" y="connsiteY5739"/>
                        </a:cxn>
                        <a:cxn ang="0">
                          <a:pos x="connsiteX5740" y="connsiteY5740"/>
                        </a:cxn>
                        <a:cxn ang="0">
                          <a:pos x="connsiteX5741" y="connsiteY5741"/>
                        </a:cxn>
                        <a:cxn ang="0">
                          <a:pos x="connsiteX5742" y="connsiteY5742"/>
                        </a:cxn>
                        <a:cxn ang="0">
                          <a:pos x="connsiteX5743" y="connsiteY5743"/>
                        </a:cxn>
                        <a:cxn ang="0">
                          <a:pos x="connsiteX5744" y="connsiteY5744"/>
                        </a:cxn>
                        <a:cxn ang="0">
                          <a:pos x="connsiteX5745" y="connsiteY5745"/>
                        </a:cxn>
                        <a:cxn ang="0">
                          <a:pos x="connsiteX5746" y="connsiteY5746"/>
                        </a:cxn>
                        <a:cxn ang="0">
                          <a:pos x="connsiteX5747" y="connsiteY5747"/>
                        </a:cxn>
                        <a:cxn ang="0">
                          <a:pos x="connsiteX5748" y="connsiteY5748"/>
                        </a:cxn>
                        <a:cxn ang="0">
                          <a:pos x="connsiteX5749" y="connsiteY5749"/>
                        </a:cxn>
                        <a:cxn ang="0">
                          <a:pos x="connsiteX5750" y="connsiteY5750"/>
                        </a:cxn>
                        <a:cxn ang="0">
                          <a:pos x="connsiteX5751" y="connsiteY5751"/>
                        </a:cxn>
                        <a:cxn ang="0">
                          <a:pos x="connsiteX5752" y="connsiteY5752"/>
                        </a:cxn>
                        <a:cxn ang="0">
                          <a:pos x="connsiteX5753" y="connsiteY5753"/>
                        </a:cxn>
                        <a:cxn ang="0">
                          <a:pos x="connsiteX5754" y="connsiteY5754"/>
                        </a:cxn>
                        <a:cxn ang="0">
                          <a:pos x="connsiteX5755" y="connsiteY5755"/>
                        </a:cxn>
                        <a:cxn ang="0">
                          <a:pos x="connsiteX5756" y="connsiteY5756"/>
                        </a:cxn>
                        <a:cxn ang="0">
                          <a:pos x="connsiteX5757" y="connsiteY5757"/>
                        </a:cxn>
                        <a:cxn ang="0">
                          <a:pos x="connsiteX5758" y="connsiteY5758"/>
                        </a:cxn>
                        <a:cxn ang="0">
                          <a:pos x="connsiteX5759" y="connsiteY5759"/>
                        </a:cxn>
                        <a:cxn ang="0">
                          <a:pos x="connsiteX5760" y="connsiteY5760"/>
                        </a:cxn>
                        <a:cxn ang="0">
                          <a:pos x="connsiteX5761" y="connsiteY5761"/>
                        </a:cxn>
                        <a:cxn ang="0">
                          <a:pos x="connsiteX5762" y="connsiteY5762"/>
                        </a:cxn>
                        <a:cxn ang="0">
                          <a:pos x="connsiteX5763" y="connsiteY5763"/>
                        </a:cxn>
                        <a:cxn ang="0">
                          <a:pos x="connsiteX5764" y="connsiteY5764"/>
                        </a:cxn>
                        <a:cxn ang="0">
                          <a:pos x="connsiteX5765" y="connsiteY5765"/>
                        </a:cxn>
                        <a:cxn ang="0">
                          <a:pos x="connsiteX5766" y="connsiteY5766"/>
                        </a:cxn>
                        <a:cxn ang="0">
                          <a:pos x="connsiteX5767" y="connsiteY5767"/>
                        </a:cxn>
                        <a:cxn ang="0">
                          <a:pos x="connsiteX5768" y="connsiteY5768"/>
                        </a:cxn>
                        <a:cxn ang="0">
                          <a:pos x="connsiteX5769" y="connsiteY5769"/>
                        </a:cxn>
                        <a:cxn ang="0">
                          <a:pos x="connsiteX5770" y="connsiteY5770"/>
                        </a:cxn>
                        <a:cxn ang="0">
                          <a:pos x="connsiteX5771" y="connsiteY5771"/>
                        </a:cxn>
                        <a:cxn ang="0">
                          <a:pos x="connsiteX5772" y="connsiteY5772"/>
                        </a:cxn>
                        <a:cxn ang="0">
                          <a:pos x="connsiteX5773" y="connsiteY5773"/>
                        </a:cxn>
                        <a:cxn ang="0">
                          <a:pos x="connsiteX5774" y="connsiteY5774"/>
                        </a:cxn>
                        <a:cxn ang="0">
                          <a:pos x="connsiteX5775" y="connsiteY5775"/>
                        </a:cxn>
                        <a:cxn ang="0">
                          <a:pos x="connsiteX5776" y="connsiteY5776"/>
                        </a:cxn>
                        <a:cxn ang="0">
                          <a:pos x="connsiteX5777" y="connsiteY5777"/>
                        </a:cxn>
                        <a:cxn ang="0">
                          <a:pos x="connsiteX5778" y="connsiteY5778"/>
                        </a:cxn>
                        <a:cxn ang="0">
                          <a:pos x="connsiteX5779" y="connsiteY5779"/>
                        </a:cxn>
                        <a:cxn ang="0">
                          <a:pos x="connsiteX5780" y="connsiteY5780"/>
                        </a:cxn>
                        <a:cxn ang="0">
                          <a:pos x="connsiteX5781" y="connsiteY5781"/>
                        </a:cxn>
                        <a:cxn ang="0">
                          <a:pos x="connsiteX5782" y="connsiteY5782"/>
                        </a:cxn>
                        <a:cxn ang="0">
                          <a:pos x="connsiteX5783" y="connsiteY5783"/>
                        </a:cxn>
                        <a:cxn ang="0">
                          <a:pos x="connsiteX5784" y="connsiteY5784"/>
                        </a:cxn>
                        <a:cxn ang="0">
                          <a:pos x="connsiteX5785" y="connsiteY5785"/>
                        </a:cxn>
                        <a:cxn ang="0">
                          <a:pos x="connsiteX5786" y="connsiteY5786"/>
                        </a:cxn>
                        <a:cxn ang="0">
                          <a:pos x="connsiteX5787" y="connsiteY5787"/>
                        </a:cxn>
                        <a:cxn ang="0">
                          <a:pos x="connsiteX5788" y="connsiteY5788"/>
                        </a:cxn>
                        <a:cxn ang="0">
                          <a:pos x="connsiteX5789" y="connsiteY5789"/>
                        </a:cxn>
                        <a:cxn ang="0">
                          <a:pos x="connsiteX5790" y="connsiteY5790"/>
                        </a:cxn>
                        <a:cxn ang="0">
                          <a:pos x="connsiteX5791" y="connsiteY5791"/>
                        </a:cxn>
                        <a:cxn ang="0">
                          <a:pos x="connsiteX5792" y="connsiteY5792"/>
                        </a:cxn>
                        <a:cxn ang="0">
                          <a:pos x="connsiteX5793" y="connsiteY5793"/>
                        </a:cxn>
                        <a:cxn ang="0">
                          <a:pos x="connsiteX5794" y="connsiteY5794"/>
                        </a:cxn>
                        <a:cxn ang="0">
                          <a:pos x="connsiteX5795" y="connsiteY5795"/>
                        </a:cxn>
                        <a:cxn ang="0">
                          <a:pos x="connsiteX5796" y="connsiteY5796"/>
                        </a:cxn>
                        <a:cxn ang="0">
                          <a:pos x="connsiteX5797" y="connsiteY5797"/>
                        </a:cxn>
                        <a:cxn ang="0">
                          <a:pos x="connsiteX5798" y="connsiteY5798"/>
                        </a:cxn>
                        <a:cxn ang="0">
                          <a:pos x="connsiteX5799" y="connsiteY5799"/>
                        </a:cxn>
                        <a:cxn ang="0">
                          <a:pos x="connsiteX5800" y="connsiteY5800"/>
                        </a:cxn>
                        <a:cxn ang="0">
                          <a:pos x="connsiteX5801" y="connsiteY5801"/>
                        </a:cxn>
                        <a:cxn ang="0">
                          <a:pos x="connsiteX5802" y="connsiteY5802"/>
                        </a:cxn>
                        <a:cxn ang="0">
                          <a:pos x="connsiteX5803" y="connsiteY5803"/>
                        </a:cxn>
                        <a:cxn ang="0">
                          <a:pos x="connsiteX5804" y="connsiteY5804"/>
                        </a:cxn>
                        <a:cxn ang="0">
                          <a:pos x="connsiteX5805" y="connsiteY5805"/>
                        </a:cxn>
                        <a:cxn ang="0">
                          <a:pos x="connsiteX5806" y="connsiteY5806"/>
                        </a:cxn>
                        <a:cxn ang="0">
                          <a:pos x="connsiteX5807" y="connsiteY5807"/>
                        </a:cxn>
                        <a:cxn ang="0">
                          <a:pos x="connsiteX5808" y="connsiteY5808"/>
                        </a:cxn>
                        <a:cxn ang="0">
                          <a:pos x="connsiteX5809" y="connsiteY5809"/>
                        </a:cxn>
                        <a:cxn ang="0">
                          <a:pos x="connsiteX5810" y="connsiteY5810"/>
                        </a:cxn>
                        <a:cxn ang="0">
                          <a:pos x="connsiteX5811" y="connsiteY5811"/>
                        </a:cxn>
                        <a:cxn ang="0">
                          <a:pos x="connsiteX5812" y="connsiteY5812"/>
                        </a:cxn>
                        <a:cxn ang="0">
                          <a:pos x="connsiteX5813" y="connsiteY5813"/>
                        </a:cxn>
                        <a:cxn ang="0">
                          <a:pos x="connsiteX5814" y="connsiteY5814"/>
                        </a:cxn>
                        <a:cxn ang="0">
                          <a:pos x="connsiteX5815" y="connsiteY5815"/>
                        </a:cxn>
                        <a:cxn ang="0">
                          <a:pos x="connsiteX5816" y="connsiteY5816"/>
                        </a:cxn>
                        <a:cxn ang="0">
                          <a:pos x="connsiteX5817" y="connsiteY5817"/>
                        </a:cxn>
                        <a:cxn ang="0">
                          <a:pos x="connsiteX5818" y="connsiteY5818"/>
                        </a:cxn>
                        <a:cxn ang="0">
                          <a:pos x="connsiteX5819" y="connsiteY5819"/>
                        </a:cxn>
                        <a:cxn ang="0">
                          <a:pos x="connsiteX5820" y="connsiteY5820"/>
                        </a:cxn>
                        <a:cxn ang="0">
                          <a:pos x="connsiteX5821" y="connsiteY5821"/>
                        </a:cxn>
                        <a:cxn ang="0">
                          <a:pos x="connsiteX5822" y="connsiteY5822"/>
                        </a:cxn>
                        <a:cxn ang="0">
                          <a:pos x="connsiteX5823" y="connsiteY5823"/>
                        </a:cxn>
                        <a:cxn ang="0">
                          <a:pos x="connsiteX5824" y="connsiteY5824"/>
                        </a:cxn>
                        <a:cxn ang="0">
                          <a:pos x="connsiteX5825" y="connsiteY5825"/>
                        </a:cxn>
                        <a:cxn ang="0">
                          <a:pos x="connsiteX5826" y="connsiteY5826"/>
                        </a:cxn>
                        <a:cxn ang="0">
                          <a:pos x="connsiteX5827" y="connsiteY5827"/>
                        </a:cxn>
                        <a:cxn ang="0">
                          <a:pos x="connsiteX5828" y="connsiteY5828"/>
                        </a:cxn>
                        <a:cxn ang="0">
                          <a:pos x="connsiteX5829" y="connsiteY5829"/>
                        </a:cxn>
                        <a:cxn ang="0">
                          <a:pos x="connsiteX5830" y="connsiteY5830"/>
                        </a:cxn>
                        <a:cxn ang="0">
                          <a:pos x="connsiteX5831" y="connsiteY5831"/>
                        </a:cxn>
                        <a:cxn ang="0">
                          <a:pos x="connsiteX5832" y="connsiteY5832"/>
                        </a:cxn>
                        <a:cxn ang="0">
                          <a:pos x="connsiteX5833" y="connsiteY5833"/>
                        </a:cxn>
                        <a:cxn ang="0">
                          <a:pos x="connsiteX5834" y="connsiteY5834"/>
                        </a:cxn>
                        <a:cxn ang="0">
                          <a:pos x="connsiteX5835" y="connsiteY5835"/>
                        </a:cxn>
                        <a:cxn ang="0">
                          <a:pos x="connsiteX5836" y="connsiteY5836"/>
                        </a:cxn>
                        <a:cxn ang="0">
                          <a:pos x="connsiteX5837" y="connsiteY5837"/>
                        </a:cxn>
                        <a:cxn ang="0">
                          <a:pos x="connsiteX5838" y="connsiteY5838"/>
                        </a:cxn>
                        <a:cxn ang="0">
                          <a:pos x="connsiteX5839" y="connsiteY5839"/>
                        </a:cxn>
                        <a:cxn ang="0">
                          <a:pos x="connsiteX5840" y="connsiteY5840"/>
                        </a:cxn>
                        <a:cxn ang="0">
                          <a:pos x="connsiteX5841" y="connsiteY5841"/>
                        </a:cxn>
                        <a:cxn ang="0">
                          <a:pos x="connsiteX5842" y="connsiteY5842"/>
                        </a:cxn>
                        <a:cxn ang="0">
                          <a:pos x="connsiteX5843" y="connsiteY5843"/>
                        </a:cxn>
                        <a:cxn ang="0">
                          <a:pos x="connsiteX5844" y="connsiteY5844"/>
                        </a:cxn>
                        <a:cxn ang="0">
                          <a:pos x="connsiteX5845" y="connsiteY5845"/>
                        </a:cxn>
                        <a:cxn ang="0">
                          <a:pos x="connsiteX5846" y="connsiteY5846"/>
                        </a:cxn>
                        <a:cxn ang="0">
                          <a:pos x="connsiteX5847" y="connsiteY5847"/>
                        </a:cxn>
                        <a:cxn ang="0">
                          <a:pos x="connsiteX5848" y="connsiteY5848"/>
                        </a:cxn>
                        <a:cxn ang="0">
                          <a:pos x="connsiteX5849" y="connsiteY5849"/>
                        </a:cxn>
                        <a:cxn ang="0">
                          <a:pos x="connsiteX5850" y="connsiteY5850"/>
                        </a:cxn>
                        <a:cxn ang="0">
                          <a:pos x="connsiteX5851" y="connsiteY5851"/>
                        </a:cxn>
                        <a:cxn ang="0">
                          <a:pos x="connsiteX5852" y="connsiteY5852"/>
                        </a:cxn>
                        <a:cxn ang="0">
                          <a:pos x="connsiteX5853" y="connsiteY5853"/>
                        </a:cxn>
                        <a:cxn ang="0">
                          <a:pos x="connsiteX5854" y="connsiteY5854"/>
                        </a:cxn>
                        <a:cxn ang="0">
                          <a:pos x="connsiteX5855" y="connsiteY5855"/>
                        </a:cxn>
                        <a:cxn ang="0">
                          <a:pos x="connsiteX5856" y="connsiteY5856"/>
                        </a:cxn>
                        <a:cxn ang="0">
                          <a:pos x="connsiteX5857" y="connsiteY5857"/>
                        </a:cxn>
                        <a:cxn ang="0">
                          <a:pos x="connsiteX5858" y="connsiteY5858"/>
                        </a:cxn>
                        <a:cxn ang="0">
                          <a:pos x="connsiteX5859" y="connsiteY5859"/>
                        </a:cxn>
                        <a:cxn ang="0">
                          <a:pos x="connsiteX5860" y="connsiteY5860"/>
                        </a:cxn>
                        <a:cxn ang="0">
                          <a:pos x="connsiteX5861" y="connsiteY5861"/>
                        </a:cxn>
                        <a:cxn ang="0">
                          <a:pos x="connsiteX5862" y="connsiteY5862"/>
                        </a:cxn>
                        <a:cxn ang="0">
                          <a:pos x="connsiteX5863" y="connsiteY5863"/>
                        </a:cxn>
                        <a:cxn ang="0">
                          <a:pos x="connsiteX5864" y="connsiteY5864"/>
                        </a:cxn>
                        <a:cxn ang="0">
                          <a:pos x="connsiteX5865" y="connsiteY5865"/>
                        </a:cxn>
                        <a:cxn ang="0">
                          <a:pos x="connsiteX5866" y="connsiteY5866"/>
                        </a:cxn>
                        <a:cxn ang="0">
                          <a:pos x="connsiteX5867" y="connsiteY5867"/>
                        </a:cxn>
                        <a:cxn ang="0">
                          <a:pos x="connsiteX5868" y="connsiteY5868"/>
                        </a:cxn>
                        <a:cxn ang="0">
                          <a:pos x="connsiteX5869" y="connsiteY5869"/>
                        </a:cxn>
                        <a:cxn ang="0">
                          <a:pos x="connsiteX5870" y="connsiteY5870"/>
                        </a:cxn>
                        <a:cxn ang="0">
                          <a:pos x="connsiteX5871" y="connsiteY5871"/>
                        </a:cxn>
                        <a:cxn ang="0">
                          <a:pos x="connsiteX5872" y="connsiteY5872"/>
                        </a:cxn>
                        <a:cxn ang="0">
                          <a:pos x="connsiteX5873" y="connsiteY5873"/>
                        </a:cxn>
                        <a:cxn ang="0">
                          <a:pos x="connsiteX5874" y="connsiteY5874"/>
                        </a:cxn>
                        <a:cxn ang="0">
                          <a:pos x="connsiteX5875" y="connsiteY5875"/>
                        </a:cxn>
                        <a:cxn ang="0">
                          <a:pos x="connsiteX5876" y="connsiteY5876"/>
                        </a:cxn>
                        <a:cxn ang="0">
                          <a:pos x="connsiteX5877" y="connsiteY5877"/>
                        </a:cxn>
                        <a:cxn ang="0">
                          <a:pos x="connsiteX5878" y="connsiteY5878"/>
                        </a:cxn>
                        <a:cxn ang="0">
                          <a:pos x="connsiteX5879" y="connsiteY5879"/>
                        </a:cxn>
                        <a:cxn ang="0">
                          <a:pos x="connsiteX5880" y="connsiteY5880"/>
                        </a:cxn>
                        <a:cxn ang="0">
                          <a:pos x="connsiteX5881" y="connsiteY5881"/>
                        </a:cxn>
                        <a:cxn ang="0">
                          <a:pos x="connsiteX5882" y="connsiteY5882"/>
                        </a:cxn>
                        <a:cxn ang="0">
                          <a:pos x="connsiteX5883" y="connsiteY5883"/>
                        </a:cxn>
                        <a:cxn ang="0">
                          <a:pos x="connsiteX5884" y="connsiteY5884"/>
                        </a:cxn>
                        <a:cxn ang="0">
                          <a:pos x="connsiteX5885" y="connsiteY5885"/>
                        </a:cxn>
                        <a:cxn ang="0">
                          <a:pos x="connsiteX5886" y="connsiteY5886"/>
                        </a:cxn>
                        <a:cxn ang="0">
                          <a:pos x="connsiteX5887" y="connsiteY5887"/>
                        </a:cxn>
                        <a:cxn ang="0">
                          <a:pos x="connsiteX5888" y="connsiteY5888"/>
                        </a:cxn>
                        <a:cxn ang="0">
                          <a:pos x="connsiteX5889" y="connsiteY5889"/>
                        </a:cxn>
                        <a:cxn ang="0">
                          <a:pos x="connsiteX5890" y="connsiteY5890"/>
                        </a:cxn>
                        <a:cxn ang="0">
                          <a:pos x="connsiteX5891" y="connsiteY5891"/>
                        </a:cxn>
                        <a:cxn ang="0">
                          <a:pos x="connsiteX5892" y="connsiteY5892"/>
                        </a:cxn>
                        <a:cxn ang="0">
                          <a:pos x="connsiteX5893" y="connsiteY5893"/>
                        </a:cxn>
                        <a:cxn ang="0">
                          <a:pos x="connsiteX5894" y="connsiteY5894"/>
                        </a:cxn>
                        <a:cxn ang="0">
                          <a:pos x="connsiteX5895" y="connsiteY5895"/>
                        </a:cxn>
                        <a:cxn ang="0">
                          <a:pos x="connsiteX5896" y="connsiteY5896"/>
                        </a:cxn>
                        <a:cxn ang="0">
                          <a:pos x="connsiteX5897" y="connsiteY5897"/>
                        </a:cxn>
                        <a:cxn ang="0">
                          <a:pos x="connsiteX5898" y="connsiteY5898"/>
                        </a:cxn>
                        <a:cxn ang="0">
                          <a:pos x="connsiteX5899" y="connsiteY5899"/>
                        </a:cxn>
                        <a:cxn ang="0">
                          <a:pos x="connsiteX5900" y="connsiteY5900"/>
                        </a:cxn>
                        <a:cxn ang="0">
                          <a:pos x="connsiteX5901" y="connsiteY5901"/>
                        </a:cxn>
                        <a:cxn ang="0">
                          <a:pos x="connsiteX5902" y="connsiteY5902"/>
                        </a:cxn>
                        <a:cxn ang="0">
                          <a:pos x="connsiteX5903" y="connsiteY5903"/>
                        </a:cxn>
                        <a:cxn ang="0">
                          <a:pos x="connsiteX5904" y="connsiteY5904"/>
                        </a:cxn>
                        <a:cxn ang="0">
                          <a:pos x="connsiteX5905" y="connsiteY5905"/>
                        </a:cxn>
                        <a:cxn ang="0">
                          <a:pos x="connsiteX5906" y="connsiteY5906"/>
                        </a:cxn>
                        <a:cxn ang="0">
                          <a:pos x="connsiteX5907" y="connsiteY5907"/>
                        </a:cxn>
                        <a:cxn ang="0">
                          <a:pos x="connsiteX5908" y="connsiteY5908"/>
                        </a:cxn>
                        <a:cxn ang="0">
                          <a:pos x="connsiteX5909" y="connsiteY5909"/>
                        </a:cxn>
                        <a:cxn ang="0">
                          <a:pos x="connsiteX5910" y="connsiteY5910"/>
                        </a:cxn>
                        <a:cxn ang="0">
                          <a:pos x="connsiteX5911" y="connsiteY5911"/>
                        </a:cxn>
                        <a:cxn ang="0">
                          <a:pos x="connsiteX5912" y="connsiteY5912"/>
                        </a:cxn>
                        <a:cxn ang="0">
                          <a:pos x="connsiteX5913" y="connsiteY5913"/>
                        </a:cxn>
                        <a:cxn ang="0">
                          <a:pos x="connsiteX5914" y="connsiteY5914"/>
                        </a:cxn>
                        <a:cxn ang="0">
                          <a:pos x="connsiteX5915" y="connsiteY5915"/>
                        </a:cxn>
                        <a:cxn ang="0">
                          <a:pos x="connsiteX5916" y="connsiteY5916"/>
                        </a:cxn>
                        <a:cxn ang="0">
                          <a:pos x="connsiteX5917" y="connsiteY5917"/>
                        </a:cxn>
                        <a:cxn ang="0">
                          <a:pos x="connsiteX5918" y="connsiteY5918"/>
                        </a:cxn>
                        <a:cxn ang="0">
                          <a:pos x="connsiteX5919" y="connsiteY5919"/>
                        </a:cxn>
                        <a:cxn ang="0">
                          <a:pos x="connsiteX5920" y="connsiteY5920"/>
                        </a:cxn>
                        <a:cxn ang="0">
                          <a:pos x="connsiteX5921" y="connsiteY5921"/>
                        </a:cxn>
                        <a:cxn ang="0">
                          <a:pos x="connsiteX5922" y="connsiteY5922"/>
                        </a:cxn>
                        <a:cxn ang="0">
                          <a:pos x="connsiteX5923" y="connsiteY5923"/>
                        </a:cxn>
                        <a:cxn ang="0">
                          <a:pos x="connsiteX5924" y="connsiteY5924"/>
                        </a:cxn>
                        <a:cxn ang="0">
                          <a:pos x="connsiteX5925" y="connsiteY5925"/>
                        </a:cxn>
                        <a:cxn ang="0">
                          <a:pos x="connsiteX5926" y="connsiteY5926"/>
                        </a:cxn>
                        <a:cxn ang="0">
                          <a:pos x="connsiteX5927" y="connsiteY5927"/>
                        </a:cxn>
                        <a:cxn ang="0">
                          <a:pos x="connsiteX5928" y="connsiteY5928"/>
                        </a:cxn>
                        <a:cxn ang="0">
                          <a:pos x="connsiteX5929" y="connsiteY5929"/>
                        </a:cxn>
                        <a:cxn ang="0">
                          <a:pos x="connsiteX5930" y="connsiteY5930"/>
                        </a:cxn>
                        <a:cxn ang="0">
                          <a:pos x="connsiteX5931" y="connsiteY5931"/>
                        </a:cxn>
                        <a:cxn ang="0">
                          <a:pos x="connsiteX5932" y="connsiteY5932"/>
                        </a:cxn>
                        <a:cxn ang="0">
                          <a:pos x="connsiteX5933" y="connsiteY5933"/>
                        </a:cxn>
                        <a:cxn ang="0">
                          <a:pos x="connsiteX5934" y="connsiteY5934"/>
                        </a:cxn>
                        <a:cxn ang="0">
                          <a:pos x="connsiteX5935" y="connsiteY5935"/>
                        </a:cxn>
                        <a:cxn ang="0">
                          <a:pos x="connsiteX5936" y="connsiteY5936"/>
                        </a:cxn>
                        <a:cxn ang="0">
                          <a:pos x="connsiteX5937" y="connsiteY5937"/>
                        </a:cxn>
                        <a:cxn ang="0">
                          <a:pos x="connsiteX5938" y="connsiteY5938"/>
                        </a:cxn>
                        <a:cxn ang="0">
                          <a:pos x="connsiteX5939" y="connsiteY5939"/>
                        </a:cxn>
                        <a:cxn ang="0">
                          <a:pos x="connsiteX5940" y="connsiteY5940"/>
                        </a:cxn>
                        <a:cxn ang="0">
                          <a:pos x="connsiteX5941" y="connsiteY5941"/>
                        </a:cxn>
                        <a:cxn ang="0">
                          <a:pos x="connsiteX5942" y="connsiteY5942"/>
                        </a:cxn>
                        <a:cxn ang="0">
                          <a:pos x="connsiteX5943" y="connsiteY5943"/>
                        </a:cxn>
                        <a:cxn ang="0">
                          <a:pos x="connsiteX5944" y="connsiteY5944"/>
                        </a:cxn>
                        <a:cxn ang="0">
                          <a:pos x="connsiteX5945" y="connsiteY5945"/>
                        </a:cxn>
                        <a:cxn ang="0">
                          <a:pos x="connsiteX5946" y="connsiteY5946"/>
                        </a:cxn>
                        <a:cxn ang="0">
                          <a:pos x="connsiteX5947" y="connsiteY5947"/>
                        </a:cxn>
                        <a:cxn ang="0">
                          <a:pos x="connsiteX5948" y="connsiteY5948"/>
                        </a:cxn>
                        <a:cxn ang="0">
                          <a:pos x="connsiteX5949" y="connsiteY5949"/>
                        </a:cxn>
                        <a:cxn ang="0">
                          <a:pos x="connsiteX5950" y="connsiteY5950"/>
                        </a:cxn>
                        <a:cxn ang="0">
                          <a:pos x="connsiteX5951" y="connsiteY5951"/>
                        </a:cxn>
                        <a:cxn ang="0">
                          <a:pos x="connsiteX5952" y="connsiteY5952"/>
                        </a:cxn>
                        <a:cxn ang="0">
                          <a:pos x="connsiteX5953" y="connsiteY5953"/>
                        </a:cxn>
                        <a:cxn ang="0">
                          <a:pos x="connsiteX5954" y="connsiteY5954"/>
                        </a:cxn>
                        <a:cxn ang="0">
                          <a:pos x="connsiteX5955" y="connsiteY5955"/>
                        </a:cxn>
                        <a:cxn ang="0">
                          <a:pos x="connsiteX5956" y="connsiteY5956"/>
                        </a:cxn>
                        <a:cxn ang="0">
                          <a:pos x="connsiteX5957" y="connsiteY5957"/>
                        </a:cxn>
                        <a:cxn ang="0">
                          <a:pos x="connsiteX5958" y="connsiteY5958"/>
                        </a:cxn>
                        <a:cxn ang="0">
                          <a:pos x="connsiteX5959" y="connsiteY5959"/>
                        </a:cxn>
                        <a:cxn ang="0">
                          <a:pos x="connsiteX5960" y="connsiteY5960"/>
                        </a:cxn>
                        <a:cxn ang="0">
                          <a:pos x="connsiteX5961" y="connsiteY5961"/>
                        </a:cxn>
                        <a:cxn ang="0">
                          <a:pos x="connsiteX5962" y="connsiteY5962"/>
                        </a:cxn>
                        <a:cxn ang="0">
                          <a:pos x="connsiteX5963" y="connsiteY5963"/>
                        </a:cxn>
                        <a:cxn ang="0">
                          <a:pos x="connsiteX5964" y="connsiteY5964"/>
                        </a:cxn>
                        <a:cxn ang="0">
                          <a:pos x="connsiteX5965" y="connsiteY5965"/>
                        </a:cxn>
                        <a:cxn ang="0">
                          <a:pos x="connsiteX5966" y="connsiteY5966"/>
                        </a:cxn>
                        <a:cxn ang="0">
                          <a:pos x="connsiteX5967" y="connsiteY5967"/>
                        </a:cxn>
                        <a:cxn ang="0">
                          <a:pos x="connsiteX5968" y="connsiteY5968"/>
                        </a:cxn>
                        <a:cxn ang="0">
                          <a:pos x="connsiteX5969" y="connsiteY5969"/>
                        </a:cxn>
                        <a:cxn ang="0">
                          <a:pos x="connsiteX5970" y="connsiteY5970"/>
                        </a:cxn>
                        <a:cxn ang="0">
                          <a:pos x="connsiteX5971" y="connsiteY5971"/>
                        </a:cxn>
                        <a:cxn ang="0">
                          <a:pos x="connsiteX5972" y="connsiteY5972"/>
                        </a:cxn>
                        <a:cxn ang="0">
                          <a:pos x="connsiteX5973" y="connsiteY5973"/>
                        </a:cxn>
                        <a:cxn ang="0">
                          <a:pos x="connsiteX5974" y="connsiteY5974"/>
                        </a:cxn>
                        <a:cxn ang="0">
                          <a:pos x="connsiteX5975" y="connsiteY5975"/>
                        </a:cxn>
                        <a:cxn ang="0">
                          <a:pos x="connsiteX5976" y="connsiteY5976"/>
                        </a:cxn>
                        <a:cxn ang="0">
                          <a:pos x="connsiteX5977" y="connsiteY5977"/>
                        </a:cxn>
                        <a:cxn ang="0">
                          <a:pos x="connsiteX5978" y="connsiteY5978"/>
                        </a:cxn>
                        <a:cxn ang="0">
                          <a:pos x="connsiteX5979" y="connsiteY5979"/>
                        </a:cxn>
                        <a:cxn ang="0">
                          <a:pos x="connsiteX5980" y="connsiteY5980"/>
                        </a:cxn>
                        <a:cxn ang="0">
                          <a:pos x="connsiteX5981" y="connsiteY5981"/>
                        </a:cxn>
                        <a:cxn ang="0">
                          <a:pos x="connsiteX5982" y="connsiteY5982"/>
                        </a:cxn>
                        <a:cxn ang="0">
                          <a:pos x="connsiteX5983" y="connsiteY5983"/>
                        </a:cxn>
                        <a:cxn ang="0">
                          <a:pos x="connsiteX5984" y="connsiteY5984"/>
                        </a:cxn>
                        <a:cxn ang="0">
                          <a:pos x="connsiteX5985" y="connsiteY5985"/>
                        </a:cxn>
                        <a:cxn ang="0">
                          <a:pos x="connsiteX5986" y="connsiteY5986"/>
                        </a:cxn>
                        <a:cxn ang="0">
                          <a:pos x="connsiteX5987" y="connsiteY5987"/>
                        </a:cxn>
                        <a:cxn ang="0">
                          <a:pos x="connsiteX5988" y="connsiteY5988"/>
                        </a:cxn>
                        <a:cxn ang="0">
                          <a:pos x="connsiteX5989" y="connsiteY5989"/>
                        </a:cxn>
                        <a:cxn ang="0">
                          <a:pos x="connsiteX5990" y="connsiteY5990"/>
                        </a:cxn>
                        <a:cxn ang="0">
                          <a:pos x="connsiteX5991" y="connsiteY5991"/>
                        </a:cxn>
                        <a:cxn ang="0">
                          <a:pos x="connsiteX5992" y="connsiteY5992"/>
                        </a:cxn>
                        <a:cxn ang="0">
                          <a:pos x="connsiteX5993" y="connsiteY5993"/>
                        </a:cxn>
                        <a:cxn ang="0">
                          <a:pos x="connsiteX5994" y="connsiteY5994"/>
                        </a:cxn>
                        <a:cxn ang="0">
                          <a:pos x="connsiteX5995" y="connsiteY5995"/>
                        </a:cxn>
                        <a:cxn ang="0">
                          <a:pos x="connsiteX5996" y="connsiteY5996"/>
                        </a:cxn>
                        <a:cxn ang="0">
                          <a:pos x="connsiteX5997" y="connsiteY5997"/>
                        </a:cxn>
                        <a:cxn ang="0">
                          <a:pos x="connsiteX5998" y="connsiteY5998"/>
                        </a:cxn>
                        <a:cxn ang="0">
                          <a:pos x="connsiteX5999" y="connsiteY5999"/>
                        </a:cxn>
                        <a:cxn ang="0">
                          <a:pos x="connsiteX6000" y="connsiteY6000"/>
                        </a:cxn>
                        <a:cxn ang="0">
                          <a:pos x="connsiteX6001" y="connsiteY6001"/>
                        </a:cxn>
                        <a:cxn ang="0">
                          <a:pos x="connsiteX6002" y="connsiteY6002"/>
                        </a:cxn>
                        <a:cxn ang="0">
                          <a:pos x="connsiteX6003" y="connsiteY6003"/>
                        </a:cxn>
                        <a:cxn ang="0">
                          <a:pos x="connsiteX6004" y="connsiteY6004"/>
                        </a:cxn>
                        <a:cxn ang="0">
                          <a:pos x="connsiteX6005" y="connsiteY6005"/>
                        </a:cxn>
                        <a:cxn ang="0">
                          <a:pos x="connsiteX6006" y="connsiteY6006"/>
                        </a:cxn>
                        <a:cxn ang="0">
                          <a:pos x="connsiteX6007" y="connsiteY6007"/>
                        </a:cxn>
                        <a:cxn ang="0">
                          <a:pos x="connsiteX6008" y="connsiteY6008"/>
                        </a:cxn>
                        <a:cxn ang="0">
                          <a:pos x="connsiteX6009" y="connsiteY6009"/>
                        </a:cxn>
                        <a:cxn ang="0">
                          <a:pos x="connsiteX6010" y="connsiteY6010"/>
                        </a:cxn>
                        <a:cxn ang="0">
                          <a:pos x="connsiteX6011" y="connsiteY6011"/>
                        </a:cxn>
                        <a:cxn ang="0">
                          <a:pos x="connsiteX6012" y="connsiteY6012"/>
                        </a:cxn>
                        <a:cxn ang="0">
                          <a:pos x="connsiteX6013" y="connsiteY6013"/>
                        </a:cxn>
                        <a:cxn ang="0">
                          <a:pos x="connsiteX6014" y="connsiteY6014"/>
                        </a:cxn>
                        <a:cxn ang="0">
                          <a:pos x="connsiteX6015" y="connsiteY6015"/>
                        </a:cxn>
                        <a:cxn ang="0">
                          <a:pos x="connsiteX6016" y="connsiteY6016"/>
                        </a:cxn>
                        <a:cxn ang="0">
                          <a:pos x="connsiteX6017" y="connsiteY6017"/>
                        </a:cxn>
                        <a:cxn ang="0">
                          <a:pos x="connsiteX6018" y="connsiteY6018"/>
                        </a:cxn>
                        <a:cxn ang="0">
                          <a:pos x="connsiteX6019" y="connsiteY6019"/>
                        </a:cxn>
                        <a:cxn ang="0">
                          <a:pos x="connsiteX6020" y="connsiteY6020"/>
                        </a:cxn>
                        <a:cxn ang="0">
                          <a:pos x="connsiteX6021" y="connsiteY6021"/>
                        </a:cxn>
                        <a:cxn ang="0">
                          <a:pos x="connsiteX6022" y="connsiteY6022"/>
                        </a:cxn>
                        <a:cxn ang="0">
                          <a:pos x="connsiteX6023" y="connsiteY6023"/>
                        </a:cxn>
                        <a:cxn ang="0">
                          <a:pos x="connsiteX6024" y="connsiteY6024"/>
                        </a:cxn>
                        <a:cxn ang="0">
                          <a:pos x="connsiteX6025" y="connsiteY6025"/>
                        </a:cxn>
                        <a:cxn ang="0">
                          <a:pos x="connsiteX6026" y="connsiteY6026"/>
                        </a:cxn>
                        <a:cxn ang="0">
                          <a:pos x="connsiteX6027" y="connsiteY6027"/>
                        </a:cxn>
                        <a:cxn ang="0">
                          <a:pos x="connsiteX6028" y="connsiteY6028"/>
                        </a:cxn>
                        <a:cxn ang="0">
                          <a:pos x="connsiteX6029" y="connsiteY6029"/>
                        </a:cxn>
                        <a:cxn ang="0">
                          <a:pos x="connsiteX6030" y="connsiteY6030"/>
                        </a:cxn>
                        <a:cxn ang="0">
                          <a:pos x="connsiteX6031" y="connsiteY6031"/>
                        </a:cxn>
                        <a:cxn ang="0">
                          <a:pos x="connsiteX6032" y="connsiteY6032"/>
                        </a:cxn>
                        <a:cxn ang="0">
                          <a:pos x="connsiteX6033" y="connsiteY6033"/>
                        </a:cxn>
                        <a:cxn ang="0">
                          <a:pos x="connsiteX6034" y="connsiteY6034"/>
                        </a:cxn>
                        <a:cxn ang="0">
                          <a:pos x="connsiteX6035" y="connsiteY6035"/>
                        </a:cxn>
                        <a:cxn ang="0">
                          <a:pos x="connsiteX6036" y="connsiteY6036"/>
                        </a:cxn>
                        <a:cxn ang="0">
                          <a:pos x="connsiteX6037" y="connsiteY6037"/>
                        </a:cxn>
                        <a:cxn ang="0">
                          <a:pos x="connsiteX6038" y="connsiteY6038"/>
                        </a:cxn>
                        <a:cxn ang="0">
                          <a:pos x="connsiteX6039" y="connsiteY6039"/>
                        </a:cxn>
                        <a:cxn ang="0">
                          <a:pos x="connsiteX6040" y="connsiteY6040"/>
                        </a:cxn>
                        <a:cxn ang="0">
                          <a:pos x="connsiteX6041" y="connsiteY6041"/>
                        </a:cxn>
                        <a:cxn ang="0">
                          <a:pos x="connsiteX6042" y="connsiteY6042"/>
                        </a:cxn>
                        <a:cxn ang="0">
                          <a:pos x="connsiteX6043" y="connsiteY6043"/>
                        </a:cxn>
                        <a:cxn ang="0">
                          <a:pos x="connsiteX6044" y="connsiteY6044"/>
                        </a:cxn>
                        <a:cxn ang="0">
                          <a:pos x="connsiteX6045" y="connsiteY6045"/>
                        </a:cxn>
                        <a:cxn ang="0">
                          <a:pos x="connsiteX6046" y="connsiteY6046"/>
                        </a:cxn>
                        <a:cxn ang="0">
                          <a:pos x="connsiteX6047" y="connsiteY6047"/>
                        </a:cxn>
                        <a:cxn ang="0">
                          <a:pos x="connsiteX6048" y="connsiteY6048"/>
                        </a:cxn>
                        <a:cxn ang="0">
                          <a:pos x="connsiteX6049" y="connsiteY6049"/>
                        </a:cxn>
                        <a:cxn ang="0">
                          <a:pos x="connsiteX6050" y="connsiteY6050"/>
                        </a:cxn>
                        <a:cxn ang="0">
                          <a:pos x="connsiteX6051" y="connsiteY6051"/>
                        </a:cxn>
                        <a:cxn ang="0">
                          <a:pos x="connsiteX6052" y="connsiteY6052"/>
                        </a:cxn>
                        <a:cxn ang="0">
                          <a:pos x="connsiteX6053" y="connsiteY6053"/>
                        </a:cxn>
                        <a:cxn ang="0">
                          <a:pos x="connsiteX6054" y="connsiteY6054"/>
                        </a:cxn>
                        <a:cxn ang="0">
                          <a:pos x="connsiteX6055" y="connsiteY6055"/>
                        </a:cxn>
                        <a:cxn ang="0">
                          <a:pos x="connsiteX6056" y="connsiteY6056"/>
                        </a:cxn>
                        <a:cxn ang="0">
                          <a:pos x="connsiteX6057" y="connsiteY6057"/>
                        </a:cxn>
                        <a:cxn ang="0">
                          <a:pos x="connsiteX6058" y="connsiteY6058"/>
                        </a:cxn>
                        <a:cxn ang="0">
                          <a:pos x="connsiteX6059" y="connsiteY6059"/>
                        </a:cxn>
                        <a:cxn ang="0">
                          <a:pos x="connsiteX6060" y="connsiteY6060"/>
                        </a:cxn>
                        <a:cxn ang="0">
                          <a:pos x="connsiteX6061" y="connsiteY6061"/>
                        </a:cxn>
                        <a:cxn ang="0">
                          <a:pos x="connsiteX6062" y="connsiteY6062"/>
                        </a:cxn>
                        <a:cxn ang="0">
                          <a:pos x="connsiteX6063" y="connsiteY6063"/>
                        </a:cxn>
                        <a:cxn ang="0">
                          <a:pos x="connsiteX6064" y="connsiteY6064"/>
                        </a:cxn>
                        <a:cxn ang="0">
                          <a:pos x="connsiteX6065" y="connsiteY6065"/>
                        </a:cxn>
                        <a:cxn ang="0">
                          <a:pos x="connsiteX6066" y="connsiteY6066"/>
                        </a:cxn>
                        <a:cxn ang="0">
                          <a:pos x="connsiteX6067" y="connsiteY6067"/>
                        </a:cxn>
                        <a:cxn ang="0">
                          <a:pos x="connsiteX6068" y="connsiteY6068"/>
                        </a:cxn>
                        <a:cxn ang="0">
                          <a:pos x="connsiteX6069" y="connsiteY6069"/>
                        </a:cxn>
                        <a:cxn ang="0">
                          <a:pos x="connsiteX6070" y="connsiteY6070"/>
                        </a:cxn>
                        <a:cxn ang="0">
                          <a:pos x="connsiteX6071" y="connsiteY6071"/>
                        </a:cxn>
                        <a:cxn ang="0">
                          <a:pos x="connsiteX6072" y="connsiteY6072"/>
                        </a:cxn>
                        <a:cxn ang="0">
                          <a:pos x="connsiteX6073" y="connsiteY6073"/>
                        </a:cxn>
                        <a:cxn ang="0">
                          <a:pos x="connsiteX6074" y="connsiteY6074"/>
                        </a:cxn>
                        <a:cxn ang="0">
                          <a:pos x="connsiteX6075" y="connsiteY6075"/>
                        </a:cxn>
                        <a:cxn ang="0">
                          <a:pos x="connsiteX6076" y="connsiteY6076"/>
                        </a:cxn>
                        <a:cxn ang="0">
                          <a:pos x="connsiteX6077" y="connsiteY6077"/>
                        </a:cxn>
                        <a:cxn ang="0">
                          <a:pos x="connsiteX6078" y="connsiteY6078"/>
                        </a:cxn>
                        <a:cxn ang="0">
                          <a:pos x="connsiteX6079" y="connsiteY6079"/>
                        </a:cxn>
                        <a:cxn ang="0">
                          <a:pos x="connsiteX6080" y="connsiteY6080"/>
                        </a:cxn>
                        <a:cxn ang="0">
                          <a:pos x="connsiteX6081" y="connsiteY6081"/>
                        </a:cxn>
                        <a:cxn ang="0">
                          <a:pos x="connsiteX6082" y="connsiteY6082"/>
                        </a:cxn>
                        <a:cxn ang="0">
                          <a:pos x="connsiteX6083" y="connsiteY6083"/>
                        </a:cxn>
                        <a:cxn ang="0">
                          <a:pos x="connsiteX6084" y="connsiteY6084"/>
                        </a:cxn>
                        <a:cxn ang="0">
                          <a:pos x="connsiteX6085" y="connsiteY6085"/>
                        </a:cxn>
                        <a:cxn ang="0">
                          <a:pos x="connsiteX6086" y="connsiteY6086"/>
                        </a:cxn>
                        <a:cxn ang="0">
                          <a:pos x="connsiteX6087" y="connsiteY6087"/>
                        </a:cxn>
                        <a:cxn ang="0">
                          <a:pos x="connsiteX6088" y="connsiteY6088"/>
                        </a:cxn>
                        <a:cxn ang="0">
                          <a:pos x="connsiteX6089" y="connsiteY6089"/>
                        </a:cxn>
                        <a:cxn ang="0">
                          <a:pos x="connsiteX6090" y="connsiteY6090"/>
                        </a:cxn>
                        <a:cxn ang="0">
                          <a:pos x="connsiteX6091" y="connsiteY6091"/>
                        </a:cxn>
                        <a:cxn ang="0">
                          <a:pos x="connsiteX6092" y="connsiteY6092"/>
                        </a:cxn>
                        <a:cxn ang="0">
                          <a:pos x="connsiteX6093" y="connsiteY6093"/>
                        </a:cxn>
                        <a:cxn ang="0">
                          <a:pos x="connsiteX6094" y="connsiteY6094"/>
                        </a:cxn>
                        <a:cxn ang="0">
                          <a:pos x="connsiteX6095" y="connsiteY6095"/>
                        </a:cxn>
                        <a:cxn ang="0">
                          <a:pos x="connsiteX6096" y="connsiteY6096"/>
                        </a:cxn>
                        <a:cxn ang="0">
                          <a:pos x="connsiteX6097" y="connsiteY6097"/>
                        </a:cxn>
                        <a:cxn ang="0">
                          <a:pos x="connsiteX6098" y="connsiteY6098"/>
                        </a:cxn>
                        <a:cxn ang="0">
                          <a:pos x="connsiteX6099" y="connsiteY6099"/>
                        </a:cxn>
                        <a:cxn ang="0">
                          <a:pos x="connsiteX6100" y="connsiteY6100"/>
                        </a:cxn>
                        <a:cxn ang="0">
                          <a:pos x="connsiteX6101" y="connsiteY6101"/>
                        </a:cxn>
                        <a:cxn ang="0">
                          <a:pos x="connsiteX6102" y="connsiteY6102"/>
                        </a:cxn>
                        <a:cxn ang="0">
                          <a:pos x="connsiteX6103" y="connsiteY6103"/>
                        </a:cxn>
                        <a:cxn ang="0">
                          <a:pos x="connsiteX6104" y="connsiteY6104"/>
                        </a:cxn>
                        <a:cxn ang="0">
                          <a:pos x="connsiteX6105" y="connsiteY6105"/>
                        </a:cxn>
                        <a:cxn ang="0">
                          <a:pos x="connsiteX6106" y="connsiteY6106"/>
                        </a:cxn>
                        <a:cxn ang="0">
                          <a:pos x="connsiteX6107" y="connsiteY6107"/>
                        </a:cxn>
                        <a:cxn ang="0">
                          <a:pos x="connsiteX6108" y="connsiteY6108"/>
                        </a:cxn>
                        <a:cxn ang="0">
                          <a:pos x="connsiteX6109" y="connsiteY6109"/>
                        </a:cxn>
                        <a:cxn ang="0">
                          <a:pos x="connsiteX6110" y="connsiteY6110"/>
                        </a:cxn>
                        <a:cxn ang="0">
                          <a:pos x="connsiteX6111" y="connsiteY6111"/>
                        </a:cxn>
                        <a:cxn ang="0">
                          <a:pos x="connsiteX6112" y="connsiteY6112"/>
                        </a:cxn>
                        <a:cxn ang="0">
                          <a:pos x="connsiteX6113" y="connsiteY6113"/>
                        </a:cxn>
                        <a:cxn ang="0">
                          <a:pos x="connsiteX6114" y="connsiteY6114"/>
                        </a:cxn>
                        <a:cxn ang="0">
                          <a:pos x="connsiteX6115" y="connsiteY6115"/>
                        </a:cxn>
                        <a:cxn ang="0">
                          <a:pos x="connsiteX6116" y="connsiteY6116"/>
                        </a:cxn>
                        <a:cxn ang="0">
                          <a:pos x="connsiteX6117" y="connsiteY6117"/>
                        </a:cxn>
                        <a:cxn ang="0">
                          <a:pos x="connsiteX6118" y="connsiteY6118"/>
                        </a:cxn>
                        <a:cxn ang="0">
                          <a:pos x="connsiteX6119" y="connsiteY6119"/>
                        </a:cxn>
                        <a:cxn ang="0">
                          <a:pos x="connsiteX6120" y="connsiteY6120"/>
                        </a:cxn>
                        <a:cxn ang="0">
                          <a:pos x="connsiteX6121" y="connsiteY6121"/>
                        </a:cxn>
                        <a:cxn ang="0">
                          <a:pos x="connsiteX6122" y="connsiteY6122"/>
                        </a:cxn>
                        <a:cxn ang="0">
                          <a:pos x="connsiteX6123" y="connsiteY6123"/>
                        </a:cxn>
                        <a:cxn ang="0">
                          <a:pos x="connsiteX6124" y="connsiteY6124"/>
                        </a:cxn>
                        <a:cxn ang="0">
                          <a:pos x="connsiteX6125" y="connsiteY6125"/>
                        </a:cxn>
                        <a:cxn ang="0">
                          <a:pos x="connsiteX6126" y="connsiteY6126"/>
                        </a:cxn>
                        <a:cxn ang="0">
                          <a:pos x="connsiteX6127" y="connsiteY6127"/>
                        </a:cxn>
                        <a:cxn ang="0">
                          <a:pos x="connsiteX6128" y="connsiteY6128"/>
                        </a:cxn>
                        <a:cxn ang="0">
                          <a:pos x="connsiteX6129" y="connsiteY6129"/>
                        </a:cxn>
                        <a:cxn ang="0">
                          <a:pos x="connsiteX6130" y="connsiteY6130"/>
                        </a:cxn>
                        <a:cxn ang="0">
                          <a:pos x="connsiteX6131" y="connsiteY6131"/>
                        </a:cxn>
                        <a:cxn ang="0">
                          <a:pos x="connsiteX6132" y="connsiteY6132"/>
                        </a:cxn>
                        <a:cxn ang="0">
                          <a:pos x="connsiteX6133" y="connsiteY6133"/>
                        </a:cxn>
                        <a:cxn ang="0">
                          <a:pos x="connsiteX6134" y="connsiteY6134"/>
                        </a:cxn>
                        <a:cxn ang="0">
                          <a:pos x="connsiteX6135" y="connsiteY6135"/>
                        </a:cxn>
                        <a:cxn ang="0">
                          <a:pos x="connsiteX6136" y="connsiteY6136"/>
                        </a:cxn>
                        <a:cxn ang="0">
                          <a:pos x="connsiteX6137" y="connsiteY6137"/>
                        </a:cxn>
                        <a:cxn ang="0">
                          <a:pos x="connsiteX6138" y="connsiteY6138"/>
                        </a:cxn>
                        <a:cxn ang="0">
                          <a:pos x="connsiteX6139" y="connsiteY6139"/>
                        </a:cxn>
                        <a:cxn ang="0">
                          <a:pos x="connsiteX6140" y="connsiteY6140"/>
                        </a:cxn>
                        <a:cxn ang="0">
                          <a:pos x="connsiteX6141" y="connsiteY6141"/>
                        </a:cxn>
                        <a:cxn ang="0">
                          <a:pos x="connsiteX6142" y="connsiteY6142"/>
                        </a:cxn>
                        <a:cxn ang="0">
                          <a:pos x="connsiteX6143" y="connsiteY6143"/>
                        </a:cxn>
                        <a:cxn ang="0">
                          <a:pos x="connsiteX6144" y="connsiteY6144"/>
                        </a:cxn>
                        <a:cxn ang="0">
                          <a:pos x="connsiteX6145" y="connsiteY6145"/>
                        </a:cxn>
                        <a:cxn ang="0">
                          <a:pos x="connsiteX6146" y="connsiteY6146"/>
                        </a:cxn>
                        <a:cxn ang="0">
                          <a:pos x="connsiteX6147" y="connsiteY6147"/>
                        </a:cxn>
                        <a:cxn ang="0">
                          <a:pos x="connsiteX6148" y="connsiteY6148"/>
                        </a:cxn>
                        <a:cxn ang="0">
                          <a:pos x="connsiteX6149" y="connsiteY6149"/>
                        </a:cxn>
                        <a:cxn ang="0">
                          <a:pos x="connsiteX6150" y="connsiteY6150"/>
                        </a:cxn>
                        <a:cxn ang="0">
                          <a:pos x="connsiteX6151" y="connsiteY6151"/>
                        </a:cxn>
                        <a:cxn ang="0">
                          <a:pos x="connsiteX6152" y="connsiteY6152"/>
                        </a:cxn>
                        <a:cxn ang="0">
                          <a:pos x="connsiteX6153" y="connsiteY6153"/>
                        </a:cxn>
                        <a:cxn ang="0">
                          <a:pos x="connsiteX6154" y="connsiteY6154"/>
                        </a:cxn>
                        <a:cxn ang="0">
                          <a:pos x="connsiteX6155" y="connsiteY6155"/>
                        </a:cxn>
                        <a:cxn ang="0">
                          <a:pos x="connsiteX6156" y="connsiteY6156"/>
                        </a:cxn>
                        <a:cxn ang="0">
                          <a:pos x="connsiteX6157" y="connsiteY6157"/>
                        </a:cxn>
                        <a:cxn ang="0">
                          <a:pos x="connsiteX6158" y="connsiteY6158"/>
                        </a:cxn>
                        <a:cxn ang="0">
                          <a:pos x="connsiteX6159" y="connsiteY6159"/>
                        </a:cxn>
                        <a:cxn ang="0">
                          <a:pos x="connsiteX6160" y="connsiteY6160"/>
                        </a:cxn>
                        <a:cxn ang="0">
                          <a:pos x="connsiteX6161" y="connsiteY6161"/>
                        </a:cxn>
                        <a:cxn ang="0">
                          <a:pos x="connsiteX6162" y="connsiteY6162"/>
                        </a:cxn>
                        <a:cxn ang="0">
                          <a:pos x="connsiteX6163" y="connsiteY6163"/>
                        </a:cxn>
                        <a:cxn ang="0">
                          <a:pos x="connsiteX6164" y="connsiteY6164"/>
                        </a:cxn>
                        <a:cxn ang="0">
                          <a:pos x="connsiteX6165" y="connsiteY6165"/>
                        </a:cxn>
                        <a:cxn ang="0">
                          <a:pos x="connsiteX6166" y="connsiteY6166"/>
                        </a:cxn>
                        <a:cxn ang="0">
                          <a:pos x="connsiteX6167" y="connsiteY6167"/>
                        </a:cxn>
                        <a:cxn ang="0">
                          <a:pos x="connsiteX6168" y="connsiteY6168"/>
                        </a:cxn>
                        <a:cxn ang="0">
                          <a:pos x="connsiteX6169" y="connsiteY6169"/>
                        </a:cxn>
                        <a:cxn ang="0">
                          <a:pos x="connsiteX6170" y="connsiteY6170"/>
                        </a:cxn>
                        <a:cxn ang="0">
                          <a:pos x="connsiteX6171" y="connsiteY6171"/>
                        </a:cxn>
                        <a:cxn ang="0">
                          <a:pos x="connsiteX6172" y="connsiteY6172"/>
                        </a:cxn>
                        <a:cxn ang="0">
                          <a:pos x="connsiteX6173" y="connsiteY6173"/>
                        </a:cxn>
                        <a:cxn ang="0">
                          <a:pos x="connsiteX6174" y="connsiteY6174"/>
                        </a:cxn>
                        <a:cxn ang="0">
                          <a:pos x="connsiteX6175" y="connsiteY6175"/>
                        </a:cxn>
                        <a:cxn ang="0">
                          <a:pos x="connsiteX6176" y="connsiteY6176"/>
                        </a:cxn>
                        <a:cxn ang="0">
                          <a:pos x="connsiteX6177" y="connsiteY6177"/>
                        </a:cxn>
                        <a:cxn ang="0">
                          <a:pos x="connsiteX6178" y="connsiteY6178"/>
                        </a:cxn>
                        <a:cxn ang="0">
                          <a:pos x="connsiteX6179" y="connsiteY6179"/>
                        </a:cxn>
                        <a:cxn ang="0">
                          <a:pos x="connsiteX6180" y="connsiteY6180"/>
                        </a:cxn>
                        <a:cxn ang="0">
                          <a:pos x="connsiteX6181" y="connsiteY6181"/>
                        </a:cxn>
                        <a:cxn ang="0">
                          <a:pos x="connsiteX6182" y="connsiteY6182"/>
                        </a:cxn>
                        <a:cxn ang="0">
                          <a:pos x="connsiteX6183" y="connsiteY6183"/>
                        </a:cxn>
                        <a:cxn ang="0">
                          <a:pos x="connsiteX6184" y="connsiteY6184"/>
                        </a:cxn>
                        <a:cxn ang="0">
                          <a:pos x="connsiteX6185" y="connsiteY6185"/>
                        </a:cxn>
                        <a:cxn ang="0">
                          <a:pos x="connsiteX6186" y="connsiteY6186"/>
                        </a:cxn>
                        <a:cxn ang="0">
                          <a:pos x="connsiteX6187" y="connsiteY6187"/>
                        </a:cxn>
                        <a:cxn ang="0">
                          <a:pos x="connsiteX6188" y="connsiteY6188"/>
                        </a:cxn>
                        <a:cxn ang="0">
                          <a:pos x="connsiteX6189" y="connsiteY6189"/>
                        </a:cxn>
                        <a:cxn ang="0">
                          <a:pos x="connsiteX6190" y="connsiteY6190"/>
                        </a:cxn>
                        <a:cxn ang="0">
                          <a:pos x="connsiteX6191" y="connsiteY6191"/>
                        </a:cxn>
                        <a:cxn ang="0">
                          <a:pos x="connsiteX6192" y="connsiteY6192"/>
                        </a:cxn>
                        <a:cxn ang="0">
                          <a:pos x="connsiteX6193" y="connsiteY6193"/>
                        </a:cxn>
                        <a:cxn ang="0">
                          <a:pos x="connsiteX6194" y="connsiteY6194"/>
                        </a:cxn>
                        <a:cxn ang="0">
                          <a:pos x="connsiteX6195" y="connsiteY6195"/>
                        </a:cxn>
                        <a:cxn ang="0">
                          <a:pos x="connsiteX6196" y="connsiteY6196"/>
                        </a:cxn>
                        <a:cxn ang="0">
                          <a:pos x="connsiteX6197" y="connsiteY6197"/>
                        </a:cxn>
                        <a:cxn ang="0">
                          <a:pos x="connsiteX6198" y="connsiteY6198"/>
                        </a:cxn>
                        <a:cxn ang="0">
                          <a:pos x="connsiteX6199" y="connsiteY6199"/>
                        </a:cxn>
                        <a:cxn ang="0">
                          <a:pos x="connsiteX6200" y="connsiteY6200"/>
                        </a:cxn>
                        <a:cxn ang="0">
                          <a:pos x="connsiteX6201" y="connsiteY6201"/>
                        </a:cxn>
                        <a:cxn ang="0">
                          <a:pos x="connsiteX6202" y="connsiteY6202"/>
                        </a:cxn>
                        <a:cxn ang="0">
                          <a:pos x="connsiteX6203" y="connsiteY6203"/>
                        </a:cxn>
                        <a:cxn ang="0">
                          <a:pos x="connsiteX6204" y="connsiteY6204"/>
                        </a:cxn>
                        <a:cxn ang="0">
                          <a:pos x="connsiteX6205" y="connsiteY6205"/>
                        </a:cxn>
                        <a:cxn ang="0">
                          <a:pos x="connsiteX6206" y="connsiteY6206"/>
                        </a:cxn>
                        <a:cxn ang="0">
                          <a:pos x="connsiteX6207" y="connsiteY6207"/>
                        </a:cxn>
                        <a:cxn ang="0">
                          <a:pos x="connsiteX6208" y="connsiteY6208"/>
                        </a:cxn>
                        <a:cxn ang="0">
                          <a:pos x="connsiteX6209" y="connsiteY6209"/>
                        </a:cxn>
                        <a:cxn ang="0">
                          <a:pos x="connsiteX6210" y="connsiteY6210"/>
                        </a:cxn>
                        <a:cxn ang="0">
                          <a:pos x="connsiteX6211" y="connsiteY6211"/>
                        </a:cxn>
                        <a:cxn ang="0">
                          <a:pos x="connsiteX6212" y="connsiteY6212"/>
                        </a:cxn>
                        <a:cxn ang="0">
                          <a:pos x="connsiteX6213" y="connsiteY6213"/>
                        </a:cxn>
                        <a:cxn ang="0">
                          <a:pos x="connsiteX6214" y="connsiteY6214"/>
                        </a:cxn>
                        <a:cxn ang="0">
                          <a:pos x="connsiteX6215" y="connsiteY6215"/>
                        </a:cxn>
                        <a:cxn ang="0">
                          <a:pos x="connsiteX6216" y="connsiteY6216"/>
                        </a:cxn>
                        <a:cxn ang="0">
                          <a:pos x="connsiteX6217" y="connsiteY6217"/>
                        </a:cxn>
                        <a:cxn ang="0">
                          <a:pos x="connsiteX6218" y="connsiteY6218"/>
                        </a:cxn>
                        <a:cxn ang="0">
                          <a:pos x="connsiteX6219" y="connsiteY6219"/>
                        </a:cxn>
                        <a:cxn ang="0">
                          <a:pos x="connsiteX6220" y="connsiteY6220"/>
                        </a:cxn>
                        <a:cxn ang="0">
                          <a:pos x="connsiteX6221" y="connsiteY6221"/>
                        </a:cxn>
                        <a:cxn ang="0">
                          <a:pos x="connsiteX6222" y="connsiteY6222"/>
                        </a:cxn>
                        <a:cxn ang="0">
                          <a:pos x="connsiteX6223" y="connsiteY6223"/>
                        </a:cxn>
                        <a:cxn ang="0">
                          <a:pos x="connsiteX6224" y="connsiteY6224"/>
                        </a:cxn>
                        <a:cxn ang="0">
                          <a:pos x="connsiteX6225" y="connsiteY6225"/>
                        </a:cxn>
                        <a:cxn ang="0">
                          <a:pos x="connsiteX6226" y="connsiteY6226"/>
                        </a:cxn>
                        <a:cxn ang="0">
                          <a:pos x="connsiteX6227" y="connsiteY6227"/>
                        </a:cxn>
                        <a:cxn ang="0">
                          <a:pos x="connsiteX6228" y="connsiteY6228"/>
                        </a:cxn>
                        <a:cxn ang="0">
                          <a:pos x="connsiteX6229" y="connsiteY6229"/>
                        </a:cxn>
                        <a:cxn ang="0">
                          <a:pos x="connsiteX6230" y="connsiteY6230"/>
                        </a:cxn>
                        <a:cxn ang="0">
                          <a:pos x="connsiteX6231" y="connsiteY6231"/>
                        </a:cxn>
                        <a:cxn ang="0">
                          <a:pos x="connsiteX6232" y="connsiteY6232"/>
                        </a:cxn>
                        <a:cxn ang="0">
                          <a:pos x="connsiteX6233" y="connsiteY6233"/>
                        </a:cxn>
                        <a:cxn ang="0">
                          <a:pos x="connsiteX6234" y="connsiteY6234"/>
                        </a:cxn>
                        <a:cxn ang="0">
                          <a:pos x="connsiteX6235" y="connsiteY6235"/>
                        </a:cxn>
                        <a:cxn ang="0">
                          <a:pos x="connsiteX6236" y="connsiteY6236"/>
                        </a:cxn>
                        <a:cxn ang="0">
                          <a:pos x="connsiteX6237" y="connsiteY6237"/>
                        </a:cxn>
                        <a:cxn ang="0">
                          <a:pos x="connsiteX6238" y="connsiteY6238"/>
                        </a:cxn>
                        <a:cxn ang="0">
                          <a:pos x="connsiteX6239" y="connsiteY6239"/>
                        </a:cxn>
                        <a:cxn ang="0">
                          <a:pos x="connsiteX6240" y="connsiteY6240"/>
                        </a:cxn>
                        <a:cxn ang="0">
                          <a:pos x="connsiteX6241" y="connsiteY6241"/>
                        </a:cxn>
                        <a:cxn ang="0">
                          <a:pos x="connsiteX6242" y="connsiteY6242"/>
                        </a:cxn>
                        <a:cxn ang="0">
                          <a:pos x="connsiteX6243" y="connsiteY6243"/>
                        </a:cxn>
                        <a:cxn ang="0">
                          <a:pos x="connsiteX6244" y="connsiteY6244"/>
                        </a:cxn>
                        <a:cxn ang="0">
                          <a:pos x="connsiteX6245" y="connsiteY6245"/>
                        </a:cxn>
                        <a:cxn ang="0">
                          <a:pos x="connsiteX6246" y="connsiteY6246"/>
                        </a:cxn>
                        <a:cxn ang="0">
                          <a:pos x="connsiteX6247" y="connsiteY6247"/>
                        </a:cxn>
                        <a:cxn ang="0">
                          <a:pos x="connsiteX6248" y="connsiteY6248"/>
                        </a:cxn>
                        <a:cxn ang="0">
                          <a:pos x="connsiteX6249" y="connsiteY6249"/>
                        </a:cxn>
                        <a:cxn ang="0">
                          <a:pos x="connsiteX6250" y="connsiteY6250"/>
                        </a:cxn>
                        <a:cxn ang="0">
                          <a:pos x="connsiteX6251" y="connsiteY6251"/>
                        </a:cxn>
                        <a:cxn ang="0">
                          <a:pos x="connsiteX6252" y="connsiteY6252"/>
                        </a:cxn>
                        <a:cxn ang="0">
                          <a:pos x="connsiteX6253" y="connsiteY6253"/>
                        </a:cxn>
                        <a:cxn ang="0">
                          <a:pos x="connsiteX6254" y="connsiteY6254"/>
                        </a:cxn>
                        <a:cxn ang="0">
                          <a:pos x="connsiteX6255" y="connsiteY6255"/>
                        </a:cxn>
                        <a:cxn ang="0">
                          <a:pos x="connsiteX6256" y="connsiteY6256"/>
                        </a:cxn>
                        <a:cxn ang="0">
                          <a:pos x="connsiteX6257" y="connsiteY6257"/>
                        </a:cxn>
                        <a:cxn ang="0">
                          <a:pos x="connsiteX6258" y="connsiteY6258"/>
                        </a:cxn>
                        <a:cxn ang="0">
                          <a:pos x="connsiteX6259" y="connsiteY6259"/>
                        </a:cxn>
                        <a:cxn ang="0">
                          <a:pos x="connsiteX6260" y="connsiteY6260"/>
                        </a:cxn>
                        <a:cxn ang="0">
                          <a:pos x="connsiteX6261" y="connsiteY6261"/>
                        </a:cxn>
                        <a:cxn ang="0">
                          <a:pos x="connsiteX6262" y="connsiteY6262"/>
                        </a:cxn>
                        <a:cxn ang="0">
                          <a:pos x="connsiteX6263" y="connsiteY6263"/>
                        </a:cxn>
                        <a:cxn ang="0">
                          <a:pos x="connsiteX6264" y="connsiteY6264"/>
                        </a:cxn>
                        <a:cxn ang="0">
                          <a:pos x="connsiteX6265" y="connsiteY6265"/>
                        </a:cxn>
                        <a:cxn ang="0">
                          <a:pos x="connsiteX6266" y="connsiteY6266"/>
                        </a:cxn>
                        <a:cxn ang="0">
                          <a:pos x="connsiteX6267" y="connsiteY6267"/>
                        </a:cxn>
                        <a:cxn ang="0">
                          <a:pos x="connsiteX6268" y="connsiteY6268"/>
                        </a:cxn>
                        <a:cxn ang="0">
                          <a:pos x="connsiteX6269" y="connsiteY6269"/>
                        </a:cxn>
                        <a:cxn ang="0">
                          <a:pos x="connsiteX6270" y="connsiteY6270"/>
                        </a:cxn>
                        <a:cxn ang="0">
                          <a:pos x="connsiteX6271" y="connsiteY6271"/>
                        </a:cxn>
                        <a:cxn ang="0">
                          <a:pos x="connsiteX6272" y="connsiteY6272"/>
                        </a:cxn>
                        <a:cxn ang="0">
                          <a:pos x="connsiteX6273" y="connsiteY6273"/>
                        </a:cxn>
                        <a:cxn ang="0">
                          <a:pos x="connsiteX6274" y="connsiteY6274"/>
                        </a:cxn>
                        <a:cxn ang="0">
                          <a:pos x="connsiteX6275" y="connsiteY6275"/>
                        </a:cxn>
                        <a:cxn ang="0">
                          <a:pos x="connsiteX6276" y="connsiteY6276"/>
                        </a:cxn>
                        <a:cxn ang="0">
                          <a:pos x="connsiteX6277" y="connsiteY6277"/>
                        </a:cxn>
                        <a:cxn ang="0">
                          <a:pos x="connsiteX6278" y="connsiteY6278"/>
                        </a:cxn>
                        <a:cxn ang="0">
                          <a:pos x="connsiteX6279" y="connsiteY6279"/>
                        </a:cxn>
                        <a:cxn ang="0">
                          <a:pos x="connsiteX6280" y="connsiteY6280"/>
                        </a:cxn>
                        <a:cxn ang="0">
                          <a:pos x="connsiteX6281" y="connsiteY6281"/>
                        </a:cxn>
                        <a:cxn ang="0">
                          <a:pos x="connsiteX6282" y="connsiteY6282"/>
                        </a:cxn>
                        <a:cxn ang="0">
                          <a:pos x="connsiteX6283" y="connsiteY6283"/>
                        </a:cxn>
                        <a:cxn ang="0">
                          <a:pos x="connsiteX6284" y="connsiteY6284"/>
                        </a:cxn>
                        <a:cxn ang="0">
                          <a:pos x="connsiteX6285" y="connsiteY6285"/>
                        </a:cxn>
                        <a:cxn ang="0">
                          <a:pos x="connsiteX6286" y="connsiteY6286"/>
                        </a:cxn>
                        <a:cxn ang="0">
                          <a:pos x="connsiteX6287" y="connsiteY6287"/>
                        </a:cxn>
                        <a:cxn ang="0">
                          <a:pos x="connsiteX6288" y="connsiteY6288"/>
                        </a:cxn>
                        <a:cxn ang="0">
                          <a:pos x="connsiteX6289" y="connsiteY6289"/>
                        </a:cxn>
                        <a:cxn ang="0">
                          <a:pos x="connsiteX6290" y="connsiteY6290"/>
                        </a:cxn>
                        <a:cxn ang="0">
                          <a:pos x="connsiteX6291" y="connsiteY6291"/>
                        </a:cxn>
                        <a:cxn ang="0">
                          <a:pos x="connsiteX6292" y="connsiteY6292"/>
                        </a:cxn>
                        <a:cxn ang="0">
                          <a:pos x="connsiteX6293" y="connsiteY6293"/>
                        </a:cxn>
                        <a:cxn ang="0">
                          <a:pos x="connsiteX6294" y="connsiteY6294"/>
                        </a:cxn>
                        <a:cxn ang="0">
                          <a:pos x="connsiteX6295" y="connsiteY6295"/>
                        </a:cxn>
                        <a:cxn ang="0">
                          <a:pos x="connsiteX6296" y="connsiteY6296"/>
                        </a:cxn>
                        <a:cxn ang="0">
                          <a:pos x="connsiteX6297" y="connsiteY6297"/>
                        </a:cxn>
                        <a:cxn ang="0">
                          <a:pos x="connsiteX6298" y="connsiteY6298"/>
                        </a:cxn>
                        <a:cxn ang="0">
                          <a:pos x="connsiteX6299" y="connsiteY6299"/>
                        </a:cxn>
                        <a:cxn ang="0">
                          <a:pos x="connsiteX6300" y="connsiteY6300"/>
                        </a:cxn>
                        <a:cxn ang="0">
                          <a:pos x="connsiteX6301" y="connsiteY6301"/>
                        </a:cxn>
                        <a:cxn ang="0">
                          <a:pos x="connsiteX6302" y="connsiteY6302"/>
                        </a:cxn>
                        <a:cxn ang="0">
                          <a:pos x="connsiteX6303" y="connsiteY6303"/>
                        </a:cxn>
                        <a:cxn ang="0">
                          <a:pos x="connsiteX6304" y="connsiteY6304"/>
                        </a:cxn>
                        <a:cxn ang="0">
                          <a:pos x="connsiteX6305" y="connsiteY6305"/>
                        </a:cxn>
                        <a:cxn ang="0">
                          <a:pos x="connsiteX6306" y="connsiteY6306"/>
                        </a:cxn>
                        <a:cxn ang="0">
                          <a:pos x="connsiteX6307" y="connsiteY6307"/>
                        </a:cxn>
                        <a:cxn ang="0">
                          <a:pos x="connsiteX6308" y="connsiteY6308"/>
                        </a:cxn>
                        <a:cxn ang="0">
                          <a:pos x="connsiteX6309" y="connsiteY6309"/>
                        </a:cxn>
                        <a:cxn ang="0">
                          <a:pos x="connsiteX6310" y="connsiteY6310"/>
                        </a:cxn>
                        <a:cxn ang="0">
                          <a:pos x="connsiteX6311" y="connsiteY6311"/>
                        </a:cxn>
                        <a:cxn ang="0">
                          <a:pos x="connsiteX6312" y="connsiteY6312"/>
                        </a:cxn>
                        <a:cxn ang="0">
                          <a:pos x="connsiteX6313" y="connsiteY6313"/>
                        </a:cxn>
                        <a:cxn ang="0">
                          <a:pos x="connsiteX6314" y="connsiteY6314"/>
                        </a:cxn>
                        <a:cxn ang="0">
                          <a:pos x="connsiteX6315" y="connsiteY6315"/>
                        </a:cxn>
                        <a:cxn ang="0">
                          <a:pos x="connsiteX6316" y="connsiteY6316"/>
                        </a:cxn>
                        <a:cxn ang="0">
                          <a:pos x="connsiteX6317" y="connsiteY6317"/>
                        </a:cxn>
                        <a:cxn ang="0">
                          <a:pos x="connsiteX6318" y="connsiteY6318"/>
                        </a:cxn>
                        <a:cxn ang="0">
                          <a:pos x="connsiteX6319" y="connsiteY6319"/>
                        </a:cxn>
                        <a:cxn ang="0">
                          <a:pos x="connsiteX6320" y="connsiteY6320"/>
                        </a:cxn>
                        <a:cxn ang="0">
                          <a:pos x="connsiteX6321" y="connsiteY6321"/>
                        </a:cxn>
                        <a:cxn ang="0">
                          <a:pos x="connsiteX6322" y="connsiteY6322"/>
                        </a:cxn>
                        <a:cxn ang="0">
                          <a:pos x="connsiteX6323" y="connsiteY6323"/>
                        </a:cxn>
                        <a:cxn ang="0">
                          <a:pos x="connsiteX6324" y="connsiteY6324"/>
                        </a:cxn>
                        <a:cxn ang="0">
                          <a:pos x="connsiteX6325" y="connsiteY6325"/>
                        </a:cxn>
                        <a:cxn ang="0">
                          <a:pos x="connsiteX6326" y="connsiteY6326"/>
                        </a:cxn>
                        <a:cxn ang="0">
                          <a:pos x="connsiteX6327" y="connsiteY6327"/>
                        </a:cxn>
                        <a:cxn ang="0">
                          <a:pos x="connsiteX6328" y="connsiteY6328"/>
                        </a:cxn>
                        <a:cxn ang="0">
                          <a:pos x="connsiteX6329" y="connsiteY6329"/>
                        </a:cxn>
                        <a:cxn ang="0">
                          <a:pos x="connsiteX6330" y="connsiteY6330"/>
                        </a:cxn>
                        <a:cxn ang="0">
                          <a:pos x="connsiteX6331" y="connsiteY6331"/>
                        </a:cxn>
                        <a:cxn ang="0">
                          <a:pos x="connsiteX6332" y="connsiteY6332"/>
                        </a:cxn>
                        <a:cxn ang="0">
                          <a:pos x="connsiteX6333" y="connsiteY6333"/>
                        </a:cxn>
                        <a:cxn ang="0">
                          <a:pos x="connsiteX6334" y="connsiteY6334"/>
                        </a:cxn>
                        <a:cxn ang="0">
                          <a:pos x="connsiteX6335" y="connsiteY6335"/>
                        </a:cxn>
                        <a:cxn ang="0">
                          <a:pos x="connsiteX6336" y="connsiteY6336"/>
                        </a:cxn>
                        <a:cxn ang="0">
                          <a:pos x="connsiteX6337" y="connsiteY6337"/>
                        </a:cxn>
                        <a:cxn ang="0">
                          <a:pos x="connsiteX6338" y="connsiteY6338"/>
                        </a:cxn>
                        <a:cxn ang="0">
                          <a:pos x="connsiteX6339" y="connsiteY6339"/>
                        </a:cxn>
                        <a:cxn ang="0">
                          <a:pos x="connsiteX6340" y="connsiteY6340"/>
                        </a:cxn>
                        <a:cxn ang="0">
                          <a:pos x="connsiteX6341" y="connsiteY6341"/>
                        </a:cxn>
                        <a:cxn ang="0">
                          <a:pos x="connsiteX6342" y="connsiteY6342"/>
                        </a:cxn>
                        <a:cxn ang="0">
                          <a:pos x="connsiteX6343" y="connsiteY6343"/>
                        </a:cxn>
                        <a:cxn ang="0">
                          <a:pos x="connsiteX6344" y="connsiteY6344"/>
                        </a:cxn>
                        <a:cxn ang="0">
                          <a:pos x="connsiteX6345" y="connsiteY6345"/>
                        </a:cxn>
                        <a:cxn ang="0">
                          <a:pos x="connsiteX6346" y="connsiteY6346"/>
                        </a:cxn>
                        <a:cxn ang="0">
                          <a:pos x="connsiteX6347" y="connsiteY6347"/>
                        </a:cxn>
                        <a:cxn ang="0">
                          <a:pos x="connsiteX6348" y="connsiteY6348"/>
                        </a:cxn>
                        <a:cxn ang="0">
                          <a:pos x="connsiteX6349" y="connsiteY6349"/>
                        </a:cxn>
                        <a:cxn ang="0">
                          <a:pos x="connsiteX6350" y="connsiteY6350"/>
                        </a:cxn>
                        <a:cxn ang="0">
                          <a:pos x="connsiteX6351" y="connsiteY6351"/>
                        </a:cxn>
                        <a:cxn ang="0">
                          <a:pos x="connsiteX6352" y="connsiteY6352"/>
                        </a:cxn>
                        <a:cxn ang="0">
                          <a:pos x="connsiteX6353" y="connsiteY6353"/>
                        </a:cxn>
                        <a:cxn ang="0">
                          <a:pos x="connsiteX6354" y="connsiteY6354"/>
                        </a:cxn>
                        <a:cxn ang="0">
                          <a:pos x="connsiteX6355" y="connsiteY6355"/>
                        </a:cxn>
                        <a:cxn ang="0">
                          <a:pos x="connsiteX6356" y="connsiteY6356"/>
                        </a:cxn>
                        <a:cxn ang="0">
                          <a:pos x="connsiteX6357" y="connsiteY6357"/>
                        </a:cxn>
                        <a:cxn ang="0">
                          <a:pos x="connsiteX6358" y="connsiteY6358"/>
                        </a:cxn>
                        <a:cxn ang="0">
                          <a:pos x="connsiteX6359" y="connsiteY6359"/>
                        </a:cxn>
                        <a:cxn ang="0">
                          <a:pos x="connsiteX6360" y="connsiteY6360"/>
                        </a:cxn>
                        <a:cxn ang="0">
                          <a:pos x="connsiteX6361" y="connsiteY6361"/>
                        </a:cxn>
                        <a:cxn ang="0">
                          <a:pos x="connsiteX6362" y="connsiteY6362"/>
                        </a:cxn>
                        <a:cxn ang="0">
                          <a:pos x="connsiteX6363" y="connsiteY6363"/>
                        </a:cxn>
                        <a:cxn ang="0">
                          <a:pos x="connsiteX6364" y="connsiteY6364"/>
                        </a:cxn>
                        <a:cxn ang="0">
                          <a:pos x="connsiteX6365" y="connsiteY6365"/>
                        </a:cxn>
                        <a:cxn ang="0">
                          <a:pos x="connsiteX6366" y="connsiteY6366"/>
                        </a:cxn>
                        <a:cxn ang="0">
                          <a:pos x="connsiteX6367" y="connsiteY6367"/>
                        </a:cxn>
                        <a:cxn ang="0">
                          <a:pos x="connsiteX6368" y="connsiteY6368"/>
                        </a:cxn>
                        <a:cxn ang="0">
                          <a:pos x="connsiteX6369" y="connsiteY6369"/>
                        </a:cxn>
                        <a:cxn ang="0">
                          <a:pos x="connsiteX6370" y="connsiteY6370"/>
                        </a:cxn>
                        <a:cxn ang="0">
                          <a:pos x="connsiteX6371" y="connsiteY6371"/>
                        </a:cxn>
                        <a:cxn ang="0">
                          <a:pos x="connsiteX6372" y="connsiteY6372"/>
                        </a:cxn>
                        <a:cxn ang="0">
                          <a:pos x="connsiteX6373" y="connsiteY6373"/>
                        </a:cxn>
                        <a:cxn ang="0">
                          <a:pos x="connsiteX6374" y="connsiteY6374"/>
                        </a:cxn>
                        <a:cxn ang="0">
                          <a:pos x="connsiteX6375" y="connsiteY6375"/>
                        </a:cxn>
                        <a:cxn ang="0">
                          <a:pos x="connsiteX6376" y="connsiteY6376"/>
                        </a:cxn>
                        <a:cxn ang="0">
                          <a:pos x="connsiteX6377" y="connsiteY6377"/>
                        </a:cxn>
                        <a:cxn ang="0">
                          <a:pos x="connsiteX6378" y="connsiteY6378"/>
                        </a:cxn>
                        <a:cxn ang="0">
                          <a:pos x="connsiteX6379" y="connsiteY6379"/>
                        </a:cxn>
                        <a:cxn ang="0">
                          <a:pos x="connsiteX6380" y="connsiteY6380"/>
                        </a:cxn>
                        <a:cxn ang="0">
                          <a:pos x="connsiteX6381" y="connsiteY6381"/>
                        </a:cxn>
                        <a:cxn ang="0">
                          <a:pos x="connsiteX6382" y="connsiteY6382"/>
                        </a:cxn>
                        <a:cxn ang="0">
                          <a:pos x="connsiteX6383" y="connsiteY6383"/>
                        </a:cxn>
                        <a:cxn ang="0">
                          <a:pos x="connsiteX6384" y="connsiteY6384"/>
                        </a:cxn>
                        <a:cxn ang="0">
                          <a:pos x="connsiteX6385" y="connsiteY6385"/>
                        </a:cxn>
                        <a:cxn ang="0">
                          <a:pos x="connsiteX6386" y="connsiteY6386"/>
                        </a:cxn>
                        <a:cxn ang="0">
                          <a:pos x="connsiteX6387" y="connsiteY6387"/>
                        </a:cxn>
                        <a:cxn ang="0">
                          <a:pos x="connsiteX6388" y="connsiteY6388"/>
                        </a:cxn>
                        <a:cxn ang="0">
                          <a:pos x="connsiteX6389" y="connsiteY6389"/>
                        </a:cxn>
                        <a:cxn ang="0">
                          <a:pos x="connsiteX6390" y="connsiteY6390"/>
                        </a:cxn>
                        <a:cxn ang="0">
                          <a:pos x="connsiteX6391" y="connsiteY6391"/>
                        </a:cxn>
                        <a:cxn ang="0">
                          <a:pos x="connsiteX6392" y="connsiteY6392"/>
                        </a:cxn>
                        <a:cxn ang="0">
                          <a:pos x="connsiteX6393" y="connsiteY6393"/>
                        </a:cxn>
                        <a:cxn ang="0">
                          <a:pos x="connsiteX6394" y="connsiteY6394"/>
                        </a:cxn>
                        <a:cxn ang="0">
                          <a:pos x="connsiteX6395" y="connsiteY6395"/>
                        </a:cxn>
                        <a:cxn ang="0">
                          <a:pos x="connsiteX6396" y="connsiteY6396"/>
                        </a:cxn>
                        <a:cxn ang="0">
                          <a:pos x="connsiteX6397" y="connsiteY6397"/>
                        </a:cxn>
                        <a:cxn ang="0">
                          <a:pos x="connsiteX6398" y="connsiteY6398"/>
                        </a:cxn>
                        <a:cxn ang="0">
                          <a:pos x="connsiteX6399" y="connsiteY6399"/>
                        </a:cxn>
                        <a:cxn ang="0">
                          <a:pos x="connsiteX6400" y="connsiteY6400"/>
                        </a:cxn>
                        <a:cxn ang="0">
                          <a:pos x="connsiteX6401" y="connsiteY6401"/>
                        </a:cxn>
                        <a:cxn ang="0">
                          <a:pos x="connsiteX6402" y="connsiteY6402"/>
                        </a:cxn>
                        <a:cxn ang="0">
                          <a:pos x="connsiteX6403" y="connsiteY6403"/>
                        </a:cxn>
                        <a:cxn ang="0">
                          <a:pos x="connsiteX6404" y="connsiteY6404"/>
                        </a:cxn>
                        <a:cxn ang="0">
                          <a:pos x="connsiteX6405" y="connsiteY6405"/>
                        </a:cxn>
                        <a:cxn ang="0">
                          <a:pos x="connsiteX6406" y="connsiteY6406"/>
                        </a:cxn>
                        <a:cxn ang="0">
                          <a:pos x="connsiteX6407" y="connsiteY6407"/>
                        </a:cxn>
                        <a:cxn ang="0">
                          <a:pos x="connsiteX6408" y="connsiteY6408"/>
                        </a:cxn>
                        <a:cxn ang="0">
                          <a:pos x="connsiteX6409" y="connsiteY6409"/>
                        </a:cxn>
                        <a:cxn ang="0">
                          <a:pos x="connsiteX6410" y="connsiteY6410"/>
                        </a:cxn>
                        <a:cxn ang="0">
                          <a:pos x="connsiteX6411" y="connsiteY6411"/>
                        </a:cxn>
                        <a:cxn ang="0">
                          <a:pos x="connsiteX6412" y="connsiteY6412"/>
                        </a:cxn>
                        <a:cxn ang="0">
                          <a:pos x="connsiteX6413" y="connsiteY6413"/>
                        </a:cxn>
                        <a:cxn ang="0">
                          <a:pos x="connsiteX6414" y="connsiteY6414"/>
                        </a:cxn>
                        <a:cxn ang="0">
                          <a:pos x="connsiteX6415" y="connsiteY6415"/>
                        </a:cxn>
                        <a:cxn ang="0">
                          <a:pos x="connsiteX6416" y="connsiteY6416"/>
                        </a:cxn>
                        <a:cxn ang="0">
                          <a:pos x="connsiteX6417" y="connsiteY6417"/>
                        </a:cxn>
                        <a:cxn ang="0">
                          <a:pos x="connsiteX6418" y="connsiteY6418"/>
                        </a:cxn>
                        <a:cxn ang="0">
                          <a:pos x="connsiteX6419" y="connsiteY6419"/>
                        </a:cxn>
                        <a:cxn ang="0">
                          <a:pos x="connsiteX6420" y="connsiteY6420"/>
                        </a:cxn>
                        <a:cxn ang="0">
                          <a:pos x="connsiteX6421" y="connsiteY6421"/>
                        </a:cxn>
                        <a:cxn ang="0">
                          <a:pos x="connsiteX6422" y="connsiteY6422"/>
                        </a:cxn>
                        <a:cxn ang="0">
                          <a:pos x="connsiteX6423" y="connsiteY6423"/>
                        </a:cxn>
                        <a:cxn ang="0">
                          <a:pos x="connsiteX6424" y="connsiteY6424"/>
                        </a:cxn>
                        <a:cxn ang="0">
                          <a:pos x="connsiteX6425" y="connsiteY6425"/>
                        </a:cxn>
                        <a:cxn ang="0">
                          <a:pos x="connsiteX6426" y="connsiteY6426"/>
                        </a:cxn>
                        <a:cxn ang="0">
                          <a:pos x="connsiteX6427" y="connsiteY6427"/>
                        </a:cxn>
                        <a:cxn ang="0">
                          <a:pos x="connsiteX6428" y="connsiteY6428"/>
                        </a:cxn>
                        <a:cxn ang="0">
                          <a:pos x="connsiteX6429" y="connsiteY6429"/>
                        </a:cxn>
                        <a:cxn ang="0">
                          <a:pos x="connsiteX6430" y="connsiteY6430"/>
                        </a:cxn>
                        <a:cxn ang="0">
                          <a:pos x="connsiteX6431" y="connsiteY6431"/>
                        </a:cxn>
                        <a:cxn ang="0">
                          <a:pos x="connsiteX6432" y="connsiteY6432"/>
                        </a:cxn>
                        <a:cxn ang="0">
                          <a:pos x="connsiteX6433" y="connsiteY6433"/>
                        </a:cxn>
                        <a:cxn ang="0">
                          <a:pos x="connsiteX6434" y="connsiteY6434"/>
                        </a:cxn>
                        <a:cxn ang="0">
                          <a:pos x="connsiteX6435" y="connsiteY6435"/>
                        </a:cxn>
                        <a:cxn ang="0">
                          <a:pos x="connsiteX6436" y="connsiteY6436"/>
                        </a:cxn>
                        <a:cxn ang="0">
                          <a:pos x="connsiteX6437" y="connsiteY6437"/>
                        </a:cxn>
                        <a:cxn ang="0">
                          <a:pos x="connsiteX6438" y="connsiteY6438"/>
                        </a:cxn>
                        <a:cxn ang="0">
                          <a:pos x="connsiteX6439" y="connsiteY6439"/>
                        </a:cxn>
                        <a:cxn ang="0">
                          <a:pos x="connsiteX6440" y="connsiteY6440"/>
                        </a:cxn>
                        <a:cxn ang="0">
                          <a:pos x="connsiteX6441" y="connsiteY6441"/>
                        </a:cxn>
                        <a:cxn ang="0">
                          <a:pos x="connsiteX6442" y="connsiteY6442"/>
                        </a:cxn>
                        <a:cxn ang="0">
                          <a:pos x="connsiteX6443" y="connsiteY6443"/>
                        </a:cxn>
                        <a:cxn ang="0">
                          <a:pos x="connsiteX6444" y="connsiteY6444"/>
                        </a:cxn>
                        <a:cxn ang="0">
                          <a:pos x="connsiteX6445" y="connsiteY6445"/>
                        </a:cxn>
                        <a:cxn ang="0">
                          <a:pos x="connsiteX6446" y="connsiteY6446"/>
                        </a:cxn>
                        <a:cxn ang="0">
                          <a:pos x="connsiteX6447" y="connsiteY6447"/>
                        </a:cxn>
                        <a:cxn ang="0">
                          <a:pos x="connsiteX6448" y="connsiteY6448"/>
                        </a:cxn>
                        <a:cxn ang="0">
                          <a:pos x="connsiteX6449" y="connsiteY6449"/>
                        </a:cxn>
                        <a:cxn ang="0">
                          <a:pos x="connsiteX6450" y="connsiteY6450"/>
                        </a:cxn>
                        <a:cxn ang="0">
                          <a:pos x="connsiteX6451" y="connsiteY6451"/>
                        </a:cxn>
                        <a:cxn ang="0">
                          <a:pos x="connsiteX6452" y="connsiteY6452"/>
                        </a:cxn>
                        <a:cxn ang="0">
                          <a:pos x="connsiteX6453" y="connsiteY6453"/>
                        </a:cxn>
                        <a:cxn ang="0">
                          <a:pos x="connsiteX6454" y="connsiteY6454"/>
                        </a:cxn>
                        <a:cxn ang="0">
                          <a:pos x="connsiteX6455" y="connsiteY6455"/>
                        </a:cxn>
                        <a:cxn ang="0">
                          <a:pos x="connsiteX6456" y="connsiteY6456"/>
                        </a:cxn>
                        <a:cxn ang="0">
                          <a:pos x="connsiteX6457" y="connsiteY6457"/>
                        </a:cxn>
                        <a:cxn ang="0">
                          <a:pos x="connsiteX6458" y="connsiteY6458"/>
                        </a:cxn>
                        <a:cxn ang="0">
                          <a:pos x="connsiteX6459" y="connsiteY6459"/>
                        </a:cxn>
                        <a:cxn ang="0">
                          <a:pos x="connsiteX6460" y="connsiteY6460"/>
                        </a:cxn>
                        <a:cxn ang="0">
                          <a:pos x="connsiteX6461" y="connsiteY6461"/>
                        </a:cxn>
                        <a:cxn ang="0">
                          <a:pos x="connsiteX6462" y="connsiteY6462"/>
                        </a:cxn>
                        <a:cxn ang="0">
                          <a:pos x="connsiteX6463" y="connsiteY6463"/>
                        </a:cxn>
                        <a:cxn ang="0">
                          <a:pos x="connsiteX6464" y="connsiteY6464"/>
                        </a:cxn>
                        <a:cxn ang="0">
                          <a:pos x="connsiteX6465" y="connsiteY6465"/>
                        </a:cxn>
                        <a:cxn ang="0">
                          <a:pos x="connsiteX6466" y="connsiteY6466"/>
                        </a:cxn>
                        <a:cxn ang="0">
                          <a:pos x="connsiteX6467" y="connsiteY6467"/>
                        </a:cxn>
                        <a:cxn ang="0">
                          <a:pos x="connsiteX6468" y="connsiteY6468"/>
                        </a:cxn>
                        <a:cxn ang="0">
                          <a:pos x="connsiteX6469" y="connsiteY6469"/>
                        </a:cxn>
                        <a:cxn ang="0">
                          <a:pos x="connsiteX6470" y="connsiteY6470"/>
                        </a:cxn>
                        <a:cxn ang="0">
                          <a:pos x="connsiteX6471" y="connsiteY6471"/>
                        </a:cxn>
                        <a:cxn ang="0">
                          <a:pos x="connsiteX6472" y="connsiteY6472"/>
                        </a:cxn>
                        <a:cxn ang="0">
                          <a:pos x="connsiteX6473" y="connsiteY6473"/>
                        </a:cxn>
                        <a:cxn ang="0">
                          <a:pos x="connsiteX6474" y="connsiteY6474"/>
                        </a:cxn>
                        <a:cxn ang="0">
                          <a:pos x="connsiteX6475" y="connsiteY6475"/>
                        </a:cxn>
                        <a:cxn ang="0">
                          <a:pos x="connsiteX6476" y="connsiteY6476"/>
                        </a:cxn>
                        <a:cxn ang="0">
                          <a:pos x="connsiteX6477" y="connsiteY6477"/>
                        </a:cxn>
                        <a:cxn ang="0">
                          <a:pos x="connsiteX6478" y="connsiteY6478"/>
                        </a:cxn>
                        <a:cxn ang="0">
                          <a:pos x="connsiteX6479" y="connsiteY6479"/>
                        </a:cxn>
                        <a:cxn ang="0">
                          <a:pos x="connsiteX6480" y="connsiteY6480"/>
                        </a:cxn>
                        <a:cxn ang="0">
                          <a:pos x="connsiteX6481" y="connsiteY6481"/>
                        </a:cxn>
                        <a:cxn ang="0">
                          <a:pos x="connsiteX6482" y="connsiteY6482"/>
                        </a:cxn>
                        <a:cxn ang="0">
                          <a:pos x="connsiteX6483" y="connsiteY6483"/>
                        </a:cxn>
                        <a:cxn ang="0">
                          <a:pos x="connsiteX6484" y="connsiteY6484"/>
                        </a:cxn>
                        <a:cxn ang="0">
                          <a:pos x="connsiteX6485" y="connsiteY6485"/>
                        </a:cxn>
                        <a:cxn ang="0">
                          <a:pos x="connsiteX6486" y="connsiteY6486"/>
                        </a:cxn>
                        <a:cxn ang="0">
                          <a:pos x="connsiteX6487" y="connsiteY6487"/>
                        </a:cxn>
                        <a:cxn ang="0">
                          <a:pos x="connsiteX6488" y="connsiteY6488"/>
                        </a:cxn>
                        <a:cxn ang="0">
                          <a:pos x="connsiteX6489" y="connsiteY6489"/>
                        </a:cxn>
                        <a:cxn ang="0">
                          <a:pos x="connsiteX6490" y="connsiteY6490"/>
                        </a:cxn>
                        <a:cxn ang="0">
                          <a:pos x="connsiteX6491" y="connsiteY6491"/>
                        </a:cxn>
                        <a:cxn ang="0">
                          <a:pos x="connsiteX6492" y="connsiteY6492"/>
                        </a:cxn>
                        <a:cxn ang="0">
                          <a:pos x="connsiteX6493" y="connsiteY6493"/>
                        </a:cxn>
                        <a:cxn ang="0">
                          <a:pos x="connsiteX6494" y="connsiteY6494"/>
                        </a:cxn>
                        <a:cxn ang="0">
                          <a:pos x="connsiteX6495" y="connsiteY6495"/>
                        </a:cxn>
                        <a:cxn ang="0">
                          <a:pos x="connsiteX6496" y="connsiteY6496"/>
                        </a:cxn>
                        <a:cxn ang="0">
                          <a:pos x="connsiteX6497" y="connsiteY6497"/>
                        </a:cxn>
                        <a:cxn ang="0">
                          <a:pos x="connsiteX6498" y="connsiteY6498"/>
                        </a:cxn>
                        <a:cxn ang="0">
                          <a:pos x="connsiteX6499" y="connsiteY6499"/>
                        </a:cxn>
                        <a:cxn ang="0">
                          <a:pos x="connsiteX6500" y="connsiteY6500"/>
                        </a:cxn>
                        <a:cxn ang="0">
                          <a:pos x="connsiteX6501" y="connsiteY6501"/>
                        </a:cxn>
                        <a:cxn ang="0">
                          <a:pos x="connsiteX6502" y="connsiteY6502"/>
                        </a:cxn>
                        <a:cxn ang="0">
                          <a:pos x="connsiteX6503" y="connsiteY6503"/>
                        </a:cxn>
                        <a:cxn ang="0">
                          <a:pos x="connsiteX6504" y="connsiteY6504"/>
                        </a:cxn>
                        <a:cxn ang="0">
                          <a:pos x="connsiteX6505" y="connsiteY6505"/>
                        </a:cxn>
                        <a:cxn ang="0">
                          <a:pos x="connsiteX6506" y="connsiteY6506"/>
                        </a:cxn>
                        <a:cxn ang="0">
                          <a:pos x="connsiteX6507" y="connsiteY6507"/>
                        </a:cxn>
                        <a:cxn ang="0">
                          <a:pos x="connsiteX6508" y="connsiteY6508"/>
                        </a:cxn>
                        <a:cxn ang="0">
                          <a:pos x="connsiteX6509" y="connsiteY6509"/>
                        </a:cxn>
                        <a:cxn ang="0">
                          <a:pos x="connsiteX6510" y="connsiteY6510"/>
                        </a:cxn>
                        <a:cxn ang="0">
                          <a:pos x="connsiteX6511" y="connsiteY6511"/>
                        </a:cxn>
                        <a:cxn ang="0">
                          <a:pos x="connsiteX6512" y="connsiteY6512"/>
                        </a:cxn>
                        <a:cxn ang="0">
                          <a:pos x="connsiteX6513" y="connsiteY6513"/>
                        </a:cxn>
                        <a:cxn ang="0">
                          <a:pos x="connsiteX6514" y="connsiteY6514"/>
                        </a:cxn>
                        <a:cxn ang="0">
                          <a:pos x="connsiteX6515" y="connsiteY6515"/>
                        </a:cxn>
                        <a:cxn ang="0">
                          <a:pos x="connsiteX6516" y="connsiteY6516"/>
                        </a:cxn>
                        <a:cxn ang="0">
                          <a:pos x="connsiteX6517" y="connsiteY6517"/>
                        </a:cxn>
                        <a:cxn ang="0">
                          <a:pos x="connsiteX6518" y="connsiteY6518"/>
                        </a:cxn>
                        <a:cxn ang="0">
                          <a:pos x="connsiteX6519" y="connsiteY6519"/>
                        </a:cxn>
                        <a:cxn ang="0">
                          <a:pos x="connsiteX6520" y="connsiteY6520"/>
                        </a:cxn>
                        <a:cxn ang="0">
                          <a:pos x="connsiteX6521" y="connsiteY6521"/>
                        </a:cxn>
                        <a:cxn ang="0">
                          <a:pos x="connsiteX6522" y="connsiteY6522"/>
                        </a:cxn>
                        <a:cxn ang="0">
                          <a:pos x="connsiteX6523" y="connsiteY6523"/>
                        </a:cxn>
                        <a:cxn ang="0">
                          <a:pos x="connsiteX6524" y="connsiteY6524"/>
                        </a:cxn>
                        <a:cxn ang="0">
                          <a:pos x="connsiteX6525" y="connsiteY6525"/>
                        </a:cxn>
                        <a:cxn ang="0">
                          <a:pos x="connsiteX6526" y="connsiteY6526"/>
                        </a:cxn>
                        <a:cxn ang="0">
                          <a:pos x="connsiteX6527" y="connsiteY6527"/>
                        </a:cxn>
                        <a:cxn ang="0">
                          <a:pos x="connsiteX6528" y="connsiteY6528"/>
                        </a:cxn>
                        <a:cxn ang="0">
                          <a:pos x="connsiteX6529" y="connsiteY6529"/>
                        </a:cxn>
                        <a:cxn ang="0">
                          <a:pos x="connsiteX6530" y="connsiteY6530"/>
                        </a:cxn>
                        <a:cxn ang="0">
                          <a:pos x="connsiteX6531" y="connsiteY6531"/>
                        </a:cxn>
                        <a:cxn ang="0">
                          <a:pos x="connsiteX6532" y="connsiteY6532"/>
                        </a:cxn>
                        <a:cxn ang="0">
                          <a:pos x="connsiteX6533" y="connsiteY6533"/>
                        </a:cxn>
                        <a:cxn ang="0">
                          <a:pos x="connsiteX6534" y="connsiteY6534"/>
                        </a:cxn>
                        <a:cxn ang="0">
                          <a:pos x="connsiteX6535" y="connsiteY6535"/>
                        </a:cxn>
                        <a:cxn ang="0">
                          <a:pos x="connsiteX6536" y="connsiteY6536"/>
                        </a:cxn>
                        <a:cxn ang="0">
                          <a:pos x="connsiteX6537" y="connsiteY6537"/>
                        </a:cxn>
                        <a:cxn ang="0">
                          <a:pos x="connsiteX6538" y="connsiteY6538"/>
                        </a:cxn>
                        <a:cxn ang="0">
                          <a:pos x="connsiteX6539" y="connsiteY6539"/>
                        </a:cxn>
                        <a:cxn ang="0">
                          <a:pos x="connsiteX6540" y="connsiteY6540"/>
                        </a:cxn>
                        <a:cxn ang="0">
                          <a:pos x="connsiteX6541" y="connsiteY6541"/>
                        </a:cxn>
                        <a:cxn ang="0">
                          <a:pos x="connsiteX6542" y="connsiteY6542"/>
                        </a:cxn>
                        <a:cxn ang="0">
                          <a:pos x="connsiteX6543" y="connsiteY6543"/>
                        </a:cxn>
                        <a:cxn ang="0">
                          <a:pos x="connsiteX6544" y="connsiteY6544"/>
                        </a:cxn>
                        <a:cxn ang="0">
                          <a:pos x="connsiteX6545" y="connsiteY6545"/>
                        </a:cxn>
                        <a:cxn ang="0">
                          <a:pos x="connsiteX6546" y="connsiteY6546"/>
                        </a:cxn>
                        <a:cxn ang="0">
                          <a:pos x="connsiteX6547" y="connsiteY6547"/>
                        </a:cxn>
                        <a:cxn ang="0">
                          <a:pos x="connsiteX6548" y="connsiteY6548"/>
                        </a:cxn>
                        <a:cxn ang="0">
                          <a:pos x="connsiteX6549" y="connsiteY6549"/>
                        </a:cxn>
                        <a:cxn ang="0">
                          <a:pos x="connsiteX6550" y="connsiteY6550"/>
                        </a:cxn>
                        <a:cxn ang="0">
                          <a:pos x="connsiteX6551" y="connsiteY6551"/>
                        </a:cxn>
                        <a:cxn ang="0">
                          <a:pos x="connsiteX6552" y="connsiteY6552"/>
                        </a:cxn>
                        <a:cxn ang="0">
                          <a:pos x="connsiteX6553" y="connsiteY6553"/>
                        </a:cxn>
                        <a:cxn ang="0">
                          <a:pos x="connsiteX6554" y="connsiteY6554"/>
                        </a:cxn>
                        <a:cxn ang="0">
                          <a:pos x="connsiteX6555" y="connsiteY6555"/>
                        </a:cxn>
                        <a:cxn ang="0">
                          <a:pos x="connsiteX6556" y="connsiteY6556"/>
                        </a:cxn>
                        <a:cxn ang="0">
                          <a:pos x="connsiteX6557" y="connsiteY6557"/>
                        </a:cxn>
                        <a:cxn ang="0">
                          <a:pos x="connsiteX6558" y="connsiteY6558"/>
                        </a:cxn>
                        <a:cxn ang="0">
                          <a:pos x="connsiteX6559" y="connsiteY6559"/>
                        </a:cxn>
                        <a:cxn ang="0">
                          <a:pos x="connsiteX6560" y="connsiteY6560"/>
                        </a:cxn>
                        <a:cxn ang="0">
                          <a:pos x="connsiteX6561" y="connsiteY6561"/>
                        </a:cxn>
                        <a:cxn ang="0">
                          <a:pos x="connsiteX6562" y="connsiteY6562"/>
                        </a:cxn>
                        <a:cxn ang="0">
                          <a:pos x="connsiteX6563" y="connsiteY6563"/>
                        </a:cxn>
                        <a:cxn ang="0">
                          <a:pos x="connsiteX6564" y="connsiteY6564"/>
                        </a:cxn>
                        <a:cxn ang="0">
                          <a:pos x="connsiteX6565" y="connsiteY6565"/>
                        </a:cxn>
                        <a:cxn ang="0">
                          <a:pos x="connsiteX6566" y="connsiteY6566"/>
                        </a:cxn>
                        <a:cxn ang="0">
                          <a:pos x="connsiteX6567" y="connsiteY6567"/>
                        </a:cxn>
                        <a:cxn ang="0">
                          <a:pos x="connsiteX6568" y="connsiteY6568"/>
                        </a:cxn>
                        <a:cxn ang="0">
                          <a:pos x="connsiteX6569" y="connsiteY6569"/>
                        </a:cxn>
                        <a:cxn ang="0">
                          <a:pos x="connsiteX6570" y="connsiteY6570"/>
                        </a:cxn>
                        <a:cxn ang="0">
                          <a:pos x="connsiteX6571" y="connsiteY6571"/>
                        </a:cxn>
                        <a:cxn ang="0">
                          <a:pos x="connsiteX6572" y="connsiteY6572"/>
                        </a:cxn>
                        <a:cxn ang="0">
                          <a:pos x="connsiteX6573" y="connsiteY6573"/>
                        </a:cxn>
                        <a:cxn ang="0">
                          <a:pos x="connsiteX6574" y="connsiteY6574"/>
                        </a:cxn>
                        <a:cxn ang="0">
                          <a:pos x="connsiteX6575" y="connsiteY6575"/>
                        </a:cxn>
                        <a:cxn ang="0">
                          <a:pos x="connsiteX6576" y="connsiteY6576"/>
                        </a:cxn>
                        <a:cxn ang="0">
                          <a:pos x="connsiteX6577" y="connsiteY6577"/>
                        </a:cxn>
                        <a:cxn ang="0">
                          <a:pos x="connsiteX6578" y="connsiteY6578"/>
                        </a:cxn>
                        <a:cxn ang="0">
                          <a:pos x="connsiteX6579" y="connsiteY6579"/>
                        </a:cxn>
                        <a:cxn ang="0">
                          <a:pos x="connsiteX6580" y="connsiteY6580"/>
                        </a:cxn>
                        <a:cxn ang="0">
                          <a:pos x="connsiteX6581" y="connsiteY6581"/>
                        </a:cxn>
                        <a:cxn ang="0">
                          <a:pos x="connsiteX6582" y="connsiteY6582"/>
                        </a:cxn>
                        <a:cxn ang="0">
                          <a:pos x="connsiteX6583" y="connsiteY6583"/>
                        </a:cxn>
                        <a:cxn ang="0">
                          <a:pos x="connsiteX6584" y="connsiteY6584"/>
                        </a:cxn>
                        <a:cxn ang="0">
                          <a:pos x="connsiteX6585" y="connsiteY6585"/>
                        </a:cxn>
                        <a:cxn ang="0">
                          <a:pos x="connsiteX6586" y="connsiteY6586"/>
                        </a:cxn>
                        <a:cxn ang="0">
                          <a:pos x="connsiteX6587" y="connsiteY6587"/>
                        </a:cxn>
                        <a:cxn ang="0">
                          <a:pos x="connsiteX6588" y="connsiteY6588"/>
                        </a:cxn>
                        <a:cxn ang="0">
                          <a:pos x="connsiteX6589" y="connsiteY6589"/>
                        </a:cxn>
                        <a:cxn ang="0">
                          <a:pos x="connsiteX6590" y="connsiteY6590"/>
                        </a:cxn>
                        <a:cxn ang="0">
                          <a:pos x="connsiteX6591" y="connsiteY6591"/>
                        </a:cxn>
                        <a:cxn ang="0">
                          <a:pos x="connsiteX6592" y="connsiteY6592"/>
                        </a:cxn>
                        <a:cxn ang="0">
                          <a:pos x="connsiteX6593" y="connsiteY6593"/>
                        </a:cxn>
                        <a:cxn ang="0">
                          <a:pos x="connsiteX6594" y="connsiteY6594"/>
                        </a:cxn>
                        <a:cxn ang="0">
                          <a:pos x="connsiteX6595" y="connsiteY6595"/>
                        </a:cxn>
                        <a:cxn ang="0">
                          <a:pos x="connsiteX6596" y="connsiteY6596"/>
                        </a:cxn>
                        <a:cxn ang="0">
                          <a:pos x="connsiteX6597" y="connsiteY6597"/>
                        </a:cxn>
                        <a:cxn ang="0">
                          <a:pos x="connsiteX6598" y="connsiteY6598"/>
                        </a:cxn>
                        <a:cxn ang="0">
                          <a:pos x="connsiteX6599" y="connsiteY6599"/>
                        </a:cxn>
                        <a:cxn ang="0">
                          <a:pos x="connsiteX6600" y="connsiteY6600"/>
                        </a:cxn>
                        <a:cxn ang="0">
                          <a:pos x="connsiteX6601" y="connsiteY6601"/>
                        </a:cxn>
                        <a:cxn ang="0">
                          <a:pos x="connsiteX6602" y="connsiteY6602"/>
                        </a:cxn>
                        <a:cxn ang="0">
                          <a:pos x="connsiteX6603" y="connsiteY6603"/>
                        </a:cxn>
                        <a:cxn ang="0">
                          <a:pos x="connsiteX6604" y="connsiteY6604"/>
                        </a:cxn>
                        <a:cxn ang="0">
                          <a:pos x="connsiteX6605" y="connsiteY6605"/>
                        </a:cxn>
                        <a:cxn ang="0">
                          <a:pos x="connsiteX6606" y="connsiteY6606"/>
                        </a:cxn>
                        <a:cxn ang="0">
                          <a:pos x="connsiteX6607" y="connsiteY6607"/>
                        </a:cxn>
                        <a:cxn ang="0">
                          <a:pos x="connsiteX6608" y="connsiteY6608"/>
                        </a:cxn>
                        <a:cxn ang="0">
                          <a:pos x="connsiteX6609" y="connsiteY6609"/>
                        </a:cxn>
                        <a:cxn ang="0">
                          <a:pos x="connsiteX6610" y="connsiteY6610"/>
                        </a:cxn>
                        <a:cxn ang="0">
                          <a:pos x="connsiteX6611" y="connsiteY6611"/>
                        </a:cxn>
                        <a:cxn ang="0">
                          <a:pos x="connsiteX6612" y="connsiteY6612"/>
                        </a:cxn>
                        <a:cxn ang="0">
                          <a:pos x="connsiteX6613" y="connsiteY6613"/>
                        </a:cxn>
                        <a:cxn ang="0">
                          <a:pos x="connsiteX6614" y="connsiteY6614"/>
                        </a:cxn>
                        <a:cxn ang="0">
                          <a:pos x="connsiteX6615" y="connsiteY6615"/>
                        </a:cxn>
                        <a:cxn ang="0">
                          <a:pos x="connsiteX6616" y="connsiteY6616"/>
                        </a:cxn>
                        <a:cxn ang="0">
                          <a:pos x="connsiteX6617" y="connsiteY6617"/>
                        </a:cxn>
                        <a:cxn ang="0">
                          <a:pos x="connsiteX6618" y="connsiteY6618"/>
                        </a:cxn>
                        <a:cxn ang="0">
                          <a:pos x="connsiteX6619" y="connsiteY6619"/>
                        </a:cxn>
                        <a:cxn ang="0">
                          <a:pos x="connsiteX6620" y="connsiteY6620"/>
                        </a:cxn>
                        <a:cxn ang="0">
                          <a:pos x="connsiteX6621" y="connsiteY6621"/>
                        </a:cxn>
                        <a:cxn ang="0">
                          <a:pos x="connsiteX6622" y="connsiteY6622"/>
                        </a:cxn>
                        <a:cxn ang="0">
                          <a:pos x="connsiteX6623" y="connsiteY6623"/>
                        </a:cxn>
                        <a:cxn ang="0">
                          <a:pos x="connsiteX6624" y="connsiteY6624"/>
                        </a:cxn>
                        <a:cxn ang="0">
                          <a:pos x="connsiteX6625" y="connsiteY6625"/>
                        </a:cxn>
                        <a:cxn ang="0">
                          <a:pos x="connsiteX6626" y="connsiteY6626"/>
                        </a:cxn>
                        <a:cxn ang="0">
                          <a:pos x="connsiteX6627" y="connsiteY6627"/>
                        </a:cxn>
                        <a:cxn ang="0">
                          <a:pos x="connsiteX6628" y="connsiteY6628"/>
                        </a:cxn>
                        <a:cxn ang="0">
                          <a:pos x="connsiteX6629" y="connsiteY6629"/>
                        </a:cxn>
                        <a:cxn ang="0">
                          <a:pos x="connsiteX6630" y="connsiteY6630"/>
                        </a:cxn>
                        <a:cxn ang="0">
                          <a:pos x="connsiteX6631" y="connsiteY6631"/>
                        </a:cxn>
                        <a:cxn ang="0">
                          <a:pos x="connsiteX6632" y="connsiteY6632"/>
                        </a:cxn>
                        <a:cxn ang="0">
                          <a:pos x="connsiteX6633" y="connsiteY6633"/>
                        </a:cxn>
                        <a:cxn ang="0">
                          <a:pos x="connsiteX6634" y="connsiteY6634"/>
                        </a:cxn>
                        <a:cxn ang="0">
                          <a:pos x="connsiteX6635" y="connsiteY6635"/>
                        </a:cxn>
                        <a:cxn ang="0">
                          <a:pos x="connsiteX6636" y="connsiteY6636"/>
                        </a:cxn>
                        <a:cxn ang="0">
                          <a:pos x="connsiteX6637" y="connsiteY6637"/>
                        </a:cxn>
                        <a:cxn ang="0">
                          <a:pos x="connsiteX6638" y="connsiteY6638"/>
                        </a:cxn>
                        <a:cxn ang="0">
                          <a:pos x="connsiteX6639" y="connsiteY6639"/>
                        </a:cxn>
                        <a:cxn ang="0">
                          <a:pos x="connsiteX6640" y="connsiteY6640"/>
                        </a:cxn>
                        <a:cxn ang="0">
                          <a:pos x="connsiteX6641" y="connsiteY6641"/>
                        </a:cxn>
                        <a:cxn ang="0">
                          <a:pos x="connsiteX6642" y="connsiteY6642"/>
                        </a:cxn>
                        <a:cxn ang="0">
                          <a:pos x="connsiteX6643" y="connsiteY6643"/>
                        </a:cxn>
                        <a:cxn ang="0">
                          <a:pos x="connsiteX6644" y="connsiteY6644"/>
                        </a:cxn>
                        <a:cxn ang="0">
                          <a:pos x="connsiteX6645" y="connsiteY6645"/>
                        </a:cxn>
                        <a:cxn ang="0">
                          <a:pos x="connsiteX6646" y="connsiteY6646"/>
                        </a:cxn>
                        <a:cxn ang="0">
                          <a:pos x="connsiteX6647" y="connsiteY6647"/>
                        </a:cxn>
                        <a:cxn ang="0">
                          <a:pos x="connsiteX6648" y="connsiteY6648"/>
                        </a:cxn>
                        <a:cxn ang="0">
                          <a:pos x="connsiteX6649" y="connsiteY6649"/>
                        </a:cxn>
                        <a:cxn ang="0">
                          <a:pos x="connsiteX6650" y="connsiteY6650"/>
                        </a:cxn>
                        <a:cxn ang="0">
                          <a:pos x="connsiteX6651" y="connsiteY6651"/>
                        </a:cxn>
                        <a:cxn ang="0">
                          <a:pos x="connsiteX6652" y="connsiteY6652"/>
                        </a:cxn>
                        <a:cxn ang="0">
                          <a:pos x="connsiteX6653" y="connsiteY6653"/>
                        </a:cxn>
                        <a:cxn ang="0">
                          <a:pos x="connsiteX6654" y="connsiteY6654"/>
                        </a:cxn>
                        <a:cxn ang="0">
                          <a:pos x="connsiteX6655" y="connsiteY6655"/>
                        </a:cxn>
                        <a:cxn ang="0">
                          <a:pos x="connsiteX6656" y="connsiteY6656"/>
                        </a:cxn>
                        <a:cxn ang="0">
                          <a:pos x="connsiteX6657" y="connsiteY6657"/>
                        </a:cxn>
                        <a:cxn ang="0">
                          <a:pos x="connsiteX6658" y="connsiteY6658"/>
                        </a:cxn>
                        <a:cxn ang="0">
                          <a:pos x="connsiteX6659" y="connsiteY6659"/>
                        </a:cxn>
                        <a:cxn ang="0">
                          <a:pos x="connsiteX6660" y="connsiteY6660"/>
                        </a:cxn>
                        <a:cxn ang="0">
                          <a:pos x="connsiteX6661" y="connsiteY6661"/>
                        </a:cxn>
                        <a:cxn ang="0">
                          <a:pos x="connsiteX6662" y="connsiteY6662"/>
                        </a:cxn>
                        <a:cxn ang="0">
                          <a:pos x="connsiteX6663" y="connsiteY6663"/>
                        </a:cxn>
                        <a:cxn ang="0">
                          <a:pos x="connsiteX6664" y="connsiteY6664"/>
                        </a:cxn>
                        <a:cxn ang="0">
                          <a:pos x="connsiteX6665" y="connsiteY6665"/>
                        </a:cxn>
                        <a:cxn ang="0">
                          <a:pos x="connsiteX6666" y="connsiteY6666"/>
                        </a:cxn>
                        <a:cxn ang="0">
                          <a:pos x="connsiteX6667" y="connsiteY6667"/>
                        </a:cxn>
                        <a:cxn ang="0">
                          <a:pos x="connsiteX6668" y="connsiteY6668"/>
                        </a:cxn>
                        <a:cxn ang="0">
                          <a:pos x="connsiteX6669" y="connsiteY6669"/>
                        </a:cxn>
                        <a:cxn ang="0">
                          <a:pos x="connsiteX6670" y="connsiteY6670"/>
                        </a:cxn>
                        <a:cxn ang="0">
                          <a:pos x="connsiteX6671" y="connsiteY6671"/>
                        </a:cxn>
                        <a:cxn ang="0">
                          <a:pos x="connsiteX6672" y="connsiteY6672"/>
                        </a:cxn>
                        <a:cxn ang="0">
                          <a:pos x="connsiteX6673" y="connsiteY6673"/>
                        </a:cxn>
                        <a:cxn ang="0">
                          <a:pos x="connsiteX6674" y="connsiteY6674"/>
                        </a:cxn>
                        <a:cxn ang="0">
                          <a:pos x="connsiteX6675" y="connsiteY6675"/>
                        </a:cxn>
                        <a:cxn ang="0">
                          <a:pos x="connsiteX6676" y="connsiteY6676"/>
                        </a:cxn>
                        <a:cxn ang="0">
                          <a:pos x="connsiteX6677" y="connsiteY6677"/>
                        </a:cxn>
                        <a:cxn ang="0">
                          <a:pos x="connsiteX6678" y="connsiteY6678"/>
                        </a:cxn>
                        <a:cxn ang="0">
                          <a:pos x="connsiteX6679" y="connsiteY6679"/>
                        </a:cxn>
                        <a:cxn ang="0">
                          <a:pos x="connsiteX6680" y="connsiteY6680"/>
                        </a:cxn>
                        <a:cxn ang="0">
                          <a:pos x="connsiteX6681" y="connsiteY6681"/>
                        </a:cxn>
                        <a:cxn ang="0">
                          <a:pos x="connsiteX6682" y="connsiteY6682"/>
                        </a:cxn>
                        <a:cxn ang="0">
                          <a:pos x="connsiteX6683" y="connsiteY6683"/>
                        </a:cxn>
                        <a:cxn ang="0">
                          <a:pos x="connsiteX6684" y="connsiteY6684"/>
                        </a:cxn>
                        <a:cxn ang="0">
                          <a:pos x="connsiteX6685" y="connsiteY6685"/>
                        </a:cxn>
                        <a:cxn ang="0">
                          <a:pos x="connsiteX6686" y="connsiteY6686"/>
                        </a:cxn>
                        <a:cxn ang="0">
                          <a:pos x="connsiteX6687" y="connsiteY6687"/>
                        </a:cxn>
                        <a:cxn ang="0">
                          <a:pos x="connsiteX6688" y="connsiteY6688"/>
                        </a:cxn>
                        <a:cxn ang="0">
                          <a:pos x="connsiteX6689" y="connsiteY6689"/>
                        </a:cxn>
                        <a:cxn ang="0">
                          <a:pos x="connsiteX6690" y="connsiteY6690"/>
                        </a:cxn>
                        <a:cxn ang="0">
                          <a:pos x="connsiteX6691" y="connsiteY6691"/>
                        </a:cxn>
                        <a:cxn ang="0">
                          <a:pos x="connsiteX6692" y="connsiteY6692"/>
                        </a:cxn>
                        <a:cxn ang="0">
                          <a:pos x="connsiteX6693" y="connsiteY6693"/>
                        </a:cxn>
                        <a:cxn ang="0">
                          <a:pos x="connsiteX6694" y="connsiteY6694"/>
                        </a:cxn>
                        <a:cxn ang="0">
                          <a:pos x="connsiteX6695" y="connsiteY6695"/>
                        </a:cxn>
                        <a:cxn ang="0">
                          <a:pos x="connsiteX6696" y="connsiteY6696"/>
                        </a:cxn>
                        <a:cxn ang="0">
                          <a:pos x="connsiteX6697" y="connsiteY6697"/>
                        </a:cxn>
                        <a:cxn ang="0">
                          <a:pos x="connsiteX6698" y="connsiteY6698"/>
                        </a:cxn>
                        <a:cxn ang="0">
                          <a:pos x="connsiteX6699" y="connsiteY6699"/>
                        </a:cxn>
                        <a:cxn ang="0">
                          <a:pos x="connsiteX6700" y="connsiteY6700"/>
                        </a:cxn>
                        <a:cxn ang="0">
                          <a:pos x="connsiteX6701" y="connsiteY6701"/>
                        </a:cxn>
                        <a:cxn ang="0">
                          <a:pos x="connsiteX6702" y="connsiteY6702"/>
                        </a:cxn>
                        <a:cxn ang="0">
                          <a:pos x="connsiteX6703" y="connsiteY6703"/>
                        </a:cxn>
                        <a:cxn ang="0">
                          <a:pos x="connsiteX6704" y="connsiteY6704"/>
                        </a:cxn>
                        <a:cxn ang="0">
                          <a:pos x="connsiteX6705" y="connsiteY6705"/>
                        </a:cxn>
                        <a:cxn ang="0">
                          <a:pos x="connsiteX6706" y="connsiteY6706"/>
                        </a:cxn>
                        <a:cxn ang="0">
                          <a:pos x="connsiteX6707" y="connsiteY6707"/>
                        </a:cxn>
                        <a:cxn ang="0">
                          <a:pos x="connsiteX6708" y="connsiteY6708"/>
                        </a:cxn>
                        <a:cxn ang="0">
                          <a:pos x="connsiteX6709" y="connsiteY6709"/>
                        </a:cxn>
                        <a:cxn ang="0">
                          <a:pos x="connsiteX6710" y="connsiteY6710"/>
                        </a:cxn>
                        <a:cxn ang="0">
                          <a:pos x="connsiteX6711" y="connsiteY6711"/>
                        </a:cxn>
                        <a:cxn ang="0">
                          <a:pos x="connsiteX6712" y="connsiteY6712"/>
                        </a:cxn>
                        <a:cxn ang="0">
                          <a:pos x="connsiteX6713" y="connsiteY6713"/>
                        </a:cxn>
                        <a:cxn ang="0">
                          <a:pos x="connsiteX6714" y="connsiteY6714"/>
                        </a:cxn>
                        <a:cxn ang="0">
                          <a:pos x="connsiteX6715" y="connsiteY6715"/>
                        </a:cxn>
                        <a:cxn ang="0">
                          <a:pos x="connsiteX6716" y="connsiteY6716"/>
                        </a:cxn>
                        <a:cxn ang="0">
                          <a:pos x="connsiteX6717" y="connsiteY6717"/>
                        </a:cxn>
                        <a:cxn ang="0">
                          <a:pos x="connsiteX6718" y="connsiteY6718"/>
                        </a:cxn>
                        <a:cxn ang="0">
                          <a:pos x="connsiteX6719" y="connsiteY6719"/>
                        </a:cxn>
                        <a:cxn ang="0">
                          <a:pos x="connsiteX6720" y="connsiteY6720"/>
                        </a:cxn>
                        <a:cxn ang="0">
                          <a:pos x="connsiteX6721" y="connsiteY6721"/>
                        </a:cxn>
                        <a:cxn ang="0">
                          <a:pos x="connsiteX6722" y="connsiteY6722"/>
                        </a:cxn>
                        <a:cxn ang="0">
                          <a:pos x="connsiteX6723" y="connsiteY6723"/>
                        </a:cxn>
                        <a:cxn ang="0">
                          <a:pos x="connsiteX6724" y="connsiteY6724"/>
                        </a:cxn>
                        <a:cxn ang="0">
                          <a:pos x="connsiteX6725" y="connsiteY6725"/>
                        </a:cxn>
                        <a:cxn ang="0">
                          <a:pos x="connsiteX6726" y="connsiteY6726"/>
                        </a:cxn>
                        <a:cxn ang="0">
                          <a:pos x="connsiteX6727" y="connsiteY6727"/>
                        </a:cxn>
                        <a:cxn ang="0">
                          <a:pos x="connsiteX6728" y="connsiteY6728"/>
                        </a:cxn>
                        <a:cxn ang="0">
                          <a:pos x="connsiteX6729" y="connsiteY6729"/>
                        </a:cxn>
                        <a:cxn ang="0">
                          <a:pos x="connsiteX6730" y="connsiteY6730"/>
                        </a:cxn>
                        <a:cxn ang="0">
                          <a:pos x="connsiteX6731" y="connsiteY6731"/>
                        </a:cxn>
                        <a:cxn ang="0">
                          <a:pos x="connsiteX6732" y="connsiteY6732"/>
                        </a:cxn>
                        <a:cxn ang="0">
                          <a:pos x="connsiteX6733" y="connsiteY6733"/>
                        </a:cxn>
                        <a:cxn ang="0">
                          <a:pos x="connsiteX6734" y="connsiteY6734"/>
                        </a:cxn>
                        <a:cxn ang="0">
                          <a:pos x="connsiteX6735" y="connsiteY6735"/>
                        </a:cxn>
                        <a:cxn ang="0">
                          <a:pos x="connsiteX6736" y="connsiteY6736"/>
                        </a:cxn>
                        <a:cxn ang="0">
                          <a:pos x="connsiteX6737" y="connsiteY6737"/>
                        </a:cxn>
                        <a:cxn ang="0">
                          <a:pos x="connsiteX6738" y="connsiteY6738"/>
                        </a:cxn>
                        <a:cxn ang="0">
                          <a:pos x="connsiteX6739" y="connsiteY6739"/>
                        </a:cxn>
                        <a:cxn ang="0">
                          <a:pos x="connsiteX6740" y="connsiteY6740"/>
                        </a:cxn>
                        <a:cxn ang="0">
                          <a:pos x="connsiteX6741" y="connsiteY6741"/>
                        </a:cxn>
                        <a:cxn ang="0">
                          <a:pos x="connsiteX6742" y="connsiteY6742"/>
                        </a:cxn>
                        <a:cxn ang="0">
                          <a:pos x="connsiteX6743" y="connsiteY6743"/>
                        </a:cxn>
                        <a:cxn ang="0">
                          <a:pos x="connsiteX6744" y="connsiteY6744"/>
                        </a:cxn>
                        <a:cxn ang="0">
                          <a:pos x="connsiteX6745" y="connsiteY6745"/>
                        </a:cxn>
                        <a:cxn ang="0">
                          <a:pos x="connsiteX6746" y="connsiteY6746"/>
                        </a:cxn>
                        <a:cxn ang="0">
                          <a:pos x="connsiteX6747" y="connsiteY6747"/>
                        </a:cxn>
                        <a:cxn ang="0">
                          <a:pos x="connsiteX6748" y="connsiteY6748"/>
                        </a:cxn>
                        <a:cxn ang="0">
                          <a:pos x="connsiteX6749" y="connsiteY6749"/>
                        </a:cxn>
                        <a:cxn ang="0">
                          <a:pos x="connsiteX6750" y="connsiteY6750"/>
                        </a:cxn>
                        <a:cxn ang="0">
                          <a:pos x="connsiteX6751" y="connsiteY6751"/>
                        </a:cxn>
                        <a:cxn ang="0">
                          <a:pos x="connsiteX6752" y="connsiteY6752"/>
                        </a:cxn>
                        <a:cxn ang="0">
                          <a:pos x="connsiteX6753" y="connsiteY6753"/>
                        </a:cxn>
                        <a:cxn ang="0">
                          <a:pos x="connsiteX6754" y="connsiteY6754"/>
                        </a:cxn>
                        <a:cxn ang="0">
                          <a:pos x="connsiteX6755" y="connsiteY6755"/>
                        </a:cxn>
                        <a:cxn ang="0">
                          <a:pos x="connsiteX6756" y="connsiteY6756"/>
                        </a:cxn>
                        <a:cxn ang="0">
                          <a:pos x="connsiteX6757" y="connsiteY6757"/>
                        </a:cxn>
                        <a:cxn ang="0">
                          <a:pos x="connsiteX6758" y="connsiteY6758"/>
                        </a:cxn>
                        <a:cxn ang="0">
                          <a:pos x="connsiteX6759" y="connsiteY6759"/>
                        </a:cxn>
                        <a:cxn ang="0">
                          <a:pos x="connsiteX6760" y="connsiteY6760"/>
                        </a:cxn>
                        <a:cxn ang="0">
                          <a:pos x="connsiteX6761" y="connsiteY6761"/>
                        </a:cxn>
                        <a:cxn ang="0">
                          <a:pos x="connsiteX6762" y="connsiteY6762"/>
                        </a:cxn>
                        <a:cxn ang="0">
                          <a:pos x="connsiteX6763" y="connsiteY6763"/>
                        </a:cxn>
                        <a:cxn ang="0">
                          <a:pos x="connsiteX6764" y="connsiteY6764"/>
                        </a:cxn>
                        <a:cxn ang="0">
                          <a:pos x="connsiteX6765" y="connsiteY6765"/>
                        </a:cxn>
                        <a:cxn ang="0">
                          <a:pos x="connsiteX6766" y="connsiteY6766"/>
                        </a:cxn>
                        <a:cxn ang="0">
                          <a:pos x="connsiteX6767" y="connsiteY6767"/>
                        </a:cxn>
                        <a:cxn ang="0">
                          <a:pos x="connsiteX6768" y="connsiteY6768"/>
                        </a:cxn>
                        <a:cxn ang="0">
                          <a:pos x="connsiteX6769" y="connsiteY6769"/>
                        </a:cxn>
                        <a:cxn ang="0">
                          <a:pos x="connsiteX6770" y="connsiteY6770"/>
                        </a:cxn>
                        <a:cxn ang="0">
                          <a:pos x="connsiteX6771" y="connsiteY6771"/>
                        </a:cxn>
                        <a:cxn ang="0">
                          <a:pos x="connsiteX6772" y="connsiteY6772"/>
                        </a:cxn>
                        <a:cxn ang="0">
                          <a:pos x="connsiteX6773" y="connsiteY6773"/>
                        </a:cxn>
                        <a:cxn ang="0">
                          <a:pos x="connsiteX6774" y="connsiteY6774"/>
                        </a:cxn>
                        <a:cxn ang="0">
                          <a:pos x="connsiteX6775" y="connsiteY6775"/>
                        </a:cxn>
                        <a:cxn ang="0">
                          <a:pos x="connsiteX6776" y="connsiteY6776"/>
                        </a:cxn>
                        <a:cxn ang="0">
                          <a:pos x="connsiteX6777" y="connsiteY6777"/>
                        </a:cxn>
                        <a:cxn ang="0">
                          <a:pos x="connsiteX6778" y="connsiteY6778"/>
                        </a:cxn>
                        <a:cxn ang="0">
                          <a:pos x="connsiteX6779" y="connsiteY6779"/>
                        </a:cxn>
                        <a:cxn ang="0">
                          <a:pos x="connsiteX6780" y="connsiteY6780"/>
                        </a:cxn>
                        <a:cxn ang="0">
                          <a:pos x="connsiteX6781" y="connsiteY6781"/>
                        </a:cxn>
                        <a:cxn ang="0">
                          <a:pos x="connsiteX6782" y="connsiteY6782"/>
                        </a:cxn>
                        <a:cxn ang="0">
                          <a:pos x="connsiteX6783" y="connsiteY6783"/>
                        </a:cxn>
                        <a:cxn ang="0">
                          <a:pos x="connsiteX6784" y="connsiteY6784"/>
                        </a:cxn>
                        <a:cxn ang="0">
                          <a:pos x="connsiteX6785" y="connsiteY6785"/>
                        </a:cxn>
                        <a:cxn ang="0">
                          <a:pos x="connsiteX6786" y="connsiteY6786"/>
                        </a:cxn>
                        <a:cxn ang="0">
                          <a:pos x="connsiteX6787" y="connsiteY6787"/>
                        </a:cxn>
                        <a:cxn ang="0">
                          <a:pos x="connsiteX6788" y="connsiteY6788"/>
                        </a:cxn>
                        <a:cxn ang="0">
                          <a:pos x="connsiteX6789" y="connsiteY6789"/>
                        </a:cxn>
                        <a:cxn ang="0">
                          <a:pos x="connsiteX6790" y="connsiteY6790"/>
                        </a:cxn>
                        <a:cxn ang="0">
                          <a:pos x="connsiteX6791" y="connsiteY6791"/>
                        </a:cxn>
                        <a:cxn ang="0">
                          <a:pos x="connsiteX6792" y="connsiteY6792"/>
                        </a:cxn>
                        <a:cxn ang="0">
                          <a:pos x="connsiteX6793" y="connsiteY6793"/>
                        </a:cxn>
                        <a:cxn ang="0">
                          <a:pos x="connsiteX6794" y="connsiteY6794"/>
                        </a:cxn>
                        <a:cxn ang="0">
                          <a:pos x="connsiteX6795" y="connsiteY6795"/>
                        </a:cxn>
                        <a:cxn ang="0">
                          <a:pos x="connsiteX6796" y="connsiteY6796"/>
                        </a:cxn>
                        <a:cxn ang="0">
                          <a:pos x="connsiteX6797" y="connsiteY6797"/>
                        </a:cxn>
                        <a:cxn ang="0">
                          <a:pos x="connsiteX6798" y="connsiteY6798"/>
                        </a:cxn>
                        <a:cxn ang="0">
                          <a:pos x="connsiteX6799" y="connsiteY6799"/>
                        </a:cxn>
                        <a:cxn ang="0">
                          <a:pos x="connsiteX6800" y="connsiteY6800"/>
                        </a:cxn>
                        <a:cxn ang="0">
                          <a:pos x="connsiteX6801" y="connsiteY6801"/>
                        </a:cxn>
                        <a:cxn ang="0">
                          <a:pos x="connsiteX6802" y="connsiteY6802"/>
                        </a:cxn>
                        <a:cxn ang="0">
                          <a:pos x="connsiteX6803" y="connsiteY6803"/>
                        </a:cxn>
                        <a:cxn ang="0">
                          <a:pos x="connsiteX6804" y="connsiteY6804"/>
                        </a:cxn>
                        <a:cxn ang="0">
                          <a:pos x="connsiteX6805" y="connsiteY6805"/>
                        </a:cxn>
                        <a:cxn ang="0">
                          <a:pos x="connsiteX6806" y="connsiteY6806"/>
                        </a:cxn>
                        <a:cxn ang="0">
                          <a:pos x="connsiteX6807" y="connsiteY6807"/>
                        </a:cxn>
                        <a:cxn ang="0">
                          <a:pos x="connsiteX6808" y="connsiteY6808"/>
                        </a:cxn>
                        <a:cxn ang="0">
                          <a:pos x="connsiteX6809" y="connsiteY6809"/>
                        </a:cxn>
                        <a:cxn ang="0">
                          <a:pos x="connsiteX6810" y="connsiteY6810"/>
                        </a:cxn>
                        <a:cxn ang="0">
                          <a:pos x="connsiteX6811" y="connsiteY6811"/>
                        </a:cxn>
                        <a:cxn ang="0">
                          <a:pos x="connsiteX6812" y="connsiteY6812"/>
                        </a:cxn>
                        <a:cxn ang="0">
                          <a:pos x="connsiteX6813" y="connsiteY6813"/>
                        </a:cxn>
                        <a:cxn ang="0">
                          <a:pos x="connsiteX6814" y="connsiteY6814"/>
                        </a:cxn>
                        <a:cxn ang="0">
                          <a:pos x="connsiteX6815" y="connsiteY6815"/>
                        </a:cxn>
                        <a:cxn ang="0">
                          <a:pos x="connsiteX6816" y="connsiteY6816"/>
                        </a:cxn>
                        <a:cxn ang="0">
                          <a:pos x="connsiteX6817" y="connsiteY6817"/>
                        </a:cxn>
                        <a:cxn ang="0">
                          <a:pos x="connsiteX6818" y="connsiteY6818"/>
                        </a:cxn>
                        <a:cxn ang="0">
                          <a:pos x="connsiteX6819" y="connsiteY6819"/>
                        </a:cxn>
                        <a:cxn ang="0">
                          <a:pos x="connsiteX6820" y="connsiteY6820"/>
                        </a:cxn>
                        <a:cxn ang="0">
                          <a:pos x="connsiteX6821" y="connsiteY6821"/>
                        </a:cxn>
                        <a:cxn ang="0">
                          <a:pos x="connsiteX6822" y="connsiteY6822"/>
                        </a:cxn>
                        <a:cxn ang="0">
                          <a:pos x="connsiteX6823" y="connsiteY6823"/>
                        </a:cxn>
                        <a:cxn ang="0">
                          <a:pos x="connsiteX6824" y="connsiteY6824"/>
                        </a:cxn>
                        <a:cxn ang="0">
                          <a:pos x="connsiteX6825" y="connsiteY6825"/>
                        </a:cxn>
                        <a:cxn ang="0">
                          <a:pos x="connsiteX6826" y="connsiteY6826"/>
                        </a:cxn>
                        <a:cxn ang="0">
                          <a:pos x="connsiteX6827" y="connsiteY6827"/>
                        </a:cxn>
                        <a:cxn ang="0">
                          <a:pos x="connsiteX6828" y="connsiteY6828"/>
                        </a:cxn>
                        <a:cxn ang="0">
                          <a:pos x="connsiteX6829" y="connsiteY6829"/>
                        </a:cxn>
                        <a:cxn ang="0">
                          <a:pos x="connsiteX6830" y="connsiteY6830"/>
                        </a:cxn>
                        <a:cxn ang="0">
                          <a:pos x="connsiteX6831" y="connsiteY6831"/>
                        </a:cxn>
                        <a:cxn ang="0">
                          <a:pos x="connsiteX6832" y="connsiteY6832"/>
                        </a:cxn>
                        <a:cxn ang="0">
                          <a:pos x="connsiteX6833" y="connsiteY6833"/>
                        </a:cxn>
                        <a:cxn ang="0">
                          <a:pos x="connsiteX6834" y="connsiteY6834"/>
                        </a:cxn>
                        <a:cxn ang="0">
                          <a:pos x="connsiteX6835" y="connsiteY6835"/>
                        </a:cxn>
                        <a:cxn ang="0">
                          <a:pos x="connsiteX6836" y="connsiteY6836"/>
                        </a:cxn>
                        <a:cxn ang="0">
                          <a:pos x="connsiteX6837" y="connsiteY6837"/>
                        </a:cxn>
                        <a:cxn ang="0">
                          <a:pos x="connsiteX6838" y="connsiteY6838"/>
                        </a:cxn>
                        <a:cxn ang="0">
                          <a:pos x="connsiteX6839" y="connsiteY6839"/>
                        </a:cxn>
                        <a:cxn ang="0">
                          <a:pos x="connsiteX6840" y="connsiteY6840"/>
                        </a:cxn>
                        <a:cxn ang="0">
                          <a:pos x="connsiteX6841" y="connsiteY6841"/>
                        </a:cxn>
                        <a:cxn ang="0">
                          <a:pos x="connsiteX6842" y="connsiteY6842"/>
                        </a:cxn>
                        <a:cxn ang="0">
                          <a:pos x="connsiteX6843" y="connsiteY6843"/>
                        </a:cxn>
                        <a:cxn ang="0">
                          <a:pos x="connsiteX6844" y="connsiteY6844"/>
                        </a:cxn>
                        <a:cxn ang="0">
                          <a:pos x="connsiteX6845" y="connsiteY6845"/>
                        </a:cxn>
                        <a:cxn ang="0">
                          <a:pos x="connsiteX6846" y="connsiteY6846"/>
                        </a:cxn>
                        <a:cxn ang="0">
                          <a:pos x="connsiteX6847" y="connsiteY6847"/>
                        </a:cxn>
                        <a:cxn ang="0">
                          <a:pos x="connsiteX6848" y="connsiteY6848"/>
                        </a:cxn>
                        <a:cxn ang="0">
                          <a:pos x="connsiteX6849" y="connsiteY6849"/>
                        </a:cxn>
                        <a:cxn ang="0">
                          <a:pos x="connsiteX6850" y="connsiteY6850"/>
                        </a:cxn>
                        <a:cxn ang="0">
                          <a:pos x="connsiteX6851" y="connsiteY6851"/>
                        </a:cxn>
                        <a:cxn ang="0">
                          <a:pos x="connsiteX6852" y="connsiteY6852"/>
                        </a:cxn>
                        <a:cxn ang="0">
                          <a:pos x="connsiteX6853" y="connsiteY6853"/>
                        </a:cxn>
                        <a:cxn ang="0">
                          <a:pos x="connsiteX6854" y="connsiteY6854"/>
                        </a:cxn>
                        <a:cxn ang="0">
                          <a:pos x="connsiteX6855" y="connsiteY6855"/>
                        </a:cxn>
                        <a:cxn ang="0">
                          <a:pos x="connsiteX6856" y="connsiteY6856"/>
                        </a:cxn>
                        <a:cxn ang="0">
                          <a:pos x="connsiteX6857" y="connsiteY6857"/>
                        </a:cxn>
                        <a:cxn ang="0">
                          <a:pos x="connsiteX6858" y="connsiteY6858"/>
                        </a:cxn>
                        <a:cxn ang="0">
                          <a:pos x="connsiteX6859" y="connsiteY6859"/>
                        </a:cxn>
                        <a:cxn ang="0">
                          <a:pos x="connsiteX6860" y="connsiteY6860"/>
                        </a:cxn>
                        <a:cxn ang="0">
                          <a:pos x="connsiteX6861" y="connsiteY6861"/>
                        </a:cxn>
                        <a:cxn ang="0">
                          <a:pos x="connsiteX6862" y="connsiteY6862"/>
                        </a:cxn>
                        <a:cxn ang="0">
                          <a:pos x="connsiteX6863" y="connsiteY6863"/>
                        </a:cxn>
                        <a:cxn ang="0">
                          <a:pos x="connsiteX6864" y="connsiteY6864"/>
                        </a:cxn>
                        <a:cxn ang="0">
                          <a:pos x="connsiteX6865" y="connsiteY6865"/>
                        </a:cxn>
                        <a:cxn ang="0">
                          <a:pos x="connsiteX6866" y="connsiteY6866"/>
                        </a:cxn>
                        <a:cxn ang="0">
                          <a:pos x="connsiteX6867" y="connsiteY6867"/>
                        </a:cxn>
                        <a:cxn ang="0">
                          <a:pos x="connsiteX6868" y="connsiteY6868"/>
                        </a:cxn>
                        <a:cxn ang="0">
                          <a:pos x="connsiteX6869" y="connsiteY6869"/>
                        </a:cxn>
                        <a:cxn ang="0">
                          <a:pos x="connsiteX6870" y="connsiteY6870"/>
                        </a:cxn>
                        <a:cxn ang="0">
                          <a:pos x="connsiteX6871" y="connsiteY6871"/>
                        </a:cxn>
                        <a:cxn ang="0">
                          <a:pos x="connsiteX6872" y="connsiteY6872"/>
                        </a:cxn>
                        <a:cxn ang="0">
                          <a:pos x="connsiteX6873" y="connsiteY6873"/>
                        </a:cxn>
                        <a:cxn ang="0">
                          <a:pos x="connsiteX6874" y="connsiteY6874"/>
                        </a:cxn>
                        <a:cxn ang="0">
                          <a:pos x="connsiteX6875" y="connsiteY6875"/>
                        </a:cxn>
                        <a:cxn ang="0">
                          <a:pos x="connsiteX6876" y="connsiteY6876"/>
                        </a:cxn>
                        <a:cxn ang="0">
                          <a:pos x="connsiteX6877" y="connsiteY6877"/>
                        </a:cxn>
                        <a:cxn ang="0">
                          <a:pos x="connsiteX6878" y="connsiteY6878"/>
                        </a:cxn>
                        <a:cxn ang="0">
                          <a:pos x="connsiteX6879" y="connsiteY6879"/>
                        </a:cxn>
                        <a:cxn ang="0">
                          <a:pos x="connsiteX6880" y="connsiteY6880"/>
                        </a:cxn>
                        <a:cxn ang="0">
                          <a:pos x="connsiteX6881" y="connsiteY6881"/>
                        </a:cxn>
                        <a:cxn ang="0">
                          <a:pos x="connsiteX6882" y="connsiteY6882"/>
                        </a:cxn>
                        <a:cxn ang="0">
                          <a:pos x="connsiteX6883" y="connsiteY6883"/>
                        </a:cxn>
                        <a:cxn ang="0">
                          <a:pos x="connsiteX6884" y="connsiteY6884"/>
                        </a:cxn>
                        <a:cxn ang="0">
                          <a:pos x="connsiteX6885" y="connsiteY6885"/>
                        </a:cxn>
                        <a:cxn ang="0">
                          <a:pos x="connsiteX6886" y="connsiteY6886"/>
                        </a:cxn>
                        <a:cxn ang="0">
                          <a:pos x="connsiteX6887" y="connsiteY6887"/>
                        </a:cxn>
                        <a:cxn ang="0">
                          <a:pos x="connsiteX6888" y="connsiteY6888"/>
                        </a:cxn>
                        <a:cxn ang="0">
                          <a:pos x="connsiteX6889" y="connsiteY6889"/>
                        </a:cxn>
                        <a:cxn ang="0">
                          <a:pos x="connsiteX6890" y="connsiteY6890"/>
                        </a:cxn>
                        <a:cxn ang="0">
                          <a:pos x="connsiteX6891" y="connsiteY6891"/>
                        </a:cxn>
                        <a:cxn ang="0">
                          <a:pos x="connsiteX6892" y="connsiteY6892"/>
                        </a:cxn>
                        <a:cxn ang="0">
                          <a:pos x="connsiteX6893" y="connsiteY6893"/>
                        </a:cxn>
                        <a:cxn ang="0">
                          <a:pos x="connsiteX6894" y="connsiteY6894"/>
                        </a:cxn>
                        <a:cxn ang="0">
                          <a:pos x="connsiteX6895" y="connsiteY6895"/>
                        </a:cxn>
                        <a:cxn ang="0">
                          <a:pos x="connsiteX6896" y="connsiteY6896"/>
                        </a:cxn>
                        <a:cxn ang="0">
                          <a:pos x="connsiteX6897" y="connsiteY6897"/>
                        </a:cxn>
                        <a:cxn ang="0">
                          <a:pos x="connsiteX6898" y="connsiteY6898"/>
                        </a:cxn>
                        <a:cxn ang="0">
                          <a:pos x="connsiteX6899" y="connsiteY6899"/>
                        </a:cxn>
                        <a:cxn ang="0">
                          <a:pos x="connsiteX6900" y="connsiteY6900"/>
                        </a:cxn>
                        <a:cxn ang="0">
                          <a:pos x="connsiteX6901" y="connsiteY6901"/>
                        </a:cxn>
                        <a:cxn ang="0">
                          <a:pos x="connsiteX6902" y="connsiteY6902"/>
                        </a:cxn>
                        <a:cxn ang="0">
                          <a:pos x="connsiteX6903" y="connsiteY6903"/>
                        </a:cxn>
                        <a:cxn ang="0">
                          <a:pos x="connsiteX6904" y="connsiteY6904"/>
                        </a:cxn>
                        <a:cxn ang="0">
                          <a:pos x="connsiteX6905" y="connsiteY6905"/>
                        </a:cxn>
                        <a:cxn ang="0">
                          <a:pos x="connsiteX6906" y="connsiteY6906"/>
                        </a:cxn>
                        <a:cxn ang="0">
                          <a:pos x="connsiteX6907" y="connsiteY6907"/>
                        </a:cxn>
                        <a:cxn ang="0">
                          <a:pos x="connsiteX6908" y="connsiteY6908"/>
                        </a:cxn>
                        <a:cxn ang="0">
                          <a:pos x="connsiteX6909" y="connsiteY6909"/>
                        </a:cxn>
                        <a:cxn ang="0">
                          <a:pos x="connsiteX6910" y="connsiteY6910"/>
                        </a:cxn>
                        <a:cxn ang="0">
                          <a:pos x="connsiteX6911" y="connsiteY6911"/>
                        </a:cxn>
                        <a:cxn ang="0">
                          <a:pos x="connsiteX6912" y="connsiteY6912"/>
                        </a:cxn>
                        <a:cxn ang="0">
                          <a:pos x="connsiteX6913" y="connsiteY6913"/>
                        </a:cxn>
                        <a:cxn ang="0">
                          <a:pos x="connsiteX6914" y="connsiteY6914"/>
                        </a:cxn>
                        <a:cxn ang="0">
                          <a:pos x="connsiteX6915" y="connsiteY6915"/>
                        </a:cxn>
                        <a:cxn ang="0">
                          <a:pos x="connsiteX6916" y="connsiteY6916"/>
                        </a:cxn>
                        <a:cxn ang="0">
                          <a:pos x="connsiteX6917" y="connsiteY6917"/>
                        </a:cxn>
                        <a:cxn ang="0">
                          <a:pos x="connsiteX6918" y="connsiteY6918"/>
                        </a:cxn>
                        <a:cxn ang="0">
                          <a:pos x="connsiteX6919" y="connsiteY6919"/>
                        </a:cxn>
                        <a:cxn ang="0">
                          <a:pos x="connsiteX6920" y="connsiteY6920"/>
                        </a:cxn>
                        <a:cxn ang="0">
                          <a:pos x="connsiteX6921" y="connsiteY6921"/>
                        </a:cxn>
                        <a:cxn ang="0">
                          <a:pos x="connsiteX6922" y="connsiteY6922"/>
                        </a:cxn>
                        <a:cxn ang="0">
                          <a:pos x="connsiteX6923" y="connsiteY6923"/>
                        </a:cxn>
                        <a:cxn ang="0">
                          <a:pos x="connsiteX6924" y="connsiteY6924"/>
                        </a:cxn>
                        <a:cxn ang="0">
                          <a:pos x="connsiteX6925" y="connsiteY6925"/>
                        </a:cxn>
                        <a:cxn ang="0">
                          <a:pos x="connsiteX6926" y="connsiteY6926"/>
                        </a:cxn>
                        <a:cxn ang="0">
                          <a:pos x="connsiteX6927" y="connsiteY6927"/>
                        </a:cxn>
                        <a:cxn ang="0">
                          <a:pos x="connsiteX6928" y="connsiteY6928"/>
                        </a:cxn>
                        <a:cxn ang="0">
                          <a:pos x="connsiteX6929" y="connsiteY6929"/>
                        </a:cxn>
                        <a:cxn ang="0">
                          <a:pos x="connsiteX6930" y="connsiteY6930"/>
                        </a:cxn>
                        <a:cxn ang="0">
                          <a:pos x="connsiteX6931" y="connsiteY6931"/>
                        </a:cxn>
                        <a:cxn ang="0">
                          <a:pos x="connsiteX6932" y="connsiteY6932"/>
                        </a:cxn>
                        <a:cxn ang="0">
                          <a:pos x="connsiteX6933" y="connsiteY6933"/>
                        </a:cxn>
                        <a:cxn ang="0">
                          <a:pos x="connsiteX6934" y="connsiteY6934"/>
                        </a:cxn>
                        <a:cxn ang="0">
                          <a:pos x="connsiteX6935" y="connsiteY6935"/>
                        </a:cxn>
                        <a:cxn ang="0">
                          <a:pos x="connsiteX6936" y="connsiteY6936"/>
                        </a:cxn>
                        <a:cxn ang="0">
                          <a:pos x="connsiteX6937" y="connsiteY6937"/>
                        </a:cxn>
                        <a:cxn ang="0">
                          <a:pos x="connsiteX6938" y="connsiteY6938"/>
                        </a:cxn>
                        <a:cxn ang="0">
                          <a:pos x="connsiteX6939" y="connsiteY6939"/>
                        </a:cxn>
                        <a:cxn ang="0">
                          <a:pos x="connsiteX6940" y="connsiteY6940"/>
                        </a:cxn>
                        <a:cxn ang="0">
                          <a:pos x="connsiteX6941" y="connsiteY6941"/>
                        </a:cxn>
                        <a:cxn ang="0">
                          <a:pos x="connsiteX6942" y="connsiteY6942"/>
                        </a:cxn>
                        <a:cxn ang="0">
                          <a:pos x="connsiteX6943" y="connsiteY6943"/>
                        </a:cxn>
                        <a:cxn ang="0">
                          <a:pos x="connsiteX6944" y="connsiteY6944"/>
                        </a:cxn>
                        <a:cxn ang="0">
                          <a:pos x="connsiteX6945" y="connsiteY6945"/>
                        </a:cxn>
                        <a:cxn ang="0">
                          <a:pos x="connsiteX6946" y="connsiteY6946"/>
                        </a:cxn>
                        <a:cxn ang="0">
                          <a:pos x="connsiteX6947" y="connsiteY6947"/>
                        </a:cxn>
                        <a:cxn ang="0">
                          <a:pos x="connsiteX6948" y="connsiteY6948"/>
                        </a:cxn>
                        <a:cxn ang="0">
                          <a:pos x="connsiteX6949" y="connsiteY6949"/>
                        </a:cxn>
                        <a:cxn ang="0">
                          <a:pos x="connsiteX6950" y="connsiteY6950"/>
                        </a:cxn>
                        <a:cxn ang="0">
                          <a:pos x="connsiteX6951" y="connsiteY6951"/>
                        </a:cxn>
                        <a:cxn ang="0">
                          <a:pos x="connsiteX6952" y="connsiteY6952"/>
                        </a:cxn>
                        <a:cxn ang="0">
                          <a:pos x="connsiteX6953" y="connsiteY6953"/>
                        </a:cxn>
                        <a:cxn ang="0">
                          <a:pos x="connsiteX6954" y="connsiteY6954"/>
                        </a:cxn>
                        <a:cxn ang="0">
                          <a:pos x="connsiteX6955" y="connsiteY6955"/>
                        </a:cxn>
                        <a:cxn ang="0">
                          <a:pos x="connsiteX6956" y="connsiteY6956"/>
                        </a:cxn>
                        <a:cxn ang="0">
                          <a:pos x="connsiteX6957" y="connsiteY6957"/>
                        </a:cxn>
                        <a:cxn ang="0">
                          <a:pos x="connsiteX6958" y="connsiteY6958"/>
                        </a:cxn>
                        <a:cxn ang="0">
                          <a:pos x="connsiteX6959" y="connsiteY6959"/>
                        </a:cxn>
                        <a:cxn ang="0">
                          <a:pos x="connsiteX6960" y="connsiteY6960"/>
                        </a:cxn>
                        <a:cxn ang="0">
                          <a:pos x="connsiteX6961" y="connsiteY6961"/>
                        </a:cxn>
                        <a:cxn ang="0">
                          <a:pos x="connsiteX6962" y="connsiteY6962"/>
                        </a:cxn>
                        <a:cxn ang="0">
                          <a:pos x="connsiteX6963" y="connsiteY6963"/>
                        </a:cxn>
                        <a:cxn ang="0">
                          <a:pos x="connsiteX6964" y="connsiteY6964"/>
                        </a:cxn>
                        <a:cxn ang="0">
                          <a:pos x="connsiteX6965" y="connsiteY6965"/>
                        </a:cxn>
                        <a:cxn ang="0">
                          <a:pos x="connsiteX6966" y="connsiteY6966"/>
                        </a:cxn>
                        <a:cxn ang="0">
                          <a:pos x="connsiteX6967" y="connsiteY6967"/>
                        </a:cxn>
                        <a:cxn ang="0">
                          <a:pos x="connsiteX6968" y="connsiteY6968"/>
                        </a:cxn>
                        <a:cxn ang="0">
                          <a:pos x="connsiteX6969" y="connsiteY6969"/>
                        </a:cxn>
                        <a:cxn ang="0">
                          <a:pos x="connsiteX6970" y="connsiteY6970"/>
                        </a:cxn>
                        <a:cxn ang="0">
                          <a:pos x="connsiteX6971" y="connsiteY6971"/>
                        </a:cxn>
                        <a:cxn ang="0">
                          <a:pos x="connsiteX6972" y="connsiteY6972"/>
                        </a:cxn>
                        <a:cxn ang="0">
                          <a:pos x="connsiteX6973" y="connsiteY6973"/>
                        </a:cxn>
                        <a:cxn ang="0">
                          <a:pos x="connsiteX6974" y="connsiteY6974"/>
                        </a:cxn>
                        <a:cxn ang="0">
                          <a:pos x="connsiteX6975" y="connsiteY6975"/>
                        </a:cxn>
                        <a:cxn ang="0">
                          <a:pos x="connsiteX6976" y="connsiteY6976"/>
                        </a:cxn>
                        <a:cxn ang="0">
                          <a:pos x="connsiteX6977" y="connsiteY6977"/>
                        </a:cxn>
                        <a:cxn ang="0">
                          <a:pos x="connsiteX6978" y="connsiteY6978"/>
                        </a:cxn>
                        <a:cxn ang="0">
                          <a:pos x="connsiteX6979" y="connsiteY6979"/>
                        </a:cxn>
                        <a:cxn ang="0">
                          <a:pos x="connsiteX6980" y="connsiteY6980"/>
                        </a:cxn>
                        <a:cxn ang="0">
                          <a:pos x="connsiteX6981" y="connsiteY6981"/>
                        </a:cxn>
                        <a:cxn ang="0">
                          <a:pos x="connsiteX6982" y="connsiteY6982"/>
                        </a:cxn>
                        <a:cxn ang="0">
                          <a:pos x="connsiteX6983" y="connsiteY6983"/>
                        </a:cxn>
                        <a:cxn ang="0">
                          <a:pos x="connsiteX6984" y="connsiteY6984"/>
                        </a:cxn>
                        <a:cxn ang="0">
                          <a:pos x="connsiteX6985" y="connsiteY6985"/>
                        </a:cxn>
                        <a:cxn ang="0">
                          <a:pos x="connsiteX6986" y="connsiteY6986"/>
                        </a:cxn>
                        <a:cxn ang="0">
                          <a:pos x="connsiteX6987" y="connsiteY6987"/>
                        </a:cxn>
                        <a:cxn ang="0">
                          <a:pos x="connsiteX6988" y="connsiteY6988"/>
                        </a:cxn>
                        <a:cxn ang="0">
                          <a:pos x="connsiteX6989" y="connsiteY6989"/>
                        </a:cxn>
                        <a:cxn ang="0">
                          <a:pos x="connsiteX6990" y="connsiteY6990"/>
                        </a:cxn>
                        <a:cxn ang="0">
                          <a:pos x="connsiteX6991" y="connsiteY6991"/>
                        </a:cxn>
                        <a:cxn ang="0">
                          <a:pos x="connsiteX6992" y="connsiteY6992"/>
                        </a:cxn>
                        <a:cxn ang="0">
                          <a:pos x="connsiteX6993" y="connsiteY6993"/>
                        </a:cxn>
                        <a:cxn ang="0">
                          <a:pos x="connsiteX6994" y="connsiteY6994"/>
                        </a:cxn>
                        <a:cxn ang="0">
                          <a:pos x="connsiteX6995" y="connsiteY6995"/>
                        </a:cxn>
                        <a:cxn ang="0">
                          <a:pos x="connsiteX6996" y="connsiteY6996"/>
                        </a:cxn>
                        <a:cxn ang="0">
                          <a:pos x="connsiteX6997" y="connsiteY6997"/>
                        </a:cxn>
                        <a:cxn ang="0">
                          <a:pos x="connsiteX6998" y="connsiteY6998"/>
                        </a:cxn>
                        <a:cxn ang="0">
                          <a:pos x="connsiteX6999" y="connsiteY6999"/>
                        </a:cxn>
                        <a:cxn ang="0">
                          <a:pos x="connsiteX7000" y="connsiteY7000"/>
                        </a:cxn>
                        <a:cxn ang="0">
                          <a:pos x="connsiteX7001" y="connsiteY7001"/>
                        </a:cxn>
                        <a:cxn ang="0">
                          <a:pos x="connsiteX7002" y="connsiteY7002"/>
                        </a:cxn>
                        <a:cxn ang="0">
                          <a:pos x="connsiteX7003" y="connsiteY7003"/>
                        </a:cxn>
                        <a:cxn ang="0">
                          <a:pos x="connsiteX7004" y="connsiteY7004"/>
                        </a:cxn>
                        <a:cxn ang="0">
                          <a:pos x="connsiteX7005" y="connsiteY7005"/>
                        </a:cxn>
                        <a:cxn ang="0">
                          <a:pos x="connsiteX7006" y="connsiteY7006"/>
                        </a:cxn>
                        <a:cxn ang="0">
                          <a:pos x="connsiteX7007" y="connsiteY7007"/>
                        </a:cxn>
                        <a:cxn ang="0">
                          <a:pos x="connsiteX7008" y="connsiteY7008"/>
                        </a:cxn>
                        <a:cxn ang="0">
                          <a:pos x="connsiteX7009" y="connsiteY7009"/>
                        </a:cxn>
                        <a:cxn ang="0">
                          <a:pos x="connsiteX7010" y="connsiteY7010"/>
                        </a:cxn>
                        <a:cxn ang="0">
                          <a:pos x="connsiteX7011" y="connsiteY7011"/>
                        </a:cxn>
                        <a:cxn ang="0">
                          <a:pos x="connsiteX7012" y="connsiteY7012"/>
                        </a:cxn>
                      </a:cxnLst>
                      <a:rect l="l" t="t" r="r" b="b"/>
                      <a:pathLst>
                        <a:path w="1263758" h="2117064">
                          <a:moveTo>
                            <a:pt x="1089586" y="13952"/>
                          </a:moveTo>
                          <a:lnTo>
                            <a:pt x="1106688" y="17102"/>
                          </a:lnTo>
                          <a:lnTo>
                            <a:pt x="1112089" y="15752"/>
                          </a:lnTo>
                          <a:lnTo>
                            <a:pt x="1118390" y="23403"/>
                          </a:lnTo>
                          <a:lnTo>
                            <a:pt x="1122440" y="24303"/>
                          </a:lnTo>
                          <a:lnTo>
                            <a:pt x="1128741" y="22953"/>
                          </a:lnTo>
                          <a:lnTo>
                            <a:pt x="1133242" y="24753"/>
                          </a:lnTo>
                          <a:lnTo>
                            <a:pt x="1150344" y="26553"/>
                          </a:lnTo>
                          <a:lnTo>
                            <a:pt x="1153944" y="29704"/>
                          </a:lnTo>
                          <a:lnTo>
                            <a:pt x="1153944" y="33304"/>
                          </a:lnTo>
                          <a:lnTo>
                            <a:pt x="1150344" y="40955"/>
                          </a:lnTo>
                          <a:lnTo>
                            <a:pt x="1145393" y="48156"/>
                          </a:lnTo>
                          <a:lnTo>
                            <a:pt x="1112989" y="72009"/>
                          </a:lnTo>
                          <a:lnTo>
                            <a:pt x="1110739" y="76060"/>
                          </a:lnTo>
                          <a:lnTo>
                            <a:pt x="1117040" y="77410"/>
                          </a:lnTo>
                          <a:lnTo>
                            <a:pt x="1126491" y="76510"/>
                          </a:lnTo>
                          <a:lnTo>
                            <a:pt x="1133692" y="73809"/>
                          </a:lnTo>
                          <a:lnTo>
                            <a:pt x="1142243" y="65708"/>
                          </a:lnTo>
                          <a:lnTo>
                            <a:pt x="1144943" y="65258"/>
                          </a:lnTo>
                          <a:lnTo>
                            <a:pt x="1150344" y="61208"/>
                          </a:lnTo>
                          <a:lnTo>
                            <a:pt x="1160695" y="50406"/>
                          </a:lnTo>
                          <a:lnTo>
                            <a:pt x="1169246" y="44556"/>
                          </a:lnTo>
                          <a:lnTo>
                            <a:pt x="1172847" y="47256"/>
                          </a:lnTo>
                          <a:lnTo>
                            <a:pt x="1175997" y="51306"/>
                          </a:lnTo>
                          <a:lnTo>
                            <a:pt x="1178247" y="51756"/>
                          </a:lnTo>
                          <a:lnTo>
                            <a:pt x="1179147" y="48606"/>
                          </a:lnTo>
                          <a:lnTo>
                            <a:pt x="1180948" y="40055"/>
                          </a:lnTo>
                          <a:lnTo>
                            <a:pt x="1181848" y="36905"/>
                          </a:lnTo>
                          <a:lnTo>
                            <a:pt x="1184548" y="34654"/>
                          </a:lnTo>
                          <a:lnTo>
                            <a:pt x="1186348" y="35104"/>
                          </a:lnTo>
                          <a:lnTo>
                            <a:pt x="1189049" y="39155"/>
                          </a:lnTo>
                          <a:lnTo>
                            <a:pt x="1192199" y="49056"/>
                          </a:lnTo>
                          <a:lnTo>
                            <a:pt x="1194899" y="55807"/>
                          </a:lnTo>
                          <a:lnTo>
                            <a:pt x="1196250" y="55807"/>
                          </a:lnTo>
                          <a:lnTo>
                            <a:pt x="1202550" y="48156"/>
                          </a:lnTo>
                          <a:lnTo>
                            <a:pt x="1205701" y="47256"/>
                          </a:lnTo>
                          <a:lnTo>
                            <a:pt x="1212902" y="49956"/>
                          </a:lnTo>
                          <a:lnTo>
                            <a:pt x="1216052" y="53557"/>
                          </a:lnTo>
                          <a:lnTo>
                            <a:pt x="1216502" y="57157"/>
                          </a:lnTo>
                          <a:lnTo>
                            <a:pt x="1214702" y="60758"/>
                          </a:lnTo>
                          <a:lnTo>
                            <a:pt x="1213352" y="63908"/>
                          </a:lnTo>
                          <a:lnTo>
                            <a:pt x="1212902" y="66608"/>
                          </a:lnTo>
                          <a:lnTo>
                            <a:pt x="1213802" y="69759"/>
                          </a:lnTo>
                          <a:lnTo>
                            <a:pt x="1218302" y="76510"/>
                          </a:lnTo>
                          <a:lnTo>
                            <a:pt x="1224603" y="90911"/>
                          </a:lnTo>
                          <a:lnTo>
                            <a:pt x="1224603" y="96312"/>
                          </a:lnTo>
                          <a:lnTo>
                            <a:pt x="1221003" y="107113"/>
                          </a:lnTo>
                          <a:lnTo>
                            <a:pt x="1221003" y="109814"/>
                          </a:lnTo>
                          <a:lnTo>
                            <a:pt x="1237205" y="98562"/>
                          </a:lnTo>
                          <a:lnTo>
                            <a:pt x="1253857" y="103513"/>
                          </a:lnTo>
                          <a:lnTo>
                            <a:pt x="1258357" y="107113"/>
                          </a:lnTo>
                          <a:lnTo>
                            <a:pt x="1260157" y="111164"/>
                          </a:lnTo>
                          <a:lnTo>
                            <a:pt x="1261958" y="117915"/>
                          </a:lnTo>
                          <a:lnTo>
                            <a:pt x="1263758" y="127366"/>
                          </a:lnTo>
                          <a:lnTo>
                            <a:pt x="1262408" y="137267"/>
                          </a:lnTo>
                          <a:lnTo>
                            <a:pt x="1255207" y="152119"/>
                          </a:lnTo>
                          <a:lnTo>
                            <a:pt x="1247556" y="163370"/>
                          </a:lnTo>
                          <a:lnTo>
                            <a:pt x="1243055" y="173722"/>
                          </a:lnTo>
                          <a:lnTo>
                            <a:pt x="1236304" y="179122"/>
                          </a:lnTo>
                          <a:lnTo>
                            <a:pt x="1212902" y="203425"/>
                          </a:lnTo>
                          <a:lnTo>
                            <a:pt x="1201650" y="211076"/>
                          </a:lnTo>
                          <a:lnTo>
                            <a:pt x="1194899" y="218727"/>
                          </a:lnTo>
                          <a:lnTo>
                            <a:pt x="1191749" y="220078"/>
                          </a:lnTo>
                          <a:lnTo>
                            <a:pt x="1177797" y="218727"/>
                          </a:lnTo>
                          <a:lnTo>
                            <a:pt x="1174197" y="222778"/>
                          </a:lnTo>
                          <a:lnTo>
                            <a:pt x="1171947" y="229529"/>
                          </a:lnTo>
                          <a:lnTo>
                            <a:pt x="1167446" y="232679"/>
                          </a:lnTo>
                          <a:lnTo>
                            <a:pt x="1161145" y="234929"/>
                          </a:lnTo>
                          <a:lnTo>
                            <a:pt x="1148094" y="236730"/>
                          </a:lnTo>
                          <a:lnTo>
                            <a:pt x="1144943" y="244381"/>
                          </a:lnTo>
                          <a:lnTo>
                            <a:pt x="1144043" y="249781"/>
                          </a:lnTo>
                          <a:lnTo>
                            <a:pt x="1142693" y="253832"/>
                          </a:lnTo>
                          <a:lnTo>
                            <a:pt x="1141793" y="255632"/>
                          </a:lnTo>
                          <a:lnTo>
                            <a:pt x="1103988" y="282635"/>
                          </a:lnTo>
                          <a:lnTo>
                            <a:pt x="1103088" y="287136"/>
                          </a:lnTo>
                          <a:lnTo>
                            <a:pt x="1106688" y="288936"/>
                          </a:lnTo>
                          <a:lnTo>
                            <a:pt x="1111639" y="287136"/>
                          </a:lnTo>
                          <a:lnTo>
                            <a:pt x="1166546" y="254282"/>
                          </a:lnTo>
                          <a:lnTo>
                            <a:pt x="1176897" y="252032"/>
                          </a:lnTo>
                          <a:lnTo>
                            <a:pt x="1186798" y="254282"/>
                          </a:lnTo>
                          <a:lnTo>
                            <a:pt x="1185898" y="261933"/>
                          </a:lnTo>
                          <a:lnTo>
                            <a:pt x="1171947" y="283535"/>
                          </a:lnTo>
                          <a:lnTo>
                            <a:pt x="1154394" y="302888"/>
                          </a:lnTo>
                          <a:lnTo>
                            <a:pt x="1145843" y="317290"/>
                          </a:lnTo>
                          <a:lnTo>
                            <a:pt x="1123790" y="341593"/>
                          </a:lnTo>
                          <a:lnTo>
                            <a:pt x="1105788" y="365446"/>
                          </a:lnTo>
                          <a:lnTo>
                            <a:pt x="1098587" y="377597"/>
                          </a:lnTo>
                          <a:lnTo>
                            <a:pt x="1089136" y="398750"/>
                          </a:lnTo>
                          <a:lnTo>
                            <a:pt x="1085986" y="403701"/>
                          </a:lnTo>
                          <a:lnTo>
                            <a:pt x="1081935" y="405951"/>
                          </a:lnTo>
                          <a:lnTo>
                            <a:pt x="1077435" y="405051"/>
                          </a:lnTo>
                          <a:lnTo>
                            <a:pt x="1073384" y="401900"/>
                          </a:lnTo>
                          <a:lnTo>
                            <a:pt x="1067983" y="394249"/>
                          </a:lnTo>
                          <a:lnTo>
                            <a:pt x="1063033" y="385248"/>
                          </a:lnTo>
                          <a:lnTo>
                            <a:pt x="1061683" y="383898"/>
                          </a:lnTo>
                          <a:lnTo>
                            <a:pt x="1062583" y="388399"/>
                          </a:lnTo>
                          <a:lnTo>
                            <a:pt x="1072034" y="417202"/>
                          </a:lnTo>
                          <a:lnTo>
                            <a:pt x="1071134" y="422603"/>
                          </a:lnTo>
                          <a:lnTo>
                            <a:pt x="1053582" y="428454"/>
                          </a:lnTo>
                          <a:lnTo>
                            <a:pt x="1045931" y="433404"/>
                          </a:lnTo>
                          <a:lnTo>
                            <a:pt x="1041880" y="434754"/>
                          </a:lnTo>
                          <a:lnTo>
                            <a:pt x="1039180" y="433854"/>
                          </a:lnTo>
                          <a:lnTo>
                            <a:pt x="1036480" y="434304"/>
                          </a:lnTo>
                          <a:lnTo>
                            <a:pt x="1033779" y="436105"/>
                          </a:lnTo>
                          <a:lnTo>
                            <a:pt x="1033779" y="438355"/>
                          </a:lnTo>
                          <a:lnTo>
                            <a:pt x="1036029" y="440605"/>
                          </a:lnTo>
                          <a:lnTo>
                            <a:pt x="1043230" y="442405"/>
                          </a:lnTo>
                          <a:lnTo>
                            <a:pt x="1058982" y="436105"/>
                          </a:lnTo>
                          <a:lnTo>
                            <a:pt x="1061683" y="436555"/>
                          </a:lnTo>
                          <a:lnTo>
                            <a:pt x="1065733" y="439705"/>
                          </a:lnTo>
                          <a:lnTo>
                            <a:pt x="1065733" y="442405"/>
                          </a:lnTo>
                          <a:lnTo>
                            <a:pt x="1061683" y="451407"/>
                          </a:lnTo>
                          <a:lnTo>
                            <a:pt x="1049081" y="461758"/>
                          </a:lnTo>
                          <a:lnTo>
                            <a:pt x="1050881" y="462208"/>
                          </a:lnTo>
                          <a:lnTo>
                            <a:pt x="1054482" y="465808"/>
                          </a:lnTo>
                          <a:lnTo>
                            <a:pt x="1054482" y="468959"/>
                          </a:lnTo>
                          <a:lnTo>
                            <a:pt x="1050431" y="476610"/>
                          </a:lnTo>
                          <a:lnTo>
                            <a:pt x="1048631" y="479310"/>
                          </a:lnTo>
                          <a:lnTo>
                            <a:pt x="1036480" y="486511"/>
                          </a:lnTo>
                          <a:lnTo>
                            <a:pt x="1031079" y="488311"/>
                          </a:lnTo>
                          <a:lnTo>
                            <a:pt x="1026578" y="487411"/>
                          </a:lnTo>
                          <a:lnTo>
                            <a:pt x="1004976" y="471659"/>
                          </a:lnTo>
                          <a:lnTo>
                            <a:pt x="997325" y="469409"/>
                          </a:lnTo>
                          <a:lnTo>
                            <a:pt x="990124" y="465358"/>
                          </a:lnTo>
                          <a:lnTo>
                            <a:pt x="984723" y="466258"/>
                          </a:lnTo>
                          <a:lnTo>
                            <a:pt x="978872" y="470759"/>
                          </a:lnTo>
                          <a:lnTo>
                            <a:pt x="981573" y="473009"/>
                          </a:lnTo>
                          <a:lnTo>
                            <a:pt x="991924" y="477510"/>
                          </a:lnTo>
                          <a:lnTo>
                            <a:pt x="1000475" y="478410"/>
                          </a:lnTo>
                          <a:lnTo>
                            <a:pt x="1004076" y="480210"/>
                          </a:lnTo>
                          <a:lnTo>
                            <a:pt x="1005426" y="482910"/>
                          </a:lnTo>
                          <a:lnTo>
                            <a:pt x="1009026" y="493262"/>
                          </a:lnTo>
                          <a:lnTo>
                            <a:pt x="1009476" y="498662"/>
                          </a:lnTo>
                          <a:lnTo>
                            <a:pt x="1008576" y="503613"/>
                          </a:lnTo>
                          <a:lnTo>
                            <a:pt x="1007226" y="507213"/>
                          </a:lnTo>
                          <a:lnTo>
                            <a:pt x="1005876" y="509464"/>
                          </a:lnTo>
                          <a:lnTo>
                            <a:pt x="1003625" y="510364"/>
                          </a:lnTo>
                          <a:lnTo>
                            <a:pt x="995074" y="509464"/>
                          </a:lnTo>
                          <a:lnTo>
                            <a:pt x="991924" y="510814"/>
                          </a:lnTo>
                          <a:lnTo>
                            <a:pt x="988324" y="513964"/>
                          </a:lnTo>
                          <a:lnTo>
                            <a:pt x="983823" y="515314"/>
                          </a:lnTo>
                          <a:lnTo>
                            <a:pt x="975722" y="514864"/>
                          </a:lnTo>
                          <a:lnTo>
                            <a:pt x="965821" y="519365"/>
                          </a:lnTo>
                          <a:lnTo>
                            <a:pt x="960420" y="520265"/>
                          </a:lnTo>
                          <a:lnTo>
                            <a:pt x="954569" y="518465"/>
                          </a:lnTo>
                          <a:lnTo>
                            <a:pt x="948268" y="513514"/>
                          </a:lnTo>
                          <a:lnTo>
                            <a:pt x="941518" y="511264"/>
                          </a:lnTo>
                          <a:lnTo>
                            <a:pt x="930266" y="509014"/>
                          </a:lnTo>
                          <a:lnTo>
                            <a:pt x="931166" y="511714"/>
                          </a:lnTo>
                          <a:lnTo>
                            <a:pt x="935217" y="513064"/>
                          </a:lnTo>
                          <a:lnTo>
                            <a:pt x="943318" y="520715"/>
                          </a:lnTo>
                          <a:lnTo>
                            <a:pt x="946918" y="530616"/>
                          </a:lnTo>
                          <a:lnTo>
                            <a:pt x="950519" y="532417"/>
                          </a:lnTo>
                          <a:lnTo>
                            <a:pt x="957720" y="540518"/>
                          </a:lnTo>
                          <a:lnTo>
                            <a:pt x="963120" y="541868"/>
                          </a:lnTo>
                          <a:lnTo>
                            <a:pt x="968521" y="544568"/>
                          </a:lnTo>
                          <a:lnTo>
                            <a:pt x="976172" y="540968"/>
                          </a:lnTo>
                          <a:lnTo>
                            <a:pt x="981573" y="541418"/>
                          </a:lnTo>
                          <a:lnTo>
                            <a:pt x="980673" y="561220"/>
                          </a:lnTo>
                          <a:lnTo>
                            <a:pt x="978422" y="563021"/>
                          </a:lnTo>
                          <a:lnTo>
                            <a:pt x="965821" y="563021"/>
                          </a:lnTo>
                          <a:lnTo>
                            <a:pt x="959970" y="560320"/>
                          </a:lnTo>
                          <a:lnTo>
                            <a:pt x="957270" y="557170"/>
                          </a:lnTo>
                          <a:lnTo>
                            <a:pt x="951419" y="554019"/>
                          </a:lnTo>
                          <a:lnTo>
                            <a:pt x="946018" y="555820"/>
                          </a:lnTo>
                          <a:lnTo>
                            <a:pt x="941068" y="555369"/>
                          </a:lnTo>
                          <a:lnTo>
                            <a:pt x="937917" y="557170"/>
                          </a:lnTo>
                          <a:lnTo>
                            <a:pt x="932967" y="557170"/>
                          </a:lnTo>
                          <a:lnTo>
                            <a:pt x="919465" y="560320"/>
                          </a:lnTo>
                          <a:lnTo>
                            <a:pt x="912264" y="560320"/>
                          </a:lnTo>
                          <a:lnTo>
                            <a:pt x="906863" y="558070"/>
                          </a:lnTo>
                          <a:lnTo>
                            <a:pt x="901013" y="557620"/>
                          </a:lnTo>
                          <a:lnTo>
                            <a:pt x="894262" y="558520"/>
                          </a:lnTo>
                          <a:lnTo>
                            <a:pt x="894712" y="560770"/>
                          </a:lnTo>
                          <a:lnTo>
                            <a:pt x="897412" y="561670"/>
                          </a:lnTo>
                          <a:lnTo>
                            <a:pt x="901463" y="565271"/>
                          </a:lnTo>
                          <a:lnTo>
                            <a:pt x="905513" y="571121"/>
                          </a:lnTo>
                          <a:lnTo>
                            <a:pt x="908664" y="573372"/>
                          </a:lnTo>
                          <a:lnTo>
                            <a:pt x="912714" y="572022"/>
                          </a:lnTo>
                          <a:lnTo>
                            <a:pt x="916765" y="569321"/>
                          </a:lnTo>
                          <a:lnTo>
                            <a:pt x="931166" y="564821"/>
                          </a:lnTo>
                          <a:lnTo>
                            <a:pt x="937467" y="563921"/>
                          </a:lnTo>
                          <a:lnTo>
                            <a:pt x="943318" y="565721"/>
                          </a:lnTo>
                          <a:lnTo>
                            <a:pt x="946918" y="567971"/>
                          </a:lnTo>
                          <a:lnTo>
                            <a:pt x="949619" y="570671"/>
                          </a:lnTo>
                          <a:lnTo>
                            <a:pt x="952769" y="578322"/>
                          </a:lnTo>
                          <a:lnTo>
                            <a:pt x="961320" y="579222"/>
                          </a:lnTo>
                          <a:lnTo>
                            <a:pt x="967621" y="581923"/>
                          </a:lnTo>
                          <a:lnTo>
                            <a:pt x="977972" y="592724"/>
                          </a:lnTo>
                          <a:lnTo>
                            <a:pt x="980673" y="593624"/>
                          </a:lnTo>
                          <a:lnTo>
                            <a:pt x="982023" y="596325"/>
                          </a:lnTo>
                          <a:lnTo>
                            <a:pt x="979772" y="603526"/>
                          </a:lnTo>
                          <a:lnTo>
                            <a:pt x="979322" y="607576"/>
                          </a:lnTo>
                          <a:lnTo>
                            <a:pt x="972122" y="615677"/>
                          </a:lnTo>
                          <a:lnTo>
                            <a:pt x="961320" y="617927"/>
                          </a:lnTo>
                          <a:lnTo>
                            <a:pt x="949169" y="617027"/>
                          </a:lnTo>
                          <a:lnTo>
                            <a:pt x="940618" y="617927"/>
                          </a:lnTo>
                          <a:lnTo>
                            <a:pt x="939717" y="618827"/>
                          </a:lnTo>
                          <a:lnTo>
                            <a:pt x="945568" y="621078"/>
                          </a:lnTo>
                          <a:lnTo>
                            <a:pt x="959520" y="630529"/>
                          </a:lnTo>
                          <a:lnTo>
                            <a:pt x="964921" y="635480"/>
                          </a:lnTo>
                          <a:lnTo>
                            <a:pt x="965821" y="638630"/>
                          </a:lnTo>
                          <a:lnTo>
                            <a:pt x="958170" y="649881"/>
                          </a:lnTo>
                          <a:lnTo>
                            <a:pt x="951419" y="671484"/>
                          </a:lnTo>
                          <a:lnTo>
                            <a:pt x="949169" y="673284"/>
                          </a:lnTo>
                          <a:lnTo>
                            <a:pt x="946918" y="673734"/>
                          </a:lnTo>
                          <a:lnTo>
                            <a:pt x="941068" y="673284"/>
                          </a:lnTo>
                          <a:lnTo>
                            <a:pt x="933417" y="678685"/>
                          </a:lnTo>
                          <a:lnTo>
                            <a:pt x="927566" y="679585"/>
                          </a:lnTo>
                          <a:lnTo>
                            <a:pt x="917215" y="677335"/>
                          </a:lnTo>
                          <a:lnTo>
                            <a:pt x="905513" y="677335"/>
                          </a:lnTo>
                          <a:lnTo>
                            <a:pt x="904613" y="680935"/>
                          </a:lnTo>
                          <a:lnTo>
                            <a:pt x="904163" y="687686"/>
                          </a:lnTo>
                          <a:lnTo>
                            <a:pt x="904163" y="697587"/>
                          </a:lnTo>
                          <a:lnTo>
                            <a:pt x="905063" y="710639"/>
                          </a:lnTo>
                          <a:lnTo>
                            <a:pt x="904613" y="720090"/>
                          </a:lnTo>
                          <a:lnTo>
                            <a:pt x="902813" y="725941"/>
                          </a:lnTo>
                          <a:lnTo>
                            <a:pt x="900563" y="730441"/>
                          </a:lnTo>
                          <a:lnTo>
                            <a:pt x="896062" y="734492"/>
                          </a:lnTo>
                          <a:lnTo>
                            <a:pt x="891561" y="737192"/>
                          </a:lnTo>
                          <a:lnTo>
                            <a:pt x="887961" y="738092"/>
                          </a:lnTo>
                          <a:lnTo>
                            <a:pt x="882110" y="738092"/>
                          </a:lnTo>
                          <a:lnTo>
                            <a:pt x="865908" y="741243"/>
                          </a:lnTo>
                          <a:lnTo>
                            <a:pt x="857807" y="741243"/>
                          </a:lnTo>
                          <a:lnTo>
                            <a:pt x="854657" y="742593"/>
                          </a:lnTo>
                          <a:lnTo>
                            <a:pt x="848356" y="738542"/>
                          </a:lnTo>
                          <a:lnTo>
                            <a:pt x="837555" y="726391"/>
                          </a:lnTo>
                          <a:lnTo>
                            <a:pt x="834404" y="723691"/>
                          </a:lnTo>
                          <a:lnTo>
                            <a:pt x="831254" y="722340"/>
                          </a:lnTo>
                          <a:lnTo>
                            <a:pt x="831254" y="725041"/>
                          </a:lnTo>
                          <a:lnTo>
                            <a:pt x="834404" y="731792"/>
                          </a:lnTo>
                          <a:lnTo>
                            <a:pt x="837105" y="736292"/>
                          </a:lnTo>
                          <a:lnTo>
                            <a:pt x="839355" y="738092"/>
                          </a:lnTo>
                          <a:lnTo>
                            <a:pt x="838905" y="740343"/>
                          </a:lnTo>
                          <a:lnTo>
                            <a:pt x="834404" y="743493"/>
                          </a:lnTo>
                          <a:lnTo>
                            <a:pt x="829004" y="744843"/>
                          </a:lnTo>
                          <a:lnTo>
                            <a:pt x="822703" y="744843"/>
                          </a:lnTo>
                          <a:lnTo>
                            <a:pt x="822703" y="746193"/>
                          </a:lnTo>
                          <a:lnTo>
                            <a:pt x="824953" y="749794"/>
                          </a:lnTo>
                          <a:lnTo>
                            <a:pt x="827653" y="752944"/>
                          </a:lnTo>
                          <a:lnTo>
                            <a:pt x="829454" y="753844"/>
                          </a:lnTo>
                          <a:lnTo>
                            <a:pt x="833954" y="752944"/>
                          </a:lnTo>
                          <a:lnTo>
                            <a:pt x="839355" y="748894"/>
                          </a:lnTo>
                          <a:lnTo>
                            <a:pt x="842955" y="747544"/>
                          </a:lnTo>
                          <a:lnTo>
                            <a:pt x="849706" y="748444"/>
                          </a:lnTo>
                          <a:lnTo>
                            <a:pt x="852407" y="749794"/>
                          </a:lnTo>
                          <a:lnTo>
                            <a:pt x="860958" y="758795"/>
                          </a:lnTo>
                          <a:lnTo>
                            <a:pt x="862308" y="759245"/>
                          </a:lnTo>
                          <a:lnTo>
                            <a:pt x="868609" y="754744"/>
                          </a:lnTo>
                          <a:lnTo>
                            <a:pt x="877610" y="754294"/>
                          </a:lnTo>
                          <a:lnTo>
                            <a:pt x="880760" y="757895"/>
                          </a:lnTo>
                          <a:lnTo>
                            <a:pt x="882110" y="764646"/>
                          </a:lnTo>
                          <a:lnTo>
                            <a:pt x="882110" y="770496"/>
                          </a:lnTo>
                          <a:lnTo>
                            <a:pt x="881210" y="774997"/>
                          </a:lnTo>
                          <a:lnTo>
                            <a:pt x="883460" y="779048"/>
                          </a:lnTo>
                          <a:lnTo>
                            <a:pt x="888411" y="783098"/>
                          </a:lnTo>
                          <a:lnTo>
                            <a:pt x="892462" y="783998"/>
                          </a:lnTo>
                          <a:lnTo>
                            <a:pt x="895162" y="781748"/>
                          </a:lnTo>
                          <a:lnTo>
                            <a:pt x="899662" y="776347"/>
                          </a:lnTo>
                          <a:lnTo>
                            <a:pt x="901463" y="774997"/>
                          </a:lnTo>
                          <a:lnTo>
                            <a:pt x="903263" y="775447"/>
                          </a:lnTo>
                          <a:lnTo>
                            <a:pt x="905963" y="779498"/>
                          </a:lnTo>
                          <a:lnTo>
                            <a:pt x="909564" y="787149"/>
                          </a:lnTo>
                          <a:lnTo>
                            <a:pt x="910014" y="796150"/>
                          </a:lnTo>
                          <a:lnTo>
                            <a:pt x="907313" y="806501"/>
                          </a:lnTo>
                          <a:lnTo>
                            <a:pt x="903713" y="813252"/>
                          </a:lnTo>
                          <a:lnTo>
                            <a:pt x="889761" y="824053"/>
                          </a:lnTo>
                          <a:lnTo>
                            <a:pt x="885711" y="828104"/>
                          </a:lnTo>
                          <a:lnTo>
                            <a:pt x="882560" y="832604"/>
                          </a:lnTo>
                          <a:lnTo>
                            <a:pt x="877610" y="836655"/>
                          </a:lnTo>
                          <a:lnTo>
                            <a:pt x="868159" y="842055"/>
                          </a:lnTo>
                          <a:lnTo>
                            <a:pt x="863208" y="842956"/>
                          </a:lnTo>
                          <a:lnTo>
                            <a:pt x="852407" y="848806"/>
                          </a:lnTo>
                          <a:lnTo>
                            <a:pt x="850156" y="849256"/>
                          </a:lnTo>
                          <a:lnTo>
                            <a:pt x="846556" y="848356"/>
                          </a:lnTo>
                          <a:lnTo>
                            <a:pt x="845656" y="845656"/>
                          </a:lnTo>
                          <a:lnTo>
                            <a:pt x="846556" y="840705"/>
                          </a:lnTo>
                          <a:lnTo>
                            <a:pt x="847906" y="836205"/>
                          </a:lnTo>
                          <a:lnTo>
                            <a:pt x="849256" y="831704"/>
                          </a:lnTo>
                          <a:lnTo>
                            <a:pt x="849256" y="828104"/>
                          </a:lnTo>
                          <a:lnTo>
                            <a:pt x="846106" y="822703"/>
                          </a:lnTo>
                          <a:lnTo>
                            <a:pt x="843856" y="820003"/>
                          </a:lnTo>
                          <a:lnTo>
                            <a:pt x="841605" y="818652"/>
                          </a:lnTo>
                          <a:lnTo>
                            <a:pt x="837555" y="819553"/>
                          </a:lnTo>
                          <a:lnTo>
                            <a:pt x="835304" y="820903"/>
                          </a:lnTo>
                          <a:lnTo>
                            <a:pt x="832604" y="821353"/>
                          </a:lnTo>
                          <a:lnTo>
                            <a:pt x="829904" y="820453"/>
                          </a:lnTo>
                          <a:lnTo>
                            <a:pt x="827653" y="818202"/>
                          </a:lnTo>
                          <a:lnTo>
                            <a:pt x="823153" y="808301"/>
                          </a:lnTo>
                          <a:lnTo>
                            <a:pt x="821353" y="806951"/>
                          </a:lnTo>
                          <a:lnTo>
                            <a:pt x="819102" y="807401"/>
                          </a:lnTo>
                          <a:lnTo>
                            <a:pt x="817302" y="806051"/>
                          </a:lnTo>
                          <a:lnTo>
                            <a:pt x="815502" y="802900"/>
                          </a:lnTo>
                          <a:lnTo>
                            <a:pt x="812802" y="799750"/>
                          </a:lnTo>
                          <a:lnTo>
                            <a:pt x="813702" y="802000"/>
                          </a:lnTo>
                          <a:lnTo>
                            <a:pt x="816402" y="807851"/>
                          </a:lnTo>
                          <a:lnTo>
                            <a:pt x="818202" y="813252"/>
                          </a:lnTo>
                          <a:lnTo>
                            <a:pt x="819552" y="818652"/>
                          </a:lnTo>
                          <a:lnTo>
                            <a:pt x="819102" y="823153"/>
                          </a:lnTo>
                          <a:lnTo>
                            <a:pt x="794799" y="825403"/>
                          </a:lnTo>
                          <a:lnTo>
                            <a:pt x="784448" y="824053"/>
                          </a:lnTo>
                          <a:lnTo>
                            <a:pt x="782198" y="820453"/>
                          </a:lnTo>
                          <a:lnTo>
                            <a:pt x="777247" y="803801"/>
                          </a:lnTo>
                          <a:lnTo>
                            <a:pt x="776347" y="832604"/>
                          </a:lnTo>
                          <a:lnTo>
                            <a:pt x="757895" y="837105"/>
                          </a:lnTo>
                          <a:lnTo>
                            <a:pt x="753394" y="836205"/>
                          </a:lnTo>
                          <a:lnTo>
                            <a:pt x="746193" y="833054"/>
                          </a:lnTo>
                          <a:lnTo>
                            <a:pt x="737192" y="825403"/>
                          </a:lnTo>
                          <a:lnTo>
                            <a:pt x="733142" y="820453"/>
                          </a:lnTo>
                          <a:lnTo>
                            <a:pt x="731792" y="815502"/>
                          </a:lnTo>
                          <a:lnTo>
                            <a:pt x="730891" y="812802"/>
                          </a:lnTo>
                          <a:lnTo>
                            <a:pt x="729991" y="812352"/>
                          </a:lnTo>
                          <a:lnTo>
                            <a:pt x="727741" y="818652"/>
                          </a:lnTo>
                          <a:lnTo>
                            <a:pt x="725041" y="831254"/>
                          </a:lnTo>
                          <a:lnTo>
                            <a:pt x="718740" y="828104"/>
                          </a:lnTo>
                          <a:lnTo>
                            <a:pt x="710639" y="823603"/>
                          </a:lnTo>
                          <a:lnTo>
                            <a:pt x="707938" y="811001"/>
                          </a:lnTo>
                          <a:lnTo>
                            <a:pt x="707938" y="829004"/>
                          </a:lnTo>
                          <a:lnTo>
                            <a:pt x="694887" y="826753"/>
                          </a:lnTo>
                          <a:lnTo>
                            <a:pt x="688586" y="827654"/>
                          </a:lnTo>
                          <a:lnTo>
                            <a:pt x="686786" y="811902"/>
                          </a:lnTo>
                          <a:lnTo>
                            <a:pt x="686336" y="794349"/>
                          </a:lnTo>
                          <a:lnTo>
                            <a:pt x="683635" y="805601"/>
                          </a:lnTo>
                          <a:lnTo>
                            <a:pt x="684536" y="815052"/>
                          </a:lnTo>
                          <a:lnTo>
                            <a:pt x="684986" y="826303"/>
                          </a:lnTo>
                          <a:lnTo>
                            <a:pt x="679585" y="823153"/>
                          </a:lnTo>
                          <a:lnTo>
                            <a:pt x="667433" y="821353"/>
                          </a:lnTo>
                          <a:lnTo>
                            <a:pt x="663383" y="819553"/>
                          </a:lnTo>
                          <a:lnTo>
                            <a:pt x="663833" y="804251"/>
                          </a:lnTo>
                          <a:lnTo>
                            <a:pt x="664733" y="788949"/>
                          </a:lnTo>
                          <a:lnTo>
                            <a:pt x="680035" y="773197"/>
                          </a:lnTo>
                          <a:lnTo>
                            <a:pt x="684536" y="765546"/>
                          </a:lnTo>
                          <a:lnTo>
                            <a:pt x="687686" y="762395"/>
                          </a:lnTo>
                          <a:lnTo>
                            <a:pt x="693087" y="760595"/>
                          </a:lnTo>
                          <a:lnTo>
                            <a:pt x="699838" y="759245"/>
                          </a:lnTo>
                          <a:lnTo>
                            <a:pt x="704338" y="760145"/>
                          </a:lnTo>
                          <a:lnTo>
                            <a:pt x="709739" y="759245"/>
                          </a:lnTo>
                          <a:lnTo>
                            <a:pt x="716040" y="756545"/>
                          </a:lnTo>
                          <a:lnTo>
                            <a:pt x="720540" y="755645"/>
                          </a:lnTo>
                          <a:lnTo>
                            <a:pt x="721440" y="754744"/>
                          </a:lnTo>
                          <a:lnTo>
                            <a:pt x="720090" y="753394"/>
                          </a:lnTo>
                          <a:lnTo>
                            <a:pt x="715139" y="743043"/>
                          </a:lnTo>
                          <a:lnTo>
                            <a:pt x="713339" y="740793"/>
                          </a:lnTo>
                          <a:lnTo>
                            <a:pt x="711539" y="739893"/>
                          </a:lnTo>
                          <a:lnTo>
                            <a:pt x="707938" y="739443"/>
                          </a:lnTo>
                          <a:lnTo>
                            <a:pt x="704338" y="734942"/>
                          </a:lnTo>
                          <a:lnTo>
                            <a:pt x="702538" y="730891"/>
                          </a:lnTo>
                          <a:lnTo>
                            <a:pt x="700288" y="725491"/>
                          </a:lnTo>
                          <a:lnTo>
                            <a:pt x="697137" y="715139"/>
                          </a:lnTo>
                          <a:lnTo>
                            <a:pt x="693987" y="703438"/>
                          </a:lnTo>
                          <a:lnTo>
                            <a:pt x="695787" y="696687"/>
                          </a:lnTo>
                          <a:lnTo>
                            <a:pt x="701188" y="691287"/>
                          </a:lnTo>
                          <a:lnTo>
                            <a:pt x="706588" y="687686"/>
                          </a:lnTo>
                          <a:lnTo>
                            <a:pt x="711989" y="685886"/>
                          </a:lnTo>
                          <a:lnTo>
                            <a:pt x="716489" y="685886"/>
                          </a:lnTo>
                          <a:lnTo>
                            <a:pt x="721890" y="688586"/>
                          </a:lnTo>
                          <a:lnTo>
                            <a:pt x="729541" y="693987"/>
                          </a:lnTo>
                          <a:lnTo>
                            <a:pt x="734042" y="700288"/>
                          </a:lnTo>
                          <a:lnTo>
                            <a:pt x="739892" y="713339"/>
                          </a:lnTo>
                          <a:lnTo>
                            <a:pt x="743493" y="723691"/>
                          </a:lnTo>
                          <a:lnTo>
                            <a:pt x="746643" y="728191"/>
                          </a:lnTo>
                          <a:lnTo>
                            <a:pt x="760145" y="736742"/>
                          </a:lnTo>
                          <a:lnTo>
                            <a:pt x="764646" y="738092"/>
                          </a:lnTo>
                          <a:lnTo>
                            <a:pt x="770046" y="737192"/>
                          </a:lnTo>
                          <a:lnTo>
                            <a:pt x="780848" y="734942"/>
                          </a:lnTo>
                          <a:lnTo>
                            <a:pt x="786248" y="732692"/>
                          </a:lnTo>
                          <a:lnTo>
                            <a:pt x="788498" y="729991"/>
                          </a:lnTo>
                          <a:lnTo>
                            <a:pt x="789849" y="725941"/>
                          </a:lnTo>
                          <a:lnTo>
                            <a:pt x="791199" y="722791"/>
                          </a:lnTo>
                          <a:lnTo>
                            <a:pt x="796150" y="715590"/>
                          </a:lnTo>
                          <a:lnTo>
                            <a:pt x="803350" y="700738"/>
                          </a:lnTo>
                          <a:lnTo>
                            <a:pt x="807401" y="689036"/>
                          </a:lnTo>
                          <a:lnTo>
                            <a:pt x="808301" y="684986"/>
                          </a:lnTo>
                          <a:lnTo>
                            <a:pt x="809201" y="680035"/>
                          </a:lnTo>
                          <a:lnTo>
                            <a:pt x="809651" y="674184"/>
                          </a:lnTo>
                          <a:lnTo>
                            <a:pt x="807401" y="677335"/>
                          </a:lnTo>
                          <a:lnTo>
                            <a:pt x="794799" y="706138"/>
                          </a:lnTo>
                          <a:lnTo>
                            <a:pt x="792099" y="711539"/>
                          </a:lnTo>
                          <a:lnTo>
                            <a:pt x="784448" y="720090"/>
                          </a:lnTo>
                          <a:lnTo>
                            <a:pt x="781298" y="721440"/>
                          </a:lnTo>
                          <a:lnTo>
                            <a:pt x="776347" y="720990"/>
                          </a:lnTo>
                          <a:lnTo>
                            <a:pt x="769596" y="716940"/>
                          </a:lnTo>
                          <a:lnTo>
                            <a:pt x="761495" y="723241"/>
                          </a:lnTo>
                          <a:lnTo>
                            <a:pt x="756545" y="721890"/>
                          </a:lnTo>
                          <a:lnTo>
                            <a:pt x="752044" y="717390"/>
                          </a:lnTo>
                          <a:lnTo>
                            <a:pt x="752044" y="697137"/>
                          </a:lnTo>
                          <a:lnTo>
                            <a:pt x="746643" y="680485"/>
                          </a:lnTo>
                          <a:lnTo>
                            <a:pt x="752494" y="671934"/>
                          </a:lnTo>
                          <a:lnTo>
                            <a:pt x="757445" y="666533"/>
                          </a:lnTo>
                          <a:lnTo>
                            <a:pt x="766446" y="652582"/>
                          </a:lnTo>
                          <a:lnTo>
                            <a:pt x="768246" y="652582"/>
                          </a:lnTo>
                          <a:lnTo>
                            <a:pt x="774547" y="654832"/>
                          </a:lnTo>
                          <a:lnTo>
                            <a:pt x="770946" y="651682"/>
                          </a:lnTo>
                          <a:lnTo>
                            <a:pt x="767346" y="647181"/>
                          </a:lnTo>
                          <a:lnTo>
                            <a:pt x="759695" y="648531"/>
                          </a:lnTo>
                          <a:lnTo>
                            <a:pt x="762395" y="618377"/>
                          </a:lnTo>
                          <a:lnTo>
                            <a:pt x="757445" y="641330"/>
                          </a:lnTo>
                          <a:lnTo>
                            <a:pt x="752044" y="653032"/>
                          </a:lnTo>
                          <a:lnTo>
                            <a:pt x="748894" y="658882"/>
                          </a:lnTo>
                          <a:lnTo>
                            <a:pt x="745293" y="662483"/>
                          </a:lnTo>
                          <a:lnTo>
                            <a:pt x="731792" y="665183"/>
                          </a:lnTo>
                          <a:lnTo>
                            <a:pt x="734942" y="654382"/>
                          </a:lnTo>
                          <a:lnTo>
                            <a:pt x="738092" y="638180"/>
                          </a:lnTo>
                          <a:lnTo>
                            <a:pt x="734942" y="644481"/>
                          </a:lnTo>
                          <a:lnTo>
                            <a:pt x="727291" y="653482"/>
                          </a:lnTo>
                          <a:lnTo>
                            <a:pt x="721440" y="658432"/>
                          </a:lnTo>
                          <a:lnTo>
                            <a:pt x="716940" y="661133"/>
                          </a:lnTo>
                          <a:lnTo>
                            <a:pt x="707938" y="660683"/>
                          </a:lnTo>
                          <a:lnTo>
                            <a:pt x="703438" y="656182"/>
                          </a:lnTo>
                          <a:lnTo>
                            <a:pt x="704788" y="644931"/>
                          </a:lnTo>
                          <a:lnTo>
                            <a:pt x="704788" y="630979"/>
                          </a:lnTo>
                          <a:lnTo>
                            <a:pt x="707488" y="624678"/>
                          </a:lnTo>
                          <a:lnTo>
                            <a:pt x="711539" y="616127"/>
                          </a:lnTo>
                          <a:lnTo>
                            <a:pt x="716040" y="604876"/>
                          </a:lnTo>
                          <a:lnTo>
                            <a:pt x="719190" y="592724"/>
                          </a:lnTo>
                          <a:lnTo>
                            <a:pt x="731341" y="587324"/>
                          </a:lnTo>
                          <a:lnTo>
                            <a:pt x="743043" y="585073"/>
                          </a:lnTo>
                          <a:lnTo>
                            <a:pt x="752944" y="578772"/>
                          </a:lnTo>
                          <a:lnTo>
                            <a:pt x="757895" y="577422"/>
                          </a:lnTo>
                          <a:lnTo>
                            <a:pt x="762395" y="580573"/>
                          </a:lnTo>
                          <a:lnTo>
                            <a:pt x="780848" y="585523"/>
                          </a:lnTo>
                          <a:lnTo>
                            <a:pt x="788498" y="589124"/>
                          </a:lnTo>
                          <a:lnTo>
                            <a:pt x="791649" y="591824"/>
                          </a:lnTo>
                          <a:lnTo>
                            <a:pt x="794349" y="592724"/>
                          </a:lnTo>
                          <a:lnTo>
                            <a:pt x="797050" y="588674"/>
                          </a:lnTo>
                          <a:lnTo>
                            <a:pt x="800200" y="584623"/>
                          </a:lnTo>
                          <a:lnTo>
                            <a:pt x="811901" y="585073"/>
                          </a:lnTo>
                          <a:lnTo>
                            <a:pt x="815052" y="584173"/>
                          </a:lnTo>
                          <a:lnTo>
                            <a:pt x="818202" y="582373"/>
                          </a:lnTo>
                          <a:lnTo>
                            <a:pt x="821803" y="578772"/>
                          </a:lnTo>
                          <a:lnTo>
                            <a:pt x="825853" y="572922"/>
                          </a:lnTo>
                          <a:lnTo>
                            <a:pt x="826303" y="570221"/>
                          </a:lnTo>
                          <a:lnTo>
                            <a:pt x="823153" y="570221"/>
                          </a:lnTo>
                          <a:lnTo>
                            <a:pt x="820002" y="571572"/>
                          </a:lnTo>
                          <a:lnTo>
                            <a:pt x="815502" y="575622"/>
                          </a:lnTo>
                          <a:lnTo>
                            <a:pt x="811001" y="577872"/>
                          </a:lnTo>
                          <a:lnTo>
                            <a:pt x="806501" y="577422"/>
                          </a:lnTo>
                          <a:lnTo>
                            <a:pt x="797950" y="573822"/>
                          </a:lnTo>
                          <a:lnTo>
                            <a:pt x="782648" y="573372"/>
                          </a:lnTo>
                          <a:lnTo>
                            <a:pt x="774997" y="571572"/>
                          </a:lnTo>
                          <a:lnTo>
                            <a:pt x="771396" y="569771"/>
                          </a:lnTo>
                          <a:lnTo>
                            <a:pt x="769146" y="567521"/>
                          </a:lnTo>
                          <a:lnTo>
                            <a:pt x="767346" y="563921"/>
                          </a:lnTo>
                          <a:lnTo>
                            <a:pt x="765996" y="558970"/>
                          </a:lnTo>
                          <a:lnTo>
                            <a:pt x="766896" y="555820"/>
                          </a:lnTo>
                          <a:lnTo>
                            <a:pt x="770046" y="554019"/>
                          </a:lnTo>
                          <a:lnTo>
                            <a:pt x="772747" y="553569"/>
                          </a:lnTo>
                          <a:lnTo>
                            <a:pt x="777247" y="556270"/>
                          </a:lnTo>
                          <a:lnTo>
                            <a:pt x="782198" y="560770"/>
                          </a:lnTo>
                          <a:lnTo>
                            <a:pt x="787598" y="561220"/>
                          </a:lnTo>
                          <a:lnTo>
                            <a:pt x="785798" y="557170"/>
                          </a:lnTo>
                          <a:lnTo>
                            <a:pt x="779047" y="549069"/>
                          </a:lnTo>
                          <a:lnTo>
                            <a:pt x="774547" y="541868"/>
                          </a:lnTo>
                          <a:lnTo>
                            <a:pt x="770496" y="533317"/>
                          </a:lnTo>
                          <a:lnTo>
                            <a:pt x="767346" y="524766"/>
                          </a:lnTo>
                          <a:lnTo>
                            <a:pt x="760595" y="511264"/>
                          </a:lnTo>
                          <a:lnTo>
                            <a:pt x="755194" y="497762"/>
                          </a:lnTo>
                          <a:lnTo>
                            <a:pt x="751594" y="491461"/>
                          </a:lnTo>
                          <a:lnTo>
                            <a:pt x="747543" y="488311"/>
                          </a:lnTo>
                          <a:lnTo>
                            <a:pt x="735392" y="484711"/>
                          </a:lnTo>
                          <a:lnTo>
                            <a:pt x="733142" y="482010"/>
                          </a:lnTo>
                          <a:lnTo>
                            <a:pt x="727291" y="469859"/>
                          </a:lnTo>
                          <a:lnTo>
                            <a:pt x="725941" y="448706"/>
                          </a:lnTo>
                          <a:lnTo>
                            <a:pt x="723240" y="435655"/>
                          </a:lnTo>
                          <a:lnTo>
                            <a:pt x="725491" y="419002"/>
                          </a:lnTo>
                          <a:lnTo>
                            <a:pt x="729541" y="411351"/>
                          </a:lnTo>
                          <a:lnTo>
                            <a:pt x="753844" y="417202"/>
                          </a:lnTo>
                          <a:lnTo>
                            <a:pt x="764195" y="416302"/>
                          </a:lnTo>
                          <a:lnTo>
                            <a:pt x="777247" y="418552"/>
                          </a:lnTo>
                          <a:lnTo>
                            <a:pt x="784448" y="422603"/>
                          </a:lnTo>
                          <a:lnTo>
                            <a:pt x="792549" y="432954"/>
                          </a:lnTo>
                          <a:lnTo>
                            <a:pt x="799750" y="444206"/>
                          </a:lnTo>
                          <a:lnTo>
                            <a:pt x="806501" y="451857"/>
                          </a:lnTo>
                          <a:lnTo>
                            <a:pt x="812802" y="462208"/>
                          </a:lnTo>
                          <a:lnTo>
                            <a:pt x="819552" y="477510"/>
                          </a:lnTo>
                          <a:lnTo>
                            <a:pt x="823603" y="484711"/>
                          </a:lnTo>
                          <a:lnTo>
                            <a:pt x="827203" y="489211"/>
                          </a:lnTo>
                          <a:lnTo>
                            <a:pt x="832154" y="492812"/>
                          </a:lnTo>
                          <a:lnTo>
                            <a:pt x="841155" y="497312"/>
                          </a:lnTo>
                          <a:lnTo>
                            <a:pt x="848806" y="498662"/>
                          </a:lnTo>
                          <a:lnTo>
                            <a:pt x="852857" y="498212"/>
                          </a:lnTo>
                          <a:lnTo>
                            <a:pt x="857357" y="494612"/>
                          </a:lnTo>
                          <a:lnTo>
                            <a:pt x="860507" y="490561"/>
                          </a:lnTo>
                          <a:lnTo>
                            <a:pt x="856907" y="489661"/>
                          </a:lnTo>
                          <a:lnTo>
                            <a:pt x="847906" y="490111"/>
                          </a:lnTo>
                          <a:lnTo>
                            <a:pt x="841605" y="487861"/>
                          </a:lnTo>
                          <a:lnTo>
                            <a:pt x="838005" y="482910"/>
                          </a:lnTo>
                          <a:lnTo>
                            <a:pt x="834404" y="476610"/>
                          </a:lnTo>
                          <a:lnTo>
                            <a:pt x="828554" y="464458"/>
                          </a:lnTo>
                          <a:lnTo>
                            <a:pt x="824053" y="456357"/>
                          </a:lnTo>
                          <a:lnTo>
                            <a:pt x="814152" y="442855"/>
                          </a:lnTo>
                          <a:lnTo>
                            <a:pt x="806951" y="429354"/>
                          </a:lnTo>
                          <a:lnTo>
                            <a:pt x="801100" y="416302"/>
                          </a:lnTo>
                          <a:lnTo>
                            <a:pt x="800650" y="410451"/>
                          </a:lnTo>
                          <a:lnTo>
                            <a:pt x="805151" y="406401"/>
                          </a:lnTo>
                          <a:lnTo>
                            <a:pt x="810551" y="403701"/>
                          </a:lnTo>
                          <a:lnTo>
                            <a:pt x="843405" y="394699"/>
                          </a:lnTo>
                          <a:lnTo>
                            <a:pt x="863208" y="383898"/>
                          </a:lnTo>
                          <a:lnTo>
                            <a:pt x="871309" y="371296"/>
                          </a:lnTo>
                          <a:lnTo>
                            <a:pt x="872209" y="368146"/>
                          </a:lnTo>
                          <a:lnTo>
                            <a:pt x="898762" y="350144"/>
                          </a:lnTo>
                          <a:lnTo>
                            <a:pt x="917215" y="343393"/>
                          </a:lnTo>
                          <a:lnTo>
                            <a:pt x="924416" y="342493"/>
                          </a:lnTo>
                          <a:lnTo>
                            <a:pt x="930716" y="339793"/>
                          </a:lnTo>
                          <a:lnTo>
                            <a:pt x="931166" y="337992"/>
                          </a:lnTo>
                          <a:lnTo>
                            <a:pt x="925316" y="335742"/>
                          </a:lnTo>
                          <a:lnTo>
                            <a:pt x="919465" y="334392"/>
                          </a:lnTo>
                          <a:lnTo>
                            <a:pt x="906413" y="334392"/>
                          </a:lnTo>
                          <a:lnTo>
                            <a:pt x="894712" y="332142"/>
                          </a:lnTo>
                          <a:lnTo>
                            <a:pt x="891111" y="328091"/>
                          </a:lnTo>
                          <a:lnTo>
                            <a:pt x="892011" y="321340"/>
                          </a:lnTo>
                          <a:lnTo>
                            <a:pt x="892912" y="315489"/>
                          </a:lnTo>
                          <a:lnTo>
                            <a:pt x="896512" y="305588"/>
                          </a:lnTo>
                          <a:lnTo>
                            <a:pt x="900113" y="298387"/>
                          </a:lnTo>
                          <a:lnTo>
                            <a:pt x="915865" y="276785"/>
                          </a:lnTo>
                          <a:lnTo>
                            <a:pt x="926666" y="267784"/>
                          </a:lnTo>
                          <a:lnTo>
                            <a:pt x="929816" y="261483"/>
                          </a:lnTo>
                          <a:lnTo>
                            <a:pt x="906863" y="275434"/>
                          </a:lnTo>
                          <a:lnTo>
                            <a:pt x="898762" y="285336"/>
                          </a:lnTo>
                          <a:lnTo>
                            <a:pt x="890661" y="300188"/>
                          </a:lnTo>
                          <a:lnTo>
                            <a:pt x="886611" y="304688"/>
                          </a:lnTo>
                          <a:lnTo>
                            <a:pt x="883460" y="303338"/>
                          </a:lnTo>
                          <a:lnTo>
                            <a:pt x="880760" y="304688"/>
                          </a:lnTo>
                          <a:lnTo>
                            <a:pt x="878510" y="308739"/>
                          </a:lnTo>
                          <a:lnTo>
                            <a:pt x="876710" y="315940"/>
                          </a:lnTo>
                          <a:lnTo>
                            <a:pt x="874909" y="326291"/>
                          </a:lnTo>
                          <a:lnTo>
                            <a:pt x="873559" y="333042"/>
                          </a:lnTo>
                          <a:lnTo>
                            <a:pt x="872209" y="336642"/>
                          </a:lnTo>
                          <a:lnTo>
                            <a:pt x="869059" y="342043"/>
                          </a:lnTo>
                          <a:lnTo>
                            <a:pt x="860958" y="352394"/>
                          </a:lnTo>
                          <a:lnTo>
                            <a:pt x="845656" y="369046"/>
                          </a:lnTo>
                          <a:lnTo>
                            <a:pt x="839355" y="372647"/>
                          </a:lnTo>
                          <a:lnTo>
                            <a:pt x="833954" y="373097"/>
                          </a:lnTo>
                          <a:lnTo>
                            <a:pt x="816852" y="381198"/>
                          </a:lnTo>
                          <a:lnTo>
                            <a:pt x="811451" y="381648"/>
                          </a:lnTo>
                          <a:lnTo>
                            <a:pt x="805601" y="379398"/>
                          </a:lnTo>
                          <a:lnTo>
                            <a:pt x="807851" y="372647"/>
                          </a:lnTo>
                          <a:lnTo>
                            <a:pt x="816852" y="360045"/>
                          </a:lnTo>
                          <a:lnTo>
                            <a:pt x="819102" y="354194"/>
                          </a:lnTo>
                          <a:lnTo>
                            <a:pt x="813252" y="355545"/>
                          </a:lnTo>
                          <a:lnTo>
                            <a:pt x="807401" y="359145"/>
                          </a:lnTo>
                          <a:lnTo>
                            <a:pt x="794349" y="361845"/>
                          </a:lnTo>
                          <a:lnTo>
                            <a:pt x="788949" y="367246"/>
                          </a:lnTo>
                          <a:lnTo>
                            <a:pt x="783998" y="376697"/>
                          </a:lnTo>
                          <a:lnTo>
                            <a:pt x="779947" y="382548"/>
                          </a:lnTo>
                          <a:lnTo>
                            <a:pt x="776797" y="384798"/>
                          </a:lnTo>
                          <a:lnTo>
                            <a:pt x="772747" y="386148"/>
                          </a:lnTo>
                          <a:lnTo>
                            <a:pt x="757445" y="387048"/>
                          </a:lnTo>
                          <a:lnTo>
                            <a:pt x="753844" y="386598"/>
                          </a:lnTo>
                          <a:lnTo>
                            <a:pt x="744843" y="379398"/>
                          </a:lnTo>
                          <a:lnTo>
                            <a:pt x="736742" y="381648"/>
                          </a:lnTo>
                          <a:lnTo>
                            <a:pt x="733592" y="381198"/>
                          </a:lnTo>
                          <a:lnTo>
                            <a:pt x="727741" y="376247"/>
                          </a:lnTo>
                          <a:lnTo>
                            <a:pt x="725941" y="373097"/>
                          </a:lnTo>
                          <a:lnTo>
                            <a:pt x="726391" y="368596"/>
                          </a:lnTo>
                          <a:lnTo>
                            <a:pt x="729991" y="360045"/>
                          </a:lnTo>
                          <a:lnTo>
                            <a:pt x="734042" y="351944"/>
                          </a:lnTo>
                          <a:lnTo>
                            <a:pt x="747093" y="333942"/>
                          </a:lnTo>
                          <a:lnTo>
                            <a:pt x="755644" y="325391"/>
                          </a:lnTo>
                          <a:lnTo>
                            <a:pt x="767796" y="318190"/>
                          </a:lnTo>
                          <a:lnTo>
                            <a:pt x="796150" y="309639"/>
                          </a:lnTo>
                          <a:lnTo>
                            <a:pt x="797500" y="303338"/>
                          </a:lnTo>
                          <a:lnTo>
                            <a:pt x="769146" y="310089"/>
                          </a:lnTo>
                          <a:lnTo>
                            <a:pt x="744843" y="318640"/>
                          </a:lnTo>
                          <a:lnTo>
                            <a:pt x="740793" y="321790"/>
                          </a:lnTo>
                          <a:lnTo>
                            <a:pt x="734942" y="330341"/>
                          </a:lnTo>
                          <a:lnTo>
                            <a:pt x="716940" y="360045"/>
                          </a:lnTo>
                          <a:lnTo>
                            <a:pt x="711539" y="367246"/>
                          </a:lnTo>
                          <a:lnTo>
                            <a:pt x="703438" y="369046"/>
                          </a:lnTo>
                          <a:lnTo>
                            <a:pt x="697137" y="366346"/>
                          </a:lnTo>
                          <a:lnTo>
                            <a:pt x="692186" y="362745"/>
                          </a:lnTo>
                          <a:lnTo>
                            <a:pt x="683635" y="354194"/>
                          </a:lnTo>
                          <a:lnTo>
                            <a:pt x="677335" y="349694"/>
                          </a:lnTo>
                          <a:lnTo>
                            <a:pt x="674184" y="346543"/>
                          </a:lnTo>
                          <a:lnTo>
                            <a:pt x="672384" y="343393"/>
                          </a:lnTo>
                          <a:lnTo>
                            <a:pt x="671034" y="339793"/>
                          </a:lnTo>
                          <a:lnTo>
                            <a:pt x="670134" y="335292"/>
                          </a:lnTo>
                          <a:lnTo>
                            <a:pt x="672384" y="331692"/>
                          </a:lnTo>
                          <a:lnTo>
                            <a:pt x="688586" y="323591"/>
                          </a:lnTo>
                          <a:lnTo>
                            <a:pt x="710189" y="324941"/>
                          </a:lnTo>
                          <a:lnTo>
                            <a:pt x="720090" y="323140"/>
                          </a:lnTo>
                          <a:lnTo>
                            <a:pt x="729541" y="318190"/>
                          </a:lnTo>
                          <a:lnTo>
                            <a:pt x="743493" y="306038"/>
                          </a:lnTo>
                          <a:lnTo>
                            <a:pt x="758795" y="288936"/>
                          </a:lnTo>
                          <a:lnTo>
                            <a:pt x="761945" y="283535"/>
                          </a:lnTo>
                          <a:lnTo>
                            <a:pt x="756095" y="282185"/>
                          </a:lnTo>
                          <a:lnTo>
                            <a:pt x="752044" y="283535"/>
                          </a:lnTo>
                          <a:lnTo>
                            <a:pt x="742143" y="289836"/>
                          </a:lnTo>
                          <a:lnTo>
                            <a:pt x="726391" y="306038"/>
                          </a:lnTo>
                          <a:lnTo>
                            <a:pt x="712439" y="311889"/>
                          </a:lnTo>
                          <a:lnTo>
                            <a:pt x="678235" y="315039"/>
                          </a:lnTo>
                          <a:lnTo>
                            <a:pt x="667433" y="319540"/>
                          </a:lnTo>
                          <a:lnTo>
                            <a:pt x="662483" y="318640"/>
                          </a:lnTo>
                          <a:lnTo>
                            <a:pt x="658882" y="314139"/>
                          </a:lnTo>
                          <a:lnTo>
                            <a:pt x="654832" y="306038"/>
                          </a:lnTo>
                          <a:lnTo>
                            <a:pt x="655732" y="299287"/>
                          </a:lnTo>
                          <a:lnTo>
                            <a:pt x="663833" y="291637"/>
                          </a:lnTo>
                          <a:lnTo>
                            <a:pt x="670134" y="289836"/>
                          </a:lnTo>
                          <a:lnTo>
                            <a:pt x="671484" y="288486"/>
                          </a:lnTo>
                          <a:lnTo>
                            <a:pt x="662483" y="281285"/>
                          </a:lnTo>
                          <a:lnTo>
                            <a:pt x="661583" y="277685"/>
                          </a:lnTo>
                          <a:lnTo>
                            <a:pt x="666983" y="269584"/>
                          </a:lnTo>
                          <a:lnTo>
                            <a:pt x="678235" y="257432"/>
                          </a:lnTo>
                          <a:lnTo>
                            <a:pt x="684086" y="253382"/>
                          </a:lnTo>
                          <a:lnTo>
                            <a:pt x="694437" y="250681"/>
                          </a:lnTo>
                          <a:lnTo>
                            <a:pt x="705238" y="252032"/>
                          </a:lnTo>
                          <a:lnTo>
                            <a:pt x="705688" y="249781"/>
                          </a:lnTo>
                          <a:lnTo>
                            <a:pt x="694887" y="244831"/>
                          </a:lnTo>
                          <a:lnTo>
                            <a:pt x="686786" y="243931"/>
                          </a:lnTo>
                          <a:lnTo>
                            <a:pt x="675984" y="247081"/>
                          </a:lnTo>
                          <a:lnTo>
                            <a:pt x="648081" y="267333"/>
                          </a:lnTo>
                          <a:lnTo>
                            <a:pt x="645831" y="266883"/>
                          </a:lnTo>
                          <a:lnTo>
                            <a:pt x="641780" y="263283"/>
                          </a:lnTo>
                          <a:lnTo>
                            <a:pt x="643130" y="258332"/>
                          </a:lnTo>
                          <a:lnTo>
                            <a:pt x="657982" y="237180"/>
                          </a:lnTo>
                          <a:lnTo>
                            <a:pt x="658432" y="233579"/>
                          </a:lnTo>
                          <a:lnTo>
                            <a:pt x="647631" y="234029"/>
                          </a:lnTo>
                          <a:lnTo>
                            <a:pt x="644480" y="233129"/>
                          </a:lnTo>
                          <a:lnTo>
                            <a:pt x="641330" y="230429"/>
                          </a:lnTo>
                          <a:lnTo>
                            <a:pt x="636830" y="232679"/>
                          </a:lnTo>
                          <a:lnTo>
                            <a:pt x="630979" y="239880"/>
                          </a:lnTo>
                          <a:lnTo>
                            <a:pt x="626928" y="243030"/>
                          </a:lnTo>
                          <a:lnTo>
                            <a:pt x="624678" y="242130"/>
                          </a:lnTo>
                          <a:lnTo>
                            <a:pt x="618827" y="233579"/>
                          </a:lnTo>
                          <a:lnTo>
                            <a:pt x="619727" y="226378"/>
                          </a:lnTo>
                          <a:lnTo>
                            <a:pt x="624678" y="217377"/>
                          </a:lnTo>
                          <a:lnTo>
                            <a:pt x="629179" y="211076"/>
                          </a:lnTo>
                          <a:lnTo>
                            <a:pt x="635029" y="205226"/>
                          </a:lnTo>
                          <a:lnTo>
                            <a:pt x="644480" y="197575"/>
                          </a:lnTo>
                          <a:lnTo>
                            <a:pt x="651231" y="194874"/>
                          </a:lnTo>
                          <a:lnTo>
                            <a:pt x="662483" y="194874"/>
                          </a:lnTo>
                          <a:lnTo>
                            <a:pt x="667883" y="191724"/>
                          </a:lnTo>
                          <a:lnTo>
                            <a:pt x="672834" y="185873"/>
                          </a:lnTo>
                          <a:lnTo>
                            <a:pt x="678685" y="176422"/>
                          </a:lnTo>
                          <a:lnTo>
                            <a:pt x="685436" y="169671"/>
                          </a:lnTo>
                          <a:lnTo>
                            <a:pt x="696237" y="164271"/>
                          </a:lnTo>
                          <a:lnTo>
                            <a:pt x="705238" y="166071"/>
                          </a:lnTo>
                          <a:lnTo>
                            <a:pt x="710189" y="171021"/>
                          </a:lnTo>
                          <a:lnTo>
                            <a:pt x="714239" y="179122"/>
                          </a:lnTo>
                          <a:lnTo>
                            <a:pt x="718290" y="185423"/>
                          </a:lnTo>
                          <a:lnTo>
                            <a:pt x="718740" y="180473"/>
                          </a:lnTo>
                          <a:lnTo>
                            <a:pt x="722340" y="174172"/>
                          </a:lnTo>
                          <a:lnTo>
                            <a:pt x="726841" y="171471"/>
                          </a:lnTo>
                          <a:lnTo>
                            <a:pt x="732241" y="172372"/>
                          </a:lnTo>
                          <a:lnTo>
                            <a:pt x="736742" y="175522"/>
                          </a:lnTo>
                          <a:lnTo>
                            <a:pt x="742593" y="183173"/>
                          </a:lnTo>
                          <a:lnTo>
                            <a:pt x="747543" y="186773"/>
                          </a:lnTo>
                          <a:lnTo>
                            <a:pt x="749794" y="186773"/>
                          </a:lnTo>
                          <a:lnTo>
                            <a:pt x="752494" y="182723"/>
                          </a:lnTo>
                          <a:lnTo>
                            <a:pt x="760145" y="182723"/>
                          </a:lnTo>
                          <a:lnTo>
                            <a:pt x="760145" y="180923"/>
                          </a:lnTo>
                          <a:lnTo>
                            <a:pt x="757445" y="176422"/>
                          </a:lnTo>
                          <a:lnTo>
                            <a:pt x="754294" y="173272"/>
                          </a:lnTo>
                          <a:lnTo>
                            <a:pt x="727291" y="151219"/>
                          </a:lnTo>
                          <a:lnTo>
                            <a:pt x="726391" y="146268"/>
                          </a:lnTo>
                          <a:lnTo>
                            <a:pt x="735392" y="141768"/>
                          </a:lnTo>
                          <a:lnTo>
                            <a:pt x="741243" y="136367"/>
                          </a:lnTo>
                          <a:lnTo>
                            <a:pt x="743943" y="135017"/>
                          </a:lnTo>
                          <a:lnTo>
                            <a:pt x="750694" y="123315"/>
                          </a:lnTo>
                          <a:lnTo>
                            <a:pt x="755194" y="117015"/>
                          </a:lnTo>
                          <a:lnTo>
                            <a:pt x="763295" y="109814"/>
                          </a:lnTo>
                          <a:lnTo>
                            <a:pt x="766446" y="111614"/>
                          </a:lnTo>
                          <a:lnTo>
                            <a:pt x="770496" y="117915"/>
                          </a:lnTo>
                          <a:lnTo>
                            <a:pt x="774547" y="121965"/>
                          </a:lnTo>
                          <a:lnTo>
                            <a:pt x="786248" y="125566"/>
                          </a:lnTo>
                          <a:lnTo>
                            <a:pt x="791199" y="129616"/>
                          </a:lnTo>
                          <a:lnTo>
                            <a:pt x="800200" y="151669"/>
                          </a:lnTo>
                          <a:lnTo>
                            <a:pt x="803801" y="158870"/>
                          </a:lnTo>
                          <a:lnTo>
                            <a:pt x="808751" y="166071"/>
                          </a:lnTo>
                          <a:lnTo>
                            <a:pt x="811901" y="168771"/>
                          </a:lnTo>
                          <a:lnTo>
                            <a:pt x="817752" y="170571"/>
                          </a:lnTo>
                          <a:lnTo>
                            <a:pt x="818202" y="166521"/>
                          </a:lnTo>
                          <a:lnTo>
                            <a:pt x="811001" y="156170"/>
                          </a:lnTo>
                          <a:lnTo>
                            <a:pt x="809201" y="150319"/>
                          </a:lnTo>
                          <a:lnTo>
                            <a:pt x="810101" y="145368"/>
                          </a:lnTo>
                          <a:lnTo>
                            <a:pt x="811451" y="142668"/>
                          </a:lnTo>
                          <a:lnTo>
                            <a:pt x="813702" y="142218"/>
                          </a:lnTo>
                          <a:lnTo>
                            <a:pt x="819102" y="146718"/>
                          </a:lnTo>
                          <a:lnTo>
                            <a:pt x="833954" y="162020"/>
                          </a:lnTo>
                          <a:lnTo>
                            <a:pt x="856007" y="180023"/>
                          </a:lnTo>
                          <a:lnTo>
                            <a:pt x="864558" y="184073"/>
                          </a:lnTo>
                          <a:lnTo>
                            <a:pt x="869959" y="190374"/>
                          </a:lnTo>
                          <a:lnTo>
                            <a:pt x="874909" y="198025"/>
                          </a:lnTo>
                          <a:lnTo>
                            <a:pt x="879410" y="203425"/>
                          </a:lnTo>
                          <a:lnTo>
                            <a:pt x="880310" y="202975"/>
                          </a:lnTo>
                          <a:lnTo>
                            <a:pt x="875810" y="191274"/>
                          </a:lnTo>
                          <a:lnTo>
                            <a:pt x="865008" y="176872"/>
                          </a:lnTo>
                          <a:lnTo>
                            <a:pt x="836655" y="151669"/>
                          </a:lnTo>
                          <a:lnTo>
                            <a:pt x="825403" y="138167"/>
                          </a:lnTo>
                          <a:lnTo>
                            <a:pt x="820002" y="129166"/>
                          </a:lnTo>
                          <a:lnTo>
                            <a:pt x="815952" y="119715"/>
                          </a:lnTo>
                          <a:lnTo>
                            <a:pt x="815952" y="114764"/>
                          </a:lnTo>
                          <a:lnTo>
                            <a:pt x="820002" y="108914"/>
                          </a:lnTo>
                          <a:lnTo>
                            <a:pt x="825403" y="103963"/>
                          </a:lnTo>
                          <a:lnTo>
                            <a:pt x="831704" y="102163"/>
                          </a:lnTo>
                          <a:lnTo>
                            <a:pt x="832604" y="100363"/>
                          </a:lnTo>
                          <a:lnTo>
                            <a:pt x="826753" y="93162"/>
                          </a:lnTo>
                          <a:lnTo>
                            <a:pt x="823153" y="86861"/>
                          </a:lnTo>
                          <a:lnTo>
                            <a:pt x="823153" y="82360"/>
                          </a:lnTo>
                          <a:lnTo>
                            <a:pt x="830354" y="78760"/>
                          </a:lnTo>
                          <a:lnTo>
                            <a:pt x="834854" y="79660"/>
                          </a:lnTo>
                          <a:lnTo>
                            <a:pt x="842955" y="87761"/>
                          </a:lnTo>
                          <a:lnTo>
                            <a:pt x="849706" y="91361"/>
                          </a:lnTo>
                          <a:lnTo>
                            <a:pt x="850606" y="89111"/>
                          </a:lnTo>
                          <a:lnTo>
                            <a:pt x="843405" y="67508"/>
                          </a:lnTo>
                          <a:lnTo>
                            <a:pt x="842955" y="62558"/>
                          </a:lnTo>
                          <a:lnTo>
                            <a:pt x="843856" y="59857"/>
                          </a:lnTo>
                          <a:lnTo>
                            <a:pt x="846556" y="57157"/>
                          </a:lnTo>
                          <a:lnTo>
                            <a:pt x="854207" y="58957"/>
                          </a:lnTo>
                          <a:lnTo>
                            <a:pt x="866358" y="69309"/>
                          </a:lnTo>
                          <a:lnTo>
                            <a:pt x="888411" y="74709"/>
                          </a:lnTo>
                          <a:lnTo>
                            <a:pt x="894712" y="73809"/>
                          </a:lnTo>
                          <a:lnTo>
                            <a:pt x="893812" y="71559"/>
                          </a:lnTo>
                          <a:lnTo>
                            <a:pt x="884811" y="65258"/>
                          </a:lnTo>
                          <a:lnTo>
                            <a:pt x="875810" y="56707"/>
                          </a:lnTo>
                          <a:lnTo>
                            <a:pt x="871759" y="51306"/>
                          </a:lnTo>
                          <a:lnTo>
                            <a:pt x="868609" y="44106"/>
                          </a:lnTo>
                          <a:lnTo>
                            <a:pt x="865008" y="38255"/>
                          </a:lnTo>
                          <a:lnTo>
                            <a:pt x="864558" y="35554"/>
                          </a:lnTo>
                          <a:lnTo>
                            <a:pt x="870409" y="31054"/>
                          </a:lnTo>
                          <a:lnTo>
                            <a:pt x="885261" y="31954"/>
                          </a:lnTo>
                          <a:lnTo>
                            <a:pt x="899212" y="39155"/>
                          </a:lnTo>
                          <a:lnTo>
                            <a:pt x="910914" y="36455"/>
                          </a:lnTo>
                          <a:lnTo>
                            <a:pt x="918565" y="38255"/>
                          </a:lnTo>
                          <a:lnTo>
                            <a:pt x="921715" y="40505"/>
                          </a:lnTo>
                          <a:lnTo>
                            <a:pt x="927116" y="48156"/>
                          </a:lnTo>
                          <a:lnTo>
                            <a:pt x="944218" y="76060"/>
                          </a:lnTo>
                          <a:lnTo>
                            <a:pt x="946018" y="80560"/>
                          </a:lnTo>
                          <a:lnTo>
                            <a:pt x="947819" y="87311"/>
                          </a:lnTo>
                          <a:lnTo>
                            <a:pt x="950069" y="96312"/>
                          </a:lnTo>
                          <a:lnTo>
                            <a:pt x="952769" y="98562"/>
                          </a:lnTo>
                          <a:lnTo>
                            <a:pt x="958620" y="92262"/>
                          </a:lnTo>
                          <a:lnTo>
                            <a:pt x="962220" y="86411"/>
                          </a:lnTo>
                          <a:lnTo>
                            <a:pt x="960420" y="80560"/>
                          </a:lnTo>
                          <a:lnTo>
                            <a:pt x="950969" y="67058"/>
                          </a:lnTo>
                          <a:lnTo>
                            <a:pt x="948719" y="61208"/>
                          </a:lnTo>
                          <a:lnTo>
                            <a:pt x="944218" y="51306"/>
                          </a:lnTo>
                          <a:lnTo>
                            <a:pt x="933867" y="33754"/>
                          </a:lnTo>
                          <a:lnTo>
                            <a:pt x="931166" y="25653"/>
                          </a:lnTo>
                          <a:lnTo>
                            <a:pt x="929366" y="18452"/>
                          </a:lnTo>
                          <a:lnTo>
                            <a:pt x="958620" y="11701"/>
                          </a:lnTo>
                          <a:lnTo>
                            <a:pt x="986973" y="17552"/>
                          </a:lnTo>
                          <a:lnTo>
                            <a:pt x="991474" y="21603"/>
                          </a:lnTo>
                          <a:lnTo>
                            <a:pt x="994624" y="27453"/>
                          </a:lnTo>
                          <a:lnTo>
                            <a:pt x="997775" y="36455"/>
                          </a:lnTo>
                          <a:lnTo>
                            <a:pt x="1002275" y="45456"/>
                          </a:lnTo>
                          <a:lnTo>
                            <a:pt x="1011276" y="58957"/>
                          </a:lnTo>
                          <a:lnTo>
                            <a:pt x="1024328" y="67508"/>
                          </a:lnTo>
                          <a:lnTo>
                            <a:pt x="1021628" y="61658"/>
                          </a:lnTo>
                          <a:lnTo>
                            <a:pt x="1011726" y="46806"/>
                          </a:lnTo>
                          <a:lnTo>
                            <a:pt x="1007226" y="36455"/>
                          </a:lnTo>
                          <a:lnTo>
                            <a:pt x="1007226" y="29254"/>
                          </a:lnTo>
                          <a:lnTo>
                            <a:pt x="1008126" y="23853"/>
                          </a:lnTo>
                          <a:lnTo>
                            <a:pt x="1009476" y="20253"/>
                          </a:lnTo>
                          <a:lnTo>
                            <a:pt x="1020277" y="5851"/>
                          </a:lnTo>
                          <a:lnTo>
                            <a:pt x="1036029" y="1350"/>
                          </a:lnTo>
                          <a:lnTo>
                            <a:pt x="1037830" y="2250"/>
                          </a:lnTo>
                          <a:lnTo>
                            <a:pt x="1049981" y="24303"/>
                          </a:lnTo>
                          <a:lnTo>
                            <a:pt x="1055832" y="33304"/>
                          </a:lnTo>
                          <a:lnTo>
                            <a:pt x="1059883" y="36905"/>
                          </a:lnTo>
                          <a:lnTo>
                            <a:pt x="1059883" y="35554"/>
                          </a:lnTo>
                          <a:lnTo>
                            <a:pt x="1054032" y="25653"/>
                          </a:lnTo>
                          <a:lnTo>
                            <a:pt x="1049531" y="20253"/>
                          </a:lnTo>
                          <a:lnTo>
                            <a:pt x="1049081" y="16652"/>
                          </a:lnTo>
                          <a:lnTo>
                            <a:pt x="1056282" y="5851"/>
                          </a:lnTo>
                          <a:lnTo>
                            <a:pt x="1060783" y="3150"/>
                          </a:lnTo>
                          <a:lnTo>
                            <a:pt x="1079685" y="0"/>
                          </a:lnTo>
                          <a:lnTo>
                            <a:pt x="1081935" y="1350"/>
                          </a:lnTo>
                          <a:lnTo>
                            <a:pt x="1083735" y="4501"/>
                          </a:lnTo>
                          <a:lnTo>
                            <a:pt x="1088236" y="16202"/>
                          </a:lnTo>
                          <a:lnTo>
                            <a:pt x="1089586" y="13952"/>
                          </a:lnTo>
                          <a:close/>
                          <a:moveTo>
                            <a:pt x="614327" y="305138"/>
                          </a:moveTo>
                          <a:lnTo>
                            <a:pt x="617027" y="316390"/>
                          </a:lnTo>
                          <a:lnTo>
                            <a:pt x="627378" y="343393"/>
                          </a:lnTo>
                          <a:lnTo>
                            <a:pt x="631879" y="352844"/>
                          </a:lnTo>
                          <a:lnTo>
                            <a:pt x="639980" y="364546"/>
                          </a:lnTo>
                          <a:lnTo>
                            <a:pt x="640880" y="368596"/>
                          </a:lnTo>
                          <a:lnTo>
                            <a:pt x="640880" y="370396"/>
                          </a:lnTo>
                          <a:lnTo>
                            <a:pt x="640880" y="376697"/>
                          </a:lnTo>
                          <a:lnTo>
                            <a:pt x="643130" y="378947"/>
                          </a:lnTo>
                          <a:lnTo>
                            <a:pt x="649881" y="382548"/>
                          </a:lnTo>
                          <a:lnTo>
                            <a:pt x="657532" y="388849"/>
                          </a:lnTo>
                          <a:lnTo>
                            <a:pt x="658882" y="388399"/>
                          </a:lnTo>
                          <a:lnTo>
                            <a:pt x="661583" y="384798"/>
                          </a:lnTo>
                          <a:lnTo>
                            <a:pt x="664733" y="383898"/>
                          </a:lnTo>
                          <a:lnTo>
                            <a:pt x="668784" y="384798"/>
                          </a:lnTo>
                          <a:lnTo>
                            <a:pt x="670584" y="387498"/>
                          </a:lnTo>
                          <a:lnTo>
                            <a:pt x="671934" y="391549"/>
                          </a:lnTo>
                          <a:lnTo>
                            <a:pt x="672384" y="394249"/>
                          </a:lnTo>
                          <a:lnTo>
                            <a:pt x="672384" y="396500"/>
                          </a:lnTo>
                          <a:lnTo>
                            <a:pt x="671034" y="400550"/>
                          </a:lnTo>
                          <a:lnTo>
                            <a:pt x="671034" y="402350"/>
                          </a:lnTo>
                          <a:lnTo>
                            <a:pt x="671934" y="404151"/>
                          </a:lnTo>
                          <a:lnTo>
                            <a:pt x="671934" y="406401"/>
                          </a:lnTo>
                          <a:lnTo>
                            <a:pt x="670584" y="415402"/>
                          </a:lnTo>
                          <a:lnTo>
                            <a:pt x="671034" y="418552"/>
                          </a:lnTo>
                          <a:lnTo>
                            <a:pt x="674634" y="426653"/>
                          </a:lnTo>
                          <a:lnTo>
                            <a:pt x="678235" y="430704"/>
                          </a:lnTo>
                          <a:lnTo>
                            <a:pt x="684986" y="435204"/>
                          </a:lnTo>
                          <a:lnTo>
                            <a:pt x="689486" y="434754"/>
                          </a:lnTo>
                          <a:lnTo>
                            <a:pt x="692186" y="437455"/>
                          </a:lnTo>
                          <a:lnTo>
                            <a:pt x="692186" y="435655"/>
                          </a:lnTo>
                          <a:lnTo>
                            <a:pt x="690836" y="430704"/>
                          </a:lnTo>
                          <a:lnTo>
                            <a:pt x="688136" y="423503"/>
                          </a:lnTo>
                          <a:lnTo>
                            <a:pt x="683185" y="419903"/>
                          </a:lnTo>
                          <a:lnTo>
                            <a:pt x="682285" y="415402"/>
                          </a:lnTo>
                          <a:lnTo>
                            <a:pt x="681835" y="408201"/>
                          </a:lnTo>
                          <a:lnTo>
                            <a:pt x="682285" y="403250"/>
                          </a:lnTo>
                          <a:lnTo>
                            <a:pt x="684986" y="399200"/>
                          </a:lnTo>
                          <a:lnTo>
                            <a:pt x="687236" y="397850"/>
                          </a:lnTo>
                          <a:lnTo>
                            <a:pt x="693537" y="397850"/>
                          </a:lnTo>
                          <a:lnTo>
                            <a:pt x="697137" y="399650"/>
                          </a:lnTo>
                          <a:lnTo>
                            <a:pt x="702988" y="405051"/>
                          </a:lnTo>
                          <a:lnTo>
                            <a:pt x="703438" y="408201"/>
                          </a:lnTo>
                          <a:lnTo>
                            <a:pt x="703888" y="414052"/>
                          </a:lnTo>
                          <a:lnTo>
                            <a:pt x="704338" y="425753"/>
                          </a:lnTo>
                          <a:lnTo>
                            <a:pt x="704338" y="428454"/>
                          </a:lnTo>
                          <a:lnTo>
                            <a:pt x="699387" y="435204"/>
                          </a:lnTo>
                          <a:lnTo>
                            <a:pt x="698037" y="439705"/>
                          </a:lnTo>
                          <a:lnTo>
                            <a:pt x="699387" y="441055"/>
                          </a:lnTo>
                          <a:lnTo>
                            <a:pt x="703888" y="441955"/>
                          </a:lnTo>
                          <a:lnTo>
                            <a:pt x="710639" y="446006"/>
                          </a:lnTo>
                          <a:lnTo>
                            <a:pt x="713339" y="446456"/>
                          </a:lnTo>
                          <a:lnTo>
                            <a:pt x="716040" y="455907"/>
                          </a:lnTo>
                          <a:lnTo>
                            <a:pt x="718290" y="464908"/>
                          </a:lnTo>
                          <a:lnTo>
                            <a:pt x="716940" y="475710"/>
                          </a:lnTo>
                          <a:lnTo>
                            <a:pt x="715139" y="492812"/>
                          </a:lnTo>
                          <a:lnTo>
                            <a:pt x="713339" y="496862"/>
                          </a:lnTo>
                          <a:lnTo>
                            <a:pt x="711539" y="502713"/>
                          </a:lnTo>
                          <a:lnTo>
                            <a:pt x="712439" y="503613"/>
                          </a:lnTo>
                          <a:lnTo>
                            <a:pt x="719190" y="501363"/>
                          </a:lnTo>
                          <a:lnTo>
                            <a:pt x="720540" y="500463"/>
                          </a:lnTo>
                          <a:lnTo>
                            <a:pt x="725041" y="494612"/>
                          </a:lnTo>
                          <a:lnTo>
                            <a:pt x="731792" y="495962"/>
                          </a:lnTo>
                          <a:lnTo>
                            <a:pt x="734042" y="497312"/>
                          </a:lnTo>
                          <a:lnTo>
                            <a:pt x="734942" y="499112"/>
                          </a:lnTo>
                          <a:lnTo>
                            <a:pt x="736742" y="505413"/>
                          </a:lnTo>
                          <a:lnTo>
                            <a:pt x="738542" y="513964"/>
                          </a:lnTo>
                          <a:lnTo>
                            <a:pt x="739892" y="513064"/>
                          </a:lnTo>
                          <a:lnTo>
                            <a:pt x="743043" y="502713"/>
                          </a:lnTo>
                          <a:lnTo>
                            <a:pt x="743943" y="500013"/>
                          </a:lnTo>
                          <a:lnTo>
                            <a:pt x="745293" y="497762"/>
                          </a:lnTo>
                          <a:lnTo>
                            <a:pt x="745743" y="498212"/>
                          </a:lnTo>
                          <a:lnTo>
                            <a:pt x="748894" y="507664"/>
                          </a:lnTo>
                          <a:lnTo>
                            <a:pt x="755644" y="524316"/>
                          </a:lnTo>
                          <a:lnTo>
                            <a:pt x="757895" y="531066"/>
                          </a:lnTo>
                          <a:lnTo>
                            <a:pt x="758345" y="536017"/>
                          </a:lnTo>
                          <a:lnTo>
                            <a:pt x="755194" y="541868"/>
                          </a:lnTo>
                          <a:lnTo>
                            <a:pt x="752944" y="544568"/>
                          </a:lnTo>
                          <a:lnTo>
                            <a:pt x="735842" y="556720"/>
                          </a:lnTo>
                          <a:lnTo>
                            <a:pt x="728191" y="563471"/>
                          </a:lnTo>
                          <a:lnTo>
                            <a:pt x="724591" y="568871"/>
                          </a:lnTo>
                          <a:lnTo>
                            <a:pt x="722790" y="570671"/>
                          </a:lnTo>
                          <a:lnTo>
                            <a:pt x="718740" y="569771"/>
                          </a:lnTo>
                          <a:lnTo>
                            <a:pt x="717840" y="570671"/>
                          </a:lnTo>
                          <a:lnTo>
                            <a:pt x="716489" y="579222"/>
                          </a:lnTo>
                          <a:lnTo>
                            <a:pt x="715139" y="582823"/>
                          </a:lnTo>
                          <a:lnTo>
                            <a:pt x="711539" y="588674"/>
                          </a:lnTo>
                          <a:lnTo>
                            <a:pt x="706588" y="599025"/>
                          </a:lnTo>
                          <a:lnTo>
                            <a:pt x="703438" y="603526"/>
                          </a:lnTo>
                          <a:lnTo>
                            <a:pt x="698037" y="600375"/>
                          </a:lnTo>
                          <a:lnTo>
                            <a:pt x="696687" y="595425"/>
                          </a:lnTo>
                          <a:lnTo>
                            <a:pt x="695787" y="584623"/>
                          </a:lnTo>
                          <a:lnTo>
                            <a:pt x="695787" y="580123"/>
                          </a:lnTo>
                          <a:lnTo>
                            <a:pt x="695787" y="577872"/>
                          </a:lnTo>
                          <a:lnTo>
                            <a:pt x="696237" y="573822"/>
                          </a:lnTo>
                          <a:lnTo>
                            <a:pt x="698487" y="564371"/>
                          </a:lnTo>
                          <a:lnTo>
                            <a:pt x="698037" y="563471"/>
                          </a:lnTo>
                          <a:lnTo>
                            <a:pt x="697137" y="564371"/>
                          </a:lnTo>
                          <a:lnTo>
                            <a:pt x="693537" y="569321"/>
                          </a:lnTo>
                          <a:lnTo>
                            <a:pt x="692186" y="572022"/>
                          </a:lnTo>
                          <a:lnTo>
                            <a:pt x="690836" y="576522"/>
                          </a:lnTo>
                          <a:lnTo>
                            <a:pt x="690386" y="583723"/>
                          </a:lnTo>
                          <a:lnTo>
                            <a:pt x="690836" y="597225"/>
                          </a:lnTo>
                          <a:lnTo>
                            <a:pt x="690386" y="602625"/>
                          </a:lnTo>
                          <a:lnTo>
                            <a:pt x="689036" y="605326"/>
                          </a:lnTo>
                          <a:lnTo>
                            <a:pt x="689486" y="607576"/>
                          </a:lnTo>
                          <a:lnTo>
                            <a:pt x="693537" y="610276"/>
                          </a:lnTo>
                          <a:lnTo>
                            <a:pt x="694437" y="611627"/>
                          </a:lnTo>
                          <a:lnTo>
                            <a:pt x="694887" y="613877"/>
                          </a:lnTo>
                          <a:lnTo>
                            <a:pt x="694887" y="617027"/>
                          </a:lnTo>
                          <a:lnTo>
                            <a:pt x="694887" y="620178"/>
                          </a:lnTo>
                          <a:lnTo>
                            <a:pt x="693537" y="624678"/>
                          </a:lnTo>
                          <a:lnTo>
                            <a:pt x="691286" y="626478"/>
                          </a:lnTo>
                          <a:lnTo>
                            <a:pt x="688586" y="624228"/>
                          </a:lnTo>
                          <a:lnTo>
                            <a:pt x="682285" y="612977"/>
                          </a:lnTo>
                          <a:lnTo>
                            <a:pt x="679585" y="613427"/>
                          </a:lnTo>
                          <a:lnTo>
                            <a:pt x="678685" y="614777"/>
                          </a:lnTo>
                          <a:lnTo>
                            <a:pt x="679135" y="618827"/>
                          </a:lnTo>
                          <a:lnTo>
                            <a:pt x="680935" y="627829"/>
                          </a:lnTo>
                          <a:lnTo>
                            <a:pt x="681385" y="635030"/>
                          </a:lnTo>
                          <a:lnTo>
                            <a:pt x="680485" y="641330"/>
                          </a:lnTo>
                          <a:lnTo>
                            <a:pt x="678685" y="650781"/>
                          </a:lnTo>
                          <a:lnTo>
                            <a:pt x="677335" y="655732"/>
                          </a:lnTo>
                          <a:lnTo>
                            <a:pt x="676885" y="656632"/>
                          </a:lnTo>
                          <a:lnTo>
                            <a:pt x="673734" y="656632"/>
                          </a:lnTo>
                          <a:lnTo>
                            <a:pt x="671034" y="653932"/>
                          </a:lnTo>
                          <a:lnTo>
                            <a:pt x="662933" y="637280"/>
                          </a:lnTo>
                          <a:lnTo>
                            <a:pt x="658882" y="630079"/>
                          </a:lnTo>
                          <a:lnTo>
                            <a:pt x="653032" y="615677"/>
                          </a:lnTo>
                          <a:lnTo>
                            <a:pt x="651681" y="612527"/>
                          </a:lnTo>
                          <a:lnTo>
                            <a:pt x="650781" y="612077"/>
                          </a:lnTo>
                          <a:lnTo>
                            <a:pt x="649881" y="618377"/>
                          </a:lnTo>
                          <a:lnTo>
                            <a:pt x="651681" y="624228"/>
                          </a:lnTo>
                          <a:lnTo>
                            <a:pt x="657082" y="637280"/>
                          </a:lnTo>
                          <a:lnTo>
                            <a:pt x="660232" y="646731"/>
                          </a:lnTo>
                          <a:lnTo>
                            <a:pt x="662483" y="654382"/>
                          </a:lnTo>
                          <a:lnTo>
                            <a:pt x="662933" y="657532"/>
                          </a:lnTo>
                          <a:lnTo>
                            <a:pt x="662033" y="658882"/>
                          </a:lnTo>
                          <a:lnTo>
                            <a:pt x="660683" y="657982"/>
                          </a:lnTo>
                          <a:lnTo>
                            <a:pt x="659332" y="655282"/>
                          </a:lnTo>
                          <a:lnTo>
                            <a:pt x="654832" y="650781"/>
                          </a:lnTo>
                          <a:lnTo>
                            <a:pt x="653032" y="648081"/>
                          </a:lnTo>
                          <a:lnTo>
                            <a:pt x="651681" y="644931"/>
                          </a:lnTo>
                          <a:lnTo>
                            <a:pt x="649431" y="642680"/>
                          </a:lnTo>
                          <a:lnTo>
                            <a:pt x="645831" y="641330"/>
                          </a:lnTo>
                          <a:lnTo>
                            <a:pt x="642230" y="640880"/>
                          </a:lnTo>
                          <a:lnTo>
                            <a:pt x="638630" y="641780"/>
                          </a:lnTo>
                          <a:lnTo>
                            <a:pt x="638180" y="643130"/>
                          </a:lnTo>
                          <a:lnTo>
                            <a:pt x="642230" y="647181"/>
                          </a:lnTo>
                          <a:lnTo>
                            <a:pt x="643580" y="649431"/>
                          </a:lnTo>
                          <a:lnTo>
                            <a:pt x="644480" y="652132"/>
                          </a:lnTo>
                          <a:lnTo>
                            <a:pt x="644931" y="655732"/>
                          </a:lnTo>
                          <a:lnTo>
                            <a:pt x="643580" y="657982"/>
                          </a:lnTo>
                          <a:lnTo>
                            <a:pt x="638630" y="659333"/>
                          </a:lnTo>
                          <a:lnTo>
                            <a:pt x="632329" y="658432"/>
                          </a:lnTo>
                          <a:lnTo>
                            <a:pt x="621978" y="655282"/>
                          </a:lnTo>
                          <a:lnTo>
                            <a:pt x="611626" y="650331"/>
                          </a:lnTo>
                          <a:lnTo>
                            <a:pt x="602175" y="642230"/>
                          </a:lnTo>
                          <a:lnTo>
                            <a:pt x="595424" y="634129"/>
                          </a:lnTo>
                          <a:lnTo>
                            <a:pt x="592724" y="629629"/>
                          </a:lnTo>
                          <a:lnTo>
                            <a:pt x="591824" y="626478"/>
                          </a:lnTo>
                          <a:lnTo>
                            <a:pt x="594524" y="623778"/>
                          </a:lnTo>
                          <a:lnTo>
                            <a:pt x="603525" y="620178"/>
                          </a:lnTo>
                          <a:lnTo>
                            <a:pt x="612527" y="617927"/>
                          </a:lnTo>
                          <a:lnTo>
                            <a:pt x="611176" y="615677"/>
                          </a:lnTo>
                          <a:lnTo>
                            <a:pt x="594524" y="611177"/>
                          </a:lnTo>
                          <a:lnTo>
                            <a:pt x="589124" y="610276"/>
                          </a:lnTo>
                          <a:lnTo>
                            <a:pt x="586423" y="611627"/>
                          </a:lnTo>
                          <a:lnTo>
                            <a:pt x="583273" y="610726"/>
                          </a:lnTo>
                          <a:lnTo>
                            <a:pt x="580573" y="607126"/>
                          </a:lnTo>
                          <a:lnTo>
                            <a:pt x="576972" y="599925"/>
                          </a:lnTo>
                          <a:lnTo>
                            <a:pt x="575172" y="595425"/>
                          </a:lnTo>
                          <a:lnTo>
                            <a:pt x="575622" y="593624"/>
                          </a:lnTo>
                          <a:lnTo>
                            <a:pt x="576972" y="592724"/>
                          </a:lnTo>
                          <a:lnTo>
                            <a:pt x="584623" y="593624"/>
                          </a:lnTo>
                          <a:lnTo>
                            <a:pt x="585523" y="592724"/>
                          </a:lnTo>
                          <a:lnTo>
                            <a:pt x="581923" y="589124"/>
                          </a:lnTo>
                          <a:lnTo>
                            <a:pt x="569771" y="581923"/>
                          </a:lnTo>
                          <a:lnTo>
                            <a:pt x="565271" y="575622"/>
                          </a:lnTo>
                          <a:lnTo>
                            <a:pt x="564371" y="573372"/>
                          </a:lnTo>
                          <a:lnTo>
                            <a:pt x="563920" y="571121"/>
                          </a:lnTo>
                          <a:lnTo>
                            <a:pt x="563920" y="568871"/>
                          </a:lnTo>
                          <a:lnTo>
                            <a:pt x="568421" y="563921"/>
                          </a:lnTo>
                          <a:lnTo>
                            <a:pt x="582373" y="552669"/>
                          </a:lnTo>
                          <a:lnTo>
                            <a:pt x="587323" y="550869"/>
                          </a:lnTo>
                          <a:lnTo>
                            <a:pt x="592274" y="550869"/>
                          </a:lnTo>
                          <a:lnTo>
                            <a:pt x="595424" y="547719"/>
                          </a:lnTo>
                          <a:lnTo>
                            <a:pt x="598125" y="536917"/>
                          </a:lnTo>
                          <a:lnTo>
                            <a:pt x="612527" y="532867"/>
                          </a:lnTo>
                          <a:lnTo>
                            <a:pt x="623778" y="527916"/>
                          </a:lnTo>
                          <a:lnTo>
                            <a:pt x="624678" y="526566"/>
                          </a:lnTo>
                          <a:lnTo>
                            <a:pt x="616127" y="527466"/>
                          </a:lnTo>
                          <a:lnTo>
                            <a:pt x="604426" y="526566"/>
                          </a:lnTo>
                          <a:lnTo>
                            <a:pt x="599475" y="518915"/>
                          </a:lnTo>
                          <a:lnTo>
                            <a:pt x="595874" y="517565"/>
                          </a:lnTo>
                          <a:lnTo>
                            <a:pt x="592274" y="517565"/>
                          </a:lnTo>
                          <a:lnTo>
                            <a:pt x="587774" y="519815"/>
                          </a:lnTo>
                          <a:lnTo>
                            <a:pt x="580123" y="527016"/>
                          </a:lnTo>
                          <a:lnTo>
                            <a:pt x="576522" y="528816"/>
                          </a:lnTo>
                          <a:lnTo>
                            <a:pt x="568421" y="536017"/>
                          </a:lnTo>
                          <a:lnTo>
                            <a:pt x="566171" y="535567"/>
                          </a:lnTo>
                          <a:lnTo>
                            <a:pt x="564821" y="534667"/>
                          </a:lnTo>
                          <a:lnTo>
                            <a:pt x="564371" y="533317"/>
                          </a:lnTo>
                          <a:lnTo>
                            <a:pt x="565721" y="528366"/>
                          </a:lnTo>
                          <a:lnTo>
                            <a:pt x="567971" y="525216"/>
                          </a:lnTo>
                          <a:lnTo>
                            <a:pt x="567521" y="523866"/>
                          </a:lnTo>
                          <a:lnTo>
                            <a:pt x="564371" y="522965"/>
                          </a:lnTo>
                          <a:lnTo>
                            <a:pt x="560770" y="522965"/>
                          </a:lnTo>
                          <a:lnTo>
                            <a:pt x="558070" y="524316"/>
                          </a:lnTo>
                          <a:lnTo>
                            <a:pt x="548619" y="530616"/>
                          </a:lnTo>
                          <a:lnTo>
                            <a:pt x="544568" y="535567"/>
                          </a:lnTo>
                          <a:lnTo>
                            <a:pt x="543218" y="536017"/>
                          </a:lnTo>
                          <a:lnTo>
                            <a:pt x="538717" y="528366"/>
                          </a:lnTo>
                          <a:lnTo>
                            <a:pt x="531516" y="524316"/>
                          </a:lnTo>
                          <a:lnTo>
                            <a:pt x="529716" y="521165"/>
                          </a:lnTo>
                          <a:lnTo>
                            <a:pt x="531066" y="508564"/>
                          </a:lnTo>
                          <a:lnTo>
                            <a:pt x="533317" y="505863"/>
                          </a:lnTo>
                          <a:lnTo>
                            <a:pt x="538717" y="503613"/>
                          </a:lnTo>
                          <a:lnTo>
                            <a:pt x="555369" y="491912"/>
                          </a:lnTo>
                          <a:lnTo>
                            <a:pt x="556270" y="489661"/>
                          </a:lnTo>
                          <a:lnTo>
                            <a:pt x="557620" y="483811"/>
                          </a:lnTo>
                          <a:lnTo>
                            <a:pt x="554019" y="485161"/>
                          </a:lnTo>
                          <a:lnTo>
                            <a:pt x="545468" y="491011"/>
                          </a:lnTo>
                          <a:lnTo>
                            <a:pt x="538717" y="493712"/>
                          </a:lnTo>
                          <a:lnTo>
                            <a:pt x="533317" y="493712"/>
                          </a:lnTo>
                          <a:lnTo>
                            <a:pt x="529266" y="492812"/>
                          </a:lnTo>
                          <a:lnTo>
                            <a:pt x="526566" y="491011"/>
                          </a:lnTo>
                          <a:lnTo>
                            <a:pt x="523415" y="487411"/>
                          </a:lnTo>
                          <a:lnTo>
                            <a:pt x="513514" y="470309"/>
                          </a:lnTo>
                          <a:lnTo>
                            <a:pt x="510814" y="461758"/>
                          </a:lnTo>
                          <a:lnTo>
                            <a:pt x="510364" y="454557"/>
                          </a:lnTo>
                          <a:lnTo>
                            <a:pt x="509464" y="448706"/>
                          </a:lnTo>
                          <a:lnTo>
                            <a:pt x="506763" y="434754"/>
                          </a:lnTo>
                          <a:lnTo>
                            <a:pt x="527916" y="443305"/>
                          </a:lnTo>
                          <a:lnTo>
                            <a:pt x="536017" y="445106"/>
                          </a:lnTo>
                          <a:lnTo>
                            <a:pt x="551769" y="445556"/>
                          </a:lnTo>
                          <a:lnTo>
                            <a:pt x="552669" y="444656"/>
                          </a:lnTo>
                          <a:lnTo>
                            <a:pt x="553119" y="442405"/>
                          </a:lnTo>
                          <a:lnTo>
                            <a:pt x="552669" y="438805"/>
                          </a:lnTo>
                          <a:lnTo>
                            <a:pt x="552669" y="436105"/>
                          </a:lnTo>
                          <a:lnTo>
                            <a:pt x="553119" y="434304"/>
                          </a:lnTo>
                          <a:lnTo>
                            <a:pt x="558970" y="429354"/>
                          </a:lnTo>
                          <a:lnTo>
                            <a:pt x="559870" y="427554"/>
                          </a:lnTo>
                          <a:lnTo>
                            <a:pt x="553119" y="426653"/>
                          </a:lnTo>
                          <a:lnTo>
                            <a:pt x="540518" y="435204"/>
                          </a:lnTo>
                          <a:lnTo>
                            <a:pt x="536017" y="435204"/>
                          </a:lnTo>
                          <a:lnTo>
                            <a:pt x="531066" y="423503"/>
                          </a:lnTo>
                          <a:lnTo>
                            <a:pt x="525666" y="425753"/>
                          </a:lnTo>
                          <a:lnTo>
                            <a:pt x="522965" y="424853"/>
                          </a:lnTo>
                          <a:lnTo>
                            <a:pt x="518915" y="421703"/>
                          </a:lnTo>
                          <a:lnTo>
                            <a:pt x="517115" y="419002"/>
                          </a:lnTo>
                          <a:lnTo>
                            <a:pt x="515765" y="415852"/>
                          </a:lnTo>
                          <a:lnTo>
                            <a:pt x="515314" y="413152"/>
                          </a:lnTo>
                          <a:lnTo>
                            <a:pt x="515314" y="410901"/>
                          </a:lnTo>
                          <a:lnTo>
                            <a:pt x="516214" y="408201"/>
                          </a:lnTo>
                          <a:lnTo>
                            <a:pt x="520715" y="404601"/>
                          </a:lnTo>
                          <a:lnTo>
                            <a:pt x="522965" y="404151"/>
                          </a:lnTo>
                          <a:lnTo>
                            <a:pt x="528366" y="406401"/>
                          </a:lnTo>
                          <a:lnTo>
                            <a:pt x="532417" y="406401"/>
                          </a:lnTo>
                          <a:lnTo>
                            <a:pt x="531066" y="402800"/>
                          </a:lnTo>
                          <a:lnTo>
                            <a:pt x="524766" y="393349"/>
                          </a:lnTo>
                          <a:lnTo>
                            <a:pt x="519365" y="382548"/>
                          </a:lnTo>
                          <a:lnTo>
                            <a:pt x="519815" y="364546"/>
                          </a:lnTo>
                          <a:lnTo>
                            <a:pt x="524316" y="360495"/>
                          </a:lnTo>
                          <a:lnTo>
                            <a:pt x="528816" y="360045"/>
                          </a:lnTo>
                          <a:lnTo>
                            <a:pt x="533317" y="364546"/>
                          </a:lnTo>
                          <a:lnTo>
                            <a:pt x="539167" y="364996"/>
                          </a:lnTo>
                          <a:lnTo>
                            <a:pt x="543218" y="369946"/>
                          </a:lnTo>
                          <a:lnTo>
                            <a:pt x="545918" y="379848"/>
                          </a:lnTo>
                          <a:lnTo>
                            <a:pt x="549069" y="379848"/>
                          </a:lnTo>
                          <a:lnTo>
                            <a:pt x="554469" y="381648"/>
                          </a:lnTo>
                          <a:lnTo>
                            <a:pt x="566171" y="381648"/>
                          </a:lnTo>
                          <a:lnTo>
                            <a:pt x="563920" y="378047"/>
                          </a:lnTo>
                          <a:lnTo>
                            <a:pt x="560320" y="374897"/>
                          </a:lnTo>
                          <a:lnTo>
                            <a:pt x="551769" y="370846"/>
                          </a:lnTo>
                          <a:lnTo>
                            <a:pt x="547718" y="356445"/>
                          </a:lnTo>
                          <a:lnTo>
                            <a:pt x="539167" y="348794"/>
                          </a:lnTo>
                          <a:lnTo>
                            <a:pt x="532417" y="344743"/>
                          </a:lnTo>
                          <a:lnTo>
                            <a:pt x="532417" y="341593"/>
                          </a:lnTo>
                          <a:lnTo>
                            <a:pt x="537367" y="323140"/>
                          </a:lnTo>
                          <a:lnTo>
                            <a:pt x="543668" y="316390"/>
                          </a:lnTo>
                          <a:lnTo>
                            <a:pt x="553569" y="319090"/>
                          </a:lnTo>
                          <a:lnTo>
                            <a:pt x="559870" y="315489"/>
                          </a:lnTo>
                          <a:lnTo>
                            <a:pt x="567971" y="308739"/>
                          </a:lnTo>
                          <a:lnTo>
                            <a:pt x="576072" y="311889"/>
                          </a:lnTo>
                          <a:lnTo>
                            <a:pt x="578322" y="311439"/>
                          </a:lnTo>
                          <a:lnTo>
                            <a:pt x="579672" y="309189"/>
                          </a:lnTo>
                          <a:lnTo>
                            <a:pt x="580573" y="305138"/>
                          </a:lnTo>
                          <a:lnTo>
                            <a:pt x="580573" y="301538"/>
                          </a:lnTo>
                          <a:lnTo>
                            <a:pt x="579672" y="298387"/>
                          </a:lnTo>
                          <a:lnTo>
                            <a:pt x="576972" y="294337"/>
                          </a:lnTo>
                          <a:lnTo>
                            <a:pt x="566621" y="293887"/>
                          </a:lnTo>
                          <a:lnTo>
                            <a:pt x="562120" y="292087"/>
                          </a:lnTo>
                          <a:lnTo>
                            <a:pt x="560320" y="289836"/>
                          </a:lnTo>
                          <a:lnTo>
                            <a:pt x="559870" y="286686"/>
                          </a:lnTo>
                          <a:lnTo>
                            <a:pt x="559420" y="283085"/>
                          </a:lnTo>
                          <a:lnTo>
                            <a:pt x="559420" y="279485"/>
                          </a:lnTo>
                          <a:lnTo>
                            <a:pt x="559870" y="277235"/>
                          </a:lnTo>
                          <a:lnTo>
                            <a:pt x="560770" y="275885"/>
                          </a:lnTo>
                          <a:lnTo>
                            <a:pt x="563470" y="274534"/>
                          </a:lnTo>
                          <a:lnTo>
                            <a:pt x="572922" y="274534"/>
                          </a:lnTo>
                          <a:lnTo>
                            <a:pt x="578772" y="272734"/>
                          </a:lnTo>
                          <a:lnTo>
                            <a:pt x="585073" y="275434"/>
                          </a:lnTo>
                          <a:lnTo>
                            <a:pt x="598125" y="284886"/>
                          </a:lnTo>
                          <a:lnTo>
                            <a:pt x="602175" y="289836"/>
                          </a:lnTo>
                          <a:lnTo>
                            <a:pt x="606676" y="297937"/>
                          </a:lnTo>
                          <a:lnTo>
                            <a:pt x="614327" y="305138"/>
                          </a:lnTo>
                          <a:close/>
                          <a:moveTo>
                            <a:pt x="468059" y="454107"/>
                          </a:moveTo>
                          <a:lnTo>
                            <a:pt x="468509" y="469859"/>
                          </a:lnTo>
                          <a:lnTo>
                            <a:pt x="468059" y="477510"/>
                          </a:lnTo>
                          <a:lnTo>
                            <a:pt x="467158" y="483360"/>
                          </a:lnTo>
                          <a:lnTo>
                            <a:pt x="466258" y="484711"/>
                          </a:lnTo>
                          <a:lnTo>
                            <a:pt x="464908" y="484711"/>
                          </a:lnTo>
                          <a:lnTo>
                            <a:pt x="459057" y="480210"/>
                          </a:lnTo>
                          <a:lnTo>
                            <a:pt x="457257" y="477510"/>
                          </a:lnTo>
                          <a:lnTo>
                            <a:pt x="457257" y="475260"/>
                          </a:lnTo>
                          <a:lnTo>
                            <a:pt x="456807" y="470759"/>
                          </a:lnTo>
                          <a:lnTo>
                            <a:pt x="452757" y="464908"/>
                          </a:lnTo>
                          <a:lnTo>
                            <a:pt x="445556" y="465808"/>
                          </a:lnTo>
                          <a:lnTo>
                            <a:pt x="442405" y="465358"/>
                          </a:lnTo>
                          <a:lnTo>
                            <a:pt x="441055" y="463558"/>
                          </a:lnTo>
                          <a:lnTo>
                            <a:pt x="440155" y="461308"/>
                          </a:lnTo>
                          <a:lnTo>
                            <a:pt x="439255" y="451407"/>
                          </a:lnTo>
                          <a:lnTo>
                            <a:pt x="439255" y="447806"/>
                          </a:lnTo>
                          <a:lnTo>
                            <a:pt x="440155" y="441505"/>
                          </a:lnTo>
                          <a:lnTo>
                            <a:pt x="440605" y="440155"/>
                          </a:lnTo>
                          <a:lnTo>
                            <a:pt x="446006" y="434304"/>
                          </a:lnTo>
                          <a:lnTo>
                            <a:pt x="447356" y="433854"/>
                          </a:lnTo>
                          <a:lnTo>
                            <a:pt x="453657" y="436105"/>
                          </a:lnTo>
                          <a:lnTo>
                            <a:pt x="459507" y="436555"/>
                          </a:lnTo>
                          <a:lnTo>
                            <a:pt x="462208" y="438355"/>
                          </a:lnTo>
                          <a:lnTo>
                            <a:pt x="464908" y="441955"/>
                          </a:lnTo>
                          <a:lnTo>
                            <a:pt x="466258" y="447356"/>
                          </a:lnTo>
                          <a:lnTo>
                            <a:pt x="468059" y="454107"/>
                          </a:lnTo>
                          <a:close/>
                          <a:moveTo>
                            <a:pt x="369946" y="532867"/>
                          </a:moveTo>
                          <a:lnTo>
                            <a:pt x="374897" y="535117"/>
                          </a:lnTo>
                          <a:lnTo>
                            <a:pt x="380748" y="542318"/>
                          </a:lnTo>
                          <a:lnTo>
                            <a:pt x="386148" y="557620"/>
                          </a:lnTo>
                          <a:lnTo>
                            <a:pt x="386598" y="559420"/>
                          </a:lnTo>
                          <a:lnTo>
                            <a:pt x="386598" y="562120"/>
                          </a:lnTo>
                          <a:lnTo>
                            <a:pt x="386148" y="565271"/>
                          </a:lnTo>
                          <a:lnTo>
                            <a:pt x="385248" y="569321"/>
                          </a:lnTo>
                          <a:lnTo>
                            <a:pt x="384348" y="571572"/>
                          </a:lnTo>
                          <a:lnTo>
                            <a:pt x="387048" y="574272"/>
                          </a:lnTo>
                          <a:lnTo>
                            <a:pt x="387498" y="575622"/>
                          </a:lnTo>
                          <a:lnTo>
                            <a:pt x="387048" y="578772"/>
                          </a:lnTo>
                          <a:lnTo>
                            <a:pt x="387498" y="581023"/>
                          </a:lnTo>
                          <a:lnTo>
                            <a:pt x="389299" y="578772"/>
                          </a:lnTo>
                          <a:lnTo>
                            <a:pt x="390649" y="575172"/>
                          </a:lnTo>
                          <a:lnTo>
                            <a:pt x="391099" y="572922"/>
                          </a:lnTo>
                          <a:lnTo>
                            <a:pt x="391549" y="566621"/>
                          </a:lnTo>
                          <a:lnTo>
                            <a:pt x="396050" y="563471"/>
                          </a:lnTo>
                          <a:lnTo>
                            <a:pt x="400550" y="558970"/>
                          </a:lnTo>
                          <a:lnTo>
                            <a:pt x="402800" y="558070"/>
                          </a:lnTo>
                          <a:lnTo>
                            <a:pt x="406401" y="558970"/>
                          </a:lnTo>
                          <a:lnTo>
                            <a:pt x="414952" y="569771"/>
                          </a:lnTo>
                          <a:lnTo>
                            <a:pt x="418102" y="570671"/>
                          </a:lnTo>
                          <a:lnTo>
                            <a:pt x="419452" y="572022"/>
                          </a:lnTo>
                          <a:lnTo>
                            <a:pt x="420353" y="574722"/>
                          </a:lnTo>
                          <a:lnTo>
                            <a:pt x="420353" y="577422"/>
                          </a:lnTo>
                          <a:lnTo>
                            <a:pt x="418552" y="583723"/>
                          </a:lnTo>
                          <a:lnTo>
                            <a:pt x="418102" y="587324"/>
                          </a:lnTo>
                          <a:lnTo>
                            <a:pt x="418552" y="589574"/>
                          </a:lnTo>
                          <a:lnTo>
                            <a:pt x="423053" y="591824"/>
                          </a:lnTo>
                          <a:lnTo>
                            <a:pt x="433404" y="587774"/>
                          </a:lnTo>
                          <a:lnTo>
                            <a:pt x="442405" y="597675"/>
                          </a:lnTo>
                          <a:lnTo>
                            <a:pt x="447356" y="609376"/>
                          </a:lnTo>
                          <a:lnTo>
                            <a:pt x="450956" y="613427"/>
                          </a:lnTo>
                          <a:lnTo>
                            <a:pt x="451406" y="615677"/>
                          </a:lnTo>
                          <a:lnTo>
                            <a:pt x="450506" y="617477"/>
                          </a:lnTo>
                          <a:lnTo>
                            <a:pt x="449606" y="622878"/>
                          </a:lnTo>
                          <a:lnTo>
                            <a:pt x="446456" y="626928"/>
                          </a:lnTo>
                          <a:lnTo>
                            <a:pt x="446006" y="628729"/>
                          </a:lnTo>
                          <a:lnTo>
                            <a:pt x="447356" y="633679"/>
                          </a:lnTo>
                          <a:lnTo>
                            <a:pt x="447356" y="636830"/>
                          </a:lnTo>
                          <a:lnTo>
                            <a:pt x="447356" y="640880"/>
                          </a:lnTo>
                          <a:lnTo>
                            <a:pt x="447806" y="643130"/>
                          </a:lnTo>
                          <a:lnTo>
                            <a:pt x="451856" y="645381"/>
                          </a:lnTo>
                          <a:lnTo>
                            <a:pt x="460858" y="662033"/>
                          </a:lnTo>
                          <a:lnTo>
                            <a:pt x="462658" y="666533"/>
                          </a:lnTo>
                          <a:lnTo>
                            <a:pt x="463558" y="672384"/>
                          </a:lnTo>
                          <a:lnTo>
                            <a:pt x="463558" y="674184"/>
                          </a:lnTo>
                          <a:lnTo>
                            <a:pt x="462208" y="677335"/>
                          </a:lnTo>
                          <a:lnTo>
                            <a:pt x="460858" y="686336"/>
                          </a:lnTo>
                          <a:lnTo>
                            <a:pt x="459957" y="688586"/>
                          </a:lnTo>
                          <a:lnTo>
                            <a:pt x="456357" y="690386"/>
                          </a:lnTo>
                          <a:lnTo>
                            <a:pt x="449606" y="691737"/>
                          </a:lnTo>
                          <a:lnTo>
                            <a:pt x="443305" y="694887"/>
                          </a:lnTo>
                          <a:lnTo>
                            <a:pt x="436555" y="690836"/>
                          </a:lnTo>
                          <a:lnTo>
                            <a:pt x="429804" y="684986"/>
                          </a:lnTo>
                          <a:lnTo>
                            <a:pt x="428004" y="680935"/>
                          </a:lnTo>
                          <a:lnTo>
                            <a:pt x="426203" y="675985"/>
                          </a:lnTo>
                          <a:lnTo>
                            <a:pt x="425753" y="674184"/>
                          </a:lnTo>
                          <a:lnTo>
                            <a:pt x="425303" y="666533"/>
                          </a:lnTo>
                          <a:lnTo>
                            <a:pt x="424853" y="664733"/>
                          </a:lnTo>
                          <a:lnTo>
                            <a:pt x="422153" y="660233"/>
                          </a:lnTo>
                          <a:lnTo>
                            <a:pt x="419902" y="653482"/>
                          </a:lnTo>
                          <a:lnTo>
                            <a:pt x="414952" y="653032"/>
                          </a:lnTo>
                          <a:lnTo>
                            <a:pt x="403700" y="646281"/>
                          </a:lnTo>
                          <a:lnTo>
                            <a:pt x="398750" y="644481"/>
                          </a:lnTo>
                          <a:lnTo>
                            <a:pt x="393799" y="644931"/>
                          </a:lnTo>
                          <a:lnTo>
                            <a:pt x="387048" y="647631"/>
                          </a:lnTo>
                          <a:lnTo>
                            <a:pt x="385698" y="646731"/>
                          </a:lnTo>
                          <a:lnTo>
                            <a:pt x="384348" y="644931"/>
                          </a:lnTo>
                          <a:lnTo>
                            <a:pt x="383448" y="641780"/>
                          </a:lnTo>
                          <a:lnTo>
                            <a:pt x="382998" y="639530"/>
                          </a:lnTo>
                          <a:lnTo>
                            <a:pt x="384348" y="635030"/>
                          </a:lnTo>
                          <a:lnTo>
                            <a:pt x="364095" y="640430"/>
                          </a:lnTo>
                          <a:lnTo>
                            <a:pt x="358245" y="646731"/>
                          </a:lnTo>
                          <a:lnTo>
                            <a:pt x="350144" y="645831"/>
                          </a:lnTo>
                          <a:lnTo>
                            <a:pt x="346093" y="643130"/>
                          </a:lnTo>
                          <a:lnTo>
                            <a:pt x="340693" y="637280"/>
                          </a:lnTo>
                          <a:lnTo>
                            <a:pt x="338442" y="631879"/>
                          </a:lnTo>
                          <a:lnTo>
                            <a:pt x="336192" y="624678"/>
                          </a:lnTo>
                          <a:lnTo>
                            <a:pt x="336192" y="619278"/>
                          </a:lnTo>
                          <a:lnTo>
                            <a:pt x="337992" y="615677"/>
                          </a:lnTo>
                          <a:lnTo>
                            <a:pt x="339792" y="613427"/>
                          </a:lnTo>
                          <a:lnTo>
                            <a:pt x="341593" y="612527"/>
                          </a:lnTo>
                          <a:lnTo>
                            <a:pt x="352394" y="616577"/>
                          </a:lnTo>
                          <a:lnTo>
                            <a:pt x="361845" y="618827"/>
                          </a:lnTo>
                          <a:lnTo>
                            <a:pt x="365896" y="616577"/>
                          </a:lnTo>
                          <a:lnTo>
                            <a:pt x="367696" y="610726"/>
                          </a:lnTo>
                          <a:lnTo>
                            <a:pt x="365446" y="607576"/>
                          </a:lnTo>
                          <a:lnTo>
                            <a:pt x="356444" y="606226"/>
                          </a:lnTo>
                          <a:lnTo>
                            <a:pt x="358245" y="603075"/>
                          </a:lnTo>
                          <a:lnTo>
                            <a:pt x="365896" y="599925"/>
                          </a:lnTo>
                          <a:lnTo>
                            <a:pt x="369946" y="594974"/>
                          </a:lnTo>
                          <a:lnTo>
                            <a:pt x="369046" y="593174"/>
                          </a:lnTo>
                          <a:lnTo>
                            <a:pt x="366796" y="591374"/>
                          </a:lnTo>
                          <a:lnTo>
                            <a:pt x="356444" y="591824"/>
                          </a:lnTo>
                          <a:lnTo>
                            <a:pt x="352844" y="590024"/>
                          </a:lnTo>
                          <a:lnTo>
                            <a:pt x="352844" y="588674"/>
                          </a:lnTo>
                          <a:lnTo>
                            <a:pt x="353744" y="586873"/>
                          </a:lnTo>
                          <a:lnTo>
                            <a:pt x="359595" y="576972"/>
                          </a:lnTo>
                          <a:lnTo>
                            <a:pt x="359145" y="575172"/>
                          </a:lnTo>
                          <a:lnTo>
                            <a:pt x="356444" y="572022"/>
                          </a:lnTo>
                          <a:lnTo>
                            <a:pt x="354194" y="567971"/>
                          </a:lnTo>
                          <a:lnTo>
                            <a:pt x="353294" y="567521"/>
                          </a:lnTo>
                          <a:lnTo>
                            <a:pt x="348344" y="571121"/>
                          </a:lnTo>
                          <a:lnTo>
                            <a:pt x="341143" y="585523"/>
                          </a:lnTo>
                          <a:lnTo>
                            <a:pt x="339342" y="587774"/>
                          </a:lnTo>
                          <a:lnTo>
                            <a:pt x="337542" y="587774"/>
                          </a:lnTo>
                          <a:lnTo>
                            <a:pt x="335742" y="585523"/>
                          </a:lnTo>
                          <a:lnTo>
                            <a:pt x="335742" y="582373"/>
                          </a:lnTo>
                          <a:lnTo>
                            <a:pt x="337542" y="578772"/>
                          </a:lnTo>
                          <a:lnTo>
                            <a:pt x="340693" y="567521"/>
                          </a:lnTo>
                          <a:lnTo>
                            <a:pt x="340243" y="563471"/>
                          </a:lnTo>
                          <a:lnTo>
                            <a:pt x="337092" y="560770"/>
                          </a:lnTo>
                          <a:lnTo>
                            <a:pt x="328541" y="562570"/>
                          </a:lnTo>
                          <a:lnTo>
                            <a:pt x="323590" y="562570"/>
                          </a:lnTo>
                          <a:lnTo>
                            <a:pt x="322690" y="559420"/>
                          </a:lnTo>
                          <a:lnTo>
                            <a:pt x="322690" y="553569"/>
                          </a:lnTo>
                          <a:lnTo>
                            <a:pt x="322690" y="547719"/>
                          </a:lnTo>
                          <a:lnTo>
                            <a:pt x="324041" y="538717"/>
                          </a:lnTo>
                          <a:lnTo>
                            <a:pt x="325841" y="531967"/>
                          </a:lnTo>
                          <a:lnTo>
                            <a:pt x="326741" y="529716"/>
                          </a:lnTo>
                          <a:lnTo>
                            <a:pt x="337992" y="531066"/>
                          </a:lnTo>
                          <a:lnTo>
                            <a:pt x="356895" y="527016"/>
                          </a:lnTo>
                          <a:lnTo>
                            <a:pt x="362295" y="526566"/>
                          </a:lnTo>
                          <a:lnTo>
                            <a:pt x="369946" y="532867"/>
                          </a:lnTo>
                          <a:close/>
                          <a:moveTo>
                            <a:pt x="522965" y="619278"/>
                          </a:moveTo>
                          <a:lnTo>
                            <a:pt x="527916" y="621978"/>
                          </a:lnTo>
                          <a:lnTo>
                            <a:pt x="536467" y="620628"/>
                          </a:lnTo>
                          <a:lnTo>
                            <a:pt x="539617" y="622878"/>
                          </a:lnTo>
                          <a:lnTo>
                            <a:pt x="547718" y="630079"/>
                          </a:lnTo>
                          <a:lnTo>
                            <a:pt x="549969" y="634129"/>
                          </a:lnTo>
                          <a:lnTo>
                            <a:pt x="550419" y="637280"/>
                          </a:lnTo>
                          <a:lnTo>
                            <a:pt x="550419" y="639080"/>
                          </a:lnTo>
                          <a:lnTo>
                            <a:pt x="547718" y="642680"/>
                          </a:lnTo>
                          <a:lnTo>
                            <a:pt x="542318" y="648081"/>
                          </a:lnTo>
                          <a:lnTo>
                            <a:pt x="540968" y="652132"/>
                          </a:lnTo>
                          <a:lnTo>
                            <a:pt x="545918" y="657082"/>
                          </a:lnTo>
                          <a:lnTo>
                            <a:pt x="548168" y="661583"/>
                          </a:lnTo>
                          <a:lnTo>
                            <a:pt x="549069" y="664733"/>
                          </a:lnTo>
                          <a:lnTo>
                            <a:pt x="549069" y="667884"/>
                          </a:lnTo>
                          <a:lnTo>
                            <a:pt x="545918" y="676435"/>
                          </a:lnTo>
                          <a:lnTo>
                            <a:pt x="543668" y="679135"/>
                          </a:lnTo>
                          <a:lnTo>
                            <a:pt x="540068" y="678685"/>
                          </a:lnTo>
                          <a:lnTo>
                            <a:pt x="538267" y="679585"/>
                          </a:lnTo>
                          <a:lnTo>
                            <a:pt x="533767" y="683636"/>
                          </a:lnTo>
                          <a:lnTo>
                            <a:pt x="526566" y="687236"/>
                          </a:lnTo>
                          <a:lnTo>
                            <a:pt x="516665" y="688586"/>
                          </a:lnTo>
                          <a:lnTo>
                            <a:pt x="513964" y="690836"/>
                          </a:lnTo>
                          <a:lnTo>
                            <a:pt x="509014" y="694437"/>
                          </a:lnTo>
                          <a:lnTo>
                            <a:pt x="505863" y="694887"/>
                          </a:lnTo>
                          <a:lnTo>
                            <a:pt x="504963" y="692637"/>
                          </a:lnTo>
                          <a:lnTo>
                            <a:pt x="504513" y="689486"/>
                          </a:lnTo>
                          <a:lnTo>
                            <a:pt x="504963" y="687236"/>
                          </a:lnTo>
                          <a:lnTo>
                            <a:pt x="505863" y="684536"/>
                          </a:lnTo>
                          <a:lnTo>
                            <a:pt x="504063" y="681835"/>
                          </a:lnTo>
                          <a:lnTo>
                            <a:pt x="496862" y="676885"/>
                          </a:lnTo>
                          <a:lnTo>
                            <a:pt x="492812" y="670134"/>
                          </a:lnTo>
                          <a:lnTo>
                            <a:pt x="492362" y="667884"/>
                          </a:lnTo>
                          <a:lnTo>
                            <a:pt x="492362" y="666083"/>
                          </a:lnTo>
                          <a:lnTo>
                            <a:pt x="501363" y="664733"/>
                          </a:lnTo>
                          <a:lnTo>
                            <a:pt x="505413" y="663383"/>
                          </a:lnTo>
                          <a:lnTo>
                            <a:pt x="507213" y="661133"/>
                          </a:lnTo>
                          <a:lnTo>
                            <a:pt x="507663" y="659783"/>
                          </a:lnTo>
                          <a:lnTo>
                            <a:pt x="505863" y="659333"/>
                          </a:lnTo>
                          <a:lnTo>
                            <a:pt x="499562" y="654382"/>
                          </a:lnTo>
                          <a:lnTo>
                            <a:pt x="489211" y="651682"/>
                          </a:lnTo>
                          <a:lnTo>
                            <a:pt x="488761" y="648531"/>
                          </a:lnTo>
                          <a:lnTo>
                            <a:pt x="484261" y="641780"/>
                          </a:lnTo>
                          <a:lnTo>
                            <a:pt x="483810" y="635480"/>
                          </a:lnTo>
                          <a:lnTo>
                            <a:pt x="482910" y="633679"/>
                          </a:lnTo>
                          <a:lnTo>
                            <a:pt x="479760" y="630979"/>
                          </a:lnTo>
                          <a:lnTo>
                            <a:pt x="479310" y="630079"/>
                          </a:lnTo>
                          <a:lnTo>
                            <a:pt x="478410" y="626028"/>
                          </a:lnTo>
                          <a:lnTo>
                            <a:pt x="478410" y="623778"/>
                          </a:lnTo>
                          <a:lnTo>
                            <a:pt x="478410" y="621528"/>
                          </a:lnTo>
                          <a:lnTo>
                            <a:pt x="483810" y="617027"/>
                          </a:lnTo>
                          <a:lnTo>
                            <a:pt x="482910" y="613877"/>
                          </a:lnTo>
                          <a:lnTo>
                            <a:pt x="478860" y="602625"/>
                          </a:lnTo>
                          <a:lnTo>
                            <a:pt x="477960" y="596325"/>
                          </a:lnTo>
                          <a:lnTo>
                            <a:pt x="477960" y="594074"/>
                          </a:lnTo>
                          <a:lnTo>
                            <a:pt x="480660" y="590474"/>
                          </a:lnTo>
                          <a:lnTo>
                            <a:pt x="484261" y="590474"/>
                          </a:lnTo>
                          <a:lnTo>
                            <a:pt x="493712" y="591374"/>
                          </a:lnTo>
                          <a:lnTo>
                            <a:pt x="498212" y="592724"/>
                          </a:lnTo>
                          <a:lnTo>
                            <a:pt x="502713" y="595425"/>
                          </a:lnTo>
                          <a:lnTo>
                            <a:pt x="507663" y="599475"/>
                          </a:lnTo>
                          <a:lnTo>
                            <a:pt x="514864" y="603075"/>
                          </a:lnTo>
                          <a:lnTo>
                            <a:pt x="517115" y="605326"/>
                          </a:lnTo>
                          <a:lnTo>
                            <a:pt x="521615" y="612977"/>
                          </a:lnTo>
                          <a:lnTo>
                            <a:pt x="522065" y="615227"/>
                          </a:lnTo>
                          <a:lnTo>
                            <a:pt x="521615" y="617477"/>
                          </a:lnTo>
                          <a:lnTo>
                            <a:pt x="522965" y="619278"/>
                          </a:lnTo>
                          <a:close/>
                          <a:moveTo>
                            <a:pt x="230429" y="641330"/>
                          </a:moveTo>
                          <a:lnTo>
                            <a:pt x="230429" y="602625"/>
                          </a:lnTo>
                          <a:lnTo>
                            <a:pt x="231779" y="603526"/>
                          </a:lnTo>
                          <a:lnTo>
                            <a:pt x="234479" y="606676"/>
                          </a:lnTo>
                          <a:lnTo>
                            <a:pt x="238080" y="612977"/>
                          </a:lnTo>
                          <a:lnTo>
                            <a:pt x="239430" y="612977"/>
                          </a:lnTo>
                          <a:lnTo>
                            <a:pt x="241230" y="614327"/>
                          </a:lnTo>
                          <a:lnTo>
                            <a:pt x="242130" y="616127"/>
                          </a:lnTo>
                          <a:lnTo>
                            <a:pt x="244380" y="624228"/>
                          </a:lnTo>
                          <a:lnTo>
                            <a:pt x="244831" y="628279"/>
                          </a:lnTo>
                          <a:lnTo>
                            <a:pt x="244831" y="633229"/>
                          </a:lnTo>
                          <a:lnTo>
                            <a:pt x="244380" y="637280"/>
                          </a:lnTo>
                          <a:lnTo>
                            <a:pt x="243480" y="640430"/>
                          </a:lnTo>
                          <a:lnTo>
                            <a:pt x="241680" y="642680"/>
                          </a:lnTo>
                          <a:lnTo>
                            <a:pt x="236730" y="644031"/>
                          </a:lnTo>
                          <a:lnTo>
                            <a:pt x="230429" y="641330"/>
                          </a:lnTo>
                          <a:close/>
                          <a:moveTo>
                            <a:pt x="378947" y="659783"/>
                          </a:moveTo>
                          <a:lnTo>
                            <a:pt x="376697" y="662033"/>
                          </a:lnTo>
                          <a:lnTo>
                            <a:pt x="373997" y="660683"/>
                          </a:lnTo>
                          <a:lnTo>
                            <a:pt x="373547" y="659333"/>
                          </a:lnTo>
                          <a:lnTo>
                            <a:pt x="373547" y="657982"/>
                          </a:lnTo>
                          <a:lnTo>
                            <a:pt x="373997" y="656182"/>
                          </a:lnTo>
                          <a:lnTo>
                            <a:pt x="377147" y="649881"/>
                          </a:lnTo>
                          <a:lnTo>
                            <a:pt x="379847" y="647631"/>
                          </a:lnTo>
                          <a:lnTo>
                            <a:pt x="381648" y="647181"/>
                          </a:lnTo>
                          <a:lnTo>
                            <a:pt x="382998" y="649431"/>
                          </a:lnTo>
                          <a:lnTo>
                            <a:pt x="383898" y="652582"/>
                          </a:lnTo>
                          <a:lnTo>
                            <a:pt x="378947" y="659783"/>
                          </a:lnTo>
                          <a:close/>
                          <a:moveTo>
                            <a:pt x="230429" y="681835"/>
                          </a:moveTo>
                          <a:lnTo>
                            <a:pt x="230429" y="665633"/>
                          </a:lnTo>
                          <a:lnTo>
                            <a:pt x="237630" y="666533"/>
                          </a:lnTo>
                          <a:lnTo>
                            <a:pt x="238530" y="666983"/>
                          </a:lnTo>
                          <a:lnTo>
                            <a:pt x="238530" y="668784"/>
                          </a:lnTo>
                          <a:lnTo>
                            <a:pt x="237180" y="674634"/>
                          </a:lnTo>
                          <a:lnTo>
                            <a:pt x="235379" y="678685"/>
                          </a:lnTo>
                          <a:lnTo>
                            <a:pt x="230429" y="681835"/>
                          </a:lnTo>
                          <a:close/>
                          <a:moveTo>
                            <a:pt x="406401" y="705238"/>
                          </a:moveTo>
                          <a:lnTo>
                            <a:pt x="403700" y="706138"/>
                          </a:lnTo>
                          <a:lnTo>
                            <a:pt x="398300" y="705688"/>
                          </a:lnTo>
                          <a:lnTo>
                            <a:pt x="391999" y="702088"/>
                          </a:lnTo>
                          <a:lnTo>
                            <a:pt x="390199" y="698037"/>
                          </a:lnTo>
                          <a:lnTo>
                            <a:pt x="389749" y="691287"/>
                          </a:lnTo>
                          <a:lnTo>
                            <a:pt x="389749" y="687686"/>
                          </a:lnTo>
                          <a:lnTo>
                            <a:pt x="390199" y="686786"/>
                          </a:lnTo>
                          <a:lnTo>
                            <a:pt x="394249" y="685886"/>
                          </a:lnTo>
                          <a:lnTo>
                            <a:pt x="401450" y="684986"/>
                          </a:lnTo>
                          <a:lnTo>
                            <a:pt x="407301" y="685886"/>
                          </a:lnTo>
                          <a:lnTo>
                            <a:pt x="414052" y="689936"/>
                          </a:lnTo>
                          <a:lnTo>
                            <a:pt x="416752" y="692187"/>
                          </a:lnTo>
                          <a:lnTo>
                            <a:pt x="418102" y="693987"/>
                          </a:lnTo>
                          <a:lnTo>
                            <a:pt x="419902" y="697587"/>
                          </a:lnTo>
                          <a:lnTo>
                            <a:pt x="420353" y="698938"/>
                          </a:lnTo>
                          <a:lnTo>
                            <a:pt x="420803" y="701638"/>
                          </a:lnTo>
                          <a:lnTo>
                            <a:pt x="412252" y="702088"/>
                          </a:lnTo>
                          <a:lnTo>
                            <a:pt x="408201" y="702988"/>
                          </a:lnTo>
                          <a:lnTo>
                            <a:pt x="406401" y="705238"/>
                          </a:lnTo>
                          <a:close/>
                          <a:moveTo>
                            <a:pt x="538267" y="695787"/>
                          </a:moveTo>
                          <a:lnTo>
                            <a:pt x="543668" y="699838"/>
                          </a:lnTo>
                          <a:lnTo>
                            <a:pt x="549519" y="697587"/>
                          </a:lnTo>
                          <a:lnTo>
                            <a:pt x="555820" y="697587"/>
                          </a:lnTo>
                          <a:lnTo>
                            <a:pt x="569771" y="699388"/>
                          </a:lnTo>
                          <a:lnTo>
                            <a:pt x="578772" y="698487"/>
                          </a:lnTo>
                          <a:lnTo>
                            <a:pt x="581023" y="698938"/>
                          </a:lnTo>
                          <a:lnTo>
                            <a:pt x="584623" y="701188"/>
                          </a:lnTo>
                          <a:lnTo>
                            <a:pt x="586423" y="704338"/>
                          </a:lnTo>
                          <a:lnTo>
                            <a:pt x="588223" y="709289"/>
                          </a:lnTo>
                          <a:lnTo>
                            <a:pt x="583723" y="712439"/>
                          </a:lnTo>
                          <a:lnTo>
                            <a:pt x="579672" y="727741"/>
                          </a:lnTo>
                          <a:lnTo>
                            <a:pt x="579222" y="728641"/>
                          </a:lnTo>
                          <a:lnTo>
                            <a:pt x="575172" y="728641"/>
                          </a:lnTo>
                          <a:lnTo>
                            <a:pt x="572922" y="729991"/>
                          </a:lnTo>
                          <a:lnTo>
                            <a:pt x="560770" y="727741"/>
                          </a:lnTo>
                          <a:lnTo>
                            <a:pt x="527466" y="726841"/>
                          </a:lnTo>
                          <a:lnTo>
                            <a:pt x="526116" y="725041"/>
                          </a:lnTo>
                          <a:lnTo>
                            <a:pt x="521615" y="716040"/>
                          </a:lnTo>
                          <a:lnTo>
                            <a:pt x="521165" y="712439"/>
                          </a:lnTo>
                          <a:lnTo>
                            <a:pt x="522065" y="708389"/>
                          </a:lnTo>
                          <a:lnTo>
                            <a:pt x="522965" y="705688"/>
                          </a:lnTo>
                          <a:lnTo>
                            <a:pt x="523865" y="704338"/>
                          </a:lnTo>
                          <a:lnTo>
                            <a:pt x="533767" y="697587"/>
                          </a:lnTo>
                          <a:lnTo>
                            <a:pt x="538267" y="695787"/>
                          </a:lnTo>
                          <a:close/>
                          <a:moveTo>
                            <a:pt x="345643" y="759245"/>
                          </a:moveTo>
                          <a:lnTo>
                            <a:pt x="342493" y="761045"/>
                          </a:lnTo>
                          <a:lnTo>
                            <a:pt x="336192" y="756995"/>
                          </a:lnTo>
                          <a:lnTo>
                            <a:pt x="332141" y="755195"/>
                          </a:lnTo>
                          <a:lnTo>
                            <a:pt x="328541" y="748444"/>
                          </a:lnTo>
                          <a:lnTo>
                            <a:pt x="324941" y="738992"/>
                          </a:lnTo>
                          <a:lnTo>
                            <a:pt x="321790" y="728641"/>
                          </a:lnTo>
                          <a:lnTo>
                            <a:pt x="320890" y="722340"/>
                          </a:lnTo>
                          <a:lnTo>
                            <a:pt x="318640" y="718740"/>
                          </a:lnTo>
                          <a:lnTo>
                            <a:pt x="317740" y="712439"/>
                          </a:lnTo>
                          <a:lnTo>
                            <a:pt x="313689" y="702538"/>
                          </a:lnTo>
                          <a:lnTo>
                            <a:pt x="314139" y="701188"/>
                          </a:lnTo>
                          <a:lnTo>
                            <a:pt x="317740" y="699838"/>
                          </a:lnTo>
                          <a:lnTo>
                            <a:pt x="323590" y="701638"/>
                          </a:lnTo>
                          <a:lnTo>
                            <a:pt x="326291" y="705238"/>
                          </a:lnTo>
                          <a:lnTo>
                            <a:pt x="329891" y="711089"/>
                          </a:lnTo>
                          <a:lnTo>
                            <a:pt x="334392" y="720540"/>
                          </a:lnTo>
                          <a:lnTo>
                            <a:pt x="335742" y="724591"/>
                          </a:lnTo>
                          <a:lnTo>
                            <a:pt x="336192" y="729991"/>
                          </a:lnTo>
                          <a:lnTo>
                            <a:pt x="337092" y="733142"/>
                          </a:lnTo>
                          <a:lnTo>
                            <a:pt x="341143" y="733592"/>
                          </a:lnTo>
                          <a:lnTo>
                            <a:pt x="346093" y="740793"/>
                          </a:lnTo>
                          <a:lnTo>
                            <a:pt x="346993" y="743493"/>
                          </a:lnTo>
                          <a:lnTo>
                            <a:pt x="347893" y="749344"/>
                          </a:lnTo>
                          <a:lnTo>
                            <a:pt x="347893" y="752044"/>
                          </a:lnTo>
                          <a:lnTo>
                            <a:pt x="346993" y="757445"/>
                          </a:lnTo>
                          <a:lnTo>
                            <a:pt x="345643" y="759245"/>
                          </a:lnTo>
                          <a:close/>
                          <a:moveTo>
                            <a:pt x="657982" y="747094"/>
                          </a:moveTo>
                          <a:lnTo>
                            <a:pt x="652582" y="752494"/>
                          </a:lnTo>
                          <a:lnTo>
                            <a:pt x="649881" y="752494"/>
                          </a:lnTo>
                          <a:lnTo>
                            <a:pt x="633679" y="741243"/>
                          </a:lnTo>
                          <a:lnTo>
                            <a:pt x="630529" y="735842"/>
                          </a:lnTo>
                          <a:lnTo>
                            <a:pt x="630079" y="732242"/>
                          </a:lnTo>
                          <a:lnTo>
                            <a:pt x="630079" y="726841"/>
                          </a:lnTo>
                          <a:lnTo>
                            <a:pt x="630079" y="719190"/>
                          </a:lnTo>
                          <a:lnTo>
                            <a:pt x="630979" y="714239"/>
                          </a:lnTo>
                          <a:lnTo>
                            <a:pt x="631879" y="712439"/>
                          </a:lnTo>
                          <a:lnTo>
                            <a:pt x="633679" y="710639"/>
                          </a:lnTo>
                          <a:lnTo>
                            <a:pt x="637280" y="709739"/>
                          </a:lnTo>
                          <a:lnTo>
                            <a:pt x="640880" y="710189"/>
                          </a:lnTo>
                          <a:lnTo>
                            <a:pt x="646281" y="711989"/>
                          </a:lnTo>
                          <a:lnTo>
                            <a:pt x="651681" y="715139"/>
                          </a:lnTo>
                          <a:lnTo>
                            <a:pt x="658882" y="725491"/>
                          </a:lnTo>
                          <a:lnTo>
                            <a:pt x="661583" y="730441"/>
                          </a:lnTo>
                          <a:lnTo>
                            <a:pt x="662033" y="736742"/>
                          </a:lnTo>
                          <a:lnTo>
                            <a:pt x="662033" y="740343"/>
                          </a:lnTo>
                          <a:lnTo>
                            <a:pt x="661583" y="743043"/>
                          </a:lnTo>
                          <a:lnTo>
                            <a:pt x="660683" y="744843"/>
                          </a:lnTo>
                          <a:lnTo>
                            <a:pt x="657982" y="747094"/>
                          </a:lnTo>
                          <a:close/>
                          <a:moveTo>
                            <a:pt x="563470" y="780848"/>
                          </a:moveTo>
                          <a:lnTo>
                            <a:pt x="567521" y="781748"/>
                          </a:lnTo>
                          <a:lnTo>
                            <a:pt x="571121" y="780398"/>
                          </a:lnTo>
                          <a:lnTo>
                            <a:pt x="573822" y="780848"/>
                          </a:lnTo>
                          <a:lnTo>
                            <a:pt x="578322" y="784448"/>
                          </a:lnTo>
                          <a:lnTo>
                            <a:pt x="582373" y="790299"/>
                          </a:lnTo>
                          <a:lnTo>
                            <a:pt x="585523" y="792999"/>
                          </a:lnTo>
                          <a:lnTo>
                            <a:pt x="586423" y="794349"/>
                          </a:lnTo>
                          <a:lnTo>
                            <a:pt x="586873" y="795700"/>
                          </a:lnTo>
                          <a:lnTo>
                            <a:pt x="587323" y="800200"/>
                          </a:lnTo>
                          <a:lnTo>
                            <a:pt x="587323" y="802000"/>
                          </a:lnTo>
                          <a:lnTo>
                            <a:pt x="587323" y="803801"/>
                          </a:lnTo>
                          <a:lnTo>
                            <a:pt x="585973" y="807851"/>
                          </a:lnTo>
                          <a:lnTo>
                            <a:pt x="584623" y="812802"/>
                          </a:lnTo>
                          <a:lnTo>
                            <a:pt x="582373" y="816852"/>
                          </a:lnTo>
                          <a:lnTo>
                            <a:pt x="581023" y="820003"/>
                          </a:lnTo>
                          <a:lnTo>
                            <a:pt x="580123" y="824053"/>
                          </a:lnTo>
                          <a:lnTo>
                            <a:pt x="582373" y="821803"/>
                          </a:lnTo>
                          <a:lnTo>
                            <a:pt x="591374" y="808301"/>
                          </a:lnTo>
                          <a:lnTo>
                            <a:pt x="597225" y="810101"/>
                          </a:lnTo>
                          <a:lnTo>
                            <a:pt x="606226" y="808751"/>
                          </a:lnTo>
                          <a:lnTo>
                            <a:pt x="617027" y="803351"/>
                          </a:lnTo>
                          <a:lnTo>
                            <a:pt x="621978" y="802450"/>
                          </a:lnTo>
                          <a:lnTo>
                            <a:pt x="626928" y="802900"/>
                          </a:lnTo>
                          <a:lnTo>
                            <a:pt x="630979" y="804701"/>
                          </a:lnTo>
                          <a:lnTo>
                            <a:pt x="639080" y="811902"/>
                          </a:lnTo>
                          <a:lnTo>
                            <a:pt x="641780" y="815502"/>
                          </a:lnTo>
                          <a:lnTo>
                            <a:pt x="642680" y="818202"/>
                          </a:lnTo>
                          <a:lnTo>
                            <a:pt x="643130" y="820003"/>
                          </a:lnTo>
                          <a:lnTo>
                            <a:pt x="641330" y="822703"/>
                          </a:lnTo>
                          <a:lnTo>
                            <a:pt x="636380" y="820903"/>
                          </a:lnTo>
                          <a:lnTo>
                            <a:pt x="627829" y="819553"/>
                          </a:lnTo>
                          <a:lnTo>
                            <a:pt x="626478" y="818652"/>
                          </a:lnTo>
                          <a:lnTo>
                            <a:pt x="625128" y="818652"/>
                          </a:lnTo>
                          <a:lnTo>
                            <a:pt x="624228" y="819553"/>
                          </a:lnTo>
                          <a:lnTo>
                            <a:pt x="624678" y="823603"/>
                          </a:lnTo>
                          <a:lnTo>
                            <a:pt x="626478" y="824503"/>
                          </a:lnTo>
                          <a:lnTo>
                            <a:pt x="636830" y="825403"/>
                          </a:lnTo>
                          <a:lnTo>
                            <a:pt x="670134" y="837555"/>
                          </a:lnTo>
                          <a:lnTo>
                            <a:pt x="671484" y="841605"/>
                          </a:lnTo>
                          <a:lnTo>
                            <a:pt x="671034" y="843406"/>
                          </a:lnTo>
                          <a:lnTo>
                            <a:pt x="669684" y="845206"/>
                          </a:lnTo>
                          <a:lnTo>
                            <a:pt x="667433" y="847906"/>
                          </a:lnTo>
                          <a:lnTo>
                            <a:pt x="648081" y="850606"/>
                          </a:lnTo>
                          <a:lnTo>
                            <a:pt x="637280" y="848356"/>
                          </a:lnTo>
                          <a:lnTo>
                            <a:pt x="628279" y="844306"/>
                          </a:lnTo>
                          <a:lnTo>
                            <a:pt x="625128" y="845206"/>
                          </a:lnTo>
                          <a:lnTo>
                            <a:pt x="627829" y="850606"/>
                          </a:lnTo>
                          <a:lnTo>
                            <a:pt x="633229" y="852407"/>
                          </a:lnTo>
                          <a:lnTo>
                            <a:pt x="637730" y="855557"/>
                          </a:lnTo>
                          <a:lnTo>
                            <a:pt x="639530" y="858257"/>
                          </a:lnTo>
                          <a:lnTo>
                            <a:pt x="649431" y="860058"/>
                          </a:lnTo>
                          <a:lnTo>
                            <a:pt x="651231" y="862308"/>
                          </a:lnTo>
                          <a:lnTo>
                            <a:pt x="654382" y="867709"/>
                          </a:lnTo>
                          <a:lnTo>
                            <a:pt x="657082" y="868159"/>
                          </a:lnTo>
                          <a:lnTo>
                            <a:pt x="659783" y="871759"/>
                          </a:lnTo>
                          <a:lnTo>
                            <a:pt x="662033" y="878060"/>
                          </a:lnTo>
                          <a:lnTo>
                            <a:pt x="662933" y="878960"/>
                          </a:lnTo>
                          <a:lnTo>
                            <a:pt x="666083" y="878060"/>
                          </a:lnTo>
                          <a:lnTo>
                            <a:pt x="671034" y="883461"/>
                          </a:lnTo>
                          <a:lnTo>
                            <a:pt x="672384" y="886161"/>
                          </a:lnTo>
                          <a:lnTo>
                            <a:pt x="672384" y="888411"/>
                          </a:lnTo>
                          <a:lnTo>
                            <a:pt x="671484" y="891562"/>
                          </a:lnTo>
                          <a:lnTo>
                            <a:pt x="669234" y="896062"/>
                          </a:lnTo>
                          <a:lnTo>
                            <a:pt x="663833" y="901463"/>
                          </a:lnTo>
                          <a:lnTo>
                            <a:pt x="663383" y="903263"/>
                          </a:lnTo>
                          <a:lnTo>
                            <a:pt x="670134" y="902813"/>
                          </a:lnTo>
                          <a:lnTo>
                            <a:pt x="671484" y="903713"/>
                          </a:lnTo>
                          <a:lnTo>
                            <a:pt x="679135" y="913164"/>
                          </a:lnTo>
                          <a:lnTo>
                            <a:pt x="680035" y="913164"/>
                          </a:lnTo>
                          <a:lnTo>
                            <a:pt x="680485" y="912264"/>
                          </a:lnTo>
                          <a:lnTo>
                            <a:pt x="681385" y="909114"/>
                          </a:lnTo>
                          <a:lnTo>
                            <a:pt x="680935" y="905963"/>
                          </a:lnTo>
                          <a:lnTo>
                            <a:pt x="680035" y="901913"/>
                          </a:lnTo>
                          <a:lnTo>
                            <a:pt x="680485" y="898762"/>
                          </a:lnTo>
                          <a:lnTo>
                            <a:pt x="681835" y="896962"/>
                          </a:lnTo>
                          <a:lnTo>
                            <a:pt x="683185" y="896062"/>
                          </a:lnTo>
                          <a:lnTo>
                            <a:pt x="684536" y="896062"/>
                          </a:lnTo>
                          <a:lnTo>
                            <a:pt x="686336" y="897412"/>
                          </a:lnTo>
                          <a:lnTo>
                            <a:pt x="693987" y="908664"/>
                          </a:lnTo>
                          <a:lnTo>
                            <a:pt x="703888" y="903263"/>
                          </a:lnTo>
                          <a:lnTo>
                            <a:pt x="705688" y="905513"/>
                          </a:lnTo>
                          <a:lnTo>
                            <a:pt x="707038" y="910014"/>
                          </a:lnTo>
                          <a:lnTo>
                            <a:pt x="707938" y="910914"/>
                          </a:lnTo>
                          <a:lnTo>
                            <a:pt x="711539" y="901913"/>
                          </a:lnTo>
                          <a:lnTo>
                            <a:pt x="713789" y="899663"/>
                          </a:lnTo>
                          <a:lnTo>
                            <a:pt x="723240" y="910464"/>
                          </a:lnTo>
                          <a:lnTo>
                            <a:pt x="729091" y="912714"/>
                          </a:lnTo>
                          <a:lnTo>
                            <a:pt x="731341" y="914965"/>
                          </a:lnTo>
                          <a:lnTo>
                            <a:pt x="735392" y="917665"/>
                          </a:lnTo>
                          <a:lnTo>
                            <a:pt x="741243" y="918565"/>
                          </a:lnTo>
                          <a:lnTo>
                            <a:pt x="742143" y="914514"/>
                          </a:lnTo>
                          <a:lnTo>
                            <a:pt x="738542" y="909564"/>
                          </a:lnTo>
                          <a:lnTo>
                            <a:pt x="740793" y="907314"/>
                          </a:lnTo>
                          <a:lnTo>
                            <a:pt x="748894" y="902813"/>
                          </a:lnTo>
                          <a:lnTo>
                            <a:pt x="753394" y="903263"/>
                          </a:lnTo>
                          <a:lnTo>
                            <a:pt x="761495" y="896962"/>
                          </a:lnTo>
                          <a:lnTo>
                            <a:pt x="766446" y="896062"/>
                          </a:lnTo>
                          <a:lnTo>
                            <a:pt x="769596" y="896062"/>
                          </a:lnTo>
                          <a:lnTo>
                            <a:pt x="779497" y="886611"/>
                          </a:lnTo>
                          <a:lnTo>
                            <a:pt x="781748" y="885261"/>
                          </a:lnTo>
                          <a:lnTo>
                            <a:pt x="783548" y="881660"/>
                          </a:lnTo>
                          <a:lnTo>
                            <a:pt x="787598" y="882110"/>
                          </a:lnTo>
                          <a:lnTo>
                            <a:pt x="798400" y="887511"/>
                          </a:lnTo>
                          <a:lnTo>
                            <a:pt x="801550" y="887061"/>
                          </a:lnTo>
                          <a:lnTo>
                            <a:pt x="812802" y="881660"/>
                          </a:lnTo>
                          <a:lnTo>
                            <a:pt x="816852" y="880310"/>
                          </a:lnTo>
                          <a:lnTo>
                            <a:pt x="820903" y="880310"/>
                          </a:lnTo>
                          <a:lnTo>
                            <a:pt x="831704" y="883461"/>
                          </a:lnTo>
                          <a:lnTo>
                            <a:pt x="839805" y="886611"/>
                          </a:lnTo>
                          <a:lnTo>
                            <a:pt x="842505" y="888411"/>
                          </a:lnTo>
                          <a:lnTo>
                            <a:pt x="841605" y="892912"/>
                          </a:lnTo>
                          <a:lnTo>
                            <a:pt x="842055" y="894262"/>
                          </a:lnTo>
                          <a:lnTo>
                            <a:pt x="842955" y="895162"/>
                          </a:lnTo>
                          <a:lnTo>
                            <a:pt x="845656" y="896512"/>
                          </a:lnTo>
                          <a:lnTo>
                            <a:pt x="855557" y="896512"/>
                          </a:lnTo>
                          <a:lnTo>
                            <a:pt x="860058" y="897412"/>
                          </a:lnTo>
                          <a:lnTo>
                            <a:pt x="863658" y="901463"/>
                          </a:lnTo>
                          <a:lnTo>
                            <a:pt x="864558" y="903263"/>
                          </a:lnTo>
                          <a:lnTo>
                            <a:pt x="864558" y="905063"/>
                          </a:lnTo>
                          <a:lnTo>
                            <a:pt x="860958" y="909564"/>
                          </a:lnTo>
                          <a:lnTo>
                            <a:pt x="861408" y="910464"/>
                          </a:lnTo>
                          <a:lnTo>
                            <a:pt x="865008" y="911364"/>
                          </a:lnTo>
                          <a:lnTo>
                            <a:pt x="872659" y="911814"/>
                          </a:lnTo>
                          <a:lnTo>
                            <a:pt x="874459" y="912714"/>
                          </a:lnTo>
                          <a:lnTo>
                            <a:pt x="876259" y="918115"/>
                          </a:lnTo>
                          <a:lnTo>
                            <a:pt x="878060" y="925766"/>
                          </a:lnTo>
                          <a:lnTo>
                            <a:pt x="878060" y="928916"/>
                          </a:lnTo>
                          <a:lnTo>
                            <a:pt x="875359" y="933867"/>
                          </a:lnTo>
                          <a:lnTo>
                            <a:pt x="868159" y="940618"/>
                          </a:lnTo>
                          <a:lnTo>
                            <a:pt x="860058" y="946018"/>
                          </a:lnTo>
                          <a:lnTo>
                            <a:pt x="859607" y="947369"/>
                          </a:lnTo>
                          <a:lnTo>
                            <a:pt x="862308" y="950069"/>
                          </a:lnTo>
                          <a:lnTo>
                            <a:pt x="865008" y="951419"/>
                          </a:lnTo>
                          <a:lnTo>
                            <a:pt x="867258" y="950969"/>
                          </a:lnTo>
                          <a:lnTo>
                            <a:pt x="873559" y="948269"/>
                          </a:lnTo>
                          <a:lnTo>
                            <a:pt x="874909" y="948269"/>
                          </a:lnTo>
                          <a:lnTo>
                            <a:pt x="878060" y="950969"/>
                          </a:lnTo>
                          <a:lnTo>
                            <a:pt x="879410" y="953669"/>
                          </a:lnTo>
                          <a:lnTo>
                            <a:pt x="880760" y="956820"/>
                          </a:lnTo>
                          <a:lnTo>
                            <a:pt x="878510" y="959970"/>
                          </a:lnTo>
                          <a:lnTo>
                            <a:pt x="869059" y="963571"/>
                          </a:lnTo>
                          <a:lnTo>
                            <a:pt x="863658" y="958620"/>
                          </a:lnTo>
                          <a:lnTo>
                            <a:pt x="861858" y="957720"/>
                          </a:lnTo>
                          <a:lnTo>
                            <a:pt x="860507" y="958170"/>
                          </a:lnTo>
                          <a:lnTo>
                            <a:pt x="861408" y="960420"/>
                          </a:lnTo>
                          <a:lnTo>
                            <a:pt x="864108" y="964471"/>
                          </a:lnTo>
                          <a:lnTo>
                            <a:pt x="865008" y="967171"/>
                          </a:lnTo>
                          <a:lnTo>
                            <a:pt x="864108" y="968521"/>
                          </a:lnTo>
                          <a:lnTo>
                            <a:pt x="863658" y="971222"/>
                          </a:lnTo>
                          <a:lnTo>
                            <a:pt x="863658" y="974822"/>
                          </a:lnTo>
                          <a:lnTo>
                            <a:pt x="863658" y="978422"/>
                          </a:lnTo>
                          <a:lnTo>
                            <a:pt x="862758" y="984273"/>
                          </a:lnTo>
                          <a:lnTo>
                            <a:pt x="862308" y="984723"/>
                          </a:lnTo>
                          <a:lnTo>
                            <a:pt x="842055" y="986073"/>
                          </a:lnTo>
                          <a:lnTo>
                            <a:pt x="839805" y="986974"/>
                          </a:lnTo>
                          <a:lnTo>
                            <a:pt x="833954" y="991024"/>
                          </a:lnTo>
                          <a:lnTo>
                            <a:pt x="829454" y="993274"/>
                          </a:lnTo>
                          <a:lnTo>
                            <a:pt x="826753" y="993724"/>
                          </a:lnTo>
                          <a:lnTo>
                            <a:pt x="824053" y="992824"/>
                          </a:lnTo>
                          <a:lnTo>
                            <a:pt x="816852" y="988774"/>
                          </a:lnTo>
                          <a:lnTo>
                            <a:pt x="811901" y="989674"/>
                          </a:lnTo>
                          <a:lnTo>
                            <a:pt x="810101" y="989224"/>
                          </a:lnTo>
                          <a:lnTo>
                            <a:pt x="806051" y="986523"/>
                          </a:lnTo>
                          <a:lnTo>
                            <a:pt x="805151" y="985173"/>
                          </a:lnTo>
                          <a:lnTo>
                            <a:pt x="803350" y="981573"/>
                          </a:lnTo>
                          <a:lnTo>
                            <a:pt x="802000" y="976622"/>
                          </a:lnTo>
                          <a:lnTo>
                            <a:pt x="802000" y="973472"/>
                          </a:lnTo>
                          <a:lnTo>
                            <a:pt x="802450" y="968971"/>
                          </a:lnTo>
                          <a:lnTo>
                            <a:pt x="800650" y="963121"/>
                          </a:lnTo>
                          <a:lnTo>
                            <a:pt x="799300" y="963121"/>
                          </a:lnTo>
                          <a:lnTo>
                            <a:pt x="797950" y="962220"/>
                          </a:lnTo>
                          <a:lnTo>
                            <a:pt x="793899" y="957720"/>
                          </a:lnTo>
                          <a:lnTo>
                            <a:pt x="791649" y="956370"/>
                          </a:lnTo>
                          <a:lnTo>
                            <a:pt x="791199" y="957270"/>
                          </a:lnTo>
                          <a:lnTo>
                            <a:pt x="792099" y="960870"/>
                          </a:lnTo>
                          <a:lnTo>
                            <a:pt x="792549" y="962220"/>
                          </a:lnTo>
                          <a:lnTo>
                            <a:pt x="795249" y="964921"/>
                          </a:lnTo>
                          <a:lnTo>
                            <a:pt x="795699" y="968071"/>
                          </a:lnTo>
                          <a:lnTo>
                            <a:pt x="794799" y="975722"/>
                          </a:lnTo>
                          <a:lnTo>
                            <a:pt x="794349" y="977072"/>
                          </a:lnTo>
                          <a:lnTo>
                            <a:pt x="791649" y="982473"/>
                          </a:lnTo>
                          <a:lnTo>
                            <a:pt x="789849" y="984273"/>
                          </a:lnTo>
                          <a:lnTo>
                            <a:pt x="784448" y="984273"/>
                          </a:lnTo>
                          <a:lnTo>
                            <a:pt x="776347" y="988324"/>
                          </a:lnTo>
                          <a:lnTo>
                            <a:pt x="772297" y="988774"/>
                          </a:lnTo>
                          <a:lnTo>
                            <a:pt x="767346" y="987874"/>
                          </a:lnTo>
                          <a:lnTo>
                            <a:pt x="764195" y="986073"/>
                          </a:lnTo>
                          <a:lnTo>
                            <a:pt x="761945" y="983823"/>
                          </a:lnTo>
                          <a:lnTo>
                            <a:pt x="760145" y="981123"/>
                          </a:lnTo>
                          <a:lnTo>
                            <a:pt x="759245" y="981123"/>
                          </a:lnTo>
                          <a:lnTo>
                            <a:pt x="758795" y="987424"/>
                          </a:lnTo>
                          <a:lnTo>
                            <a:pt x="757895" y="988324"/>
                          </a:lnTo>
                          <a:lnTo>
                            <a:pt x="756095" y="988324"/>
                          </a:lnTo>
                          <a:lnTo>
                            <a:pt x="753394" y="986523"/>
                          </a:lnTo>
                          <a:lnTo>
                            <a:pt x="751144" y="982023"/>
                          </a:lnTo>
                          <a:lnTo>
                            <a:pt x="750244" y="982023"/>
                          </a:lnTo>
                          <a:lnTo>
                            <a:pt x="749794" y="984723"/>
                          </a:lnTo>
                          <a:lnTo>
                            <a:pt x="749344" y="986523"/>
                          </a:lnTo>
                          <a:lnTo>
                            <a:pt x="748894" y="987424"/>
                          </a:lnTo>
                          <a:lnTo>
                            <a:pt x="743493" y="990124"/>
                          </a:lnTo>
                          <a:lnTo>
                            <a:pt x="740343" y="990124"/>
                          </a:lnTo>
                          <a:lnTo>
                            <a:pt x="737192" y="986974"/>
                          </a:lnTo>
                          <a:lnTo>
                            <a:pt x="734942" y="987424"/>
                          </a:lnTo>
                          <a:lnTo>
                            <a:pt x="732241" y="989224"/>
                          </a:lnTo>
                          <a:lnTo>
                            <a:pt x="725491" y="986073"/>
                          </a:lnTo>
                          <a:lnTo>
                            <a:pt x="723690" y="986073"/>
                          </a:lnTo>
                          <a:lnTo>
                            <a:pt x="725041" y="991474"/>
                          </a:lnTo>
                          <a:lnTo>
                            <a:pt x="722790" y="992374"/>
                          </a:lnTo>
                          <a:lnTo>
                            <a:pt x="717840" y="992374"/>
                          </a:lnTo>
                          <a:lnTo>
                            <a:pt x="710189" y="990574"/>
                          </a:lnTo>
                          <a:lnTo>
                            <a:pt x="705238" y="993274"/>
                          </a:lnTo>
                          <a:lnTo>
                            <a:pt x="696687" y="991924"/>
                          </a:lnTo>
                          <a:lnTo>
                            <a:pt x="687686" y="991474"/>
                          </a:lnTo>
                          <a:lnTo>
                            <a:pt x="685886" y="990124"/>
                          </a:lnTo>
                          <a:lnTo>
                            <a:pt x="684536" y="987424"/>
                          </a:lnTo>
                          <a:lnTo>
                            <a:pt x="684536" y="985173"/>
                          </a:lnTo>
                          <a:lnTo>
                            <a:pt x="684986" y="982023"/>
                          </a:lnTo>
                          <a:lnTo>
                            <a:pt x="686336" y="977522"/>
                          </a:lnTo>
                          <a:lnTo>
                            <a:pt x="688586" y="971222"/>
                          </a:lnTo>
                          <a:lnTo>
                            <a:pt x="689486" y="968071"/>
                          </a:lnTo>
                          <a:lnTo>
                            <a:pt x="687686" y="966721"/>
                          </a:lnTo>
                          <a:lnTo>
                            <a:pt x="686336" y="964471"/>
                          </a:lnTo>
                          <a:lnTo>
                            <a:pt x="685436" y="964021"/>
                          </a:lnTo>
                          <a:lnTo>
                            <a:pt x="682285" y="966271"/>
                          </a:lnTo>
                          <a:lnTo>
                            <a:pt x="680035" y="973472"/>
                          </a:lnTo>
                          <a:lnTo>
                            <a:pt x="678685" y="975722"/>
                          </a:lnTo>
                          <a:lnTo>
                            <a:pt x="677785" y="973922"/>
                          </a:lnTo>
                          <a:lnTo>
                            <a:pt x="677335" y="969871"/>
                          </a:lnTo>
                          <a:lnTo>
                            <a:pt x="676435" y="967621"/>
                          </a:lnTo>
                          <a:lnTo>
                            <a:pt x="675534" y="967621"/>
                          </a:lnTo>
                          <a:lnTo>
                            <a:pt x="674634" y="968971"/>
                          </a:lnTo>
                          <a:lnTo>
                            <a:pt x="673734" y="971222"/>
                          </a:lnTo>
                          <a:lnTo>
                            <a:pt x="672384" y="972122"/>
                          </a:lnTo>
                          <a:lnTo>
                            <a:pt x="670584" y="971672"/>
                          </a:lnTo>
                          <a:lnTo>
                            <a:pt x="670134" y="972572"/>
                          </a:lnTo>
                          <a:lnTo>
                            <a:pt x="670584" y="975272"/>
                          </a:lnTo>
                          <a:lnTo>
                            <a:pt x="670584" y="977972"/>
                          </a:lnTo>
                          <a:lnTo>
                            <a:pt x="670584" y="980223"/>
                          </a:lnTo>
                          <a:lnTo>
                            <a:pt x="669234" y="982473"/>
                          </a:lnTo>
                          <a:lnTo>
                            <a:pt x="665183" y="985623"/>
                          </a:lnTo>
                          <a:lnTo>
                            <a:pt x="662933" y="986523"/>
                          </a:lnTo>
                          <a:lnTo>
                            <a:pt x="657082" y="986974"/>
                          </a:lnTo>
                          <a:lnTo>
                            <a:pt x="653482" y="986073"/>
                          </a:lnTo>
                          <a:lnTo>
                            <a:pt x="646281" y="982023"/>
                          </a:lnTo>
                          <a:lnTo>
                            <a:pt x="642230" y="982023"/>
                          </a:lnTo>
                          <a:lnTo>
                            <a:pt x="637280" y="975272"/>
                          </a:lnTo>
                          <a:lnTo>
                            <a:pt x="633229" y="973922"/>
                          </a:lnTo>
                          <a:lnTo>
                            <a:pt x="633229" y="971672"/>
                          </a:lnTo>
                          <a:lnTo>
                            <a:pt x="635029" y="967171"/>
                          </a:lnTo>
                          <a:lnTo>
                            <a:pt x="635029" y="965821"/>
                          </a:lnTo>
                          <a:lnTo>
                            <a:pt x="629629" y="972572"/>
                          </a:lnTo>
                          <a:lnTo>
                            <a:pt x="628729" y="974822"/>
                          </a:lnTo>
                          <a:lnTo>
                            <a:pt x="629179" y="979773"/>
                          </a:lnTo>
                          <a:lnTo>
                            <a:pt x="628279" y="980223"/>
                          </a:lnTo>
                          <a:lnTo>
                            <a:pt x="624678" y="978422"/>
                          </a:lnTo>
                          <a:lnTo>
                            <a:pt x="621078" y="979773"/>
                          </a:lnTo>
                          <a:lnTo>
                            <a:pt x="620177" y="979323"/>
                          </a:lnTo>
                          <a:lnTo>
                            <a:pt x="617477" y="975722"/>
                          </a:lnTo>
                          <a:lnTo>
                            <a:pt x="612977" y="972122"/>
                          </a:lnTo>
                          <a:lnTo>
                            <a:pt x="611176" y="968071"/>
                          </a:lnTo>
                          <a:lnTo>
                            <a:pt x="608026" y="955470"/>
                          </a:lnTo>
                          <a:lnTo>
                            <a:pt x="606676" y="946918"/>
                          </a:lnTo>
                          <a:lnTo>
                            <a:pt x="606676" y="945118"/>
                          </a:lnTo>
                          <a:lnTo>
                            <a:pt x="608926" y="942868"/>
                          </a:lnTo>
                          <a:lnTo>
                            <a:pt x="608476" y="941068"/>
                          </a:lnTo>
                          <a:lnTo>
                            <a:pt x="605776" y="936117"/>
                          </a:lnTo>
                          <a:lnTo>
                            <a:pt x="602625" y="932067"/>
                          </a:lnTo>
                          <a:lnTo>
                            <a:pt x="601725" y="929366"/>
                          </a:lnTo>
                          <a:lnTo>
                            <a:pt x="601275" y="926666"/>
                          </a:lnTo>
                          <a:lnTo>
                            <a:pt x="600825" y="922615"/>
                          </a:lnTo>
                          <a:lnTo>
                            <a:pt x="600825" y="919465"/>
                          </a:lnTo>
                          <a:lnTo>
                            <a:pt x="601275" y="917665"/>
                          </a:lnTo>
                          <a:lnTo>
                            <a:pt x="603075" y="911364"/>
                          </a:lnTo>
                          <a:lnTo>
                            <a:pt x="607576" y="900113"/>
                          </a:lnTo>
                          <a:lnTo>
                            <a:pt x="608026" y="897862"/>
                          </a:lnTo>
                          <a:lnTo>
                            <a:pt x="608476" y="896062"/>
                          </a:lnTo>
                          <a:lnTo>
                            <a:pt x="608026" y="890211"/>
                          </a:lnTo>
                          <a:lnTo>
                            <a:pt x="607126" y="884361"/>
                          </a:lnTo>
                          <a:lnTo>
                            <a:pt x="606226" y="879860"/>
                          </a:lnTo>
                          <a:lnTo>
                            <a:pt x="603525" y="874009"/>
                          </a:lnTo>
                          <a:lnTo>
                            <a:pt x="599925" y="867709"/>
                          </a:lnTo>
                          <a:lnTo>
                            <a:pt x="594974" y="856457"/>
                          </a:lnTo>
                          <a:lnTo>
                            <a:pt x="591374" y="847456"/>
                          </a:lnTo>
                          <a:lnTo>
                            <a:pt x="586873" y="834854"/>
                          </a:lnTo>
                          <a:lnTo>
                            <a:pt x="584623" y="833954"/>
                          </a:lnTo>
                          <a:lnTo>
                            <a:pt x="582373" y="834404"/>
                          </a:lnTo>
                          <a:lnTo>
                            <a:pt x="576972" y="838905"/>
                          </a:lnTo>
                          <a:lnTo>
                            <a:pt x="575172" y="841155"/>
                          </a:lnTo>
                          <a:lnTo>
                            <a:pt x="574722" y="842505"/>
                          </a:lnTo>
                          <a:lnTo>
                            <a:pt x="570671" y="842956"/>
                          </a:lnTo>
                          <a:lnTo>
                            <a:pt x="559420" y="841605"/>
                          </a:lnTo>
                          <a:lnTo>
                            <a:pt x="554919" y="840255"/>
                          </a:lnTo>
                          <a:lnTo>
                            <a:pt x="551769" y="840705"/>
                          </a:lnTo>
                          <a:lnTo>
                            <a:pt x="546368" y="843856"/>
                          </a:lnTo>
                          <a:lnTo>
                            <a:pt x="540518" y="843406"/>
                          </a:lnTo>
                          <a:lnTo>
                            <a:pt x="536917" y="834404"/>
                          </a:lnTo>
                          <a:lnTo>
                            <a:pt x="528366" y="829454"/>
                          </a:lnTo>
                          <a:lnTo>
                            <a:pt x="525666" y="826753"/>
                          </a:lnTo>
                          <a:lnTo>
                            <a:pt x="523865" y="823153"/>
                          </a:lnTo>
                          <a:lnTo>
                            <a:pt x="524316" y="820903"/>
                          </a:lnTo>
                          <a:lnTo>
                            <a:pt x="529266" y="818652"/>
                          </a:lnTo>
                          <a:lnTo>
                            <a:pt x="531066" y="816402"/>
                          </a:lnTo>
                          <a:lnTo>
                            <a:pt x="531966" y="814602"/>
                          </a:lnTo>
                          <a:lnTo>
                            <a:pt x="527466" y="816402"/>
                          </a:lnTo>
                          <a:lnTo>
                            <a:pt x="525216" y="815952"/>
                          </a:lnTo>
                          <a:lnTo>
                            <a:pt x="511264" y="803801"/>
                          </a:lnTo>
                          <a:lnTo>
                            <a:pt x="506763" y="801550"/>
                          </a:lnTo>
                          <a:lnTo>
                            <a:pt x="505863" y="800650"/>
                          </a:lnTo>
                          <a:lnTo>
                            <a:pt x="505413" y="799300"/>
                          </a:lnTo>
                          <a:lnTo>
                            <a:pt x="505413" y="797500"/>
                          </a:lnTo>
                          <a:lnTo>
                            <a:pt x="505863" y="794800"/>
                          </a:lnTo>
                          <a:lnTo>
                            <a:pt x="509914" y="798400"/>
                          </a:lnTo>
                          <a:lnTo>
                            <a:pt x="511714" y="798850"/>
                          </a:lnTo>
                          <a:lnTo>
                            <a:pt x="514864" y="797950"/>
                          </a:lnTo>
                          <a:lnTo>
                            <a:pt x="515765" y="795700"/>
                          </a:lnTo>
                          <a:lnTo>
                            <a:pt x="515314" y="794349"/>
                          </a:lnTo>
                          <a:lnTo>
                            <a:pt x="510364" y="790299"/>
                          </a:lnTo>
                          <a:lnTo>
                            <a:pt x="508113" y="787149"/>
                          </a:lnTo>
                          <a:lnTo>
                            <a:pt x="507213" y="784898"/>
                          </a:lnTo>
                          <a:lnTo>
                            <a:pt x="508113" y="781748"/>
                          </a:lnTo>
                          <a:lnTo>
                            <a:pt x="508564" y="779498"/>
                          </a:lnTo>
                          <a:lnTo>
                            <a:pt x="509914" y="778147"/>
                          </a:lnTo>
                          <a:lnTo>
                            <a:pt x="512614" y="777697"/>
                          </a:lnTo>
                          <a:lnTo>
                            <a:pt x="516214" y="776347"/>
                          </a:lnTo>
                          <a:lnTo>
                            <a:pt x="522965" y="771847"/>
                          </a:lnTo>
                          <a:lnTo>
                            <a:pt x="527466" y="770496"/>
                          </a:lnTo>
                          <a:lnTo>
                            <a:pt x="531966" y="770947"/>
                          </a:lnTo>
                          <a:lnTo>
                            <a:pt x="542768" y="775447"/>
                          </a:lnTo>
                          <a:lnTo>
                            <a:pt x="553569" y="780848"/>
                          </a:lnTo>
                          <a:lnTo>
                            <a:pt x="563470" y="780848"/>
                          </a:lnTo>
                          <a:close/>
                          <a:moveTo>
                            <a:pt x="660232" y="818202"/>
                          </a:moveTo>
                          <a:lnTo>
                            <a:pt x="659332" y="819553"/>
                          </a:lnTo>
                          <a:lnTo>
                            <a:pt x="656182" y="819103"/>
                          </a:lnTo>
                          <a:lnTo>
                            <a:pt x="655282" y="820453"/>
                          </a:lnTo>
                          <a:lnTo>
                            <a:pt x="653482" y="819553"/>
                          </a:lnTo>
                          <a:lnTo>
                            <a:pt x="651231" y="816852"/>
                          </a:lnTo>
                          <a:lnTo>
                            <a:pt x="648531" y="811902"/>
                          </a:lnTo>
                          <a:lnTo>
                            <a:pt x="645381" y="804251"/>
                          </a:lnTo>
                          <a:lnTo>
                            <a:pt x="643130" y="797500"/>
                          </a:lnTo>
                          <a:lnTo>
                            <a:pt x="643130" y="795700"/>
                          </a:lnTo>
                          <a:lnTo>
                            <a:pt x="644031" y="792549"/>
                          </a:lnTo>
                          <a:lnTo>
                            <a:pt x="646281" y="790299"/>
                          </a:lnTo>
                          <a:lnTo>
                            <a:pt x="652132" y="787599"/>
                          </a:lnTo>
                          <a:lnTo>
                            <a:pt x="656182" y="787599"/>
                          </a:lnTo>
                          <a:lnTo>
                            <a:pt x="659783" y="792549"/>
                          </a:lnTo>
                          <a:lnTo>
                            <a:pt x="660683" y="794349"/>
                          </a:lnTo>
                          <a:lnTo>
                            <a:pt x="661133" y="796600"/>
                          </a:lnTo>
                          <a:lnTo>
                            <a:pt x="661133" y="798400"/>
                          </a:lnTo>
                          <a:lnTo>
                            <a:pt x="660683" y="800200"/>
                          </a:lnTo>
                          <a:lnTo>
                            <a:pt x="658882" y="804251"/>
                          </a:lnTo>
                          <a:lnTo>
                            <a:pt x="657982" y="806951"/>
                          </a:lnTo>
                          <a:lnTo>
                            <a:pt x="657982" y="809651"/>
                          </a:lnTo>
                          <a:lnTo>
                            <a:pt x="658432" y="813252"/>
                          </a:lnTo>
                          <a:lnTo>
                            <a:pt x="659332" y="815952"/>
                          </a:lnTo>
                          <a:lnTo>
                            <a:pt x="660232" y="817302"/>
                          </a:lnTo>
                          <a:lnTo>
                            <a:pt x="660232" y="818202"/>
                          </a:lnTo>
                          <a:close/>
                          <a:moveTo>
                            <a:pt x="230429" y="960420"/>
                          </a:moveTo>
                          <a:lnTo>
                            <a:pt x="230429" y="957270"/>
                          </a:lnTo>
                          <a:lnTo>
                            <a:pt x="230429" y="912264"/>
                          </a:lnTo>
                          <a:lnTo>
                            <a:pt x="230429" y="903263"/>
                          </a:lnTo>
                          <a:lnTo>
                            <a:pt x="249781" y="905963"/>
                          </a:lnTo>
                          <a:lnTo>
                            <a:pt x="251581" y="905063"/>
                          </a:lnTo>
                          <a:lnTo>
                            <a:pt x="252932" y="902813"/>
                          </a:lnTo>
                          <a:lnTo>
                            <a:pt x="253832" y="898762"/>
                          </a:lnTo>
                          <a:lnTo>
                            <a:pt x="254282" y="895612"/>
                          </a:lnTo>
                          <a:lnTo>
                            <a:pt x="253832" y="891112"/>
                          </a:lnTo>
                          <a:lnTo>
                            <a:pt x="253382" y="888861"/>
                          </a:lnTo>
                          <a:lnTo>
                            <a:pt x="235379" y="874909"/>
                          </a:lnTo>
                          <a:lnTo>
                            <a:pt x="233579" y="869059"/>
                          </a:lnTo>
                          <a:lnTo>
                            <a:pt x="242580" y="860958"/>
                          </a:lnTo>
                          <a:lnTo>
                            <a:pt x="243030" y="859158"/>
                          </a:lnTo>
                          <a:lnTo>
                            <a:pt x="243030" y="856457"/>
                          </a:lnTo>
                          <a:lnTo>
                            <a:pt x="242580" y="853307"/>
                          </a:lnTo>
                          <a:lnTo>
                            <a:pt x="241230" y="850156"/>
                          </a:lnTo>
                          <a:lnTo>
                            <a:pt x="236280" y="844306"/>
                          </a:lnTo>
                          <a:lnTo>
                            <a:pt x="232229" y="843406"/>
                          </a:lnTo>
                          <a:lnTo>
                            <a:pt x="230429" y="841605"/>
                          </a:lnTo>
                          <a:lnTo>
                            <a:pt x="230429" y="820453"/>
                          </a:lnTo>
                          <a:lnTo>
                            <a:pt x="230879" y="820003"/>
                          </a:lnTo>
                          <a:lnTo>
                            <a:pt x="233579" y="816402"/>
                          </a:lnTo>
                          <a:lnTo>
                            <a:pt x="241230" y="801100"/>
                          </a:lnTo>
                          <a:lnTo>
                            <a:pt x="244831" y="794800"/>
                          </a:lnTo>
                          <a:lnTo>
                            <a:pt x="247531" y="791649"/>
                          </a:lnTo>
                          <a:lnTo>
                            <a:pt x="250231" y="789849"/>
                          </a:lnTo>
                          <a:lnTo>
                            <a:pt x="256082" y="788949"/>
                          </a:lnTo>
                          <a:lnTo>
                            <a:pt x="261933" y="794800"/>
                          </a:lnTo>
                          <a:lnTo>
                            <a:pt x="263283" y="795250"/>
                          </a:lnTo>
                          <a:lnTo>
                            <a:pt x="263733" y="796600"/>
                          </a:lnTo>
                          <a:lnTo>
                            <a:pt x="263283" y="799300"/>
                          </a:lnTo>
                          <a:lnTo>
                            <a:pt x="262383" y="802000"/>
                          </a:lnTo>
                          <a:lnTo>
                            <a:pt x="260132" y="806501"/>
                          </a:lnTo>
                          <a:lnTo>
                            <a:pt x="259682" y="808301"/>
                          </a:lnTo>
                          <a:lnTo>
                            <a:pt x="259682" y="810101"/>
                          </a:lnTo>
                          <a:lnTo>
                            <a:pt x="261033" y="814602"/>
                          </a:lnTo>
                          <a:lnTo>
                            <a:pt x="261483" y="817752"/>
                          </a:lnTo>
                          <a:lnTo>
                            <a:pt x="261933" y="822703"/>
                          </a:lnTo>
                          <a:lnTo>
                            <a:pt x="262383" y="823603"/>
                          </a:lnTo>
                          <a:lnTo>
                            <a:pt x="265983" y="827654"/>
                          </a:lnTo>
                          <a:lnTo>
                            <a:pt x="269134" y="833054"/>
                          </a:lnTo>
                          <a:lnTo>
                            <a:pt x="270484" y="841605"/>
                          </a:lnTo>
                          <a:lnTo>
                            <a:pt x="269134" y="844756"/>
                          </a:lnTo>
                          <a:lnTo>
                            <a:pt x="266433" y="848806"/>
                          </a:lnTo>
                          <a:lnTo>
                            <a:pt x="264633" y="852407"/>
                          </a:lnTo>
                          <a:lnTo>
                            <a:pt x="264183" y="855107"/>
                          </a:lnTo>
                          <a:lnTo>
                            <a:pt x="264633" y="856907"/>
                          </a:lnTo>
                          <a:lnTo>
                            <a:pt x="266433" y="857807"/>
                          </a:lnTo>
                          <a:lnTo>
                            <a:pt x="269134" y="858257"/>
                          </a:lnTo>
                          <a:lnTo>
                            <a:pt x="272284" y="857357"/>
                          </a:lnTo>
                          <a:lnTo>
                            <a:pt x="275884" y="857807"/>
                          </a:lnTo>
                          <a:lnTo>
                            <a:pt x="277685" y="859608"/>
                          </a:lnTo>
                          <a:lnTo>
                            <a:pt x="279035" y="863208"/>
                          </a:lnTo>
                          <a:lnTo>
                            <a:pt x="279035" y="865008"/>
                          </a:lnTo>
                          <a:lnTo>
                            <a:pt x="279035" y="866809"/>
                          </a:lnTo>
                          <a:lnTo>
                            <a:pt x="278585" y="868159"/>
                          </a:lnTo>
                          <a:lnTo>
                            <a:pt x="274084" y="876710"/>
                          </a:lnTo>
                          <a:lnTo>
                            <a:pt x="273184" y="879860"/>
                          </a:lnTo>
                          <a:lnTo>
                            <a:pt x="274534" y="880760"/>
                          </a:lnTo>
                          <a:lnTo>
                            <a:pt x="275434" y="880310"/>
                          </a:lnTo>
                          <a:lnTo>
                            <a:pt x="279935" y="873559"/>
                          </a:lnTo>
                          <a:lnTo>
                            <a:pt x="283535" y="871309"/>
                          </a:lnTo>
                          <a:lnTo>
                            <a:pt x="286236" y="870859"/>
                          </a:lnTo>
                          <a:lnTo>
                            <a:pt x="290736" y="872209"/>
                          </a:lnTo>
                          <a:lnTo>
                            <a:pt x="292537" y="873559"/>
                          </a:lnTo>
                          <a:lnTo>
                            <a:pt x="293887" y="874909"/>
                          </a:lnTo>
                          <a:lnTo>
                            <a:pt x="294337" y="876260"/>
                          </a:lnTo>
                          <a:lnTo>
                            <a:pt x="296137" y="882560"/>
                          </a:lnTo>
                          <a:lnTo>
                            <a:pt x="297487" y="890661"/>
                          </a:lnTo>
                          <a:lnTo>
                            <a:pt x="297487" y="889761"/>
                          </a:lnTo>
                          <a:lnTo>
                            <a:pt x="297487" y="885261"/>
                          </a:lnTo>
                          <a:lnTo>
                            <a:pt x="297937" y="881660"/>
                          </a:lnTo>
                          <a:lnTo>
                            <a:pt x="301988" y="879410"/>
                          </a:lnTo>
                          <a:lnTo>
                            <a:pt x="301988" y="878510"/>
                          </a:lnTo>
                          <a:lnTo>
                            <a:pt x="300638" y="876710"/>
                          </a:lnTo>
                          <a:lnTo>
                            <a:pt x="299287" y="874009"/>
                          </a:lnTo>
                          <a:lnTo>
                            <a:pt x="298387" y="869059"/>
                          </a:lnTo>
                          <a:lnTo>
                            <a:pt x="298837" y="867259"/>
                          </a:lnTo>
                          <a:lnTo>
                            <a:pt x="299738" y="865458"/>
                          </a:lnTo>
                          <a:lnTo>
                            <a:pt x="302438" y="860958"/>
                          </a:lnTo>
                          <a:lnTo>
                            <a:pt x="305588" y="858257"/>
                          </a:lnTo>
                          <a:lnTo>
                            <a:pt x="308289" y="857807"/>
                          </a:lnTo>
                          <a:lnTo>
                            <a:pt x="318640" y="862308"/>
                          </a:lnTo>
                          <a:lnTo>
                            <a:pt x="322690" y="865908"/>
                          </a:lnTo>
                          <a:lnTo>
                            <a:pt x="324491" y="867709"/>
                          </a:lnTo>
                          <a:lnTo>
                            <a:pt x="324941" y="869059"/>
                          </a:lnTo>
                          <a:lnTo>
                            <a:pt x="325841" y="873559"/>
                          </a:lnTo>
                          <a:lnTo>
                            <a:pt x="327641" y="885261"/>
                          </a:lnTo>
                          <a:lnTo>
                            <a:pt x="327641" y="888861"/>
                          </a:lnTo>
                          <a:lnTo>
                            <a:pt x="326741" y="894712"/>
                          </a:lnTo>
                          <a:lnTo>
                            <a:pt x="323590" y="905963"/>
                          </a:lnTo>
                          <a:lnTo>
                            <a:pt x="323140" y="913614"/>
                          </a:lnTo>
                          <a:lnTo>
                            <a:pt x="319540" y="932067"/>
                          </a:lnTo>
                          <a:lnTo>
                            <a:pt x="317290" y="937017"/>
                          </a:lnTo>
                          <a:lnTo>
                            <a:pt x="314589" y="940618"/>
                          </a:lnTo>
                          <a:lnTo>
                            <a:pt x="304238" y="946918"/>
                          </a:lnTo>
                          <a:lnTo>
                            <a:pt x="296137" y="953219"/>
                          </a:lnTo>
                          <a:lnTo>
                            <a:pt x="294337" y="954119"/>
                          </a:lnTo>
                          <a:lnTo>
                            <a:pt x="292086" y="954119"/>
                          </a:lnTo>
                          <a:lnTo>
                            <a:pt x="285336" y="951869"/>
                          </a:lnTo>
                          <a:lnTo>
                            <a:pt x="277685" y="947819"/>
                          </a:lnTo>
                          <a:lnTo>
                            <a:pt x="273184" y="948719"/>
                          </a:lnTo>
                          <a:lnTo>
                            <a:pt x="268684" y="951419"/>
                          </a:lnTo>
                          <a:lnTo>
                            <a:pt x="265983" y="952319"/>
                          </a:lnTo>
                          <a:lnTo>
                            <a:pt x="263283" y="951869"/>
                          </a:lnTo>
                          <a:lnTo>
                            <a:pt x="260583" y="950969"/>
                          </a:lnTo>
                          <a:lnTo>
                            <a:pt x="257432" y="948269"/>
                          </a:lnTo>
                          <a:lnTo>
                            <a:pt x="259232" y="946918"/>
                          </a:lnTo>
                          <a:lnTo>
                            <a:pt x="260132" y="945568"/>
                          </a:lnTo>
                          <a:lnTo>
                            <a:pt x="259232" y="944218"/>
                          </a:lnTo>
                          <a:lnTo>
                            <a:pt x="255632" y="942418"/>
                          </a:lnTo>
                          <a:lnTo>
                            <a:pt x="252032" y="946918"/>
                          </a:lnTo>
                          <a:lnTo>
                            <a:pt x="241230" y="957270"/>
                          </a:lnTo>
                          <a:lnTo>
                            <a:pt x="230429" y="960420"/>
                          </a:lnTo>
                          <a:close/>
                          <a:moveTo>
                            <a:pt x="416302" y="811902"/>
                          </a:moveTo>
                          <a:lnTo>
                            <a:pt x="410901" y="812352"/>
                          </a:lnTo>
                          <a:lnTo>
                            <a:pt x="408201" y="811452"/>
                          </a:lnTo>
                          <a:lnTo>
                            <a:pt x="408201" y="809651"/>
                          </a:lnTo>
                          <a:lnTo>
                            <a:pt x="410451" y="807401"/>
                          </a:lnTo>
                          <a:lnTo>
                            <a:pt x="417652" y="803801"/>
                          </a:lnTo>
                          <a:lnTo>
                            <a:pt x="422153" y="797500"/>
                          </a:lnTo>
                          <a:lnTo>
                            <a:pt x="423953" y="796600"/>
                          </a:lnTo>
                          <a:lnTo>
                            <a:pt x="429804" y="795700"/>
                          </a:lnTo>
                          <a:lnTo>
                            <a:pt x="432954" y="795700"/>
                          </a:lnTo>
                          <a:lnTo>
                            <a:pt x="437005" y="797050"/>
                          </a:lnTo>
                          <a:lnTo>
                            <a:pt x="427103" y="804701"/>
                          </a:lnTo>
                          <a:lnTo>
                            <a:pt x="416302" y="811902"/>
                          </a:lnTo>
                          <a:close/>
                          <a:moveTo>
                            <a:pt x="491011" y="821803"/>
                          </a:moveTo>
                          <a:lnTo>
                            <a:pt x="491461" y="825853"/>
                          </a:lnTo>
                          <a:lnTo>
                            <a:pt x="491011" y="829004"/>
                          </a:lnTo>
                          <a:lnTo>
                            <a:pt x="490111" y="831254"/>
                          </a:lnTo>
                          <a:lnTo>
                            <a:pt x="490111" y="833954"/>
                          </a:lnTo>
                          <a:lnTo>
                            <a:pt x="491011" y="836655"/>
                          </a:lnTo>
                          <a:lnTo>
                            <a:pt x="493712" y="843856"/>
                          </a:lnTo>
                          <a:lnTo>
                            <a:pt x="494612" y="847456"/>
                          </a:lnTo>
                          <a:lnTo>
                            <a:pt x="494612" y="851057"/>
                          </a:lnTo>
                          <a:lnTo>
                            <a:pt x="494612" y="853757"/>
                          </a:lnTo>
                          <a:lnTo>
                            <a:pt x="492812" y="858707"/>
                          </a:lnTo>
                          <a:lnTo>
                            <a:pt x="491911" y="865008"/>
                          </a:lnTo>
                          <a:lnTo>
                            <a:pt x="491911" y="868609"/>
                          </a:lnTo>
                          <a:lnTo>
                            <a:pt x="492812" y="874009"/>
                          </a:lnTo>
                          <a:lnTo>
                            <a:pt x="492812" y="876260"/>
                          </a:lnTo>
                          <a:lnTo>
                            <a:pt x="491011" y="880310"/>
                          </a:lnTo>
                          <a:lnTo>
                            <a:pt x="486961" y="883911"/>
                          </a:lnTo>
                          <a:lnTo>
                            <a:pt x="487411" y="885711"/>
                          </a:lnTo>
                          <a:lnTo>
                            <a:pt x="496412" y="890211"/>
                          </a:lnTo>
                          <a:lnTo>
                            <a:pt x="497312" y="891112"/>
                          </a:lnTo>
                          <a:lnTo>
                            <a:pt x="497312" y="901463"/>
                          </a:lnTo>
                          <a:lnTo>
                            <a:pt x="498662" y="912714"/>
                          </a:lnTo>
                          <a:lnTo>
                            <a:pt x="498212" y="912714"/>
                          </a:lnTo>
                          <a:lnTo>
                            <a:pt x="495962" y="909114"/>
                          </a:lnTo>
                          <a:lnTo>
                            <a:pt x="491911" y="905063"/>
                          </a:lnTo>
                          <a:lnTo>
                            <a:pt x="486961" y="912714"/>
                          </a:lnTo>
                          <a:lnTo>
                            <a:pt x="487411" y="925766"/>
                          </a:lnTo>
                          <a:lnTo>
                            <a:pt x="490561" y="931617"/>
                          </a:lnTo>
                          <a:lnTo>
                            <a:pt x="491461" y="934767"/>
                          </a:lnTo>
                          <a:lnTo>
                            <a:pt x="491011" y="936567"/>
                          </a:lnTo>
                          <a:lnTo>
                            <a:pt x="488311" y="937467"/>
                          </a:lnTo>
                          <a:lnTo>
                            <a:pt x="487411" y="937017"/>
                          </a:lnTo>
                          <a:lnTo>
                            <a:pt x="484711" y="934317"/>
                          </a:lnTo>
                          <a:lnTo>
                            <a:pt x="482910" y="930266"/>
                          </a:lnTo>
                          <a:lnTo>
                            <a:pt x="482460" y="930266"/>
                          </a:lnTo>
                          <a:lnTo>
                            <a:pt x="482010" y="932067"/>
                          </a:lnTo>
                          <a:lnTo>
                            <a:pt x="482460" y="933867"/>
                          </a:lnTo>
                          <a:lnTo>
                            <a:pt x="484261" y="937467"/>
                          </a:lnTo>
                          <a:lnTo>
                            <a:pt x="485161" y="941518"/>
                          </a:lnTo>
                          <a:lnTo>
                            <a:pt x="484261" y="942868"/>
                          </a:lnTo>
                          <a:lnTo>
                            <a:pt x="481560" y="943768"/>
                          </a:lnTo>
                          <a:lnTo>
                            <a:pt x="477960" y="943768"/>
                          </a:lnTo>
                          <a:lnTo>
                            <a:pt x="472109" y="945568"/>
                          </a:lnTo>
                          <a:lnTo>
                            <a:pt x="469409" y="946018"/>
                          </a:lnTo>
                          <a:lnTo>
                            <a:pt x="466708" y="945118"/>
                          </a:lnTo>
                          <a:lnTo>
                            <a:pt x="463108" y="944668"/>
                          </a:lnTo>
                          <a:lnTo>
                            <a:pt x="459957" y="945118"/>
                          </a:lnTo>
                          <a:lnTo>
                            <a:pt x="458157" y="944218"/>
                          </a:lnTo>
                          <a:lnTo>
                            <a:pt x="456357" y="942418"/>
                          </a:lnTo>
                          <a:lnTo>
                            <a:pt x="454557" y="942868"/>
                          </a:lnTo>
                          <a:lnTo>
                            <a:pt x="450056" y="947819"/>
                          </a:lnTo>
                          <a:lnTo>
                            <a:pt x="443305" y="946468"/>
                          </a:lnTo>
                          <a:lnTo>
                            <a:pt x="437005" y="946018"/>
                          </a:lnTo>
                          <a:lnTo>
                            <a:pt x="435654" y="944218"/>
                          </a:lnTo>
                          <a:lnTo>
                            <a:pt x="434304" y="941068"/>
                          </a:lnTo>
                          <a:lnTo>
                            <a:pt x="431604" y="931167"/>
                          </a:lnTo>
                          <a:lnTo>
                            <a:pt x="432054" y="928466"/>
                          </a:lnTo>
                          <a:lnTo>
                            <a:pt x="438805" y="927116"/>
                          </a:lnTo>
                          <a:lnTo>
                            <a:pt x="438805" y="926216"/>
                          </a:lnTo>
                          <a:lnTo>
                            <a:pt x="434304" y="922615"/>
                          </a:lnTo>
                          <a:lnTo>
                            <a:pt x="428904" y="919915"/>
                          </a:lnTo>
                          <a:lnTo>
                            <a:pt x="426653" y="917665"/>
                          </a:lnTo>
                          <a:lnTo>
                            <a:pt x="427103" y="913614"/>
                          </a:lnTo>
                          <a:lnTo>
                            <a:pt x="427103" y="912714"/>
                          </a:lnTo>
                          <a:lnTo>
                            <a:pt x="436104" y="908214"/>
                          </a:lnTo>
                          <a:lnTo>
                            <a:pt x="442855" y="899213"/>
                          </a:lnTo>
                          <a:lnTo>
                            <a:pt x="446906" y="895612"/>
                          </a:lnTo>
                          <a:lnTo>
                            <a:pt x="447356" y="893812"/>
                          </a:lnTo>
                          <a:lnTo>
                            <a:pt x="450956" y="892012"/>
                          </a:lnTo>
                          <a:lnTo>
                            <a:pt x="459057" y="890661"/>
                          </a:lnTo>
                          <a:lnTo>
                            <a:pt x="459507" y="887961"/>
                          </a:lnTo>
                          <a:lnTo>
                            <a:pt x="444205" y="889311"/>
                          </a:lnTo>
                          <a:lnTo>
                            <a:pt x="423503" y="894712"/>
                          </a:lnTo>
                          <a:lnTo>
                            <a:pt x="417202" y="897412"/>
                          </a:lnTo>
                          <a:lnTo>
                            <a:pt x="411801" y="896062"/>
                          </a:lnTo>
                          <a:lnTo>
                            <a:pt x="388849" y="904163"/>
                          </a:lnTo>
                          <a:lnTo>
                            <a:pt x="387948" y="904163"/>
                          </a:lnTo>
                          <a:lnTo>
                            <a:pt x="385698" y="901463"/>
                          </a:lnTo>
                          <a:lnTo>
                            <a:pt x="383448" y="896512"/>
                          </a:lnTo>
                          <a:lnTo>
                            <a:pt x="384798" y="893362"/>
                          </a:lnTo>
                          <a:lnTo>
                            <a:pt x="391549" y="887061"/>
                          </a:lnTo>
                          <a:lnTo>
                            <a:pt x="394699" y="881660"/>
                          </a:lnTo>
                          <a:lnTo>
                            <a:pt x="394249" y="878510"/>
                          </a:lnTo>
                          <a:lnTo>
                            <a:pt x="396950" y="873109"/>
                          </a:lnTo>
                          <a:lnTo>
                            <a:pt x="401450" y="872209"/>
                          </a:lnTo>
                          <a:lnTo>
                            <a:pt x="408651" y="876710"/>
                          </a:lnTo>
                          <a:lnTo>
                            <a:pt x="412252" y="881210"/>
                          </a:lnTo>
                          <a:lnTo>
                            <a:pt x="415852" y="883461"/>
                          </a:lnTo>
                          <a:lnTo>
                            <a:pt x="419002" y="883011"/>
                          </a:lnTo>
                          <a:lnTo>
                            <a:pt x="422153" y="879860"/>
                          </a:lnTo>
                          <a:lnTo>
                            <a:pt x="421253" y="879410"/>
                          </a:lnTo>
                          <a:lnTo>
                            <a:pt x="415852" y="881210"/>
                          </a:lnTo>
                          <a:lnTo>
                            <a:pt x="415402" y="880760"/>
                          </a:lnTo>
                          <a:lnTo>
                            <a:pt x="412702" y="875810"/>
                          </a:lnTo>
                          <a:lnTo>
                            <a:pt x="411351" y="872659"/>
                          </a:lnTo>
                          <a:lnTo>
                            <a:pt x="410451" y="869509"/>
                          </a:lnTo>
                          <a:lnTo>
                            <a:pt x="410451" y="867259"/>
                          </a:lnTo>
                          <a:lnTo>
                            <a:pt x="412252" y="863208"/>
                          </a:lnTo>
                          <a:lnTo>
                            <a:pt x="406401" y="861858"/>
                          </a:lnTo>
                          <a:lnTo>
                            <a:pt x="404150" y="858707"/>
                          </a:lnTo>
                          <a:lnTo>
                            <a:pt x="403250" y="855107"/>
                          </a:lnTo>
                          <a:lnTo>
                            <a:pt x="403700" y="853307"/>
                          </a:lnTo>
                          <a:lnTo>
                            <a:pt x="405501" y="848806"/>
                          </a:lnTo>
                          <a:lnTo>
                            <a:pt x="410451" y="842956"/>
                          </a:lnTo>
                          <a:lnTo>
                            <a:pt x="410001" y="841155"/>
                          </a:lnTo>
                          <a:lnTo>
                            <a:pt x="402350" y="841155"/>
                          </a:lnTo>
                          <a:lnTo>
                            <a:pt x="400550" y="840255"/>
                          </a:lnTo>
                          <a:lnTo>
                            <a:pt x="397400" y="836655"/>
                          </a:lnTo>
                          <a:lnTo>
                            <a:pt x="398300" y="832604"/>
                          </a:lnTo>
                          <a:lnTo>
                            <a:pt x="401450" y="826303"/>
                          </a:lnTo>
                          <a:lnTo>
                            <a:pt x="403700" y="822703"/>
                          </a:lnTo>
                          <a:lnTo>
                            <a:pt x="405051" y="821803"/>
                          </a:lnTo>
                          <a:lnTo>
                            <a:pt x="407301" y="821803"/>
                          </a:lnTo>
                          <a:lnTo>
                            <a:pt x="412702" y="824053"/>
                          </a:lnTo>
                          <a:lnTo>
                            <a:pt x="414502" y="825403"/>
                          </a:lnTo>
                          <a:lnTo>
                            <a:pt x="418552" y="831254"/>
                          </a:lnTo>
                          <a:lnTo>
                            <a:pt x="419452" y="834404"/>
                          </a:lnTo>
                          <a:lnTo>
                            <a:pt x="419452" y="837555"/>
                          </a:lnTo>
                          <a:lnTo>
                            <a:pt x="420353" y="839805"/>
                          </a:lnTo>
                          <a:lnTo>
                            <a:pt x="423503" y="843406"/>
                          </a:lnTo>
                          <a:lnTo>
                            <a:pt x="437905" y="860958"/>
                          </a:lnTo>
                          <a:lnTo>
                            <a:pt x="440605" y="865008"/>
                          </a:lnTo>
                          <a:lnTo>
                            <a:pt x="442405" y="866809"/>
                          </a:lnTo>
                          <a:lnTo>
                            <a:pt x="445556" y="868159"/>
                          </a:lnTo>
                          <a:lnTo>
                            <a:pt x="447356" y="867709"/>
                          </a:lnTo>
                          <a:lnTo>
                            <a:pt x="448706" y="866358"/>
                          </a:lnTo>
                          <a:lnTo>
                            <a:pt x="449156" y="864558"/>
                          </a:lnTo>
                          <a:lnTo>
                            <a:pt x="442855" y="858257"/>
                          </a:lnTo>
                          <a:lnTo>
                            <a:pt x="441505" y="855107"/>
                          </a:lnTo>
                          <a:lnTo>
                            <a:pt x="440155" y="850606"/>
                          </a:lnTo>
                          <a:lnTo>
                            <a:pt x="440605" y="849256"/>
                          </a:lnTo>
                          <a:lnTo>
                            <a:pt x="442405" y="848806"/>
                          </a:lnTo>
                          <a:lnTo>
                            <a:pt x="446906" y="849256"/>
                          </a:lnTo>
                          <a:lnTo>
                            <a:pt x="452307" y="847906"/>
                          </a:lnTo>
                          <a:lnTo>
                            <a:pt x="446456" y="846106"/>
                          </a:lnTo>
                          <a:lnTo>
                            <a:pt x="442405" y="843406"/>
                          </a:lnTo>
                          <a:lnTo>
                            <a:pt x="438355" y="843406"/>
                          </a:lnTo>
                          <a:lnTo>
                            <a:pt x="433404" y="839355"/>
                          </a:lnTo>
                          <a:lnTo>
                            <a:pt x="433404" y="838005"/>
                          </a:lnTo>
                          <a:lnTo>
                            <a:pt x="434754" y="836655"/>
                          </a:lnTo>
                          <a:lnTo>
                            <a:pt x="441505" y="834854"/>
                          </a:lnTo>
                          <a:lnTo>
                            <a:pt x="442855" y="833954"/>
                          </a:lnTo>
                          <a:lnTo>
                            <a:pt x="442855" y="832604"/>
                          </a:lnTo>
                          <a:lnTo>
                            <a:pt x="440605" y="829904"/>
                          </a:lnTo>
                          <a:lnTo>
                            <a:pt x="438805" y="828554"/>
                          </a:lnTo>
                          <a:lnTo>
                            <a:pt x="428904" y="825403"/>
                          </a:lnTo>
                          <a:lnTo>
                            <a:pt x="425303" y="821803"/>
                          </a:lnTo>
                          <a:lnTo>
                            <a:pt x="423953" y="820003"/>
                          </a:lnTo>
                          <a:lnTo>
                            <a:pt x="423503" y="818202"/>
                          </a:lnTo>
                          <a:lnTo>
                            <a:pt x="424853" y="813702"/>
                          </a:lnTo>
                          <a:lnTo>
                            <a:pt x="430254" y="808301"/>
                          </a:lnTo>
                          <a:lnTo>
                            <a:pt x="434304" y="805601"/>
                          </a:lnTo>
                          <a:lnTo>
                            <a:pt x="441055" y="803801"/>
                          </a:lnTo>
                          <a:lnTo>
                            <a:pt x="446456" y="804251"/>
                          </a:lnTo>
                          <a:lnTo>
                            <a:pt x="449606" y="805151"/>
                          </a:lnTo>
                          <a:lnTo>
                            <a:pt x="456807" y="814602"/>
                          </a:lnTo>
                          <a:lnTo>
                            <a:pt x="460408" y="820903"/>
                          </a:lnTo>
                          <a:lnTo>
                            <a:pt x="466258" y="820003"/>
                          </a:lnTo>
                          <a:lnTo>
                            <a:pt x="464458" y="813702"/>
                          </a:lnTo>
                          <a:lnTo>
                            <a:pt x="463558" y="806501"/>
                          </a:lnTo>
                          <a:lnTo>
                            <a:pt x="465358" y="803801"/>
                          </a:lnTo>
                          <a:lnTo>
                            <a:pt x="470309" y="799300"/>
                          </a:lnTo>
                          <a:lnTo>
                            <a:pt x="474359" y="801550"/>
                          </a:lnTo>
                          <a:lnTo>
                            <a:pt x="479310" y="807851"/>
                          </a:lnTo>
                          <a:lnTo>
                            <a:pt x="480210" y="810101"/>
                          </a:lnTo>
                          <a:lnTo>
                            <a:pt x="486061" y="814152"/>
                          </a:lnTo>
                          <a:lnTo>
                            <a:pt x="489661" y="815502"/>
                          </a:lnTo>
                          <a:lnTo>
                            <a:pt x="491461" y="817752"/>
                          </a:lnTo>
                          <a:lnTo>
                            <a:pt x="491011" y="821803"/>
                          </a:lnTo>
                          <a:close/>
                          <a:moveTo>
                            <a:pt x="357345" y="811452"/>
                          </a:moveTo>
                          <a:lnTo>
                            <a:pt x="358245" y="811902"/>
                          </a:lnTo>
                          <a:lnTo>
                            <a:pt x="361395" y="810101"/>
                          </a:lnTo>
                          <a:lnTo>
                            <a:pt x="363645" y="809651"/>
                          </a:lnTo>
                          <a:lnTo>
                            <a:pt x="365896" y="813252"/>
                          </a:lnTo>
                          <a:lnTo>
                            <a:pt x="366346" y="815502"/>
                          </a:lnTo>
                          <a:lnTo>
                            <a:pt x="374897" y="820903"/>
                          </a:lnTo>
                          <a:lnTo>
                            <a:pt x="378047" y="823603"/>
                          </a:lnTo>
                          <a:lnTo>
                            <a:pt x="378497" y="825403"/>
                          </a:lnTo>
                          <a:lnTo>
                            <a:pt x="377597" y="827654"/>
                          </a:lnTo>
                          <a:lnTo>
                            <a:pt x="375347" y="830804"/>
                          </a:lnTo>
                          <a:lnTo>
                            <a:pt x="373097" y="833054"/>
                          </a:lnTo>
                          <a:lnTo>
                            <a:pt x="369496" y="834854"/>
                          </a:lnTo>
                          <a:lnTo>
                            <a:pt x="352394" y="835305"/>
                          </a:lnTo>
                          <a:lnTo>
                            <a:pt x="350594" y="834404"/>
                          </a:lnTo>
                          <a:lnTo>
                            <a:pt x="349694" y="831704"/>
                          </a:lnTo>
                          <a:lnTo>
                            <a:pt x="347443" y="821353"/>
                          </a:lnTo>
                          <a:lnTo>
                            <a:pt x="346093" y="815952"/>
                          </a:lnTo>
                          <a:lnTo>
                            <a:pt x="345643" y="811902"/>
                          </a:lnTo>
                          <a:lnTo>
                            <a:pt x="346093" y="809651"/>
                          </a:lnTo>
                          <a:lnTo>
                            <a:pt x="347893" y="807401"/>
                          </a:lnTo>
                          <a:lnTo>
                            <a:pt x="354194" y="804251"/>
                          </a:lnTo>
                          <a:lnTo>
                            <a:pt x="356895" y="804251"/>
                          </a:lnTo>
                          <a:lnTo>
                            <a:pt x="358695" y="805151"/>
                          </a:lnTo>
                          <a:lnTo>
                            <a:pt x="359595" y="806951"/>
                          </a:lnTo>
                          <a:lnTo>
                            <a:pt x="359595" y="809201"/>
                          </a:lnTo>
                          <a:lnTo>
                            <a:pt x="357345" y="811452"/>
                          </a:lnTo>
                          <a:close/>
                          <a:moveTo>
                            <a:pt x="395149" y="862308"/>
                          </a:moveTo>
                          <a:lnTo>
                            <a:pt x="399650" y="867709"/>
                          </a:lnTo>
                          <a:lnTo>
                            <a:pt x="399650" y="869059"/>
                          </a:lnTo>
                          <a:lnTo>
                            <a:pt x="398750" y="869959"/>
                          </a:lnTo>
                          <a:lnTo>
                            <a:pt x="392899" y="872659"/>
                          </a:lnTo>
                          <a:lnTo>
                            <a:pt x="390649" y="874909"/>
                          </a:lnTo>
                          <a:lnTo>
                            <a:pt x="388849" y="880310"/>
                          </a:lnTo>
                          <a:lnTo>
                            <a:pt x="387498" y="882560"/>
                          </a:lnTo>
                          <a:lnTo>
                            <a:pt x="379847" y="883911"/>
                          </a:lnTo>
                          <a:lnTo>
                            <a:pt x="371747" y="883911"/>
                          </a:lnTo>
                          <a:lnTo>
                            <a:pt x="373097" y="878960"/>
                          </a:lnTo>
                          <a:lnTo>
                            <a:pt x="377597" y="870409"/>
                          </a:lnTo>
                          <a:lnTo>
                            <a:pt x="373997" y="866809"/>
                          </a:lnTo>
                          <a:lnTo>
                            <a:pt x="361845" y="872659"/>
                          </a:lnTo>
                          <a:lnTo>
                            <a:pt x="357345" y="869059"/>
                          </a:lnTo>
                          <a:lnTo>
                            <a:pt x="361395" y="860058"/>
                          </a:lnTo>
                          <a:lnTo>
                            <a:pt x="357345" y="859158"/>
                          </a:lnTo>
                          <a:lnTo>
                            <a:pt x="351944" y="859158"/>
                          </a:lnTo>
                          <a:lnTo>
                            <a:pt x="348344" y="853757"/>
                          </a:lnTo>
                          <a:lnTo>
                            <a:pt x="349694" y="847006"/>
                          </a:lnTo>
                          <a:lnTo>
                            <a:pt x="356895" y="843406"/>
                          </a:lnTo>
                          <a:lnTo>
                            <a:pt x="366346" y="840255"/>
                          </a:lnTo>
                          <a:lnTo>
                            <a:pt x="376247" y="835305"/>
                          </a:lnTo>
                          <a:lnTo>
                            <a:pt x="383898" y="835755"/>
                          </a:lnTo>
                          <a:lnTo>
                            <a:pt x="387048" y="838005"/>
                          </a:lnTo>
                          <a:lnTo>
                            <a:pt x="387948" y="845656"/>
                          </a:lnTo>
                          <a:lnTo>
                            <a:pt x="388849" y="854657"/>
                          </a:lnTo>
                          <a:lnTo>
                            <a:pt x="390199" y="855557"/>
                          </a:lnTo>
                          <a:lnTo>
                            <a:pt x="395149" y="862308"/>
                          </a:lnTo>
                          <a:close/>
                          <a:moveTo>
                            <a:pt x="886611" y="869959"/>
                          </a:moveTo>
                          <a:lnTo>
                            <a:pt x="887061" y="874909"/>
                          </a:lnTo>
                          <a:lnTo>
                            <a:pt x="885711" y="874459"/>
                          </a:lnTo>
                          <a:lnTo>
                            <a:pt x="880760" y="877610"/>
                          </a:lnTo>
                          <a:lnTo>
                            <a:pt x="876710" y="878060"/>
                          </a:lnTo>
                          <a:lnTo>
                            <a:pt x="874909" y="876710"/>
                          </a:lnTo>
                          <a:lnTo>
                            <a:pt x="873559" y="873109"/>
                          </a:lnTo>
                          <a:lnTo>
                            <a:pt x="876710" y="866358"/>
                          </a:lnTo>
                          <a:lnTo>
                            <a:pt x="880310" y="861858"/>
                          </a:lnTo>
                          <a:lnTo>
                            <a:pt x="884811" y="854657"/>
                          </a:lnTo>
                          <a:lnTo>
                            <a:pt x="888411" y="849706"/>
                          </a:lnTo>
                          <a:lnTo>
                            <a:pt x="890211" y="850606"/>
                          </a:lnTo>
                          <a:lnTo>
                            <a:pt x="892011" y="853307"/>
                          </a:lnTo>
                          <a:lnTo>
                            <a:pt x="889761" y="860508"/>
                          </a:lnTo>
                          <a:lnTo>
                            <a:pt x="887511" y="864108"/>
                          </a:lnTo>
                          <a:lnTo>
                            <a:pt x="886611" y="869959"/>
                          </a:lnTo>
                          <a:close/>
                          <a:moveTo>
                            <a:pt x="558520" y="885261"/>
                          </a:moveTo>
                          <a:lnTo>
                            <a:pt x="556270" y="885261"/>
                          </a:lnTo>
                          <a:lnTo>
                            <a:pt x="553569" y="883461"/>
                          </a:lnTo>
                          <a:lnTo>
                            <a:pt x="552669" y="881660"/>
                          </a:lnTo>
                          <a:lnTo>
                            <a:pt x="552219" y="878960"/>
                          </a:lnTo>
                          <a:lnTo>
                            <a:pt x="551769" y="875810"/>
                          </a:lnTo>
                          <a:lnTo>
                            <a:pt x="551319" y="873109"/>
                          </a:lnTo>
                          <a:lnTo>
                            <a:pt x="550419" y="871309"/>
                          </a:lnTo>
                          <a:lnTo>
                            <a:pt x="550419" y="869509"/>
                          </a:lnTo>
                          <a:lnTo>
                            <a:pt x="550869" y="868159"/>
                          </a:lnTo>
                          <a:lnTo>
                            <a:pt x="551769" y="867259"/>
                          </a:lnTo>
                          <a:lnTo>
                            <a:pt x="553569" y="866809"/>
                          </a:lnTo>
                          <a:lnTo>
                            <a:pt x="558070" y="863208"/>
                          </a:lnTo>
                          <a:lnTo>
                            <a:pt x="558970" y="863658"/>
                          </a:lnTo>
                          <a:lnTo>
                            <a:pt x="559420" y="865458"/>
                          </a:lnTo>
                          <a:lnTo>
                            <a:pt x="559870" y="870409"/>
                          </a:lnTo>
                          <a:lnTo>
                            <a:pt x="560320" y="873109"/>
                          </a:lnTo>
                          <a:lnTo>
                            <a:pt x="562120" y="878060"/>
                          </a:lnTo>
                          <a:lnTo>
                            <a:pt x="563020" y="881210"/>
                          </a:lnTo>
                          <a:lnTo>
                            <a:pt x="563020" y="882110"/>
                          </a:lnTo>
                          <a:lnTo>
                            <a:pt x="562570" y="883011"/>
                          </a:lnTo>
                          <a:lnTo>
                            <a:pt x="558520" y="885261"/>
                          </a:lnTo>
                          <a:close/>
                          <a:moveTo>
                            <a:pt x="525666" y="905513"/>
                          </a:moveTo>
                          <a:lnTo>
                            <a:pt x="523865" y="908214"/>
                          </a:lnTo>
                          <a:lnTo>
                            <a:pt x="522065" y="908214"/>
                          </a:lnTo>
                          <a:lnTo>
                            <a:pt x="519815" y="905513"/>
                          </a:lnTo>
                          <a:lnTo>
                            <a:pt x="517115" y="906413"/>
                          </a:lnTo>
                          <a:lnTo>
                            <a:pt x="513514" y="911814"/>
                          </a:lnTo>
                          <a:lnTo>
                            <a:pt x="512164" y="914965"/>
                          </a:lnTo>
                          <a:lnTo>
                            <a:pt x="511264" y="916315"/>
                          </a:lnTo>
                          <a:lnTo>
                            <a:pt x="508564" y="917215"/>
                          </a:lnTo>
                          <a:lnTo>
                            <a:pt x="507213" y="916315"/>
                          </a:lnTo>
                          <a:lnTo>
                            <a:pt x="505863" y="913614"/>
                          </a:lnTo>
                          <a:lnTo>
                            <a:pt x="504963" y="909114"/>
                          </a:lnTo>
                          <a:lnTo>
                            <a:pt x="505863" y="905513"/>
                          </a:lnTo>
                          <a:lnTo>
                            <a:pt x="508564" y="903263"/>
                          </a:lnTo>
                          <a:lnTo>
                            <a:pt x="515765" y="899213"/>
                          </a:lnTo>
                          <a:lnTo>
                            <a:pt x="517565" y="897412"/>
                          </a:lnTo>
                          <a:lnTo>
                            <a:pt x="517565" y="895162"/>
                          </a:lnTo>
                          <a:lnTo>
                            <a:pt x="518015" y="893812"/>
                          </a:lnTo>
                          <a:lnTo>
                            <a:pt x="518465" y="893362"/>
                          </a:lnTo>
                          <a:lnTo>
                            <a:pt x="522965" y="896962"/>
                          </a:lnTo>
                          <a:lnTo>
                            <a:pt x="525216" y="899213"/>
                          </a:lnTo>
                          <a:lnTo>
                            <a:pt x="527016" y="901913"/>
                          </a:lnTo>
                          <a:lnTo>
                            <a:pt x="527016" y="902813"/>
                          </a:lnTo>
                          <a:lnTo>
                            <a:pt x="525666" y="905513"/>
                          </a:lnTo>
                          <a:close/>
                          <a:moveTo>
                            <a:pt x="579222" y="946018"/>
                          </a:moveTo>
                          <a:lnTo>
                            <a:pt x="580573" y="952319"/>
                          </a:lnTo>
                          <a:lnTo>
                            <a:pt x="581023" y="955020"/>
                          </a:lnTo>
                          <a:lnTo>
                            <a:pt x="581023" y="960420"/>
                          </a:lnTo>
                          <a:lnTo>
                            <a:pt x="580573" y="967171"/>
                          </a:lnTo>
                          <a:lnTo>
                            <a:pt x="580123" y="968521"/>
                          </a:lnTo>
                          <a:lnTo>
                            <a:pt x="579672" y="968971"/>
                          </a:lnTo>
                          <a:lnTo>
                            <a:pt x="579222" y="970771"/>
                          </a:lnTo>
                          <a:lnTo>
                            <a:pt x="579222" y="973922"/>
                          </a:lnTo>
                          <a:lnTo>
                            <a:pt x="578772" y="975722"/>
                          </a:lnTo>
                          <a:lnTo>
                            <a:pt x="577422" y="976172"/>
                          </a:lnTo>
                          <a:lnTo>
                            <a:pt x="569771" y="977522"/>
                          </a:lnTo>
                          <a:lnTo>
                            <a:pt x="565271" y="977072"/>
                          </a:lnTo>
                          <a:lnTo>
                            <a:pt x="558070" y="977972"/>
                          </a:lnTo>
                          <a:lnTo>
                            <a:pt x="554469" y="977522"/>
                          </a:lnTo>
                          <a:lnTo>
                            <a:pt x="552219" y="976172"/>
                          </a:lnTo>
                          <a:lnTo>
                            <a:pt x="549069" y="973022"/>
                          </a:lnTo>
                          <a:lnTo>
                            <a:pt x="542318" y="965371"/>
                          </a:lnTo>
                          <a:lnTo>
                            <a:pt x="538717" y="964921"/>
                          </a:lnTo>
                          <a:lnTo>
                            <a:pt x="530166" y="962220"/>
                          </a:lnTo>
                          <a:lnTo>
                            <a:pt x="525216" y="954119"/>
                          </a:lnTo>
                          <a:lnTo>
                            <a:pt x="523415" y="952769"/>
                          </a:lnTo>
                          <a:lnTo>
                            <a:pt x="521615" y="955470"/>
                          </a:lnTo>
                          <a:lnTo>
                            <a:pt x="521165" y="955020"/>
                          </a:lnTo>
                          <a:lnTo>
                            <a:pt x="520715" y="953219"/>
                          </a:lnTo>
                          <a:lnTo>
                            <a:pt x="520265" y="950519"/>
                          </a:lnTo>
                          <a:lnTo>
                            <a:pt x="519365" y="949169"/>
                          </a:lnTo>
                          <a:lnTo>
                            <a:pt x="515765" y="950069"/>
                          </a:lnTo>
                          <a:lnTo>
                            <a:pt x="515314" y="949169"/>
                          </a:lnTo>
                          <a:lnTo>
                            <a:pt x="515314" y="946918"/>
                          </a:lnTo>
                          <a:lnTo>
                            <a:pt x="515314" y="944668"/>
                          </a:lnTo>
                          <a:lnTo>
                            <a:pt x="515765" y="941518"/>
                          </a:lnTo>
                          <a:lnTo>
                            <a:pt x="519815" y="932067"/>
                          </a:lnTo>
                          <a:lnTo>
                            <a:pt x="521615" y="931617"/>
                          </a:lnTo>
                          <a:lnTo>
                            <a:pt x="523865" y="929816"/>
                          </a:lnTo>
                          <a:lnTo>
                            <a:pt x="525216" y="924866"/>
                          </a:lnTo>
                          <a:lnTo>
                            <a:pt x="525216" y="919915"/>
                          </a:lnTo>
                          <a:lnTo>
                            <a:pt x="528816" y="912714"/>
                          </a:lnTo>
                          <a:lnTo>
                            <a:pt x="531066" y="910464"/>
                          </a:lnTo>
                          <a:lnTo>
                            <a:pt x="535117" y="905513"/>
                          </a:lnTo>
                          <a:lnTo>
                            <a:pt x="548168" y="897412"/>
                          </a:lnTo>
                          <a:lnTo>
                            <a:pt x="551769" y="896512"/>
                          </a:lnTo>
                          <a:lnTo>
                            <a:pt x="556720" y="896962"/>
                          </a:lnTo>
                          <a:lnTo>
                            <a:pt x="561220" y="899663"/>
                          </a:lnTo>
                          <a:lnTo>
                            <a:pt x="564821" y="903713"/>
                          </a:lnTo>
                          <a:lnTo>
                            <a:pt x="572022" y="914064"/>
                          </a:lnTo>
                          <a:lnTo>
                            <a:pt x="575172" y="920365"/>
                          </a:lnTo>
                          <a:lnTo>
                            <a:pt x="576972" y="926666"/>
                          </a:lnTo>
                          <a:lnTo>
                            <a:pt x="578772" y="930266"/>
                          </a:lnTo>
                          <a:lnTo>
                            <a:pt x="580573" y="937917"/>
                          </a:lnTo>
                          <a:lnTo>
                            <a:pt x="579672" y="941068"/>
                          </a:lnTo>
                          <a:lnTo>
                            <a:pt x="579222" y="945118"/>
                          </a:lnTo>
                          <a:lnTo>
                            <a:pt x="579222" y="946018"/>
                          </a:lnTo>
                          <a:close/>
                          <a:moveTo>
                            <a:pt x="355094" y="945118"/>
                          </a:moveTo>
                          <a:lnTo>
                            <a:pt x="351044" y="945568"/>
                          </a:lnTo>
                          <a:lnTo>
                            <a:pt x="344293" y="942868"/>
                          </a:lnTo>
                          <a:lnTo>
                            <a:pt x="340243" y="937917"/>
                          </a:lnTo>
                          <a:lnTo>
                            <a:pt x="338892" y="935667"/>
                          </a:lnTo>
                          <a:lnTo>
                            <a:pt x="338892" y="934767"/>
                          </a:lnTo>
                          <a:lnTo>
                            <a:pt x="339792" y="933867"/>
                          </a:lnTo>
                          <a:lnTo>
                            <a:pt x="340693" y="930717"/>
                          </a:lnTo>
                          <a:lnTo>
                            <a:pt x="342943" y="921715"/>
                          </a:lnTo>
                          <a:lnTo>
                            <a:pt x="343843" y="919465"/>
                          </a:lnTo>
                          <a:lnTo>
                            <a:pt x="347443" y="914064"/>
                          </a:lnTo>
                          <a:lnTo>
                            <a:pt x="350144" y="912714"/>
                          </a:lnTo>
                          <a:lnTo>
                            <a:pt x="355995" y="913164"/>
                          </a:lnTo>
                          <a:lnTo>
                            <a:pt x="359145" y="915865"/>
                          </a:lnTo>
                          <a:lnTo>
                            <a:pt x="360495" y="917665"/>
                          </a:lnTo>
                          <a:lnTo>
                            <a:pt x="361395" y="919915"/>
                          </a:lnTo>
                          <a:lnTo>
                            <a:pt x="362295" y="924866"/>
                          </a:lnTo>
                          <a:lnTo>
                            <a:pt x="362745" y="928016"/>
                          </a:lnTo>
                          <a:lnTo>
                            <a:pt x="364546" y="931617"/>
                          </a:lnTo>
                          <a:lnTo>
                            <a:pt x="364996" y="933417"/>
                          </a:lnTo>
                          <a:lnTo>
                            <a:pt x="364996" y="935217"/>
                          </a:lnTo>
                          <a:lnTo>
                            <a:pt x="364546" y="937017"/>
                          </a:lnTo>
                          <a:lnTo>
                            <a:pt x="363645" y="938818"/>
                          </a:lnTo>
                          <a:lnTo>
                            <a:pt x="361395" y="941518"/>
                          </a:lnTo>
                          <a:lnTo>
                            <a:pt x="355094" y="945118"/>
                          </a:lnTo>
                          <a:close/>
                          <a:moveTo>
                            <a:pt x="541868" y="987874"/>
                          </a:moveTo>
                          <a:lnTo>
                            <a:pt x="540968" y="988324"/>
                          </a:lnTo>
                          <a:lnTo>
                            <a:pt x="539167" y="987874"/>
                          </a:lnTo>
                          <a:lnTo>
                            <a:pt x="531966" y="984273"/>
                          </a:lnTo>
                          <a:lnTo>
                            <a:pt x="530616" y="982923"/>
                          </a:lnTo>
                          <a:lnTo>
                            <a:pt x="530166" y="982023"/>
                          </a:lnTo>
                          <a:lnTo>
                            <a:pt x="531966" y="980673"/>
                          </a:lnTo>
                          <a:lnTo>
                            <a:pt x="532417" y="979323"/>
                          </a:lnTo>
                          <a:lnTo>
                            <a:pt x="534217" y="977522"/>
                          </a:lnTo>
                          <a:lnTo>
                            <a:pt x="537367" y="977522"/>
                          </a:lnTo>
                          <a:lnTo>
                            <a:pt x="540518" y="981573"/>
                          </a:lnTo>
                          <a:lnTo>
                            <a:pt x="542318" y="985173"/>
                          </a:lnTo>
                          <a:lnTo>
                            <a:pt x="542318" y="986974"/>
                          </a:lnTo>
                          <a:lnTo>
                            <a:pt x="541868" y="987874"/>
                          </a:lnTo>
                          <a:close/>
                          <a:moveTo>
                            <a:pt x="498662" y="986523"/>
                          </a:moveTo>
                          <a:lnTo>
                            <a:pt x="492362" y="991474"/>
                          </a:lnTo>
                          <a:lnTo>
                            <a:pt x="491011" y="989674"/>
                          </a:lnTo>
                          <a:lnTo>
                            <a:pt x="490561" y="987874"/>
                          </a:lnTo>
                          <a:lnTo>
                            <a:pt x="495512" y="980673"/>
                          </a:lnTo>
                          <a:lnTo>
                            <a:pt x="497762" y="978873"/>
                          </a:lnTo>
                          <a:lnTo>
                            <a:pt x="500013" y="981123"/>
                          </a:lnTo>
                          <a:lnTo>
                            <a:pt x="500462" y="982923"/>
                          </a:lnTo>
                          <a:lnTo>
                            <a:pt x="500013" y="984273"/>
                          </a:lnTo>
                          <a:lnTo>
                            <a:pt x="498662" y="986523"/>
                          </a:lnTo>
                          <a:close/>
                          <a:moveTo>
                            <a:pt x="587323" y="1015327"/>
                          </a:moveTo>
                          <a:lnTo>
                            <a:pt x="595874" y="1018928"/>
                          </a:lnTo>
                          <a:lnTo>
                            <a:pt x="599925" y="1021178"/>
                          </a:lnTo>
                          <a:lnTo>
                            <a:pt x="601725" y="1022978"/>
                          </a:lnTo>
                          <a:lnTo>
                            <a:pt x="605326" y="1028379"/>
                          </a:lnTo>
                          <a:lnTo>
                            <a:pt x="607126" y="1029729"/>
                          </a:lnTo>
                          <a:lnTo>
                            <a:pt x="614327" y="1026579"/>
                          </a:lnTo>
                          <a:lnTo>
                            <a:pt x="619727" y="1025228"/>
                          </a:lnTo>
                          <a:lnTo>
                            <a:pt x="631429" y="1026579"/>
                          </a:lnTo>
                          <a:lnTo>
                            <a:pt x="641330" y="1031079"/>
                          </a:lnTo>
                          <a:lnTo>
                            <a:pt x="644931" y="1034229"/>
                          </a:lnTo>
                          <a:lnTo>
                            <a:pt x="647181" y="1037380"/>
                          </a:lnTo>
                          <a:lnTo>
                            <a:pt x="646731" y="1040530"/>
                          </a:lnTo>
                          <a:lnTo>
                            <a:pt x="644931" y="1045931"/>
                          </a:lnTo>
                          <a:lnTo>
                            <a:pt x="642680" y="1050882"/>
                          </a:lnTo>
                          <a:lnTo>
                            <a:pt x="638630" y="1058983"/>
                          </a:lnTo>
                          <a:lnTo>
                            <a:pt x="635029" y="1063033"/>
                          </a:lnTo>
                          <a:lnTo>
                            <a:pt x="634129" y="1064833"/>
                          </a:lnTo>
                          <a:lnTo>
                            <a:pt x="633679" y="1067534"/>
                          </a:lnTo>
                          <a:lnTo>
                            <a:pt x="632329" y="1071584"/>
                          </a:lnTo>
                          <a:lnTo>
                            <a:pt x="628279" y="1079685"/>
                          </a:lnTo>
                          <a:lnTo>
                            <a:pt x="627378" y="1081035"/>
                          </a:lnTo>
                          <a:lnTo>
                            <a:pt x="621978" y="1084636"/>
                          </a:lnTo>
                          <a:lnTo>
                            <a:pt x="623778" y="1086436"/>
                          </a:lnTo>
                          <a:lnTo>
                            <a:pt x="624678" y="1087786"/>
                          </a:lnTo>
                          <a:lnTo>
                            <a:pt x="623778" y="1091387"/>
                          </a:lnTo>
                          <a:lnTo>
                            <a:pt x="620177" y="1099938"/>
                          </a:lnTo>
                          <a:lnTo>
                            <a:pt x="616577" y="1108039"/>
                          </a:lnTo>
                          <a:lnTo>
                            <a:pt x="613877" y="1112989"/>
                          </a:lnTo>
                          <a:lnTo>
                            <a:pt x="609376" y="1119740"/>
                          </a:lnTo>
                          <a:lnTo>
                            <a:pt x="606676" y="1121540"/>
                          </a:lnTo>
                          <a:lnTo>
                            <a:pt x="603525" y="1121990"/>
                          </a:lnTo>
                          <a:lnTo>
                            <a:pt x="583273" y="1116140"/>
                          </a:lnTo>
                          <a:lnTo>
                            <a:pt x="578322" y="1116140"/>
                          </a:lnTo>
                          <a:lnTo>
                            <a:pt x="564821" y="1119290"/>
                          </a:lnTo>
                          <a:lnTo>
                            <a:pt x="566171" y="1120640"/>
                          </a:lnTo>
                          <a:lnTo>
                            <a:pt x="571121" y="1122891"/>
                          </a:lnTo>
                          <a:lnTo>
                            <a:pt x="574272" y="1125591"/>
                          </a:lnTo>
                          <a:lnTo>
                            <a:pt x="578322" y="1133242"/>
                          </a:lnTo>
                          <a:lnTo>
                            <a:pt x="578772" y="1135042"/>
                          </a:lnTo>
                          <a:lnTo>
                            <a:pt x="579222" y="1137292"/>
                          </a:lnTo>
                          <a:lnTo>
                            <a:pt x="579222" y="1141793"/>
                          </a:lnTo>
                          <a:lnTo>
                            <a:pt x="578772" y="1142693"/>
                          </a:lnTo>
                          <a:lnTo>
                            <a:pt x="572022" y="1154395"/>
                          </a:lnTo>
                          <a:lnTo>
                            <a:pt x="569771" y="1162946"/>
                          </a:lnTo>
                          <a:lnTo>
                            <a:pt x="568421" y="1170146"/>
                          </a:lnTo>
                          <a:lnTo>
                            <a:pt x="566171" y="1171947"/>
                          </a:lnTo>
                          <a:lnTo>
                            <a:pt x="558520" y="1168796"/>
                          </a:lnTo>
                          <a:lnTo>
                            <a:pt x="556270" y="1168796"/>
                          </a:lnTo>
                          <a:lnTo>
                            <a:pt x="547718" y="1171047"/>
                          </a:lnTo>
                          <a:lnTo>
                            <a:pt x="543668" y="1170146"/>
                          </a:lnTo>
                          <a:lnTo>
                            <a:pt x="544118" y="1159795"/>
                          </a:lnTo>
                          <a:lnTo>
                            <a:pt x="543668" y="1148544"/>
                          </a:lnTo>
                          <a:lnTo>
                            <a:pt x="542318" y="1137742"/>
                          </a:lnTo>
                          <a:lnTo>
                            <a:pt x="536017" y="1117940"/>
                          </a:lnTo>
                          <a:lnTo>
                            <a:pt x="535117" y="1114340"/>
                          </a:lnTo>
                          <a:lnTo>
                            <a:pt x="534667" y="1110289"/>
                          </a:lnTo>
                          <a:lnTo>
                            <a:pt x="534217" y="1106238"/>
                          </a:lnTo>
                          <a:lnTo>
                            <a:pt x="534217" y="1102188"/>
                          </a:lnTo>
                          <a:lnTo>
                            <a:pt x="534667" y="1093637"/>
                          </a:lnTo>
                          <a:lnTo>
                            <a:pt x="534667" y="1089136"/>
                          </a:lnTo>
                          <a:lnTo>
                            <a:pt x="534217" y="1077885"/>
                          </a:lnTo>
                          <a:lnTo>
                            <a:pt x="533317" y="1060783"/>
                          </a:lnTo>
                          <a:lnTo>
                            <a:pt x="533317" y="1054482"/>
                          </a:lnTo>
                          <a:lnTo>
                            <a:pt x="533317" y="1052232"/>
                          </a:lnTo>
                          <a:lnTo>
                            <a:pt x="533767" y="1050431"/>
                          </a:lnTo>
                          <a:lnTo>
                            <a:pt x="535117" y="1048181"/>
                          </a:lnTo>
                          <a:lnTo>
                            <a:pt x="537817" y="1046381"/>
                          </a:lnTo>
                          <a:lnTo>
                            <a:pt x="539167" y="1045931"/>
                          </a:lnTo>
                          <a:lnTo>
                            <a:pt x="547268" y="1051332"/>
                          </a:lnTo>
                          <a:lnTo>
                            <a:pt x="550869" y="1053132"/>
                          </a:lnTo>
                          <a:lnTo>
                            <a:pt x="553569" y="1053132"/>
                          </a:lnTo>
                          <a:lnTo>
                            <a:pt x="553569" y="1052682"/>
                          </a:lnTo>
                          <a:lnTo>
                            <a:pt x="551319" y="1051782"/>
                          </a:lnTo>
                          <a:lnTo>
                            <a:pt x="549069" y="1049531"/>
                          </a:lnTo>
                          <a:lnTo>
                            <a:pt x="545468" y="1042781"/>
                          </a:lnTo>
                          <a:lnTo>
                            <a:pt x="543668" y="1036930"/>
                          </a:lnTo>
                          <a:lnTo>
                            <a:pt x="543218" y="1035130"/>
                          </a:lnTo>
                          <a:lnTo>
                            <a:pt x="543218" y="1033329"/>
                          </a:lnTo>
                          <a:lnTo>
                            <a:pt x="543218" y="1031079"/>
                          </a:lnTo>
                          <a:lnTo>
                            <a:pt x="543668" y="1029279"/>
                          </a:lnTo>
                          <a:lnTo>
                            <a:pt x="545468" y="1026128"/>
                          </a:lnTo>
                          <a:lnTo>
                            <a:pt x="546818" y="1024778"/>
                          </a:lnTo>
                          <a:lnTo>
                            <a:pt x="552219" y="1021178"/>
                          </a:lnTo>
                          <a:lnTo>
                            <a:pt x="557620" y="1018928"/>
                          </a:lnTo>
                          <a:lnTo>
                            <a:pt x="569321" y="1017577"/>
                          </a:lnTo>
                          <a:lnTo>
                            <a:pt x="572471" y="1018477"/>
                          </a:lnTo>
                          <a:lnTo>
                            <a:pt x="577422" y="1014877"/>
                          </a:lnTo>
                          <a:lnTo>
                            <a:pt x="580573" y="1013977"/>
                          </a:lnTo>
                          <a:lnTo>
                            <a:pt x="587323" y="1015327"/>
                          </a:lnTo>
                          <a:close/>
                          <a:moveTo>
                            <a:pt x="479310" y="1037830"/>
                          </a:moveTo>
                          <a:lnTo>
                            <a:pt x="473009" y="1039630"/>
                          </a:lnTo>
                          <a:lnTo>
                            <a:pt x="470309" y="1038730"/>
                          </a:lnTo>
                          <a:lnTo>
                            <a:pt x="468959" y="1040980"/>
                          </a:lnTo>
                          <a:lnTo>
                            <a:pt x="467608" y="1041880"/>
                          </a:lnTo>
                          <a:lnTo>
                            <a:pt x="464458" y="1042330"/>
                          </a:lnTo>
                          <a:lnTo>
                            <a:pt x="457707" y="1038730"/>
                          </a:lnTo>
                          <a:lnTo>
                            <a:pt x="455907" y="1037380"/>
                          </a:lnTo>
                          <a:lnTo>
                            <a:pt x="455007" y="1036030"/>
                          </a:lnTo>
                          <a:lnTo>
                            <a:pt x="455457" y="1034679"/>
                          </a:lnTo>
                          <a:lnTo>
                            <a:pt x="456807" y="1033329"/>
                          </a:lnTo>
                          <a:lnTo>
                            <a:pt x="462208" y="1031529"/>
                          </a:lnTo>
                          <a:lnTo>
                            <a:pt x="464008" y="1030179"/>
                          </a:lnTo>
                          <a:lnTo>
                            <a:pt x="464908" y="1028379"/>
                          </a:lnTo>
                          <a:lnTo>
                            <a:pt x="466258" y="1027029"/>
                          </a:lnTo>
                          <a:lnTo>
                            <a:pt x="468059" y="1026128"/>
                          </a:lnTo>
                          <a:lnTo>
                            <a:pt x="473009" y="1025228"/>
                          </a:lnTo>
                          <a:lnTo>
                            <a:pt x="484261" y="1019828"/>
                          </a:lnTo>
                          <a:lnTo>
                            <a:pt x="489661" y="1018928"/>
                          </a:lnTo>
                          <a:lnTo>
                            <a:pt x="491911" y="1019378"/>
                          </a:lnTo>
                          <a:lnTo>
                            <a:pt x="492362" y="1020728"/>
                          </a:lnTo>
                          <a:lnTo>
                            <a:pt x="492362" y="1022078"/>
                          </a:lnTo>
                          <a:lnTo>
                            <a:pt x="491911" y="1023428"/>
                          </a:lnTo>
                          <a:lnTo>
                            <a:pt x="490111" y="1027029"/>
                          </a:lnTo>
                          <a:lnTo>
                            <a:pt x="487861" y="1029729"/>
                          </a:lnTo>
                          <a:lnTo>
                            <a:pt x="482010" y="1036030"/>
                          </a:lnTo>
                          <a:lnTo>
                            <a:pt x="479310" y="1037830"/>
                          </a:lnTo>
                          <a:close/>
                          <a:moveTo>
                            <a:pt x="442405" y="1031529"/>
                          </a:moveTo>
                          <a:lnTo>
                            <a:pt x="460408" y="1047731"/>
                          </a:lnTo>
                          <a:lnTo>
                            <a:pt x="463108" y="1046381"/>
                          </a:lnTo>
                          <a:lnTo>
                            <a:pt x="468509" y="1045481"/>
                          </a:lnTo>
                          <a:lnTo>
                            <a:pt x="474359" y="1043231"/>
                          </a:lnTo>
                          <a:lnTo>
                            <a:pt x="482010" y="1041430"/>
                          </a:lnTo>
                          <a:lnTo>
                            <a:pt x="486961" y="1037830"/>
                          </a:lnTo>
                          <a:lnTo>
                            <a:pt x="489211" y="1036930"/>
                          </a:lnTo>
                          <a:lnTo>
                            <a:pt x="492812" y="1036480"/>
                          </a:lnTo>
                          <a:lnTo>
                            <a:pt x="494612" y="1036480"/>
                          </a:lnTo>
                          <a:lnTo>
                            <a:pt x="500013" y="1038280"/>
                          </a:lnTo>
                          <a:lnTo>
                            <a:pt x="502263" y="1039630"/>
                          </a:lnTo>
                          <a:lnTo>
                            <a:pt x="503613" y="1040980"/>
                          </a:lnTo>
                          <a:lnTo>
                            <a:pt x="504963" y="1043681"/>
                          </a:lnTo>
                          <a:lnTo>
                            <a:pt x="507213" y="1049981"/>
                          </a:lnTo>
                          <a:lnTo>
                            <a:pt x="507663" y="1052232"/>
                          </a:lnTo>
                          <a:lnTo>
                            <a:pt x="507663" y="1052682"/>
                          </a:lnTo>
                          <a:lnTo>
                            <a:pt x="505863" y="1056732"/>
                          </a:lnTo>
                          <a:lnTo>
                            <a:pt x="504513" y="1058533"/>
                          </a:lnTo>
                          <a:lnTo>
                            <a:pt x="501813" y="1060333"/>
                          </a:lnTo>
                          <a:lnTo>
                            <a:pt x="499562" y="1060783"/>
                          </a:lnTo>
                          <a:lnTo>
                            <a:pt x="497762" y="1063483"/>
                          </a:lnTo>
                          <a:lnTo>
                            <a:pt x="495512" y="1062583"/>
                          </a:lnTo>
                          <a:lnTo>
                            <a:pt x="495062" y="1065283"/>
                          </a:lnTo>
                          <a:lnTo>
                            <a:pt x="495512" y="1066634"/>
                          </a:lnTo>
                          <a:lnTo>
                            <a:pt x="495962" y="1067534"/>
                          </a:lnTo>
                          <a:lnTo>
                            <a:pt x="497312" y="1067534"/>
                          </a:lnTo>
                          <a:lnTo>
                            <a:pt x="498662" y="1066634"/>
                          </a:lnTo>
                          <a:lnTo>
                            <a:pt x="501363" y="1067084"/>
                          </a:lnTo>
                          <a:lnTo>
                            <a:pt x="502713" y="1068884"/>
                          </a:lnTo>
                          <a:lnTo>
                            <a:pt x="504063" y="1071584"/>
                          </a:lnTo>
                          <a:lnTo>
                            <a:pt x="503163" y="1074285"/>
                          </a:lnTo>
                          <a:lnTo>
                            <a:pt x="498662" y="1077885"/>
                          </a:lnTo>
                          <a:lnTo>
                            <a:pt x="491911" y="1081935"/>
                          </a:lnTo>
                          <a:lnTo>
                            <a:pt x="481110" y="1093637"/>
                          </a:lnTo>
                          <a:lnTo>
                            <a:pt x="477060" y="1099038"/>
                          </a:lnTo>
                          <a:lnTo>
                            <a:pt x="476159" y="1100838"/>
                          </a:lnTo>
                          <a:lnTo>
                            <a:pt x="475709" y="1102638"/>
                          </a:lnTo>
                          <a:lnTo>
                            <a:pt x="475709" y="1105788"/>
                          </a:lnTo>
                          <a:lnTo>
                            <a:pt x="475709" y="1107139"/>
                          </a:lnTo>
                          <a:lnTo>
                            <a:pt x="477060" y="1107589"/>
                          </a:lnTo>
                          <a:lnTo>
                            <a:pt x="481110" y="1103538"/>
                          </a:lnTo>
                          <a:lnTo>
                            <a:pt x="483810" y="1101738"/>
                          </a:lnTo>
                          <a:lnTo>
                            <a:pt x="486511" y="1100838"/>
                          </a:lnTo>
                          <a:lnTo>
                            <a:pt x="491011" y="1100838"/>
                          </a:lnTo>
                          <a:lnTo>
                            <a:pt x="492812" y="1101288"/>
                          </a:lnTo>
                          <a:lnTo>
                            <a:pt x="496412" y="1103988"/>
                          </a:lnTo>
                          <a:lnTo>
                            <a:pt x="499562" y="1108039"/>
                          </a:lnTo>
                          <a:lnTo>
                            <a:pt x="500462" y="1109389"/>
                          </a:lnTo>
                          <a:lnTo>
                            <a:pt x="500013" y="1110739"/>
                          </a:lnTo>
                          <a:lnTo>
                            <a:pt x="498662" y="1112089"/>
                          </a:lnTo>
                          <a:lnTo>
                            <a:pt x="498662" y="1112989"/>
                          </a:lnTo>
                          <a:lnTo>
                            <a:pt x="501813" y="1114790"/>
                          </a:lnTo>
                          <a:lnTo>
                            <a:pt x="504963" y="1120190"/>
                          </a:lnTo>
                          <a:lnTo>
                            <a:pt x="504963" y="1123341"/>
                          </a:lnTo>
                          <a:lnTo>
                            <a:pt x="503613" y="1126491"/>
                          </a:lnTo>
                          <a:lnTo>
                            <a:pt x="503163" y="1128741"/>
                          </a:lnTo>
                          <a:lnTo>
                            <a:pt x="503613" y="1129641"/>
                          </a:lnTo>
                          <a:lnTo>
                            <a:pt x="505413" y="1129191"/>
                          </a:lnTo>
                          <a:lnTo>
                            <a:pt x="509464" y="1125591"/>
                          </a:lnTo>
                          <a:lnTo>
                            <a:pt x="513514" y="1123791"/>
                          </a:lnTo>
                          <a:lnTo>
                            <a:pt x="515314" y="1123791"/>
                          </a:lnTo>
                          <a:lnTo>
                            <a:pt x="516214" y="1124691"/>
                          </a:lnTo>
                          <a:lnTo>
                            <a:pt x="517115" y="1129641"/>
                          </a:lnTo>
                          <a:lnTo>
                            <a:pt x="518015" y="1135042"/>
                          </a:lnTo>
                          <a:lnTo>
                            <a:pt x="518015" y="1139543"/>
                          </a:lnTo>
                          <a:lnTo>
                            <a:pt x="517115" y="1143143"/>
                          </a:lnTo>
                          <a:lnTo>
                            <a:pt x="516214" y="1145843"/>
                          </a:lnTo>
                          <a:lnTo>
                            <a:pt x="513514" y="1149444"/>
                          </a:lnTo>
                          <a:lnTo>
                            <a:pt x="511264" y="1150794"/>
                          </a:lnTo>
                          <a:lnTo>
                            <a:pt x="509914" y="1150794"/>
                          </a:lnTo>
                          <a:lnTo>
                            <a:pt x="509914" y="1151244"/>
                          </a:lnTo>
                          <a:lnTo>
                            <a:pt x="512614" y="1154395"/>
                          </a:lnTo>
                          <a:lnTo>
                            <a:pt x="513964" y="1156645"/>
                          </a:lnTo>
                          <a:lnTo>
                            <a:pt x="514414" y="1158895"/>
                          </a:lnTo>
                          <a:lnTo>
                            <a:pt x="514414" y="1161145"/>
                          </a:lnTo>
                          <a:lnTo>
                            <a:pt x="513964" y="1162946"/>
                          </a:lnTo>
                          <a:lnTo>
                            <a:pt x="510814" y="1169696"/>
                          </a:lnTo>
                          <a:lnTo>
                            <a:pt x="510814" y="1170597"/>
                          </a:lnTo>
                          <a:lnTo>
                            <a:pt x="511714" y="1171047"/>
                          </a:lnTo>
                          <a:lnTo>
                            <a:pt x="513514" y="1175097"/>
                          </a:lnTo>
                          <a:lnTo>
                            <a:pt x="513964" y="1184098"/>
                          </a:lnTo>
                          <a:lnTo>
                            <a:pt x="506763" y="1186799"/>
                          </a:lnTo>
                          <a:lnTo>
                            <a:pt x="504963" y="1189049"/>
                          </a:lnTo>
                          <a:lnTo>
                            <a:pt x="503163" y="1192649"/>
                          </a:lnTo>
                          <a:lnTo>
                            <a:pt x="500913" y="1195350"/>
                          </a:lnTo>
                          <a:lnTo>
                            <a:pt x="495962" y="1198050"/>
                          </a:lnTo>
                          <a:lnTo>
                            <a:pt x="493262" y="1198500"/>
                          </a:lnTo>
                          <a:lnTo>
                            <a:pt x="480660" y="1196250"/>
                          </a:lnTo>
                          <a:lnTo>
                            <a:pt x="479310" y="1194900"/>
                          </a:lnTo>
                          <a:lnTo>
                            <a:pt x="478410" y="1192649"/>
                          </a:lnTo>
                          <a:lnTo>
                            <a:pt x="477960" y="1189499"/>
                          </a:lnTo>
                          <a:lnTo>
                            <a:pt x="477960" y="1186799"/>
                          </a:lnTo>
                          <a:lnTo>
                            <a:pt x="478410" y="1184998"/>
                          </a:lnTo>
                          <a:lnTo>
                            <a:pt x="478410" y="1184098"/>
                          </a:lnTo>
                          <a:lnTo>
                            <a:pt x="477960" y="1183648"/>
                          </a:lnTo>
                          <a:lnTo>
                            <a:pt x="476610" y="1185448"/>
                          </a:lnTo>
                          <a:lnTo>
                            <a:pt x="475259" y="1189049"/>
                          </a:lnTo>
                          <a:lnTo>
                            <a:pt x="476159" y="1193099"/>
                          </a:lnTo>
                          <a:lnTo>
                            <a:pt x="480210" y="1203901"/>
                          </a:lnTo>
                          <a:lnTo>
                            <a:pt x="481110" y="1208401"/>
                          </a:lnTo>
                          <a:lnTo>
                            <a:pt x="481110" y="1210201"/>
                          </a:lnTo>
                          <a:lnTo>
                            <a:pt x="481110" y="1211552"/>
                          </a:lnTo>
                          <a:lnTo>
                            <a:pt x="476610" y="1217852"/>
                          </a:lnTo>
                          <a:lnTo>
                            <a:pt x="473909" y="1220103"/>
                          </a:lnTo>
                          <a:lnTo>
                            <a:pt x="471209" y="1221003"/>
                          </a:lnTo>
                          <a:lnTo>
                            <a:pt x="468509" y="1220103"/>
                          </a:lnTo>
                          <a:lnTo>
                            <a:pt x="466258" y="1217402"/>
                          </a:lnTo>
                          <a:lnTo>
                            <a:pt x="464458" y="1216052"/>
                          </a:lnTo>
                          <a:lnTo>
                            <a:pt x="460408" y="1216052"/>
                          </a:lnTo>
                          <a:lnTo>
                            <a:pt x="459057" y="1214702"/>
                          </a:lnTo>
                          <a:lnTo>
                            <a:pt x="458157" y="1212452"/>
                          </a:lnTo>
                          <a:lnTo>
                            <a:pt x="455457" y="1203451"/>
                          </a:lnTo>
                          <a:lnTo>
                            <a:pt x="451856" y="1197150"/>
                          </a:lnTo>
                          <a:lnTo>
                            <a:pt x="448706" y="1189949"/>
                          </a:lnTo>
                          <a:lnTo>
                            <a:pt x="440605" y="1179598"/>
                          </a:lnTo>
                          <a:lnTo>
                            <a:pt x="436104" y="1173297"/>
                          </a:lnTo>
                          <a:lnTo>
                            <a:pt x="430254" y="1162946"/>
                          </a:lnTo>
                          <a:lnTo>
                            <a:pt x="428004" y="1160695"/>
                          </a:lnTo>
                          <a:lnTo>
                            <a:pt x="426203" y="1159795"/>
                          </a:lnTo>
                          <a:lnTo>
                            <a:pt x="422153" y="1158895"/>
                          </a:lnTo>
                          <a:lnTo>
                            <a:pt x="421253" y="1157545"/>
                          </a:lnTo>
                          <a:lnTo>
                            <a:pt x="419902" y="1153944"/>
                          </a:lnTo>
                          <a:lnTo>
                            <a:pt x="417652" y="1151244"/>
                          </a:lnTo>
                          <a:lnTo>
                            <a:pt x="416752" y="1150794"/>
                          </a:lnTo>
                          <a:lnTo>
                            <a:pt x="415402" y="1151244"/>
                          </a:lnTo>
                          <a:lnTo>
                            <a:pt x="411801" y="1153494"/>
                          </a:lnTo>
                          <a:lnTo>
                            <a:pt x="406851" y="1150794"/>
                          </a:lnTo>
                          <a:lnTo>
                            <a:pt x="405951" y="1148994"/>
                          </a:lnTo>
                          <a:lnTo>
                            <a:pt x="405501" y="1145843"/>
                          </a:lnTo>
                          <a:lnTo>
                            <a:pt x="405051" y="1144043"/>
                          </a:lnTo>
                          <a:lnTo>
                            <a:pt x="403250" y="1142693"/>
                          </a:lnTo>
                          <a:lnTo>
                            <a:pt x="401900" y="1138643"/>
                          </a:lnTo>
                          <a:lnTo>
                            <a:pt x="392899" y="1130992"/>
                          </a:lnTo>
                          <a:lnTo>
                            <a:pt x="387498" y="1121990"/>
                          </a:lnTo>
                          <a:lnTo>
                            <a:pt x="386598" y="1118840"/>
                          </a:lnTo>
                          <a:lnTo>
                            <a:pt x="386598" y="1117490"/>
                          </a:lnTo>
                          <a:lnTo>
                            <a:pt x="387048" y="1112989"/>
                          </a:lnTo>
                          <a:lnTo>
                            <a:pt x="388399" y="1108039"/>
                          </a:lnTo>
                          <a:lnTo>
                            <a:pt x="390199" y="1103088"/>
                          </a:lnTo>
                          <a:lnTo>
                            <a:pt x="391099" y="1101288"/>
                          </a:lnTo>
                          <a:lnTo>
                            <a:pt x="394699" y="1097237"/>
                          </a:lnTo>
                          <a:lnTo>
                            <a:pt x="397400" y="1096337"/>
                          </a:lnTo>
                          <a:lnTo>
                            <a:pt x="401450" y="1096787"/>
                          </a:lnTo>
                          <a:lnTo>
                            <a:pt x="403700" y="1097687"/>
                          </a:lnTo>
                          <a:lnTo>
                            <a:pt x="405501" y="1100388"/>
                          </a:lnTo>
                          <a:lnTo>
                            <a:pt x="406401" y="1103538"/>
                          </a:lnTo>
                          <a:lnTo>
                            <a:pt x="407301" y="1105788"/>
                          </a:lnTo>
                          <a:lnTo>
                            <a:pt x="410001" y="1108039"/>
                          </a:lnTo>
                          <a:lnTo>
                            <a:pt x="411801" y="1109839"/>
                          </a:lnTo>
                          <a:lnTo>
                            <a:pt x="414052" y="1114340"/>
                          </a:lnTo>
                          <a:lnTo>
                            <a:pt x="415852" y="1119740"/>
                          </a:lnTo>
                          <a:lnTo>
                            <a:pt x="417652" y="1121540"/>
                          </a:lnTo>
                          <a:lnTo>
                            <a:pt x="421703" y="1121990"/>
                          </a:lnTo>
                          <a:lnTo>
                            <a:pt x="425753" y="1121090"/>
                          </a:lnTo>
                          <a:lnTo>
                            <a:pt x="434304" y="1117940"/>
                          </a:lnTo>
                          <a:lnTo>
                            <a:pt x="434754" y="1117490"/>
                          </a:lnTo>
                          <a:lnTo>
                            <a:pt x="435204" y="1115690"/>
                          </a:lnTo>
                          <a:lnTo>
                            <a:pt x="436104" y="1103538"/>
                          </a:lnTo>
                          <a:lnTo>
                            <a:pt x="436555" y="1103538"/>
                          </a:lnTo>
                          <a:lnTo>
                            <a:pt x="439705" y="1109389"/>
                          </a:lnTo>
                          <a:lnTo>
                            <a:pt x="440605" y="1109839"/>
                          </a:lnTo>
                          <a:lnTo>
                            <a:pt x="441955" y="1108489"/>
                          </a:lnTo>
                          <a:lnTo>
                            <a:pt x="442855" y="1105788"/>
                          </a:lnTo>
                          <a:lnTo>
                            <a:pt x="442855" y="1104438"/>
                          </a:lnTo>
                          <a:lnTo>
                            <a:pt x="441055" y="1097687"/>
                          </a:lnTo>
                          <a:lnTo>
                            <a:pt x="440155" y="1094987"/>
                          </a:lnTo>
                          <a:lnTo>
                            <a:pt x="439255" y="1093187"/>
                          </a:lnTo>
                          <a:lnTo>
                            <a:pt x="438355" y="1092737"/>
                          </a:lnTo>
                          <a:lnTo>
                            <a:pt x="436104" y="1093187"/>
                          </a:lnTo>
                          <a:lnTo>
                            <a:pt x="434304" y="1091837"/>
                          </a:lnTo>
                          <a:lnTo>
                            <a:pt x="433854" y="1090037"/>
                          </a:lnTo>
                          <a:lnTo>
                            <a:pt x="434304" y="1087336"/>
                          </a:lnTo>
                          <a:lnTo>
                            <a:pt x="435204" y="1084636"/>
                          </a:lnTo>
                          <a:lnTo>
                            <a:pt x="436104" y="1083286"/>
                          </a:lnTo>
                          <a:lnTo>
                            <a:pt x="438355" y="1082386"/>
                          </a:lnTo>
                          <a:lnTo>
                            <a:pt x="440605" y="1083286"/>
                          </a:lnTo>
                          <a:lnTo>
                            <a:pt x="443756" y="1086436"/>
                          </a:lnTo>
                          <a:lnTo>
                            <a:pt x="446006" y="1087336"/>
                          </a:lnTo>
                          <a:lnTo>
                            <a:pt x="449156" y="1086436"/>
                          </a:lnTo>
                          <a:lnTo>
                            <a:pt x="445106" y="1084636"/>
                          </a:lnTo>
                          <a:lnTo>
                            <a:pt x="439705" y="1076985"/>
                          </a:lnTo>
                          <a:lnTo>
                            <a:pt x="437455" y="1075635"/>
                          </a:lnTo>
                          <a:lnTo>
                            <a:pt x="434754" y="1078785"/>
                          </a:lnTo>
                          <a:lnTo>
                            <a:pt x="432954" y="1080135"/>
                          </a:lnTo>
                          <a:lnTo>
                            <a:pt x="429354" y="1081485"/>
                          </a:lnTo>
                          <a:lnTo>
                            <a:pt x="426653" y="1081935"/>
                          </a:lnTo>
                          <a:lnTo>
                            <a:pt x="414952" y="1070234"/>
                          </a:lnTo>
                          <a:lnTo>
                            <a:pt x="414502" y="1069334"/>
                          </a:lnTo>
                          <a:lnTo>
                            <a:pt x="413602" y="1066183"/>
                          </a:lnTo>
                          <a:lnTo>
                            <a:pt x="413602" y="1064833"/>
                          </a:lnTo>
                          <a:lnTo>
                            <a:pt x="414952" y="1062583"/>
                          </a:lnTo>
                          <a:lnTo>
                            <a:pt x="418102" y="1059883"/>
                          </a:lnTo>
                          <a:lnTo>
                            <a:pt x="422603" y="1058082"/>
                          </a:lnTo>
                          <a:lnTo>
                            <a:pt x="425753" y="1057632"/>
                          </a:lnTo>
                          <a:lnTo>
                            <a:pt x="428453" y="1059883"/>
                          </a:lnTo>
                          <a:lnTo>
                            <a:pt x="432054" y="1065733"/>
                          </a:lnTo>
                          <a:lnTo>
                            <a:pt x="435204" y="1068884"/>
                          </a:lnTo>
                          <a:lnTo>
                            <a:pt x="435654" y="1067534"/>
                          </a:lnTo>
                          <a:lnTo>
                            <a:pt x="435204" y="1064383"/>
                          </a:lnTo>
                          <a:lnTo>
                            <a:pt x="433854" y="1059433"/>
                          </a:lnTo>
                          <a:lnTo>
                            <a:pt x="432954" y="1058082"/>
                          </a:lnTo>
                          <a:lnTo>
                            <a:pt x="430254" y="1056732"/>
                          </a:lnTo>
                          <a:lnTo>
                            <a:pt x="428004" y="1053132"/>
                          </a:lnTo>
                          <a:lnTo>
                            <a:pt x="426653" y="1050431"/>
                          </a:lnTo>
                          <a:lnTo>
                            <a:pt x="426203" y="1047731"/>
                          </a:lnTo>
                          <a:lnTo>
                            <a:pt x="426203" y="1045031"/>
                          </a:lnTo>
                          <a:lnTo>
                            <a:pt x="426653" y="1043231"/>
                          </a:lnTo>
                          <a:lnTo>
                            <a:pt x="427553" y="1042330"/>
                          </a:lnTo>
                          <a:lnTo>
                            <a:pt x="436555" y="1039630"/>
                          </a:lnTo>
                          <a:lnTo>
                            <a:pt x="442855" y="1042781"/>
                          </a:lnTo>
                          <a:lnTo>
                            <a:pt x="446906" y="1043231"/>
                          </a:lnTo>
                          <a:lnTo>
                            <a:pt x="448706" y="1039180"/>
                          </a:lnTo>
                          <a:lnTo>
                            <a:pt x="448256" y="1038280"/>
                          </a:lnTo>
                          <a:lnTo>
                            <a:pt x="446006" y="1039180"/>
                          </a:lnTo>
                          <a:lnTo>
                            <a:pt x="443756" y="1039180"/>
                          </a:lnTo>
                          <a:lnTo>
                            <a:pt x="442405" y="1036930"/>
                          </a:lnTo>
                          <a:lnTo>
                            <a:pt x="442405" y="1035580"/>
                          </a:lnTo>
                          <a:lnTo>
                            <a:pt x="444205" y="1032429"/>
                          </a:lnTo>
                          <a:lnTo>
                            <a:pt x="442405" y="1031529"/>
                          </a:lnTo>
                          <a:close/>
                          <a:moveTo>
                            <a:pt x="726841" y="1239005"/>
                          </a:moveTo>
                          <a:lnTo>
                            <a:pt x="727741" y="1240355"/>
                          </a:lnTo>
                          <a:lnTo>
                            <a:pt x="732692" y="1238555"/>
                          </a:lnTo>
                          <a:lnTo>
                            <a:pt x="736742" y="1236305"/>
                          </a:lnTo>
                          <a:lnTo>
                            <a:pt x="743043" y="1231354"/>
                          </a:lnTo>
                          <a:lnTo>
                            <a:pt x="747093" y="1229554"/>
                          </a:lnTo>
                          <a:lnTo>
                            <a:pt x="758795" y="1229554"/>
                          </a:lnTo>
                          <a:lnTo>
                            <a:pt x="760595" y="1230454"/>
                          </a:lnTo>
                          <a:lnTo>
                            <a:pt x="759695" y="1233604"/>
                          </a:lnTo>
                          <a:lnTo>
                            <a:pt x="759245" y="1234504"/>
                          </a:lnTo>
                          <a:lnTo>
                            <a:pt x="759695" y="1235855"/>
                          </a:lnTo>
                          <a:lnTo>
                            <a:pt x="761045" y="1237655"/>
                          </a:lnTo>
                          <a:lnTo>
                            <a:pt x="763745" y="1239455"/>
                          </a:lnTo>
                          <a:lnTo>
                            <a:pt x="764646" y="1237655"/>
                          </a:lnTo>
                          <a:lnTo>
                            <a:pt x="765546" y="1233604"/>
                          </a:lnTo>
                          <a:lnTo>
                            <a:pt x="767346" y="1216052"/>
                          </a:lnTo>
                          <a:lnTo>
                            <a:pt x="768246" y="1210652"/>
                          </a:lnTo>
                          <a:lnTo>
                            <a:pt x="768696" y="1205701"/>
                          </a:lnTo>
                          <a:lnTo>
                            <a:pt x="768696" y="1200750"/>
                          </a:lnTo>
                          <a:lnTo>
                            <a:pt x="767796" y="1197600"/>
                          </a:lnTo>
                          <a:lnTo>
                            <a:pt x="764646" y="1195800"/>
                          </a:lnTo>
                          <a:lnTo>
                            <a:pt x="760595" y="1196250"/>
                          </a:lnTo>
                          <a:lnTo>
                            <a:pt x="758345" y="1195800"/>
                          </a:lnTo>
                          <a:lnTo>
                            <a:pt x="755644" y="1194900"/>
                          </a:lnTo>
                          <a:lnTo>
                            <a:pt x="753844" y="1193549"/>
                          </a:lnTo>
                          <a:lnTo>
                            <a:pt x="752494" y="1191749"/>
                          </a:lnTo>
                          <a:lnTo>
                            <a:pt x="750244" y="1185898"/>
                          </a:lnTo>
                          <a:lnTo>
                            <a:pt x="748444" y="1182298"/>
                          </a:lnTo>
                          <a:lnTo>
                            <a:pt x="743943" y="1175997"/>
                          </a:lnTo>
                          <a:lnTo>
                            <a:pt x="741693" y="1173747"/>
                          </a:lnTo>
                          <a:lnTo>
                            <a:pt x="742593" y="1171497"/>
                          </a:lnTo>
                          <a:lnTo>
                            <a:pt x="746643" y="1168796"/>
                          </a:lnTo>
                          <a:lnTo>
                            <a:pt x="749344" y="1166096"/>
                          </a:lnTo>
                          <a:lnTo>
                            <a:pt x="752494" y="1158445"/>
                          </a:lnTo>
                          <a:lnTo>
                            <a:pt x="754294" y="1157095"/>
                          </a:lnTo>
                          <a:lnTo>
                            <a:pt x="760595" y="1157995"/>
                          </a:lnTo>
                          <a:lnTo>
                            <a:pt x="769146" y="1164296"/>
                          </a:lnTo>
                          <a:lnTo>
                            <a:pt x="774547" y="1169696"/>
                          </a:lnTo>
                          <a:lnTo>
                            <a:pt x="775897" y="1170146"/>
                          </a:lnTo>
                          <a:lnTo>
                            <a:pt x="775897" y="1169246"/>
                          </a:lnTo>
                          <a:lnTo>
                            <a:pt x="774547" y="1166546"/>
                          </a:lnTo>
                          <a:lnTo>
                            <a:pt x="768246" y="1159795"/>
                          </a:lnTo>
                          <a:lnTo>
                            <a:pt x="765546" y="1154845"/>
                          </a:lnTo>
                          <a:lnTo>
                            <a:pt x="764195" y="1151244"/>
                          </a:lnTo>
                          <a:lnTo>
                            <a:pt x="764646" y="1149894"/>
                          </a:lnTo>
                          <a:lnTo>
                            <a:pt x="768246" y="1148544"/>
                          </a:lnTo>
                          <a:lnTo>
                            <a:pt x="768696" y="1146744"/>
                          </a:lnTo>
                          <a:lnTo>
                            <a:pt x="763745" y="1144493"/>
                          </a:lnTo>
                          <a:lnTo>
                            <a:pt x="761495" y="1144493"/>
                          </a:lnTo>
                          <a:lnTo>
                            <a:pt x="759695" y="1145843"/>
                          </a:lnTo>
                          <a:lnTo>
                            <a:pt x="757445" y="1145843"/>
                          </a:lnTo>
                          <a:lnTo>
                            <a:pt x="753394" y="1143143"/>
                          </a:lnTo>
                          <a:lnTo>
                            <a:pt x="752494" y="1141343"/>
                          </a:lnTo>
                          <a:lnTo>
                            <a:pt x="750244" y="1136842"/>
                          </a:lnTo>
                          <a:lnTo>
                            <a:pt x="748894" y="1132792"/>
                          </a:lnTo>
                          <a:lnTo>
                            <a:pt x="747543" y="1130091"/>
                          </a:lnTo>
                          <a:lnTo>
                            <a:pt x="747093" y="1127841"/>
                          </a:lnTo>
                          <a:lnTo>
                            <a:pt x="746643" y="1121540"/>
                          </a:lnTo>
                          <a:lnTo>
                            <a:pt x="746643" y="1117940"/>
                          </a:lnTo>
                          <a:lnTo>
                            <a:pt x="747093" y="1114790"/>
                          </a:lnTo>
                          <a:lnTo>
                            <a:pt x="747993" y="1112089"/>
                          </a:lnTo>
                          <a:lnTo>
                            <a:pt x="750694" y="1107139"/>
                          </a:lnTo>
                          <a:lnTo>
                            <a:pt x="752044" y="1105788"/>
                          </a:lnTo>
                          <a:lnTo>
                            <a:pt x="754744" y="1105338"/>
                          </a:lnTo>
                          <a:lnTo>
                            <a:pt x="760595" y="1107589"/>
                          </a:lnTo>
                          <a:lnTo>
                            <a:pt x="776347" y="1116590"/>
                          </a:lnTo>
                          <a:lnTo>
                            <a:pt x="775897" y="1113889"/>
                          </a:lnTo>
                          <a:lnTo>
                            <a:pt x="758345" y="1101738"/>
                          </a:lnTo>
                          <a:lnTo>
                            <a:pt x="752044" y="1098588"/>
                          </a:lnTo>
                          <a:lnTo>
                            <a:pt x="750694" y="1094087"/>
                          </a:lnTo>
                          <a:lnTo>
                            <a:pt x="760145" y="1076985"/>
                          </a:lnTo>
                          <a:lnTo>
                            <a:pt x="768696" y="1072934"/>
                          </a:lnTo>
                          <a:lnTo>
                            <a:pt x="772747" y="1067984"/>
                          </a:lnTo>
                          <a:lnTo>
                            <a:pt x="779497" y="1067984"/>
                          </a:lnTo>
                          <a:lnTo>
                            <a:pt x="785798" y="1071134"/>
                          </a:lnTo>
                          <a:lnTo>
                            <a:pt x="785798" y="1070234"/>
                          </a:lnTo>
                          <a:lnTo>
                            <a:pt x="782648" y="1064383"/>
                          </a:lnTo>
                          <a:lnTo>
                            <a:pt x="783098" y="1063033"/>
                          </a:lnTo>
                          <a:lnTo>
                            <a:pt x="786698" y="1059433"/>
                          </a:lnTo>
                          <a:lnTo>
                            <a:pt x="793449" y="1055382"/>
                          </a:lnTo>
                          <a:lnTo>
                            <a:pt x="801550" y="1052232"/>
                          </a:lnTo>
                          <a:lnTo>
                            <a:pt x="803350" y="1050431"/>
                          </a:lnTo>
                          <a:lnTo>
                            <a:pt x="805601" y="1049081"/>
                          </a:lnTo>
                          <a:lnTo>
                            <a:pt x="809651" y="1048181"/>
                          </a:lnTo>
                          <a:lnTo>
                            <a:pt x="819102" y="1047731"/>
                          </a:lnTo>
                          <a:lnTo>
                            <a:pt x="824503" y="1048181"/>
                          </a:lnTo>
                          <a:lnTo>
                            <a:pt x="831704" y="1050882"/>
                          </a:lnTo>
                          <a:lnTo>
                            <a:pt x="835754" y="1055382"/>
                          </a:lnTo>
                          <a:lnTo>
                            <a:pt x="837105" y="1058082"/>
                          </a:lnTo>
                          <a:lnTo>
                            <a:pt x="839355" y="1067084"/>
                          </a:lnTo>
                          <a:lnTo>
                            <a:pt x="841155" y="1079235"/>
                          </a:lnTo>
                          <a:lnTo>
                            <a:pt x="843856" y="1084186"/>
                          </a:lnTo>
                          <a:lnTo>
                            <a:pt x="848356" y="1086886"/>
                          </a:lnTo>
                          <a:lnTo>
                            <a:pt x="851506" y="1090037"/>
                          </a:lnTo>
                          <a:lnTo>
                            <a:pt x="853307" y="1093187"/>
                          </a:lnTo>
                          <a:lnTo>
                            <a:pt x="853757" y="1097237"/>
                          </a:lnTo>
                          <a:lnTo>
                            <a:pt x="852857" y="1102188"/>
                          </a:lnTo>
                          <a:lnTo>
                            <a:pt x="853307" y="1107139"/>
                          </a:lnTo>
                          <a:lnTo>
                            <a:pt x="855107" y="1112089"/>
                          </a:lnTo>
                          <a:lnTo>
                            <a:pt x="856457" y="1114790"/>
                          </a:lnTo>
                          <a:lnTo>
                            <a:pt x="859607" y="1117940"/>
                          </a:lnTo>
                          <a:lnTo>
                            <a:pt x="859607" y="1119740"/>
                          </a:lnTo>
                          <a:lnTo>
                            <a:pt x="858707" y="1121540"/>
                          </a:lnTo>
                          <a:lnTo>
                            <a:pt x="856457" y="1124241"/>
                          </a:lnTo>
                          <a:lnTo>
                            <a:pt x="851056" y="1132792"/>
                          </a:lnTo>
                          <a:lnTo>
                            <a:pt x="844306" y="1142243"/>
                          </a:lnTo>
                          <a:lnTo>
                            <a:pt x="839355" y="1150344"/>
                          </a:lnTo>
                          <a:lnTo>
                            <a:pt x="838905" y="1152594"/>
                          </a:lnTo>
                          <a:lnTo>
                            <a:pt x="849256" y="1139993"/>
                          </a:lnTo>
                          <a:lnTo>
                            <a:pt x="852407" y="1140443"/>
                          </a:lnTo>
                          <a:lnTo>
                            <a:pt x="852407" y="1142243"/>
                          </a:lnTo>
                          <a:lnTo>
                            <a:pt x="850156" y="1148544"/>
                          </a:lnTo>
                          <a:lnTo>
                            <a:pt x="847456" y="1153944"/>
                          </a:lnTo>
                          <a:lnTo>
                            <a:pt x="844756" y="1157545"/>
                          </a:lnTo>
                          <a:lnTo>
                            <a:pt x="845206" y="1158895"/>
                          </a:lnTo>
                          <a:lnTo>
                            <a:pt x="850156" y="1165196"/>
                          </a:lnTo>
                          <a:lnTo>
                            <a:pt x="849256" y="1166096"/>
                          </a:lnTo>
                          <a:lnTo>
                            <a:pt x="847006" y="1165646"/>
                          </a:lnTo>
                          <a:lnTo>
                            <a:pt x="846106" y="1166096"/>
                          </a:lnTo>
                          <a:lnTo>
                            <a:pt x="845206" y="1166996"/>
                          </a:lnTo>
                          <a:lnTo>
                            <a:pt x="844756" y="1168796"/>
                          </a:lnTo>
                          <a:lnTo>
                            <a:pt x="844756" y="1171047"/>
                          </a:lnTo>
                          <a:lnTo>
                            <a:pt x="845206" y="1174197"/>
                          </a:lnTo>
                          <a:lnTo>
                            <a:pt x="845206" y="1176447"/>
                          </a:lnTo>
                          <a:lnTo>
                            <a:pt x="844756" y="1177797"/>
                          </a:lnTo>
                          <a:lnTo>
                            <a:pt x="845206" y="1178247"/>
                          </a:lnTo>
                          <a:lnTo>
                            <a:pt x="846556" y="1177797"/>
                          </a:lnTo>
                          <a:lnTo>
                            <a:pt x="847906" y="1176447"/>
                          </a:lnTo>
                          <a:lnTo>
                            <a:pt x="850156" y="1172397"/>
                          </a:lnTo>
                          <a:lnTo>
                            <a:pt x="856907" y="1161145"/>
                          </a:lnTo>
                          <a:lnTo>
                            <a:pt x="861408" y="1157095"/>
                          </a:lnTo>
                          <a:lnTo>
                            <a:pt x="862758" y="1156645"/>
                          </a:lnTo>
                          <a:lnTo>
                            <a:pt x="866808" y="1159345"/>
                          </a:lnTo>
                          <a:lnTo>
                            <a:pt x="867708" y="1159345"/>
                          </a:lnTo>
                          <a:lnTo>
                            <a:pt x="863208" y="1150794"/>
                          </a:lnTo>
                          <a:lnTo>
                            <a:pt x="862758" y="1148544"/>
                          </a:lnTo>
                          <a:lnTo>
                            <a:pt x="863658" y="1145393"/>
                          </a:lnTo>
                          <a:lnTo>
                            <a:pt x="864108" y="1144493"/>
                          </a:lnTo>
                          <a:lnTo>
                            <a:pt x="866358" y="1142243"/>
                          </a:lnTo>
                          <a:lnTo>
                            <a:pt x="868609" y="1140893"/>
                          </a:lnTo>
                          <a:lnTo>
                            <a:pt x="869959" y="1141343"/>
                          </a:lnTo>
                          <a:lnTo>
                            <a:pt x="871759" y="1145843"/>
                          </a:lnTo>
                          <a:lnTo>
                            <a:pt x="872659" y="1148994"/>
                          </a:lnTo>
                          <a:lnTo>
                            <a:pt x="874009" y="1150344"/>
                          </a:lnTo>
                          <a:lnTo>
                            <a:pt x="877160" y="1148544"/>
                          </a:lnTo>
                          <a:lnTo>
                            <a:pt x="879410" y="1144943"/>
                          </a:lnTo>
                          <a:lnTo>
                            <a:pt x="882110" y="1147194"/>
                          </a:lnTo>
                          <a:lnTo>
                            <a:pt x="886161" y="1153044"/>
                          </a:lnTo>
                          <a:lnTo>
                            <a:pt x="885711" y="1158895"/>
                          </a:lnTo>
                          <a:lnTo>
                            <a:pt x="885711" y="1164746"/>
                          </a:lnTo>
                          <a:lnTo>
                            <a:pt x="885711" y="1168796"/>
                          </a:lnTo>
                          <a:lnTo>
                            <a:pt x="890661" y="1176447"/>
                          </a:lnTo>
                          <a:lnTo>
                            <a:pt x="894262" y="1179598"/>
                          </a:lnTo>
                          <a:lnTo>
                            <a:pt x="894712" y="1179598"/>
                          </a:lnTo>
                          <a:lnTo>
                            <a:pt x="894712" y="1178247"/>
                          </a:lnTo>
                          <a:lnTo>
                            <a:pt x="893812" y="1175547"/>
                          </a:lnTo>
                          <a:lnTo>
                            <a:pt x="892011" y="1172847"/>
                          </a:lnTo>
                          <a:lnTo>
                            <a:pt x="890211" y="1168796"/>
                          </a:lnTo>
                          <a:lnTo>
                            <a:pt x="890661" y="1165646"/>
                          </a:lnTo>
                          <a:lnTo>
                            <a:pt x="891561" y="1154395"/>
                          </a:lnTo>
                          <a:lnTo>
                            <a:pt x="894262" y="1148544"/>
                          </a:lnTo>
                          <a:lnTo>
                            <a:pt x="896962" y="1149894"/>
                          </a:lnTo>
                          <a:lnTo>
                            <a:pt x="900113" y="1153494"/>
                          </a:lnTo>
                          <a:lnTo>
                            <a:pt x="902813" y="1153944"/>
                          </a:lnTo>
                          <a:lnTo>
                            <a:pt x="906863" y="1153494"/>
                          </a:lnTo>
                          <a:lnTo>
                            <a:pt x="914964" y="1160695"/>
                          </a:lnTo>
                          <a:lnTo>
                            <a:pt x="919465" y="1160695"/>
                          </a:lnTo>
                          <a:lnTo>
                            <a:pt x="919015" y="1157995"/>
                          </a:lnTo>
                          <a:lnTo>
                            <a:pt x="915865" y="1156645"/>
                          </a:lnTo>
                          <a:lnTo>
                            <a:pt x="910914" y="1152594"/>
                          </a:lnTo>
                          <a:lnTo>
                            <a:pt x="903263" y="1148094"/>
                          </a:lnTo>
                          <a:lnTo>
                            <a:pt x="899662" y="1142693"/>
                          </a:lnTo>
                          <a:lnTo>
                            <a:pt x="899212" y="1139993"/>
                          </a:lnTo>
                          <a:lnTo>
                            <a:pt x="899212" y="1137292"/>
                          </a:lnTo>
                          <a:lnTo>
                            <a:pt x="899662" y="1135042"/>
                          </a:lnTo>
                          <a:lnTo>
                            <a:pt x="900563" y="1132792"/>
                          </a:lnTo>
                          <a:lnTo>
                            <a:pt x="901913" y="1130542"/>
                          </a:lnTo>
                          <a:lnTo>
                            <a:pt x="909114" y="1124241"/>
                          </a:lnTo>
                          <a:lnTo>
                            <a:pt x="914514" y="1121540"/>
                          </a:lnTo>
                          <a:lnTo>
                            <a:pt x="918565" y="1120640"/>
                          </a:lnTo>
                          <a:lnTo>
                            <a:pt x="925316" y="1120640"/>
                          </a:lnTo>
                          <a:lnTo>
                            <a:pt x="932967" y="1121540"/>
                          </a:lnTo>
                          <a:lnTo>
                            <a:pt x="937017" y="1123341"/>
                          </a:lnTo>
                          <a:lnTo>
                            <a:pt x="941968" y="1127841"/>
                          </a:lnTo>
                          <a:lnTo>
                            <a:pt x="947819" y="1132342"/>
                          </a:lnTo>
                          <a:lnTo>
                            <a:pt x="950069" y="1133242"/>
                          </a:lnTo>
                          <a:lnTo>
                            <a:pt x="952769" y="1133242"/>
                          </a:lnTo>
                          <a:lnTo>
                            <a:pt x="955469" y="1132342"/>
                          </a:lnTo>
                          <a:lnTo>
                            <a:pt x="958170" y="1132792"/>
                          </a:lnTo>
                          <a:lnTo>
                            <a:pt x="966721" y="1139093"/>
                          </a:lnTo>
                          <a:lnTo>
                            <a:pt x="968971" y="1142243"/>
                          </a:lnTo>
                          <a:lnTo>
                            <a:pt x="970321" y="1146294"/>
                          </a:lnTo>
                          <a:lnTo>
                            <a:pt x="971221" y="1150344"/>
                          </a:lnTo>
                          <a:lnTo>
                            <a:pt x="971671" y="1153944"/>
                          </a:lnTo>
                          <a:lnTo>
                            <a:pt x="971221" y="1157095"/>
                          </a:lnTo>
                          <a:lnTo>
                            <a:pt x="964020" y="1170146"/>
                          </a:lnTo>
                          <a:lnTo>
                            <a:pt x="960870" y="1172397"/>
                          </a:lnTo>
                          <a:lnTo>
                            <a:pt x="958620" y="1177347"/>
                          </a:lnTo>
                          <a:lnTo>
                            <a:pt x="955469" y="1186349"/>
                          </a:lnTo>
                          <a:lnTo>
                            <a:pt x="952769" y="1191299"/>
                          </a:lnTo>
                          <a:lnTo>
                            <a:pt x="952319" y="1192199"/>
                          </a:lnTo>
                          <a:lnTo>
                            <a:pt x="952769" y="1192649"/>
                          </a:lnTo>
                          <a:lnTo>
                            <a:pt x="954569" y="1190399"/>
                          </a:lnTo>
                          <a:lnTo>
                            <a:pt x="957270" y="1184098"/>
                          </a:lnTo>
                          <a:lnTo>
                            <a:pt x="959070" y="1178698"/>
                          </a:lnTo>
                          <a:lnTo>
                            <a:pt x="962670" y="1174197"/>
                          </a:lnTo>
                          <a:lnTo>
                            <a:pt x="968521" y="1168796"/>
                          </a:lnTo>
                          <a:lnTo>
                            <a:pt x="973922" y="1166096"/>
                          </a:lnTo>
                          <a:lnTo>
                            <a:pt x="978422" y="1166546"/>
                          </a:lnTo>
                          <a:lnTo>
                            <a:pt x="982023" y="1167446"/>
                          </a:lnTo>
                          <a:lnTo>
                            <a:pt x="985173" y="1168796"/>
                          </a:lnTo>
                          <a:lnTo>
                            <a:pt x="986973" y="1169696"/>
                          </a:lnTo>
                          <a:lnTo>
                            <a:pt x="987423" y="1170597"/>
                          </a:lnTo>
                          <a:lnTo>
                            <a:pt x="988774" y="1174647"/>
                          </a:lnTo>
                          <a:lnTo>
                            <a:pt x="988774" y="1177347"/>
                          </a:lnTo>
                          <a:lnTo>
                            <a:pt x="987874" y="1180498"/>
                          </a:lnTo>
                          <a:lnTo>
                            <a:pt x="986523" y="1184098"/>
                          </a:lnTo>
                          <a:lnTo>
                            <a:pt x="980222" y="1188149"/>
                          </a:lnTo>
                          <a:lnTo>
                            <a:pt x="976622" y="1191299"/>
                          </a:lnTo>
                          <a:lnTo>
                            <a:pt x="974372" y="1192199"/>
                          </a:lnTo>
                          <a:lnTo>
                            <a:pt x="967621" y="1193099"/>
                          </a:lnTo>
                          <a:lnTo>
                            <a:pt x="968071" y="1194449"/>
                          </a:lnTo>
                          <a:lnTo>
                            <a:pt x="973022" y="1196250"/>
                          </a:lnTo>
                          <a:lnTo>
                            <a:pt x="978422" y="1195800"/>
                          </a:lnTo>
                          <a:lnTo>
                            <a:pt x="978422" y="1197600"/>
                          </a:lnTo>
                          <a:lnTo>
                            <a:pt x="975722" y="1202551"/>
                          </a:lnTo>
                          <a:lnTo>
                            <a:pt x="974822" y="1207051"/>
                          </a:lnTo>
                          <a:lnTo>
                            <a:pt x="975722" y="1210652"/>
                          </a:lnTo>
                          <a:lnTo>
                            <a:pt x="975722" y="1213802"/>
                          </a:lnTo>
                          <a:lnTo>
                            <a:pt x="973922" y="1220103"/>
                          </a:lnTo>
                          <a:lnTo>
                            <a:pt x="971671" y="1225503"/>
                          </a:lnTo>
                          <a:lnTo>
                            <a:pt x="972572" y="1226404"/>
                          </a:lnTo>
                          <a:lnTo>
                            <a:pt x="977522" y="1218303"/>
                          </a:lnTo>
                          <a:lnTo>
                            <a:pt x="978872" y="1209751"/>
                          </a:lnTo>
                          <a:lnTo>
                            <a:pt x="981123" y="1202101"/>
                          </a:lnTo>
                          <a:lnTo>
                            <a:pt x="983373" y="1198050"/>
                          </a:lnTo>
                          <a:lnTo>
                            <a:pt x="985173" y="1196250"/>
                          </a:lnTo>
                          <a:lnTo>
                            <a:pt x="991024" y="1195800"/>
                          </a:lnTo>
                          <a:lnTo>
                            <a:pt x="994174" y="1191299"/>
                          </a:lnTo>
                          <a:lnTo>
                            <a:pt x="996875" y="1189949"/>
                          </a:lnTo>
                          <a:lnTo>
                            <a:pt x="997775" y="1189949"/>
                          </a:lnTo>
                          <a:lnTo>
                            <a:pt x="1000025" y="1191749"/>
                          </a:lnTo>
                          <a:lnTo>
                            <a:pt x="1000025" y="1193549"/>
                          </a:lnTo>
                          <a:lnTo>
                            <a:pt x="996875" y="1201650"/>
                          </a:lnTo>
                          <a:lnTo>
                            <a:pt x="989674" y="1214702"/>
                          </a:lnTo>
                          <a:lnTo>
                            <a:pt x="992374" y="1213352"/>
                          </a:lnTo>
                          <a:lnTo>
                            <a:pt x="994174" y="1210201"/>
                          </a:lnTo>
                          <a:lnTo>
                            <a:pt x="996875" y="1207051"/>
                          </a:lnTo>
                          <a:lnTo>
                            <a:pt x="1000025" y="1202551"/>
                          </a:lnTo>
                          <a:lnTo>
                            <a:pt x="1001825" y="1206601"/>
                          </a:lnTo>
                          <a:lnTo>
                            <a:pt x="1004976" y="1209751"/>
                          </a:lnTo>
                          <a:lnTo>
                            <a:pt x="1006776" y="1216952"/>
                          </a:lnTo>
                          <a:lnTo>
                            <a:pt x="1009476" y="1220553"/>
                          </a:lnTo>
                          <a:lnTo>
                            <a:pt x="1011276" y="1223253"/>
                          </a:lnTo>
                          <a:lnTo>
                            <a:pt x="1010826" y="1218753"/>
                          </a:lnTo>
                          <a:lnTo>
                            <a:pt x="1008126" y="1209751"/>
                          </a:lnTo>
                          <a:lnTo>
                            <a:pt x="1009026" y="1206151"/>
                          </a:lnTo>
                          <a:lnTo>
                            <a:pt x="1010826" y="1204351"/>
                          </a:lnTo>
                          <a:lnTo>
                            <a:pt x="1016677" y="1196700"/>
                          </a:lnTo>
                          <a:lnTo>
                            <a:pt x="1020728" y="1199400"/>
                          </a:lnTo>
                          <a:lnTo>
                            <a:pt x="1023428" y="1201650"/>
                          </a:lnTo>
                          <a:lnTo>
                            <a:pt x="1024778" y="1201200"/>
                          </a:lnTo>
                          <a:lnTo>
                            <a:pt x="1027928" y="1201650"/>
                          </a:lnTo>
                          <a:lnTo>
                            <a:pt x="1033329" y="1203001"/>
                          </a:lnTo>
                          <a:lnTo>
                            <a:pt x="1038280" y="1205251"/>
                          </a:lnTo>
                          <a:lnTo>
                            <a:pt x="1043230" y="1208401"/>
                          </a:lnTo>
                          <a:lnTo>
                            <a:pt x="1047281" y="1212002"/>
                          </a:lnTo>
                          <a:lnTo>
                            <a:pt x="1049981" y="1216052"/>
                          </a:lnTo>
                          <a:lnTo>
                            <a:pt x="1051781" y="1218753"/>
                          </a:lnTo>
                          <a:lnTo>
                            <a:pt x="1052232" y="1220103"/>
                          </a:lnTo>
                          <a:lnTo>
                            <a:pt x="1053132" y="1224153"/>
                          </a:lnTo>
                          <a:lnTo>
                            <a:pt x="1052682" y="1224153"/>
                          </a:lnTo>
                          <a:lnTo>
                            <a:pt x="1049081" y="1230004"/>
                          </a:lnTo>
                          <a:lnTo>
                            <a:pt x="1046831" y="1232704"/>
                          </a:lnTo>
                          <a:lnTo>
                            <a:pt x="1044581" y="1234055"/>
                          </a:lnTo>
                          <a:lnTo>
                            <a:pt x="1039180" y="1232704"/>
                          </a:lnTo>
                          <a:lnTo>
                            <a:pt x="1037380" y="1233604"/>
                          </a:lnTo>
                          <a:lnTo>
                            <a:pt x="1035579" y="1235405"/>
                          </a:lnTo>
                          <a:lnTo>
                            <a:pt x="1029729" y="1243506"/>
                          </a:lnTo>
                          <a:lnTo>
                            <a:pt x="1026578" y="1247106"/>
                          </a:lnTo>
                          <a:lnTo>
                            <a:pt x="1023428" y="1249356"/>
                          </a:lnTo>
                          <a:lnTo>
                            <a:pt x="1022528" y="1250707"/>
                          </a:lnTo>
                          <a:lnTo>
                            <a:pt x="1029279" y="1250707"/>
                          </a:lnTo>
                          <a:lnTo>
                            <a:pt x="1031079" y="1248456"/>
                          </a:lnTo>
                          <a:lnTo>
                            <a:pt x="1032429" y="1243956"/>
                          </a:lnTo>
                          <a:lnTo>
                            <a:pt x="1035579" y="1239005"/>
                          </a:lnTo>
                          <a:lnTo>
                            <a:pt x="1041430" y="1236755"/>
                          </a:lnTo>
                          <a:lnTo>
                            <a:pt x="1049531" y="1241255"/>
                          </a:lnTo>
                          <a:lnTo>
                            <a:pt x="1053582" y="1241255"/>
                          </a:lnTo>
                          <a:lnTo>
                            <a:pt x="1056732" y="1236755"/>
                          </a:lnTo>
                          <a:lnTo>
                            <a:pt x="1059883" y="1233604"/>
                          </a:lnTo>
                          <a:lnTo>
                            <a:pt x="1061233" y="1233154"/>
                          </a:lnTo>
                          <a:lnTo>
                            <a:pt x="1062133" y="1233604"/>
                          </a:lnTo>
                          <a:lnTo>
                            <a:pt x="1064833" y="1236755"/>
                          </a:lnTo>
                          <a:lnTo>
                            <a:pt x="1065733" y="1239905"/>
                          </a:lnTo>
                          <a:lnTo>
                            <a:pt x="1065733" y="1246656"/>
                          </a:lnTo>
                          <a:lnTo>
                            <a:pt x="1065283" y="1248906"/>
                          </a:lnTo>
                          <a:lnTo>
                            <a:pt x="1063033" y="1253857"/>
                          </a:lnTo>
                          <a:lnTo>
                            <a:pt x="1057632" y="1261508"/>
                          </a:lnTo>
                          <a:lnTo>
                            <a:pt x="1054032" y="1264208"/>
                          </a:lnTo>
                          <a:lnTo>
                            <a:pt x="1049981" y="1265558"/>
                          </a:lnTo>
                          <a:lnTo>
                            <a:pt x="1045481" y="1268259"/>
                          </a:lnTo>
                          <a:lnTo>
                            <a:pt x="1044131" y="1270509"/>
                          </a:lnTo>
                          <a:lnTo>
                            <a:pt x="1042780" y="1273209"/>
                          </a:lnTo>
                          <a:lnTo>
                            <a:pt x="1041430" y="1275010"/>
                          </a:lnTo>
                          <a:lnTo>
                            <a:pt x="1039630" y="1276810"/>
                          </a:lnTo>
                          <a:lnTo>
                            <a:pt x="1042330" y="1279060"/>
                          </a:lnTo>
                          <a:lnTo>
                            <a:pt x="1043230" y="1279060"/>
                          </a:lnTo>
                          <a:lnTo>
                            <a:pt x="1044131" y="1277710"/>
                          </a:lnTo>
                          <a:lnTo>
                            <a:pt x="1046831" y="1272309"/>
                          </a:lnTo>
                          <a:lnTo>
                            <a:pt x="1048631" y="1270059"/>
                          </a:lnTo>
                          <a:lnTo>
                            <a:pt x="1049531" y="1269609"/>
                          </a:lnTo>
                          <a:lnTo>
                            <a:pt x="1050431" y="1270059"/>
                          </a:lnTo>
                          <a:lnTo>
                            <a:pt x="1051331" y="1270959"/>
                          </a:lnTo>
                          <a:lnTo>
                            <a:pt x="1052232" y="1272759"/>
                          </a:lnTo>
                          <a:lnTo>
                            <a:pt x="1052232" y="1277710"/>
                          </a:lnTo>
                          <a:lnTo>
                            <a:pt x="1049081" y="1296612"/>
                          </a:lnTo>
                          <a:lnTo>
                            <a:pt x="1049531" y="1296612"/>
                          </a:lnTo>
                          <a:lnTo>
                            <a:pt x="1051331" y="1291662"/>
                          </a:lnTo>
                          <a:lnTo>
                            <a:pt x="1057182" y="1272309"/>
                          </a:lnTo>
                          <a:lnTo>
                            <a:pt x="1058532" y="1268259"/>
                          </a:lnTo>
                          <a:lnTo>
                            <a:pt x="1061233" y="1264208"/>
                          </a:lnTo>
                          <a:lnTo>
                            <a:pt x="1067533" y="1258358"/>
                          </a:lnTo>
                          <a:lnTo>
                            <a:pt x="1072484" y="1255207"/>
                          </a:lnTo>
                          <a:lnTo>
                            <a:pt x="1077885" y="1252507"/>
                          </a:lnTo>
                          <a:lnTo>
                            <a:pt x="1080585" y="1251607"/>
                          </a:lnTo>
                          <a:lnTo>
                            <a:pt x="1083735" y="1252507"/>
                          </a:lnTo>
                          <a:lnTo>
                            <a:pt x="1085986" y="1255657"/>
                          </a:lnTo>
                          <a:lnTo>
                            <a:pt x="1088686" y="1256107"/>
                          </a:lnTo>
                          <a:lnTo>
                            <a:pt x="1092286" y="1255207"/>
                          </a:lnTo>
                          <a:lnTo>
                            <a:pt x="1094537" y="1255657"/>
                          </a:lnTo>
                          <a:lnTo>
                            <a:pt x="1097237" y="1257007"/>
                          </a:lnTo>
                          <a:lnTo>
                            <a:pt x="1099487" y="1259258"/>
                          </a:lnTo>
                          <a:lnTo>
                            <a:pt x="1103088" y="1261958"/>
                          </a:lnTo>
                          <a:lnTo>
                            <a:pt x="1111639" y="1266909"/>
                          </a:lnTo>
                          <a:lnTo>
                            <a:pt x="1112539" y="1267809"/>
                          </a:lnTo>
                          <a:lnTo>
                            <a:pt x="1113439" y="1269609"/>
                          </a:lnTo>
                          <a:lnTo>
                            <a:pt x="1114339" y="1272309"/>
                          </a:lnTo>
                          <a:lnTo>
                            <a:pt x="1114339" y="1275010"/>
                          </a:lnTo>
                          <a:lnTo>
                            <a:pt x="1112989" y="1277710"/>
                          </a:lnTo>
                          <a:lnTo>
                            <a:pt x="1111639" y="1279510"/>
                          </a:lnTo>
                          <a:lnTo>
                            <a:pt x="1109839" y="1279960"/>
                          </a:lnTo>
                          <a:lnTo>
                            <a:pt x="1108038" y="1281310"/>
                          </a:lnTo>
                          <a:lnTo>
                            <a:pt x="1104888" y="1284911"/>
                          </a:lnTo>
                          <a:lnTo>
                            <a:pt x="1103988" y="1285361"/>
                          </a:lnTo>
                          <a:lnTo>
                            <a:pt x="1099037" y="1287161"/>
                          </a:lnTo>
                          <a:lnTo>
                            <a:pt x="1094537" y="1288061"/>
                          </a:lnTo>
                          <a:lnTo>
                            <a:pt x="1091837" y="1289411"/>
                          </a:lnTo>
                          <a:lnTo>
                            <a:pt x="1086436" y="1293462"/>
                          </a:lnTo>
                          <a:lnTo>
                            <a:pt x="1078785" y="1300663"/>
                          </a:lnTo>
                          <a:lnTo>
                            <a:pt x="1078785" y="1302463"/>
                          </a:lnTo>
                          <a:lnTo>
                            <a:pt x="1081935" y="1303363"/>
                          </a:lnTo>
                          <a:lnTo>
                            <a:pt x="1084636" y="1302463"/>
                          </a:lnTo>
                          <a:lnTo>
                            <a:pt x="1088236" y="1297512"/>
                          </a:lnTo>
                          <a:lnTo>
                            <a:pt x="1091386" y="1295712"/>
                          </a:lnTo>
                          <a:lnTo>
                            <a:pt x="1096337" y="1294362"/>
                          </a:lnTo>
                          <a:lnTo>
                            <a:pt x="1103088" y="1293012"/>
                          </a:lnTo>
                          <a:lnTo>
                            <a:pt x="1106238" y="1293012"/>
                          </a:lnTo>
                          <a:lnTo>
                            <a:pt x="1106688" y="1293462"/>
                          </a:lnTo>
                          <a:lnTo>
                            <a:pt x="1107138" y="1294812"/>
                          </a:lnTo>
                          <a:lnTo>
                            <a:pt x="1107589" y="1297062"/>
                          </a:lnTo>
                          <a:lnTo>
                            <a:pt x="1106238" y="1299763"/>
                          </a:lnTo>
                          <a:lnTo>
                            <a:pt x="1104888" y="1301113"/>
                          </a:lnTo>
                          <a:lnTo>
                            <a:pt x="1101288" y="1307414"/>
                          </a:lnTo>
                          <a:lnTo>
                            <a:pt x="1103538" y="1309214"/>
                          </a:lnTo>
                          <a:lnTo>
                            <a:pt x="1106688" y="1310114"/>
                          </a:lnTo>
                          <a:lnTo>
                            <a:pt x="1108489" y="1308314"/>
                          </a:lnTo>
                          <a:lnTo>
                            <a:pt x="1110289" y="1304263"/>
                          </a:lnTo>
                          <a:lnTo>
                            <a:pt x="1112089" y="1302013"/>
                          </a:lnTo>
                          <a:lnTo>
                            <a:pt x="1114339" y="1301563"/>
                          </a:lnTo>
                          <a:lnTo>
                            <a:pt x="1116140" y="1300663"/>
                          </a:lnTo>
                          <a:lnTo>
                            <a:pt x="1117940" y="1299313"/>
                          </a:lnTo>
                          <a:lnTo>
                            <a:pt x="1118390" y="1298413"/>
                          </a:lnTo>
                          <a:lnTo>
                            <a:pt x="1116140" y="1296612"/>
                          </a:lnTo>
                          <a:lnTo>
                            <a:pt x="1116140" y="1295262"/>
                          </a:lnTo>
                          <a:lnTo>
                            <a:pt x="1117040" y="1292112"/>
                          </a:lnTo>
                          <a:lnTo>
                            <a:pt x="1118840" y="1288961"/>
                          </a:lnTo>
                          <a:lnTo>
                            <a:pt x="1120640" y="1286711"/>
                          </a:lnTo>
                          <a:lnTo>
                            <a:pt x="1121990" y="1286711"/>
                          </a:lnTo>
                          <a:lnTo>
                            <a:pt x="1126491" y="1288961"/>
                          </a:lnTo>
                          <a:lnTo>
                            <a:pt x="1129641" y="1293012"/>
                          </a:lnTo>
                          <a:lnTo>
                            <a:pt x="1137292" y="1304713"/>
                          </a:lnTo>
                          <a:lnTo>
                            <a:pt x="1138192" y="1306964"/>
                          </a:lnTo>
                          <a:lnTo>
                            <a:pt x="1140893" y="1315515"/>
                          </a:lnTo>
                          <a:lnTo>
                            <a:pt x="1141343" y="1319115"/>
                          </a:lnTo>
                          <a:lnTo>
                            <a:pt x="1140893" y="1321816"/>
                          </a:lnTo>
                          <a:lnTo>
                            <a:pt x="1140443" y="1323616"/>
                          </a:lnTo>
                          <a:lnTo>
                            <a:pt x="1139542" y="1324066"/>
                          </a:lnTo>
                          <a:lnTo>
                            <a:pt x="1137742" y="1324066"/>
                          </a:lnTo>
                          <a:lnTo>
                            <a:pt x="1127841" y="1320465"/>
                          </a:lnTo>
                          <a:lnTo>
                            <a:pt x="1123340" y="1320915"/>
                          </a:lnTo>
                          <a:lnTo>
                            <a:pt x="1121540" y="1321816"/>
                          </a:lnTo>
                          <a:lnTo>
                            <a:pt x="1119740" y="1323166"/>
                          </a:lnTo>
                          <a:lnTo>
                            <a:pt x="1118390" y="1324966"/>
                          </a:lnTo>
                          <a:lnTo>
                            <a:pt x="1117490" y="1327216"/>
                          </a:lnTo>
                          <a:lnTo>
                            <a:pt x="1115689" y="1328566"/>
                          </a:lnTo>
                          <a:lnTo>
                            <a:pt x="1109389" y="1328566"/>
                          </a:lnTo>
                          <a:lnTo>
                            <a:pt x="1105788" y="1329916"/>
                          </a:lnTo>
                          <a:lnTo>
                            <a:pt x="1099487" y="1333067"/>
                          </a:lnTo>
                          <a:lnTo>
                            <a:pt x="1097237" y="1334867"/>
                          </a:lnTo>
                          <a:lnTo>
                            <a:pt x="1096787" y="1337117"/>
                          </a:lnTo>
                          <a:lnTo>
                            <a:pt x="1100388" y="1336667"/>
                          </a:lnTo>
                          <a:lnTo>
                            <a:pt x="1106688" y="1333967"/>
                          </a:lnTo>
                          <a:lnTo>
                            <a:pt x="1112539" y="1333067"/>
                          </a:lnTo>
                          <a:lnTo>
                            <a:pt x="1121990" y="1339368"/>
                          </a:lnTo>
                          <a:lnTo>
                            <a:pt x="1125141" y="1340268"/>
                          </a:lnTo>
                          <a:lnTo>
                            <a:pt x="1126941" y="1339368"/>
                          </a:lnTo>
                          <a:lnTo>
                            <a:pt x="1129191" y="1338918"/>
                          </a:lnTo>
                          <a:lnTo>
                            <a:pt x="1136842" y="1339368"/>
                          </a:lnTo>
                          <a:lnTo>
                            <a:pt x="1139542" y="1340268"/>
                          </a:lnTo>
                          <a:lnTo>
                            <a:pt x="1143593" y="1342518"/>
                          </a:lnTo>
                          <a:lnTo>
                            <a:pt x="1149444" y="1347469"/>
                          </a:lnTo>
                          <a:lnTo>
                            <a:pt x="1150794" y="1348819"/>
                          </a:lnTo>
                          <a:lnTo>
                            <a:pt x="1151244" y="1350169"/>
                          </a:lnTo>
                          <a:lnTo>
                            <a:pt x="1151244" y="1351969"/>
                          </a:lnTo>
                          <a:lnTo>
                            <a:pt x="1151244" y="1356020"/>
                          </a:lnTo>
                          <a:lnTo>
                            <a:pt x="1150794" y="1357370"/>
                          </a:lnTo>
                          <a:lnTo>
                            <a:pt x="1148544" y="1358270"/>
                          </a:lnTo>
                          <a:lnTo>
                            <a:pt x="1139992" y="1357370"/>
                          </a:lnTo>
                          <a:lnTo>
                            <a:pt x="1137292" y="1356470"/>
                          </a:lnTo>
                          <a:lnTo>
                            <a:pt x="1134142" y="1357370"/>
                          </a:lnTo>
                          <a:lnTo>
                            <a:pt x="1131441" y="1356920"/>
                          </a:lnTo>
                          <a:lnTo>
                            <a:pt x="1128291" y="1355120"/>
                          </a:lnTo>
                          <a:lnTo>
                            <a:pt x="1124691" y="1352419"/>
                          </a:lnTo>
                          <a:lnTo>
                            <a:pt x="1119290" y="1355120"/>
                          </a:lnTo>
                          <a:lnTo>
                            <a:pt x="1114789" y="1353319"/>
                          </a:lnTo>
                          <a:lnTo>
                            <a:pt x="1110289" y="1354670"/>
                          </a:lnTo>
                          <a:lnTo>
                            <a:pt x="1101288" y="1360970"/>
                          </a:lnTo>
                          <a:lnTo>
                            <a:pt x="1102188" y="1361871"/>
                          </a:lnTo>
                          <a:lnTo>
                            <a:pt x="1114339" y="1356470"/>
                          </a:lnTo>
                          <a:lnTo>
                            <a:pt x="1116590" y="1356920"/>
                          </a:lnTo>
                          <a:lnTo>
                            <a:pt x="1120640" y="1358720"/>
                          </a:lnTo>
                          <a:lnTo>
                            <a:pt x="1126941" y="1362771"/>
                          </a:lnTo>
                          <a:lnTo>
                            <a:pt x="1128741" y="1364571"/>
                          </a:lnTo>
                          <a:lnTo>
                            <a:pt x="1128741" y="1370872"/>
                          </a:lnTo>
                          <a:lnTo>
                            <a:pt x="1127841" y="1374922"/>
                          </a:lnTo>
                          <a:lnTo>
                            <a:pt x="1126041" y="1379423"/>
                          </a:lnTo>
                          <a:lnTo>
                            <a:pt x="1123340" y="1378973"/>
                          </a:lnTo>
                          <a:lnTo>
                            <a:pt x="1116590" y="1376272"/>
                          </a:lnTo>
                          <a:lnTo>
                            <a:pt x="1113889" y="1375822"/>
                          </a:lnTo>
                          <a:lnTo>
                            <a:pt x="1112089" y="1376272"/>
                          </a:lnTo>
                          <a:lnTo>
                            <a:pt x="1109389" y="1378073"/>
                          </a:lnTo>
                          <a:lnTo>
                            <a:pt x="1108038" y="1378073"/>
                          </a:lnTo>
                          <a:lnTo>
                            <a:pt x="1097687" y="1374472"/>
                          </a:lnTo>
                          <a:lnTo>
                            <a:pt x="1095437" y="1374472"/>
                          </a:lnTo>
                          <a:lnTo>
                            <a:pt x="1094987" y="1374922"/>
                          </a:lnTo>
                          <a:lnTo>
                            <a:pt x="1095437" y="1375822"/>
                          </a:lnTo>
                          <a:lnTo>
                            <a:pt x="1104888" y="1381673"/>
                          </a:lnTo>
                          <a:lnTo>
                            <a:pt x="1112089" y="1382123"/>
                          </a:lnTo>
                          <a:lnTo>
                            <a:pt x="1116590" y="1383023"/>
                          </a:lnTo>
                          <a:lnTo>
                            <a:pt x="1119290" y="1384823"/>
                          </a:lnTo>
                          <a:lnTo>
                            <a:pt x="1120640" y="1386174"/>
                          </a:lnTo>
                          <a:lnTo>
                            <a:pt x="1120640" y="1389774"/>
                          </a:lnTo>
                          <a:lnTo>
                            <a:pt x="1122890" y="1393374"/>
                          </a:lnTo>
                          <a:lnTo>
                            <a:pt x="1125141" y="1394725"/>
                          </a:lnTo>
                          <a:lnTo>
                            <a:pt x="1126491" y="1394725"/>
                          </a:lnTo>
                          <a:lnTo>
                            <a:pt x="1128741" y="1393374"/>
                          </a:lnTo>
                          <a:lnTo>
                            <a:pt x="1130991" y="1393374"/>
                          </a:lnTo>
                          <a:lnTo>
                            <a:pt x="1132792" y="1394274"/>
                          </a:lnTo>
                          <a:lnTo>
                            <a:pt x="1135042" y="1396525"/>
                          </a:lnTo>
                          <a:lnTo>
                            <a:pt x="1137742" y="1396975"/>
                          </a:lnTo>
                          <a:lnTo>
                            <a:pt x="1140443" y="1398325"/>
                          </a:lnTo>
                          <a:lnTo>
                            <a:pt x="1142243" y="1398775"/>
                          </a:lnTo>
                          <a:lnTo>
                            <a:pt x="1147644" y="1398325"/>
                          </a:lnTo>
                          <a:lnTo>
                            <a:pt x="1149894" y="1399225"/>
                          </a:lnTo>
                          <a:lnTo>
                            <a:pt x="1150344" y="1400125"/>
                          </a:lnTo>
                          <a:lnTo>
                            <a:pt x="1149444" y="1401475"/>
                          </a:lnTo>
                          <a:lnTo>
                            <a:pt x="1144493" y="1404176"/>
                          </a:lnTo>
                          <a:lnTo>
                            <a:pt x="1143593" y="1406876"/>
                          </a:lnTo>
                          <a:lnTo>
                            <a:pt x="1146293" y="1410477"/>
                          </a:lnTo>
                          <a:lnTo>
                            <a:pt x="1147644" y="1413177"/>
                          </a:lnTo>
                          <a:lnTo>
                            <a:pt x="1147644" y="1415427"/>
                          </a:lnTo>
                          <a:lnTo>
                            <a:pt x="1146293" y="1419928"/>
                          </a:lnTo>
                          <a:lnTo>
                            <a:pt x="1145843" y="1421728"/>
                          </a:lnTo>
                          <a:lnTo>
                            <a:pt x="1146293" y="1421728"/>
                          </a:lnTo>
                          <a:lnTo>
                            <a:pt x="1149894" y="1418128"/>
                          </a:lnTo>
                          <a:lnTo>
                            <a:pt x="1150344" y="1418578"/>
                          </a:lnTo>
                          <a:lnTo>
                            <a:pt x="1150794" y="1423978"/>
                          </a:lnTo>
                          <a:lnTo>
                            <a:pt x="1151244" y="1423528"/>
                          </a:lnTo>
                          <a:lnTo>
                            <a:pt x="1152594" y="1419028"/>
                          </a:lnTo>
                          <a:lnTo>
                            <a:pt x="1152144" y="1413177"/>
                          </a:lnTo>
                          <a:lnTo>
                            <a:pt x="1154394" y="1410927"/>
                          </a:lnTo>
                          <a:lnTo>
                            <a:pt x="1161145" y="1409126"/>
                          </a:lnTo>
                          <a:lnTo>
                            <a:pt x="1159795" y="1418128"/>
                          </a:lnTo>
                          <a:lnTo>
                            <a:pt x="1159795" y="1422628"/>
                          </a:lnTo>
                          <a:lnTo>
                            <a:pt x="1156644" y="1430279"/>
                          </a:lnTo>
                          <a:lnTo>
                            <a:pt x="1154394" y="1432979"/>
                          </a:lnTo>
                          <a:lnTo>
                            <a:pt x="1154394" y="1433429"/>
                          </a:lnTo>
                          <a:lnTo>
                            <a:pt x="1156195" y="1434330"/>
                          </a:lnTo>
                          <a:lnTo>
                            <a:pt x="1157095" y="1434330"/>
                          </a:lnTo>
                          <a:lnTo>
                            <a:pt x="1157995" y="1432979"/>
                          </a:lnTo>
                          <a:lnTo>
                            <a:pt x="1160695" y="1427129"/>
                          </a:lnTo>
                          <a:lnTo>
                            <a:pt x="1165646" y="1420828"/>
                          </a:lnTo>
                          <a:lnTo>
                            <a:pt x="1166546" y="1420828"/>
                          </a:lnTo>
                          <a:lnTo>
                            <a:pt x="1166546" y="1423078"/>
                          </a:lnTo>
                          <a:lnTo>
                            <a:pt x="1166096" y="1427129"/>
                          </a:lnTo>
                          <a:lnTo>
                            <a:pt x="1168346" y="1428929"/>
                          </a:lnTo>
                          <a:lnTo>
                            <a:pt x="1170596" y="1427129"/>
                          </a:lnTo>
                          <a:lnTo>
                            <a:pt x="1171947" y="1425328"/>
                          </a:lnTo>
                          <a:lnTo>
                            <a:pt x="1174647" y="1425778"/>
                          </a:lnTo>
                          <a:lnTo>
                            <a:pt x="1175997" y="1426679"/>
                          </a:lnTo>
                          <a:lnTo>
                            <a:pt x="1176447" y="1428479"/>
                          </a:lnTo>
                          <a:lnTo>
                            <a:pt x="1175097" y="1436130"/>
                          </a:lnTo>
                          <a:lnTo>
                            <a:pt x="1175547" y="1437930"/>
                          </a:lnTo>
                          <a:lnTo>
                            <a:pt x="1178697" y="1442881"/>
                          </a:lnTo>
                          <a:lnTo>
                            <a:pt x="1179147" y="1442431"/>
                          </a:lnTo>
                          <a:lnTo>
                            <a:pt x="1178697" y="1440180"/>
                          </a:lnTo>
                          <a:lnTo>
                            <a:pt x="1178247" y="1434330"/>
                          </a:lnTo>
                          <a:lnTo>
                            <a:pt x="1178697" y="1431629"/>
                          </a:lnTo>
                          <a:lnTo>
                            <a:pt x="1180948" y="1428029"/>
                          </a:lnTo>
                          <a:lnTo>
                            <a:pt x="1185898" y="1423078"/>
                          </a:lnTo>
                          <a:lnTo>
                            <a:pt x="1187698" y="1422178"/>
                          </a:lnTo>
                          <a:lnTo>
                            <a:pt x="1189049" y="1422628"/>
                          </a:lnTo>
                          <a:lnTo>
                            <a:pt x="1190849" y="1424878"/>
                          </a:lnTo>
                          <a:lnTo>
                            <a:pt x="1190399" y="1426228"/>
                          </a:lnTo>
                          <a:lnTo>
                            <a:pt x="1188599" y="1427579"/>
                          </a:lnTo>
                          <a:lnTo>
                            <a:pt x="1187249" y="1430279"/>
                          </a:lnTo>
                          <a:lnTo>
                            <a:pt x="1183198" y="1431179"/>
                          </a:lnTo>
                          <a:lnTo>
                            <a:pt x="1184098" y="1433429"/>
                          </a:lnTo>
                          <a:lnTo>
                            <a:pt x="1188148" y="1433429"/>
                          </a:lnTo>
                          <a:lnTo>
                            <a:pt x="1192199" y="1430279"/>
                          </a:lnTo>
                          <a:lnTo>
                            <a:pt x="1194449" y="1431629"/>
                          </a:lnTo>
                          <a:lnTo>
                            <a:pt x="1197150" y="1435680"/>
                          </a:lnTo>
                          <a:lnTo>
                            <a:pt x="1202100" y="1442431"/>
                          </a:lnTo>
                          <a:lnTo>
                            <a:pt x="1204801" y="1440630"/>
                          </a:lnTo>
                          <a:lnTo>
                            <a:pt x="1208401" y="1445581"/>
                          </a:lnTo>
                          <a:lnTo>
                            <a:pt x="1203450" y="1449631"/>
                          </a:lnTo>
                          <a:lnTo>
                            <a:pt x="1204801" y="1457732"/>
                          </a:lnTo>
                          <a:lnTo>
                            <a:pt x="1198500" y="1457282"/>
                          </a:lnTo>
                          <a:lnTo>
                            <a:pt x="1194899" y="1457732"/>
                          </a:lnTo>
                          <a:lnTo>
                            <a:pt x="1192649" y="1456832"/>
                          </a:lnTo>
                          <a:lnTo>
                            <a:pt x="1189949" y="1457282"/>
                          </a:lnTo>
                          <a:lnTo>
                            <a:pt x="1192199" y="1459083"/>
                          </a:lnTo>
                          <a:lnTo>
                            <a:pt x="1196700" y="1459983"/>
                          </a:lnTo>
                          <a:lnTo>
                            <a:pt x="1197150" y="1462233"/>
                          </a:lnTo>
                          <a:lnTo>
                            <a:pt x="1200750" y="1462233"/>
                          </a:lnTo>
                          <a:lnTo>
                            <a:pt x="1203450" y="1461783"/>
                          </a:lnTo>
                          <a:lnTo>
                            <a:pt x="1208401" y="1461783"/>
                          </a:lnTo>
                          <a:lnTo>
                            <a:pt x="1208851" y="1459083"/>
                          </a:lnTo>
                          <a:lnTo>
                            <a:pt x="1212002" y="1457282"/>
                          </a:lnTo>
                          <a:lnTo>
                            <a:pt x="1213802" y="1455482"/>
                          </a:lnTo>
                          <a:lnTo>
                            <a:pt x="1215152" y="1456382"/>
                          </a:lnTo>
                          <a:lnTo>
                            <a:pt x="1219652" y="1457732"/>
                          </a:lnTo>
                          <a:lnTo>
                            <a:pt x="1225503" y="1463133"/>
                          </a:lnTo>
                          <a:lnTo>
                            <a:pt x="1223703" y="1467184"/>
                          </a:lnTo>
                          <a:lnTo>
                            <a:pt x="1222803" y="1470334"/>
                          </a:lnTo>
                          <a:lnTo>
                            <a:pt x="1221903" y="1473034"/>
                          </a:lnTo>
                          <a:lnTo>
                            <a:pt x="1221453" y="1475285"/>
                          </a:lnTo>
                          <a:lnTo>
                            <a:pt x="1220553" y="1477085"/>
                          </a:lnTo>
                          <a:lnTo>
                            <a:pt x="1212002" y="1486536"/>
                          </a:lnTo>
                          <a:lnTo>
                            <a:pt x="1213352" y="1486536"/>
                          </a:lnTo>
                          <a:lnTo>
                            <a:pt x="1216952" y="1484286"/>
                          </a:lnTo>
                          <a:lnTo>
                            <a:pt x="1223703" y="1481135"/>
                          </a:lnTo>
                          <a:lnTo>
                            <a:pt x="1227754" y="1479785"/>
                          </a:lnTo>
                          <a:lnTo>
                            <a:pt x="1230454" y="1480685"/>
                          </a:lnTo>
                          <a:lnTo>
                            <a:pt x="1231804" y="1480685"/>
                          </a:lnTo>
                          <a:lnTo>
                            <a:pt x="1233154" y="1479335"/>
                          </a:lnTo>
                          <a:lnTo>
                            <a:pt x="1235404" y="1480685"/>
                          </a:lnTo>
                          <a:lnTo>
                            <a:pt x="1240355" y="1482035"/>
                          </a:lnTo>
                          <a:lnTo>
                            <a:pt x="1245756" y="1474385"/>
                          </a:lnTo>
                          <a:lnTo>
                            <a:pt x="1248906" y="1475735"/>
                          </a:lnTo>
                          <a:lnTo>
                            <a:pt x="1252056" y="1480685"/>
                          </a:lnTo>
                          <a:lnTo>
                            <a:pt x="1258807" y="1488786"/>
                          </a:lnTo>
                          <a:lnTo>
                            <a:pt x="1262408" y="1493737"/>
                          </a:lnTo>
                          <a:lnTo>
                            <a:pt x="1263758" y="1495987"/>
                          </a:lnTo>
                          <a:lnTo>
                            <a:pt x="1263758" y="1498238"/>
                          </a:lnTo>
                          <a:lnTo>
                            <a:pt x="1260608" y="1500488"/>
                          </a:lnTo>
                          <a:lnTo>
                            <a:pt x="1258807" y="1500938"/>
                          </a:lnTo>
                          <a:lnTo>
                            <a:pt x="1254757" y="1496887"/>
                          </a:lnTo>
                          <a:lnTo>
                            <a:pt x="1250706" y="1494637"/>
                          </a:lnTo>
                          <a:lnTo>
                            <a:pt x="1248456" y="1495087"/>
                          </a:lnTo>
                          <a:lnTo>
                            <a:pt x="1246206" y="1496887"/>
                          </a:lnTo>
                          <a:lnTo>
                            <a:pt x="1247106" y="1497787"/>
                          </a:lnTo>
                          <a:lnTo>
                            <a:pt x="1256557" y="1504538"/>
                          </a:lnTo>
                          <a:lnTo>
                            <a:pt x="1258357" y="1509489"/>
                          </a:lnTo>
                          <a:lnTo>
                            <a:pt x="1258357" y="1511739"/>
                          </a:lnTo>
                          <a:lnTo>
                            <a:pt x="1252056" y="1514890"/>
                          </a:lnTo>
                          <a:lnTo>
                            <a:pt x="1250256" y="1514890"/>
                          </a:lnTo>
                          <a:lnTo>
                            <a:pt x="1245756" y="1513539"/>
                          </a:lnTo>
                          <a:lnTo>
                            <a:pt x="1243055" y="1510839"/>
                          </a:lnTo>
                          <a:lnTo>
                            <a:pt x="1240805" y="1509939"/>
                          </a:lnTo>
                          <a:lnTo>
                            <a:pt x="1238105" y="1509489"/>
                          </a:lnTo>
                          <a:lnTo>
                            <a:pt x="1237205" y="1509939"/>
                          </a:lnTo>
                          <a:lnTo>
                            <a:pt x="1240355" y="1514890"/>
                          </a:lnTo>
                          <a:lnTo>
                            <a:pt x="1239905" y="1516240"/>
                          </a:lnTo>
                          <a:lnTo>
                            <a:pt x="1238105" y="1517140"/>
                          </a:lnTo>
                          <a:lnTo>
                            <a:pt x="1237205" y="1519390"/>
                          </a:lnTo>
                          <a:lnTo>
                            <a:pt x="1243506" y="1523441"/>
                          </a:lnTo>
                          <a:lnTo>
                            <a:pt x="1248006" y="1527491"/>
                          </a:lnTo>
                          <a:lnTo>
                            <a:pt x="1248906" y="1529291"/>
                          </a:lnTo>
                          <a:lnTo>
                            <a:pt x="1245756" y="1530642"/>
                          </a:lnTo>
                          <a:lnTo>
                            <a:pt x="1243506" y="1531092"/>
                          </a:lnTo>
                          <a:lnTo>
                            <a:pt x="1238555" y="1530642"/>
                          </a:lnTo>
                          <a:lnTo>
                            <a:pt x="1235855" y="1529741"/>
                          </a:lnTo>
                          <a:lnTo>
                            <a:pt x="1234954" y="1530642"/>
                          </a:lnTo>
                          <a:lnTo>
                            <a:pt x="1237655" y="1532892"/>
                          </a:lnTo>
                          <a:lnTo>
                            <a:pt x="1238555" y="1534242"/>
                          </a:lnTo>
                          <a:lnTo>
                            <a:pt x="1239455" y="1536492"/>
                          </a:lnTo>
                          <a:lnTo>
                            <a:pt x="1239905" y="1538292"/>
                          </a:lnTo>
                          <a:lnTo>
                            <a:pt x="1239905" y="1540093"/>
                          </a:lnTo>
                          <a:lnTo>
                            <a:pt x="1237655" y="1541443"/>
                          </a:lnTo>
                          <a:lnTo>
                            <a:pt x="1234954" y="1545493"/>
                          </a:lnTo>
                          <a:lnTo>
                            <a:pt x="1234054" y="1549994"/>
                          </a:lnTo>
                          <a:lnTo>
                            <a:pt x="1231804" y="1550444"/>
                          </a:lnTo>
                          <a:lnTo>
                            <a:pt x="1230904" y="1549544"/>
                          </a:lnTo>
                          <a:lnTo>
                            <a:pt x="1227754" y="1550894"/>
                          </a:lnTo>
                          <a:lnTo>
                            <a:pt x="1223703" y="1549094"/>
                          </a:lnTo>
                          <a:lnTo>
                            <a:pt x="1222353" y="1547294"/>
                          </a:lnTo>
                          <a:lnTo>
                            <a:pt x="1217852" y="1539193"/>
                          </a:lnTo>
                          <a:lnTo>
                            <a:pt x="1217852" y="1540093"/>
                          </a:lnTo>
                          <a:lnTo>
                            <a:pt x="1219202" y="1544143"/>
                          </a:lnTo>
                          <a:lnTo>
                            <a:pt x="1218752" y="1546394"/>
                          </a:lnTo>
                          <a:lnTo>
                            <a:pt x="1213802" y="1548194"/>
                          </a:lnTo>
                          <a:lnTo>
                            <a:pt x="1213802" y="1549094"/>
                          </a:lnTo>
                          <a:lnTo>
                            <a:pt x="1216952" y="1550444"/>
                          </a:lnTo>
                          <a:lnTo>
                            <a:pt x="1220553" y="1551344"/>
                          </a:lnTo>
                          <a:lnTo>
                            <a:pt x="1220103" y="1554945"/>
                          </a:lnTo>
                          <a:lnTo>
                            <a:pt x="1220103" y="1570697"/>
                          </a:lnTo>
                          <a:lnTo>
                            <a:pt x="1219202" y="1576097"/>
                          </a:lnTo>
                          <a:lnTo>
                            <a:pt x="1217402" y="1581048"/>
                          </a:lnTo>
                          <a:lnTo>
                            <a:pt x="1214702" y="1585548"/>
                          </a:lnTo>
                          <a:lnTo>
                            <a:pt x="1212002" y="1582398"/>
                          </a:lnTo>
                          <a:lnTo>
                            <a:pt x="1211101" y="1579248"/>
                          </a:lnTo>
                          <a:lnTo>
                            <a:pt x="1210201" y="1577447"/>
                          </a:lnTo>
                          <a:lnTo>
                            <a:pt x="1208851" y="1576097"/>
                          </a:lnTo>
                          <a:lnTo>
                            <a:pt x="1207051" y="1575647"/>
                          </a:lnTo>
                          <a:lnTo>
                            <a:pt x="1205251" y="1575647"/>
                          </a:lnTo>
                          <a:lnTo>
                            <a:pt x="1203450" y="1578348"/>
                          </a:lnTo>
                          <a:lnTo>
                            <a:pt x="1201200" y="1576097"/>
                          </a:lnTo>
                          <a:lnTo>
                            <a:pt x="1199400" y="1572947"/>
                          </a:lnTo>
                          <a:lnTo>
                            <a:pt x="1200300" y="1565296"/>
                          </a:lnTo>
                          <a:lnTo>
                            <a:pt x="1201200" y="1561245"/>
                          </a:lnTo>
                          <a:lnTo>
                            <a:pt x="1200750" y="1561245"/>
                          </a:lnTo>
                          <a:lnTo>
                            <a:pt x="1199400" y="1563046"/>
                          </a:lnTo>
                          <a:lnTo>
                            <a:pt x="1196700" y="1568896"/>
                          </a:lnTo>
                          <a:lnTo>
                            <a:pt x="1194899" y="1575647"/>
                          </a:lnTo>
                          <a:lnTo>
                            <a:pt x="1192649" y="1572947"/>
                          </a:lnTo>
                          <a:lnTo>
                            <a:pt x="1190399" y="1569796"/>
                          </a:lnTo>
                          <a:lnTo>
                            <a:pt x="1188599" y="1566646"/>
                          </a:lnTo>
                          <a:lnTo>
                            <a:pt x="1185898" y="1562596"/>
                          </a:lnTo>
                          <a:lnTo>
                            <a:pt x="1183198" y="1558095"/>
                          </a:lnTo>
                          <a:lnTo>
                            <a:pt x="1181848" y="1552694"/>
                          </a:lnTo>
                          <a:lnTo>
                            <a:pt x="1181398" y="1551794"/>
                          </a:lnTo>
                          <a:lnTo>
                            <a:pt x="1179598" y="1547294"/>
                          </a:lnTo>
                          <a:lnTo>
                            <a:pt x="1179147" y="1545944"/>
                          </a:lnTo>
                          <a:lnTo>
                            <a:pt x="1178697" y="1545493"/>
                          </a:lnTo>
                          <a:lnTo>
                            <a:pt x="1177347" y="1542793"/>
                          </a:lnTo>
                          <a:lnTo>
                            <a:pt x="1177797" y="1539643"/>
                          </a:lnTo>
                          <a:lnTo>
                            <a:pt x="1180047" y="1536042"/>
                          </a:lnTo>
                          <a:lnTo>
                            <a:pt x="1181848" y="1533342"/>
                          </a:lnTo>
                          <a:lnTo>
                            <a:pt x="1184998" y="1530642"/>
                          </a:lnTo>
                          <a:lnTo>
                            <a:pt x="1188599" y="1529291"/>
                          </a:lnTo>
                          <a:lnTo>
                            <a:pt x="1190399" y="1526141"/>
                          </a:lnTo>
                          <a:lnTo>
                            <a:pt x="1192649" y="1520290"/>
                          </a:lnTo>
                          <a:lnTo>
                            <a:pt x="1194899" y="1516240"/>
                          </a:lnTo>
                          <a:lnTo>
                            <a:pt x="1197600" y="1513989"/>
                          </a:lnTo>
                          <a:lnTo>
                            <a:pt x="1196250" y="1513539"/>
                          </a:lnTo>
                          <a:lnTo>
                            <a:pt x="1193099" y="1515790"/>
                          </a:lnTo>
                          <a:lnTo>
                            <a:pt x="1190849" y="1518940"/>
                          </a:lnTo>
                          <a:lnTo>
                            <a:pt x="1188148" y="1523891"/>
                          </a:lnTo>
                          <a:lnTo>
                            <a:pt x="1185448" y="1527041"/>
                          </a:lnTo>
                          <a:lnTo>
                            <a:pt x="1179147" y="1530642"/>
                          </a:lnTo>
                          <a:lnTo>
                            <a:pt x="1176897" y="1531542"/>
                          </a:lnTo>
                          <a:lnTo>
                            <a:pt x="1174197" y="1531992"/>
                          </a:lnTo>
                          <a:lnTo>
                            <a:pt x="1168346" y="1531542"/>
                          </a:lnTo>
                          <a:lnTo>
                            <a:pt x="1166996" y="1530192"/>
                          </a:lnTo>
                          <a:lnTo>
                            <a:pt x="1167896" y="1526591"/>
                          </a:lnTo>
                          <a:lnTo>
                            <a:pt x="1171947" y="1520290"/>
                          </a:lnTo>
                          <a:lnTo>
                            <a:pt x="1171046" y="1519840"/>
                          </a:lnTo>
                          <a:lnTo>
                            <a:pt x="1169696" y="1522091"/>
                          </a:lnTo>
                          <a:lnTo>
                            <a:pt x="1167446" y="1523441"/>
                          </a:lnTo>
                          <a:lnTo>
                            <a:pt x="1165646" y="1524341"/>
                          </a:lnTo>
                          <a:lnTo>
                            <a:pt x="1162945" y="1523891"/>
                          </a:lnTo>
                          <a:lnTo>
                            <a:pt x="1159795" y="1519840"/>
                          </a:lnTo>
                          <a:lnTo>
                            <a:pt x="1158445" y="1518490"/>
                          </a:lnTo>
                          <a:lnTo>
                            <a:pt x="1155294" y="1517140"/>
                          </a:lnTo>
                          <a:lnTo>
                            <a:pt x="1153944" y="1515790"/>
                          </a:lnTo>
                          <a:lnTo>
                            <a:pt x="1148994" y="1506339"/>
                          </a:lnTo>
                          <a:lnTo>
                            <a:pt x="1147193" y="1503188"/>
                          </a:lnTo>
                          <a:lnTo>
                            <a:pt x="1146743" y="1500488"/>
                          </a:lnTo>
                          <a:lnTo>
                            <a:pt x="1144943" y="1498238"/>
                          </a:lnTo>
                          <a:lnTo>
                            <a:pt x="1142243" y="1496437"/>
                          </a:lnTo>
                          <a:lnTo>
                            <a:pt x="1141793" y="1496887"/>
                          </a:lnTo>
                          <a:lnTo>
                            <a:pt x="1142693" y="1499138"/>
                          </a:lnTo>
                          <a:lnTo>
                            <a:pt x="1142693" y="1500938"/>
                          </a:lnTo>
                          <a:lnTo>
                            <a:pt x="1140443" y="1502288"/>
                          </a:lnTo>
                          <a:lnTo>
                            <a:pt x="1138192" y="1501838"/>
                          </a:lnTo>
                          <a:lnTo>
                            <a:pt x="1135492" y="1500038"/>
                          </a:lnTo>
                          <a:lnTo>
                            <a:pt x="1135492" y="1502738"/>
                          </a:lnTo>
                          <a:lnTo>
                            <a:pt x="1138192" y="1507239"/>
                          </a:lnTo>
                          <a:lnTo>
                            <a:pt x="1138192" y="1513089"/>
                          </a:lnTo>
                          <a:lnTo>
                            <a:pt x="1137292" y="1513539"/>
                          </a:lnTo>
                          <a:lnTo>
                            <a:pt x="1135492" y="1513989"/>
                          </a:lnTo>
                          <a:lnTo>
                            <a:pt x="1134142" y="1513089"/>
                          </a:lnTo>
                          <a:lnTo>
                            <a:pt x="1130091" y="1508589"/>
                          </a:lnTo>
                          <a:lnTo>
                            <a:pt x="1126041" y="1505438"/>
                          </a:lnTo>
                          <a:lnTo>
                            <a:pt x="1123340" y="1503638"/>
                          </a:lnTo>
                          <a:lnTo>
                            <a:pt x="1122890" y="1504988"/>
                          </a:lnTo>
                          <a:lnTo>
                            <a:pt x="1124691" y="1510389"/>
                          </a:lnTo>
                          <a:lnTo>
                            <a:pt x="1126941" y="1515790"/>
                          </a:lnTo>
                          <a:lnTo>
                            <a:pt x="1130091" y="1520290"/>
                          </a:lnTo>
                          <a:lnTo>
                            <a:pt x="1135492" y="1525241"/>
                          </a:lnTo>
                          <a:lnTo>
                            <a:pt x="1137742" y="1527941"/>
                          </a:lnTo>
                          <a:lnTo>
                            <a:pt x="1135942" y="1531992"/>
                          </a:lnTo>
                          <a:lnTo>
                            <a:pt x="1134142" y="1533342"/>
                          </a:lnTo>
                          <a:lnTo>
                            <a:pt x="1133242" y="1533792"/>
                          </a:lnTo>
                          <a:lnTo>
                            <a:pt x="1130091" y="1533792"/>
                          </a:lnTo>
                          <a:lnTo>
                            <a:pt x="1124241" y="1531542"/>
                          </a:lnTo>
                          <a:lnTo>
                            <a:pt x="1121540" y="1528841"/>
                          </a:lnTo>
                          <a:lnTo>
                            <a:pt x="1117490" y="1522991"/>
                          </a:lnTo>
                          <a:lnTo>
                            <a:pt x="1111189" y="1516690"/>
                          </a:lnTo>
                          <a:lnTo>
                            <a:pt x="1109839" y="1516690"/>
                          </a:lnTo>
                          <a:lnTo>
                            <a:pt x="1105338" y="1519390"/>
                          </a:lnTo>
                          <a:lnTo>
                            <a:pt x="1106238" y="1519840"/>
                          </a:lnTo>
                          <a:lnTo>
                            <a:pt x="1109389" y="1519840"/>
                          </a:lnTo>
                          <a:lnTo>
                            <a:pt x="1111639" y="1520740"/>
                          </a:lnTo>
                          <a:lnTo>
                            <a:pt x="1117040" y="1525691"/>
                          </a:lnTo>
                          <a:lnTo>
                            <a:pt x="1117490" y="1527941"/>
                          </a:lnTo>
                          <a:lnTo>
                            <a:pt x="1115689" y="1530192"/>
                          </a:lnTo>
                          <a:lnTo>
                            <a:pt x="1115689" y="1532892"/>
                          </a:lnTo>
                          <a:lnTo>
                            <a:pt x="1117040" y="1536492"/>
                          </a:lnTo>
                          <a:lnTo>
                            <a:pt x="1118390" y="1538743"/>
                          </a:lnTo>
                          <a:lnTo>
                            <a:pt x="1121540" y="1540543"/>
                          </a:lnTo>
                          <a:lnTo>
                            <a:pt x="1122890" y="1540543"/>
                          </a:lnTo>
                          <a:lnTo>
                            <a:pt x="1123340" y="1541443"/>
                          </a:lnTo>
                          <a:lnTo>
                            <a:pt x="1121540" y="1549094"/>
                          </a:lnTo>
                          <a:lnTo>
                            <a:pt x="1121540" y="1551344"/>
                          </a:lnTo>
                          <a:lnTo>
                            <a:pt x="1121990" y="1552244"/>
                          </a:lnTo>
                          <a:lnTo>
                            <a:pt x="1122440" y="1552244"/>
                          </a:lnTo>
                          <a:lnTo>
                            <a:pt x="1126491" y="1549094"/>
                          </a:lnTo>
                          <a:lnTo>
                            <a:pt x="1128291" y="1548194"/>
                          </a:lnTo>
                          <a:lnTo>
                            <a:pt x="1129641" y="1548194"/>
                          </a:lnTo>
                          <a:lnTo>
                            <a:pt x="1131441" y="1549094"/>
                          </a:lnTo>
                          <a:lnTo>
                            <a:pt x="1133242" y="1550894"/>
                          </a:lnTo>
                          <a:lnTo>
                            <a:pt x="1134592" y="1552694"/>
                          </a:lnTo>
                          <a:lnTo>
                            <a:pt x="1135042" y="1554945"/>
                          </a:lnTo>
                          <a:lnTo>
                            <a:pt x="1135492" y="1556295"/>
                          </a:lnTo>
                          <a:lnTo>
                            <a:pt x="1139542" y="1558545"/>
                          </a:lnTo>
                          <a:lnTo>
                            <a:pt x="1139092" y="1559445"/>
                          </a:lnTo>
                          <a:lnTo>
                            <a:pt x="1135042" y="1562596"/>
                          </a:lnTo>
                          <a:lnTo>
                            <a:pt x="1135042" y="1563046"/>
                          </a:lnTo>
                          <a:lnTo>
                            <a:pt x="1135942" y="1563496"/>
                          </a:lnTo>
                          <a:lnTo>
                            <a:pt x="1138642" y="1565296"/>
                          </a:lnTo>
                          <a:lnTo>
                            <a:pt x="1140893" y="1568446"/>
                          </a:lnTo>
                          <a:lnTo>
                            <a:pt x="1142243" y="1572047"/>
                          </a:lnTo>
                          <a:lnTo>
                            <a:pt x="1142693" y="1573847"/>
                          </a:lnTo>
                          <a:lnTo>
                            <a:pt x="1142693" y="1575647"/>
                          </a:lnTo>
                          <a:lnTo>
                            <a:pt x="1143143" y="1576547"/>
                          </a:lnTo>
                          <a:lnTo>
                            <a:pt x="1144493" y="1576547"/>
                          </a:lnTo>
                          <a:lnTo>
                            <a:pt x="1144943" y="1576097"/>
                          </a:lnTo>
                          <a:lnTo>
                            <a:pt x="1145393" y="1576097"/>
                          </a:lnTo>
                          <a:lnTo>
                            <a:pt x="1145843" y="1576997"/>
                          </a:lnTo>
                          <a:lnTo>
                            <a:pt x="1146293" y="1579698"/>
                          </a:lnTo>
                          <a:lnTo>
                            <a:pt x="1147644" y="1587799"/>
                          </a:lnTo>
                          <a:lnTo>
                            <a:pt x="1148544" y="1590049"/>
                          </a:lnTo>
                          <a:lnTo>
                            <a:pt x="1148994" y="1590049"/>
                          </a:lnTo>
                          <a:lnTo>
                            <a:pt x="1148994" y="1581948"/>
                          </a:lnTo>
                          <a:lnTo>
                            <a:pt x="1149444" y="1580598"/>
                          </a:lnTo>
                          <a:lnTo>
                            <a:pt x="1152144" y="1581948"/>
                          </a:lnTo>
                          <a:lnTo>
                            <a:pt x="1155744" y="1585098"/>
                          </a:lnTo>
                          <a:lnTo>
                            <a:pt x="1158445" y="1587799"/>
                          </a:lnTo>
                          <a:lnTo>
                            <a:pt x="1158895" y="1589149"/>
                          </a:lnTo>
                          <a:lnTo>
                            <a:pt x="1157095" y="1591849"/>
                          </a:lnTo>
                          <a:lnTo>
                            <a:pt x="1157545" y="1592749"/>
                          </a:lnTo>
                          <a:lnTo>
                            <a:pt x="1158895" y="1594550"/>
                          </a:lnTo>
                          <a:lnTo>
                            <a:pt x="1160245" y="1594100"/>
                          </a:lnTo>
                          <a:lnTo>
                            <a:pt x="1161145" y="1591399"/>
                          </a:lnTo>
                          <a:lnTo>
                            <a:pt x="1162945" y="1588699"/>
                          </a:lnTo>
                          <a:lnTo>
                            <a:pt x="1164746" y="1586899"/>
                          </a:lnTo>
                          <a:lnTo>
                            <a:pt x="1168346" y="1588699"/>
                          </a:lnTo>
                          <a:lnTo>
                            <a:pt x="1171497" y="1592749"/>
                          </a:lnTo>
                          <a:lnTo>
                            <a:pt x="1171947" y="1594100"/>
                          </a:lnTo>
                          <a:lnTo>
                            <a:pt x="1173747" y="1595900"/>
                          </a:lnTo>
                          <a:lnTo>
                            <a:pt x="1175547" y="1595000"/>
                          </a:lnTo>
                          <a:lnTo>
                            <a:pt x="1178697" y="1599500"/>
                          </a:lnTo>
                          <a:lnTo>
                            <a:pt x="1176897" y="1601750"/>
                          </a:lnTo>
                          <a:lnTo>
                            <a:pt x="1173297" y="1604901"/>
                          </a:lnTo>
                          <a:lnTo>
                            <a:pt x="1172847" y="1605801"/>
                          </a:lnTo>
                          <a:lnTo>
                            <a:pt x="1173747" y="1605351"/>
                          </a:lnTo>
                          <a:lnTo>
                            <a:pt x="1180498" y="1605351"/>
                          </a:lnTo>
                          <a:lnTo>
                            <a:pt x="1182298" y="1606701"/>
                          </a:lnTo>
                          <a:lnTo>
                            <a:pt x="1182748" y="1608951"/>
                          </a:lnTo>
                          <a:lnTo>
                            <a:pt x="1179598" y="1615702"/>
                          </a:lnTo>
                          <a:lnTo>
                            <a:pt x="1176897" y="1615252"/>
                          </a:lnTo>
                          <a:lnTo>
                            <a:pt x="1173297" y="1615252"/>
                          </a:lnTo>
                          <a:lnTo>
                            <a:pt x="1171497" y="1615702"/>
                          </a:lnTo>
                          <a:lnTo>
                            <a:pt x="1171947" y="1616602"/>
                          </a:lnTo>
                          <a:lnTo>
                            <a:pt x="1176897" y="1619753"/>
                          </a:lnTo>
                          <a:lnTo>
                            <a:pt x="1178247" y="1622003"/>
                          </a:lnTo>
                          <a:lnTo>
                            <a:pt x="1180047" y="1624703"/>
                          </a:lnTo>
                          <a:lnTo>
                            <a:pt x="1180948" y="1626954"/>
                          </a:lnTo>
                          <a:lnTo>
                            <a:pt x="1180948" y="1627854"/>
                          </a:lnTo>
                          <a:lnTo>
                            <a:pt x="1180047" y="1629204"/>
                          </a:lnTo>
                          <a:lnTo>
                            <a:pt x="1180498" y="1629654"/>
                          </a:lnTo>
                          <a:lnTo>
                            <a:pt x="1184098" y="1630554"/>
                          </a:lnTo>
                          <a:lnTo>
                            <a:pt x="1186348" y="1629654"/>
                          </a:lnTo>
                          <a:lnTo>
                            <a:pt x="1189049" y="1629204"/>
                          </a:lnTo>
                          <a:lnTo>
                            <a:pt x="1191299" y="1629654"/>
                          </a:lnTo>
                          <a:lnTo>
                            <a:pt x="1191299" y="1630554"/>
                          </a:lnTo>
                          <a:lnTo>
                            <a:pt x="1190849" y="1632804"/>
                          </a:lnTo>
                          <a:lnTo>
                            <a:pt x="1188599" y="1635055"/>
                          </a:lnTo>
                          <a:lnTo>
                            <a:pt x="1189049" y="1635505"/>
                          </a:lnTo>
                          <a:lnTo>
                            <a:pt x="1191749" y="1635055"/>
                          </a:lnTo>
                          <a:lnTo>
                            <a:pt x="1193099" y="1635955"/>
                          </a:lnTo>
                          <a:lnTo>
                            <a:pt x="1194899" y="1640905"/>
                          </a:lnTo>
                          <a:lnTo>
                            <a:pt x="1196700" y="1644956"/>
                          </a:lnTo>
                          <a:lnTo>
                            <a:pt x="1195349" y="1645856"/>
                          </a:lnTo>
                          <a:lnTo>
                            <a:pt x="1193549" y="1646306"/>
                          </a:lnTo>
                          <a:lnTo>
                            <a:pt x="1193999" y="1651257"/>
                          </a:lnTo>
                          <a:lnTo>
                            <a:pt x="1194899" y="1656657"/>
                          </a:lnTo>
                          <a:lnTo>
                            <a:pt x="1194899" y="1661608"/>
                          </a:lnTo>
                          <a:lnTo>
                            <a:pt x="1194449" y="1666109"/>
                          </a:lnTo>
                          <a:lnTo>
                            <a:pt x="1193099" y="1667009"/>
                          </a:lnTo>
                          <a:lnTo>
                            <a:pt x="1191299" y="1667009"/>
                          </a:lnTo>
                          <a:lnTo>
                            <a:pt x="1190849" y="1666109"/>
                          </a:lnTo>
                          <a:lnTo>
                            <a:pt x="1186798" y="1653057"/>
                          </a:lnTo>
                          <a:lnTo>
                            <a:pt x="1185898" y="1650807"/>
                          </a:lnTo>
                          <a:lnTo>
                            <a:pt x="1184548" y="1648556"/>
                          </a:lnTo>
                          <a:lnTo>
                            <a:pt x="1180047" y="1642706"/>
                          </a:lnTo>
                          <a:lnTo>
                            <a:pt x="1180047" y="1643606"/>
                          </a:lnTo>
                          <a:lnTo>
                            <a:pt x="1180948" y="1646306"/>
                          </a:lnTo>
                          <a:lnTo>
                            <a:pt x="1181848" y="1650357"/>
                          </a:lnTo>
                          <a:lnTo>
                            <a:pt x="1183198" y="1658458"/>
                          </a:lnTo>
                          <a:lnTo>
                            <a:pt x="1183648" y="1663408"/>
                          </a:lnTo>
                          <a:lnTo>
                            <a:pt x="1183198" y="1665208"/>
                          </a:lnTo>
                          <a:lnTo>
                            <a:pt x="1182298" y="1665659"/>
                          </a:lnTo>
                          <a:lnTo>
                            <a:pt x="1183198" y="1665208"/>
                          </a:lnTo>
                          <a:lnTo>
                            <a:pt x="1183648" y="1666559"/>
                          </a:lnTo>
                          <a:lnTo>
                            <a:pt x="1186798" y="1671509"/>
                          </a:lnTo>
                          <a:lnTo>
                            <a:pt x="1188599" y="1674660"/>
                          </a:lnTo>
                          <a:lnTo>
                            <a:pt x="1189499" y="1677810"/>
                          </a:lnTo>
                          <a:lnTo>
                            <a:pt x="1190399" y="1680060"/>
                          </a:lnTo>
                          <a:lnTo>
                            <a:pt x="1191299" y="1680960"/>
                          </a:lnTo>
                          <a:lnTo>
                            <a:pt x="1190849" y="1681861"/>
                          </a:lnTo>
                          <a:lnTo>
                            <a:pt x="1189499" y="1682761"/>
                          </a:lnTo>
                          <a:lnTo>
                            <a:pt x="1187698" y="1683211"/>
                          </a:lnTo>
                          <a:lnTo>
                            <a:pt x="1186348" y="1682761"/>
                          </a:lnTo>
                          <a:lnTo>
                            <a:pt x="1181848" y="1679610"/>
                          </a:lnTo>
                          <a:lnTo>
                            <a:pt x="1181398" y="1680510"/>
                          </a:lnTo>
                          <a:lnTo>
                            <a:pt x="1183648" y="1691312"/>
                          </a:lnTo>
                          <a:lnTo>
                            <a:pt x="1183648" y="1694012"/>
                          </a:lnTo>
                          <a:lnTo>
                            <a:pt x="1182298" y="1694912"/>
                          </a:lnTo>
                          <a:lnTo>
                            <a:pt x="1180948" y="1694012"/>
                          </a:lnTo>
                          <a:lnTo>
                            <a:pt x="1179147" y="1690862"/>
                          </a:lnTo>
                          <a:lnTo>
                            <a:pt x="1176447" y="1687261"/>
                          </a:lnTo>
                          <a:lnTo>
                            <a:pt x="1172847" y="1683661"/>
                          </a:lnTo>
                          <a:lnTo>
                            <a:pt x="1169246" y="1680510"/>
                          </a:lnTo>
                          <a:lnTo>
                            <a:pt x="1168346" y="1680510"/>
                          </a:lnTo>
                          <a:lnTo>
                            <a:pt x="1167896" y="1681410"/>
                          </a:lnTo>
                          <a:lnTo>
                            <a:pt x="1167446" y="1681410"/>
                          </a:lnTo>
                          <a:lnTo>
                            <a:pt x="1166996" y="1680960"/>
                          </a:lnTo>
                          <a:lnTo>
                            <a:pt x="1165646" y="1678710"/>
                          </a:lnTo>
                          <a:lnTo>
                            <a:pt x="1164295" y="1677360"/>
                          </a:lnTo>
                          <a:lnTo>
                            <a:pt x="1158895" y="1672409"/>
                          </a:lnTo>
                          <a:lnTo>
                            <a:pt x="1158445" y="1672409"/>
                          </a:lnTo>
                          <a:lnTo>
                            <a:pt x="1158895" y="1673759"/>
                          </a:lnTo>
                          <a:lnTo>
                            <a:pt x="1159345" y="1676910"/>
                          </a:lnTo>
                          <a:lnTo>
                            <a:pt x="1158895" y="1677810"/>
                          </a:lnTo>
                          <a:lnTo>
                            <a:pt x="1157545" y="1677360"/>
                          </a:lnTo>
                          <a:lnTo>
                            <a:pt x="1154844" y="1676010"/>
                          </a:lnTo>
                          <a:lnTo>
                            <a:pt x="1153044" y="1672859"/>
                          </a:lnTo>
                          <a:lnTo>
                            <a:pt x="1150794" y="1667009"/>
                          </a:lnTo>
                          <a:lnTo>
                            <a:pt x="1149444" y="1664758"/>
                          </a:lnTo>
                          <a:lnTo>
                            <a:pt x="1149444" y="1666109"/>
                          </a:lnTo>
                          <a:lnTo>
                            <a:pt x="1149894" y="1671509"/>
                          </a:lnTo>
                          <a:lnTo>
                            <a:pt x="1149894" y="1673309"/>
                          </a:lnTo>
                          <a:lnTo>
                            <a:pt x="1148544" y="1673759"/>
                          </a:lnTo>
                          <a:lnTo>
                            <a:pt x="1148094" y="1673309"/>
                          </a:lnTo>
                          <a:lnTo>
                            <a:pt x="1147644" y="1671959"/>
                          </a:lnTo>
                          <a:lnTo>
                            <a:pt x="1147193" y="1669709"/>
                          </a:lnTo>
                          <a:lnTo>
                            <a:pt x="1145843" y="1667909"/>
                          </a:lnTo>
                          <a:lnTo>
                            <a:pt x="1144043" y="1666559"/>
                          </a:lnTo>
                          <a:lnTo>
                            <a:pt x="1143143" y="1665208"/>
                          </a:lnTo>
                          <a:lnTo>
                            <a:pt x="1142693" y="1662958"/>
                          </a:lnTo>
                          <a:lnTo>
                            <a:pt x="1142243" y="1662508"/>
                          </a:lnTo>
                          <a:lnTo>
                            <a:pt x="1138642" y="1662958"/>
                          </a:lnTo>
                          <a:lnTo>
                            <a:pt x="1136842" y="1661158"/>
                          </a:lnTo>
                          <a:lnTo>
                            <a:pt x="1131892" y="1654407"/>
                          </a:lnTo>
                          <a:lnTo>
                            <a:pt x="1127391" y="1647206"/>
                          </a:lnTo>
                          <a:lnTo>
                            <a:pt x="1124691" y="1643156"/>
                          </a:lnTo>
                          <a:lnTo>
                            <a:pt x="1123790" y="1642256"/>
                          </a:lnTo>
                          <a:lnTo>
                            <a:pt x="1125141" y="1646756"/>
                          </a:lnTo>
                          <a:lnTo>
                            <a:pt x="1126941" y="1653507"/>
                          </a:lnTo>
                          <a:lnTo>
                            <a:pt x="1127391" y="1656657"/>
                          </a:lnTo>
                          <a:lnTo>
                            <a:pt x="1126491" y="1656657"/>
                          </a:lnTo>
                          <a:lnTo>
                            <a:pt x="1124691" y="1655307"/>
                          </a:lnTo>
                          <a:lnTo>
                            <a:pt x="1116140" y="1646306"/>
                          </a:lnTo>
                          <a:lnTo>
                            <a:pt x="1110739" y="1642256"/>
                          </a:lnTo>
                          <a:lnTo>
                            <a:pt x="1107589" y="1641356"/>
                          </a:lnTo>
                          <a:lnTo>
                            <a:pt x="1102638" y="1640905"/>
                          </a:lnTo>
                          <a:lnTo>
                            <a:pt x="1101738" y="1643156"/>
                          </a:lnTo>
                          <a:lnTo>
                            <a:pt x="1104438" y="1648106"/>
                          </a:lnTo>
                          <a:lnTo>
                            <a:pt x="1107138" y="1652157"/>
                          </a:lnTo>
                          <a:lnTo>
                            <a:pt x="1109389" y="1654857"/>
                          </a:lnTo>
                          <a:lnTo>
                            <a:pt x="1113439" y="1659808"/>
                          </a:lnTo>
                          <a:lnTo>
                            <a:pt x="1117040" y="1666109"/>
                          </a:lnTo>
                          <a:lnTo>
                            <a:pt x="1118390" y="1667909"/>
                          </a:lnTo>
                          <a:lnTo>
                            <a:pt x="1123340" y="1670609"/>
                          </a:lnTo>
                          <a:lnTo>
                            <a:pt x="1126041" y="1671509"/>
                          </a:lnTo>
                          <a:lnTo>
                            <a:pt x="1128741" y="1671509"/>
                          </a:lnTo>
                          <a:lnTo>
                            <a:pt x="1129191" y="1672409"/>
                          </a:lnTo>
                          <a:lnTo>
                            <a:pt x="1127841" y="1674210"/>
                          </a:lnTo>
                          <a:lnTo>
                            <a:pt x="1127391" y="1675560"/>
                          </a:lnTo>
                          <a:lnTo>
                            <a:pt x="1133242" y="1678260"/>
                          </a:lnTo>
                          <a:lnTo>
                            <a:pt x="1135492" y="1680060"/>
                          </a:lnTo>
                          <a:lnTo>
                            <a:pt x="1137742" y="1682761"/>
                          </a:lnTo>
                          <a:lnTo>
                            <a:pt x="1139092" y="1683211"/>
                          </a:lnTo>
                          <a:lnTo>
                            <a:pt x="1144043" y="1689962"/>
                          </a:lnTo>
                          <a:lnTo>
                            <a:pt x="1145393" y="1690862"/>
                          </a:lnTo>
                          <a:lnTo>
                            <a:pt x="1149894" y="1693112"/>
                          </a:lnTo>
                          <a:lnTo>
                            <a:pt x="1151244" y="1694462"/>
                          </a:lnTo>
                          <a:lnTo>
                            <a:pt x="1153494" y="1698513"/>
                          </a:lnTo>
                          <a:lnTo>
                            <a:pt x="1154844" y="1700763"/>
                          </a:lnTo>
                          <a:lnTo>
                            <a:pt x="1157095" y="1705713"/>
                          </a:lnTo>
                          <a:lnTo>
                            <a:pt x="1158895" y="1707964"/>
                          </a:lnTo>
                          <a:lnTo>
                            <a:pt x="1162945" y="1710664"/>
                          </a:lnTo>
                          <a:lnTo>
                            <a:pt x="1164746" y="1711564"/>
                          </a:lnTo>
                          <a:lnTo>
                            <a:pt x="1165646" y="1712464"/>
                          </a:lnTo>
                          <a:lnTo>
                            <a:pt x="1165196" y="1714715"/>
                          </a:lnTo>
                          <a:lnTo>
                            <a:pt x="1164746" y="1715615"/>
                          </a:lnTo>
                          <a:lnTo>
                            <a:pt x="1162495" y="1717415"/>
                          </a:lnTo>
                          <a:lnTo>
                            <a:pt x="1162945" y="1719665"/>
                          </a:lnTo>
                          <a:lnTo>
                            <a:pt x="1164295" y="1723716"/>
                          </a:lnTo>
                          <a:lnTo>
                            <a:pt x="1164295" y="1725966"/>
                          </a:lnTo>
                          <a:lnTo>
                            <a:pt x="1160695" y="1728216"/>
                          </a:lnTo>
                          <a:lnTo>
                            <a:pt x="1157995" y="1729116"/>
                          </a:lnTo>
                          <a:lnTo>
                            <a:pt x="1156644" y="1729116"/>
                          </a:lnTo>
                          <a:lnTo>
                            <a:pt x="1154394" y="1728216"/>
                          </a:lnTo>
                          <a:lnTo>
                            <a:pt x="1151694" y="1726866"/>
                          </a:lnTo>
                          <a:lnTo>
                            <a:pt x="1146293" y="1722816"/>
                          </a:lnTo>
                          <a:lnTo>
                            <a:pt x="1138192" y="1720115"/>
                          </a:lnTo>
                          <a:lnTo>
                            <a:pt x="1135042" y="1718765"/>
                          </a:lnTo>
                          <a:lnTo>
                            <a:pt x="1134142" y="1717415"/>
                          </a:lnTo>
                          <a:lnTo>
                            <a:pt x="1132792" y="1716515"/>
                          </a:lnTo>
                          <a:lnTo>
                            <a:pt x="1112989" y="1712914"/>
                          </a:lnTo>
                          <a:lnTo>
                            <a:pt x="1109839" y="1712014"/>
                          </a:lnTo>
                          <a:lnTo>
                            <a:pt x="1107589" y="1710664"/>
                          </a:lnTo>
                          <a:lnTo>
                            <a:pt x="1105788" y="1708864"/>
                          </a:lnTo>
                          <a:lnTo>
                            <a:pt x="1098137" y="1704813"/>
                          </a:lnTo>
                          <a:lnTo>
                            <a:pt x="1097237" y="1703913"/>
                          </a:lnTo>
                          <a:lnTo>
                            <a:pt x="1092286" y="1697162"/>
                          </a:lnTo>
                          <a:lnTo>
                            <a:pt x="1088686" y="1689061"/>
                          </a:lnTo>
                          <a:lnTo>
                            <a:pt x="1087336" y="1688161"/>
                          </a:lnTo>
                          <a:lnTo>
                            <a:pt x="1083285" y="1687261"/>
                          </a:lnTo>
                          <a:lnTo>
                            <a:pt x="1079685" y="1687711"/>
                          </a:lnTo>
                          <a:lnTo>
                            <a:pt x="1077435" y="1688611"/>
                          </a:lnTo>
                          <a:lnTo>
                            <a:pt x="1073834" y="1688161"/>
                          </a:lnTo>
                          <a:lnTo>
                            <a:pt x="1071584" y="1686811"/>
                          </a:lnTo>
                          <a:lnTo>
                            <a:pt x="1066633" y="1683211"/>
                          </a:lnTo>
                          <a:lnTo>
                            <a:pt x="1061683" y="1681410"/>
                          </a:lnTo>
                          <a:lnTo>
                            <a:pt x="1057182" y="1678710"/>
                          </a:lnTo>
                          <a:lnTo>
                            <a:pt x="1054932" y="1677810"/>
                          </a:lnTo>
                          <a:lnTo>
                            <a:pt x="1054932" y="1676910"/>
                          </a:lnTo>
                          <a:lnTo>
                            <a:pt x="1058082" y="1671959"/>
                          </a:lnTo>
                          <a:lnTo>
                            <a:pt x="1057182" y="1671959"/>
                          </a:lnTo>
                          <a:lnTo>
                            <a:pt x="1051781" y="1675560"/>
                          </a:lnTo>
                          <a:lnTo>
                            <a:pt x="1049981" y="1674660"/>
                          </a:lnTo>
                          <a:lnTo>
                            <a:pt x="1046831" y="1671959"/>
                          </a:lnTo>
                          <a:lnTo>
                            <a:pt x="1044581" y="1669259"/>
                          </a:lnTo>
                          <a:lnTo>
                            <a:pt x="1039180" y="1660708"/>
                          </a:lnTo>
                          <a:lnTo>
                            <a:pt x="1036480" y="1658008"/>
                          </a:lnTo>
                          <a:lnTo>
                            <a:pt x="1036930" y="1657557"/>
                          </a:lnTo>
                          <a:lnTo>
                            <a:pt x="1040080" y="1657107"/>
                          </a:lnTo>
                          <a:lnTo>
                            <a:pt x="1042780" y="1657557"/>
                          </a:lnTo>
                          <a:lnTo>
                            <a:pt x="1044581" y="1657107"/>
                          </a:lnTo>
                          <a:lnTo>
                            <a:pt x="1047731" y="1653957"/>
                          </a:lnTo>
                          <a:lnTo>
                            <a:pt x="1049081" y="1651707"/>
                          </a:lnTo>
                          <a:lnTo>
                            <a:pt x="1049081" y="1650357"/>
                          </a:lnTo>
                          <a:lnTo>
                            <a:pt x="1046381" y="1649907"/>
                          </a:lnTo>
                          <a:lnTo>
                            <a:pt x="1045931" y="1649456"/>
                          </a:lnTo>
                          <a:lnTo>
                            <a:pt x="1045481" y="1648106"/>
                          </a:lnTo>
                          <a:lnTo>
                            <a:pt x="1044131" y="1646306"/>
                          </a:lnTo>
                          <a:lnTo>
                            <a:pt x="1041880" y="1644056"/>
                          </a:lnTo>
                          <a:lnTo>
                            <a:pt x="1039630" y="1643156"/>
                          </a:lnTo>
                          <a:lnTo>
                            <a:pt x="1031529" y="1644056"/>
                          </a:lnTo>
                          <a:lnTo>
                            <a:pt x="1030179" y="1643156"/>
                          </a:lnTo>
                          <a:lnTo>
                            <a:pt x="1030179" y="1641805"/>
                          </a:lnTo>
                          <a:lnTo>
                            <a:pt x="1031979" y="1637755"/>
                          </a:lnTo>
                          <a:lnTo>
                            <a:pt x="1032879" y="1635955"/>
                          </a:lnTo>
                          <a:lnTo>
                            <a:pt x="1033329" y="1635055"/>
                          </a:lnTo>
                          <a:lnTo>
                            <a:pt x="1032879" y="1635055"/>
                          </a:lnTo>
                          <a:lnTo>
                            <a:pt x="1031979" y="1635055"/>
                          </a:lnTo>
                          <a:lnTo>
                            <a:pt x="1027028" y="1638655"/>
                          </a:lnTo>
                          <a:lnTo>
                            <a:pt x="1026128" y="1638205"/>
                          </a:lnTo>
                          <a:lnTo>
                            <a:pt x="1024328" y="1634605"/>
                          </a:lnTo>
                          <a:lnTo>
                            <a:pt x="1022978" y="1630554"/>
                          </a:lnTo>
                          <a:lnTo>
                            <a:pt x="1022078" y="1629204"/>
                          </a:lnTo>
                          <a:lnTo>
                            <a:pt x="1021178" y="1628754"/>
                          </a:lnTo>
                          <a:lnTo>
                            <a:pt x="1017127" y="1624703"/>
                          </a:lnTo>
                          <a:lnTo>
                            <a:pt x="1011726" y="1616602"/>
                          </a:lnTo>
                          <a:lnTo>
                            <a:pt x="1009476" y="1613902"/>
                          </a:lnTo>
                          <a:lnTo>
                            <a:pt x="1007226" y="1611652"/>
                          </a:lnTo>
                          <a:lnTo>
                            <a:pt x="1005426" y="1610752"/>
                          </a:lnTo>
                          <a:lnTo>
                            <a:pt x="1005876" y="1609401"/>
                          </a:lnTo>
                          <a:lnTo>
                            <a:pt x="1009476" y="1602651"/>
                          </a:lnTo>
                          <a:lnTo>
                            <a:pt x="1009476" y="1601750"/>
                          </a:lnTo>
                          <a:lnTo>
                            <a:pt x="1006326" y="1602201"/>
                          </a:lnTo>
                          <a:lnTo>
                            <a:pt x="1001825" y="1600850"/>
                          </a:lnTo>
                          <a:lnTo>
                            <a:pt x="999575" y="1602651"/>
                          </a:lnTo>
                          <a:lnTo>
                            <a:pt x="998225" y="1602651"/>
                          </a:lnTo>
                          <a:lnTo>
                            <a:pt x="996425" y="1601750"/>
                          </a:lnTo>
                          <a:lnTo>
                            <a:pt x="995524" y="1602201"/>
                          </a:lnTo>
                          <a:lnTo>
                            <a:pt x="994624" y="1607601"/>
                          </a:lnTo>
                          <a:lnTo>
                            <a:pt x="994174" y="1608951"/>
                          </a:lnTo>
                          <a:lnTo>
                            <a:pt x="993274" y="1609852"/>
                          </a:lnTo>
                          <a:lnTo>
                            <a:pt x="992374" y="1609852"/>
                          </a:lnTo>
                          <a:lnTo>
                            <a:pt x="991474" y="1608951"/>
                          </a:lnTo>
                          <a:lnTo>
                            <a:pt x="991474" y="1607601"/>
                          </a:lnTo>
                          <a:lnTo>
                            <a:pt x="990574" y="1600850"/>
                          </a:lnTo>
                          <a:lnTo>
                            <a:pt x="988774" y="1599950"/>
                          </a:lnTo>
                          <a:lnTo>
                            <a:pt x="984273" y="1599500"/>
                          </a:lnTo>
                          <a:lnTo>
                            <a:pt x="983373" y="1599050"/>
                          </a:lnTo>
                          <a:lnTo>
                            <a:pt x="982473" y="1597700"/>
                          </a:lnTo>
                          <a:lnTo>
                            <a:pt x="981573" y="1595450"/>
                          </a:lnTo>
                          <a:lnTo>
                            <a:pt x="980673" y="1591849"/>
                          </a:lnTo>
                          <a:lnTo>
                            <a:pt x="979772" y="1590049"/>
                          </a:lnTo>
                          <a:lnTo>
                            <a:pt x="978872" y="1589599"/>
                          </a:lnTo>
                          <a:lnTo>
                            <a:pt x="977972" y="1590049"/>
                          </a:lnTo>
                          <a:lnTo>
                            <a:pt x="977522" y="1590949"/>
                          </a:lnTo>
                          <a:lnTo>
                            <a:pt x="976172" y="1591399"/>
                          </a:lnTo>
                          <a:lnTo>
                            <a:pt x="973922" y="1591399"/>
                          </a:lnTo>
                          <a:lnTo>
                            <a:pt x="973922" y="1592749"/>
                          </a:lnTo>
                          <a:lnTo>
                            <a:pt x="976172" y="1595000"/>
                          </a:lnTo>
                          <a:lnTo>
                            <a:pt x="977972" y="1598600"/>
                          </a:lnTo>
                          <a:lnTo>
                            <a:pt x="979772" y="1603101"/>
                          </a:lnTo>
                          <a:lnTo>
                            <a:pt x="978422" y="1606251"/>
                          </a:lnTo>
                          <a:lnTo>
                            <a:pt x="974372" y="1607601"/>
                          </a:lnTo>
                          <a:lnTo>
                            <a:pt x="970771" y="1608051"/>
                          </a:lnTo>
                          <a:lnTo>
                            <a:pt x="967621" y="1607601"/>
                          </a:lnTo>
                          <a:lnTo>
                            <a:pt x="965371" y="1606701"/>
                          </a:lnTo>
                          <a:lnTo>
                            <a:pt x="961770" y="1604001"/>
                          </a:lnTo>
                          <a:lnTo>
                            <a:pt x="956820" y="1604901"/>
                          </a:lnTo>
                          <a:lnTo>
                            <a:pt x="955919" y="1611202"/>
                          </a:lnTo>
                          <a:lnTo>
                            <a:pt x="955019" y="1611652"/>
                          </a:lnTo>
                          <a:lnTo>
                            <a:pt x="950519" y="1611652"/>
                          </a:lnTo>
                          <a:lnTo>
                            <a:pt x="948719" y="1612102"/>
                          </a:lnTo>
                          <a:lnTo>
                            <a:pt x="942418" y="1615702"/>
                          </a:lnTo>
                          <a:lnTo>
                            <a:pt x="940618" y="1616152"/>
                          </a:lnTo>
                          <a:lnTo>
                            <a:pt x="939267" y="1615702"/>
                          </a:lnTo>
                          <a:lnTo>
                            <a:pt x="937917" y="1616602"/>
                          </a:lnTo>
                          <a:lnTo>
                            <a:pt x="935667" y="1618853"/>
                          </a:lnTo>
                          <a:lnTo>
                            <a:pt x="932967" y="1618853"/>
                          </a:lnTo>
                          <a:lnTo>
                            <a:pt x="929366" y="1617052"/>
                          </a:lnTo>
                          <a:lnTo>
                            <a:pt x="926216" y="1616152"/>
                          </a:lnTo>
                          <a:lnTo>
                            <a:pt x="923515" y="1616602"/>
                          </a:lnTo>
                          <a:lnTo>
                            <a:pt x="920815" y="1615702"/>
                          </a:lnTo>
                          <a:lnTo>
                            <a:pt x="918115" y="1613452"/>
                          </a:lnTo>
                          <a:lnTo>
                            <a:pt x="915865" y="1612552"/>
                          </a:lnTo>
                          <a:lnTo>
                            <a:pt x="913164" y="1612552"/>
                          </a:lnTo>
                          <a:lnTo>
                            <a:pt x="912714" y="1612102"/>
                          </a:lnTo>
                          <a:lnTo>
                            <a:pt x="908664" y="1607601"/>
                          </a:lnTo>
                          <a:lnTo>
                            <a:pt x="907313" y="1605801"/>
                          </a:lnTo>
                          <a:lnTo>
                            <a:pt x="904613" y="1599950"/>
                          </a:lnTo>
                          <a:lnTo>
                            <a:pt x="904163" y="1597700"/>
                          </a:lnTo>
                          <a:lnTo>
                            <a:pt x="904163" y="1595000"/>
                          </a:lnTo>
                          <a:lnTo>
                            <a:pt x="904613" y="1593199"/>
                          </a:lnTo>
                          <a:lnTo>
                            <a:pt x="905513" y="1590499"/>
                          </a:lnTo>
                          <a:lnTo>
                            <a:pt x="906413" y="1583748"/>
                          </a:lnTo>
                          <a:lnTo>
                            <a:pt x="907313" y="1581498"/>
                          </a:lnTo>
                          <a:lnTo>
                            <a:pt x="908664" y="1579698"/>
                          </a:lnTo>
                          <a:lnTo>
                            <a:pt x="911364" y="1576997"/>
                          </a:lnTo>
                          <a:lnTo>
                            <a:pt x="920365" y="1572497"/>
                          </a:lnTo>
                          <a:lnTo>
                            <a:pt x="922165" y="1570697"/>
                          </a:lnTo>
                          <a:lnTo>
                            <a:pt x="922165" y="1569346"/>
                          </a:lnTo>
                          <a:lnTo>
                            <a:pt x="919915" y="1563946"/>
                          </a:lnTo>
                          <a:lnTo>
                            <a:pt x="919915" y="1562596"/>
                          </a:lnTo>
                          <a:lnTo>
                            <a:pt x="920815" y="1561695"/>
                          </a:lnTo>
                          <a:lnTo>
                            <a:pt x="922165" y="1558545"/>
                          </a:lnTo>
                          <a:lnTo>
                            <a:pt x="922615" y="1557645"/>
                          </a:lnTo>
                          <a:lnTo>
                            <a:pt x="924416" y="1557195"/>
                          </a:lnTo>
                          <a:lnTo>
                            <a:pt x="927566" y="1558995"/>
                          </a:lnTo>
                          <a:lnTo>
                            <a:pt x="930266" y="1559445"/>
                          </a:lnTo>
                          <a:lnTo>
                            <a:pt x="933867" y="1559445"/>
                          </a:lnTo>
                          <a:lnTo>
                            <a:pt x="940168" y="1561695"/>
                          </a:lnTo>
                          <a:lnTo>
                            <a:pt x="949169" y="1566196"/>
                          </a:lnTo>
                          <a:lnTo>
                            <a:pt x="954119" y="1569346"/>
                          </a:lnTo>
                          <a:lnTo>
                            <a:pt x="958170" y="1573847"/>
                          </a:lnTo>
                          <a:lnTo>
                            <a:pt x="960870" y="1577898"/>
                          </a:lnTo>
                          <a:lnTo>
                            <a:pt x="961320" y="1580148"/>
                          </a:lnTo>
                          <a:lnTo>
                            <a:pt x="959970" y="1583298"/>
                          </a:lnTo>
                          <a:lnTo>
                            <a:pt x="959520" y="1584198"/>
                          </a:lnTo>
                          <a:lnTo>
                            <a:pt x="959520" y="1585548"/>
                          </a:lnTo>
                          <a:lnTo>
                            <a:pt x="960420" y="1586899"/>
                          </a:lnTo>
                          <a:lnTo>
                            <a:pt x="962670" y="1588699"/>
                          </a:lnTo>
                          <a:lnTo>
                            <a:pt x="963120" y="1587799"/>
                          </a:lnTo>
                          <a:lnTo>
                            <a:pt x="963120" y="1585548"/>
                          </a:lnTo>
                          <a:lnTo>
                            <a:pt x="963570" y="1583748"/>
                          </a:lnTo>
                          <a:lnTo>
                            <a:pt x="964471" y="1582398"/>
                          </a:lnTo>
                          <a:lnTo>
                            <a:pt x="964471" y="1580598"/>
                          </a:lnTo>
                          <a:lnTo>
                            <a:pt x="963570" y="1578348"/>
                          </a:lnTo>
                          <a:lnTo>
                            <a:pt x="962670" y="1576097"/>
                          </a:lnTo>
                          <a:lnTo>
                            <a:pt x="961320" y="1574297"/>
                          </a:lnTo>
                          <a:lnTo>
                            <a:pt x="955469" y="1567996"/>
                          </a:lnTo>
                          <a:lnTo>
                            <a:pt x="955019" y="1565746"/>
                          </a:lnTo>
                          <a:lnTo>
                            <a:pt x="956820" y="1564846"/>
                          </a:lnTo>
                          <a:lnTo>
                            <a:pt x="964921" y="1567096"/>
                          </a:lnTo>
                          <a:lnTo>
                            <a:pt x="968071" y="1566646"/>
                          </a:lnTo>
                          <a:lnTo>
                            <a:pt x="969421" y="1564396"/>
                          </a:lnTo>
                          <a:lnTo>
                            <a:pt x="970771" y="1562596"/>
                          </a:lnTo>
                          <a:lnTo>
                            <a:pt x="972122" y="1561695"/>
                          </a:lnTo>
                          <a:lnTo>
                            <a:pt x="974822" y="1561245"/>
                          </a:lnTo>
                          <a:lnTo>
                            <a:pt x="978872" y="1562596"/>
                          </a:lnTo>
                          <a:lnTo>
                            <a:pt x="980673" y="1562596"/>
                          </a:lnTo>
                          <a:lnTo>
                            <a:pt x="982473" y="1562146"/>
                          </a:lnTo>
                          <a:lnTo>
                            <a:pt x="984723" y="1560795"/>
                          </a:lnTo>
                          <a:lnTo>
                            <a:pt x="987874" y="1556295"/>
                          </a:lnTo>
                          <a:lnTo>
                            <a:pt x="990124" y="1555395"/>
                          </a:lnTo>
                          <a:lnTo>
                            <a:pt x="993274" y="1554495"/>
                          </a:lnTo>
                          <a:lnTo>
                            <a:pt x="995524" y="1554495"/>
                          </a:lnTo>
                          <a:lnTo>
                            <a:pt x="1000025" y="1556295"/>
                          </a:lnTo>
                          <a:lnTo>
                            <a:pt x="1002725" y="1556295"/>
                          </a:lnTo>
                          <a:lnTo>
                            <a:pt x="1002725" y="1553144"/>
                          </a:lnTo>
                          <a:lnTo>
                            <a:pt x="1000925" y="1547294"/>
                          </a:lnTo>
                          <a:lnTo>
                            <a:pt x="998675" y="1541443"/>
                          </a:lnTo>
                          <a:lnTo>
                            <a:pt x="996875" y="1539643"/>
                          </a:lnTo>
                          <a:lnTo>
                            <a:pt x="992374" y="1536042"/>
                          </a:lnTo>
                          <a:lnTo>
                            <a:pt x="987423" y="1528841"/>
                          </a:lnTo>
                          <a:lnTo>
                            <a:pt x="984723" y="1524341"/>
                          </a:lnTo>
                          <a:lnTo>
                            <a:pt x="983823" y="1522091"/>
                          </a:lnTo>
                          <a:lnTo>
                            <a:pt x="984273" y="1520740"/>
                          </a:lnTo>
                          <a:lnTo>
                            <a:pt x="985173" y="1518490"/>
                          </a:lnTo>
                          <a:lnTo>
                            <a:pt x="994624" y="1510389"/>
                          </a:lnTo>
                          <a:lnTo>
                            <a:pt x="1001825" y="1502288"/>
                          </a:lnTo>
                          <a:lnTo>
                            <a:pt x="1004976" y="1498238"/>
                          </a:lnTo>
                          <a:lnTo>
                            <a:pt x="1006326" y="1495537"/>
                          </a:lnTo>
                          <a:lnTo>
                            <a:pt x="1008126" y="1493287"/>
                          </a:lnTo>
                          <a:lnTo>
                            <a:pt x="1009926" y="1491937"/>
                          </a:lnTo>
                          <a:lnTo>
                            <a:pt x="1013527" y="1490587"/>
                          </a:lnTo>
                          <a:lnTo>
                            <a:pt x="1014427" y="1488786"/>
                          </a:lnTo>
                          <a:lnTo>
                            <a:pt x="1014427" y="1485186"/>
                          </a:lnTo>
                          <a:lnTo>
                            <a:pt x="1014877" y="1482035"/>
                          </a:lnTo>
                          <a:lnTo>
                            <a:pt x="1018027" y="1473934"/>
                          </a:lnTo>
                          <a:lnTo>
                            <a:pt x="1020728" y="1471684"/>
                          </a:lnTo>
                          <a:lnTo>
                            <a:pt x="1024778" y="1470334"/>
                          </a:lnTo>
                          <a:lnTo>
                            <a:pt x="1027478" y="1468534"/>
                          </a:lnTo>
                          <a:lnTo>
                            <a:pt x="1030629" y="1461783"/>
                          </a:lnTo>
                          <a:lnTo>
                            <a:pt x="1030179" y="1459983"/>
                          </a:lnTo>
                          <a:lnTo>
                            <a:pt x="1028829" y="1458633"/>
                          </a:lnTo>
                          <a:lnTo>
                            <a:pt x="1027928" y="1456832"/>
                          </a:lnTo>
                          <a:lnTo>
                            <a:pt x="1022978" y="1439280"/>
                          </a:lnTo>
                          <a:lnTo>
                            <a:pt x="1019828" y="1430729"/>
                          </a:lnTo>
                          <a:lnTo>
                            <a:pt x="1016227" y="1423078"/>
                          </a:lnTo>
                          <a:lnTo>
                            <a:pt x="1012627" y="1414077"/>
                          </a:lnTo>
                          <a:lnTo>
                            <a:pt x="1007226" y="1405076"/>
                          </a:lnTo>
                          <a:lnTo>
                            <a:pt x="1007226" y="1402826"/>
                          </a:lnTo>
                          <a:lnTo>
                            <a:pt x="1008126" y="1400125"/>
                          </a:lnTo>
                          <a:lnTo>
                            <a:pt x="1007676" y="1399675"/>
                          </a:lnTo>
                          <a:lnTo>
                            <a:pt x="1001825" y="1403726"/>
                          </a:lnTo>
                          <a:lnTo>
                            <a:pt x="1000475" y="1403726"/>
                          </a:lnTo>
                          <a:lnTo>
                            <a:pt x="998225" y="1401925"/>
                          </a:lnTo>
                          <a:lnTo>
                            <a:pt x="996875" y="1399675"/>
                          </a:lnTo>
                          <a:lnTo>
                            <a:pt x="995524" y="1395625"/>
                          </a:lnTo>
                          <a:lnTo>
                            <a:pt x="995524" y="1393825"/>
                          </a:lnTo>
                          <a:lnTo>
                            <a:pt x="996425" y="1392024"/>
                          </a:lnTo>
                          <a:lnTo>
                            <a:pt x="997325" y="1387524"/>
                          </a:lnTo>
                          <a:lnTo>
                            <a:pt x="997325" y="1385273"/>
                          </a:lnTo>
                          <a:lnTo>
                            <a:pt x="996875" y="1383023"/>
                          </a:lnTo>
                          <a:lnTo>
                            <a:pt x="996425" y="1381223"/>
                          </a:lnTo>
                          <a:lnTo>
                            <a:pt x="995974" y="1380323"/>
                          </a:lnTo>
                          <a:lnTo>
                            <a:pt x="994174" y="1379873"/>
                          </a:lnTo>
                          <a:lnTo>
                            <a:pt x="991024" y="1379423"/>
                          </a:lnTo>
                          <a:lnTo>
                            <a:pt x="990124" y="1380323"/>
                          </a:lnTo>
                          <a:lnTo>
                            <a:pt x="993274" y="1387524"/>
                          </a:lnTo>
                          <a:lnTo>
                            <a:pt x="992824" y="1389324"/>
                          </a:lnTo>
                          <a:lnTo>
                            <a:pt x="989674" y="1390674"/>
                          </a:lnTo>
                          <a:lnTo>
                            <a:pt x="987874" y="1390224"/>
                          </a:lnTo>
                          <a:lnTo>
                            <a:pt x="986073" y="1389324"/>
                          </a:lnTo>
                          <a:lnTo>
                            <a:pt x="984723" y="1387974"/>
                          </a:lnTo>
                          <a:lnTo>
                            <a:pt x="979772" y="1380323"/>
                          </a:lnTo>
                          <a:lnTo>
                            <a:pt x="978872" y="1377622"/>
                          </a:lnTo>
                          <a:lnTo>
                            <a:pt x="979322" y="1375372"/>
                          </a:lnTo>
                          <a:lnTo>
                            <a:pt x="978872" y="1374472"/>
                          </a:lnTo>
                          <a:lnTo>
                            <a:pt x="977972" y="1375372"/>
                          </a:lnTo>
                          <a:lnTo>
                            <a:pt x="976622" y="1375372"/>
                          </a:lnTo>
                          <a:lnTo>
                            <a:pt x="974822" y="1374472"/>
                          </a:lnTo>
                          <a:lnTo>
                            <a:pt x="974372" y="1373572"/>
                          </a:lnTo>
                          <a:lnTo>
                            <a:pt x="977522" y="1369521"/>
                          </a:lnTo>
                          <a:lnTo>
                            <a:pt x="977522" y="1368171"/>
                          </a:lnTo>
                          <a:lnTo>
                            <a:pt x="976172" y="1366821"/>
                          </a:lnTo>
                          <a:lnTo>
                            <a:pt x="973922" y="1366371"/>
                          </a:lnTo>
                          <a:lnTo>
                            <a:pt x="973472" y="1365021"/>
                          </a:lnTo>
                          <a:lnTo>
                            <a:pt x="974372" y="1363671"/>
                          </a:lnTo>
                          <a:lnTo>
                            <a:pt x="977522" y="1361420"/>
                          </a:lnTo>
                          <a:lnTo>
                            <a:pt x="978422" y="1360070"/>
                          </a:lnTo>
                          <a:lnTo>
                            <a:pt x="976622" y="1359170"/>
                          </a:lnTo>
                          <a:lnTo>
                            <a:pt x="975722" y="1359170"/>
                          </a:lnTo>
                          <a:lnTo>
                            <a:pt x="973472" y="1361420"/>
                          </a:lnTo>
                          <a:lnTo>
                            <a:pt x="970321" y="1366371"/>
                          </a:lnTo>
                          <a:lnTo>
                            <a:pt x="968071" y="1368171"/>
                          </a:lnTo>
                          <a:lnTo>
                            <a:pt x="964921" y="1365921"/>
                          </a:lnTo>
                          <a:lnTo>
                            <a:pt x="963120" y="1365021"/>
                          </a:lnTo>
                          <a:lnTo>
                            <a:pt x="961770" y="1365471"/>
                          </a:lnTo>
                          <a:lnTo>
                            <a:pt x="959520" y="1369521"/>
                          </a:lnTo>
                          <a:lnTo>
                            <a:pt x="955019" y="1372222"/>
                          </a:lnTo>
                          <a:lnTo>
                            <a:pt x="946468" y="1378973"/>
                          </a:lnTo>
                          <a:lnTo>
                            <a:pt x="942868" y="1381223"/>
                          </a:lnTo>
                          <a:lnTo>
                            <a:pt x="938817" y="1380773"/>
                          </a:lnTo>
                          <a:lnTo>
                            <a:pt x="937917" y="1379423"/>
                          </a:lnTo>
                          <a:lnTo>
                            <a:pt x="937917" y="1377172"/>
                          </a:lnTo>
                          <a:lnTo>
                            <a:pt x="938367" y="1375372"/>
                          </a:lnTo>
                          <a:lnTo>
                            <a:pt x="938817" y="1374022"/>
                          </a:lnTo>
                          <a:lnTo>
                            <a:pt x="938817" y="1372222"/>
                          </a:lnTo>
                          <a:lnTo>
                            <a:pt x="938367" y="1364571"/>
                          </a:lnTo>
                          <a:lnTo>
                            <a:pt x="938817" y="1362321"/>
                          </a:lnTo>
                          <a:lnTo>
                            <a:pt x="940168" y="1360970"/>
                          </a:lnTo>
                          <a:lnTo>
                            <a:pt x="942418" y="1359620"/>
                          </a:lnTo>
                          <a:lnTo>
                            <a:pt x="948719" y="1360970"/>
                          </a:lnTo>
                          <a:lnTo>
                            <a:pt x="951419" y="1360520"/>
                          </a:lnTo>
                          <a:lnTo>
                            <a:pt x="953219" y="1358720"/>
                          </a:lnTo>
                          <a:lnTo>
                            <a:pt x="955019" y="1356020"/>
                          </a:lnTo>
                          <a:lnTo>
                            <a:pt x="956820" y="1352869"/>
                          </a:lnTo>
                          <a:lnTo>
                            <a:pt x="957270" y="1349719"/>
                          </a:lnTo>
                          <a:lnTo>
                            <a:pt x="955019" y="1344318"/>
                          </a:lnTo>
                          <a:lnTo>
                            <a:pt x="954119" y="1342968"/>
                          </a:lnTo>
                          <a:lnTo>
                            <a:pt x="948719" y="1338918"/>
                          </a:lnTo>
                          <a:lnTo>
                            <a:pt x="945568" y="1337567"/>
                          </a:lnTo>
                          <a:lnTo>
                            <a:pt x="942868" y="1337117"/>
                          </a:lnTo>
                          <a:lnTo>
                            <a:pt x="941068" y="1335767"/>
                          </a:lnTo>
                          <a:lnTo>
                            <a:pt x="939717" y="1333967"/>
                          </a:lnTo>
                          <a:lnTo>
                            <a:pt x="938367" y="1331267"/>
                          </a:lnTo>
                          <a:lnTo>
                            <a:pt x="938367" y="1329466"/>
                          </a:lnTo>
                          <a:lnTo>
                            <a:pt x="938367" y="1326766"/>
                          </a:lnTo>
                          <a:lnTo>
                            <a:pt x="939267" y="1324966"/>
                          </a:lnTo>
                          <a:lnTo>
                            <a:pt x="944218" y="1322716"/>
                          </a:lnTo>
                          <a:lnTo>
                            <a:pt x="944218" y="1322265"/>
                          </a:lnTo>
                          <a:lnTo>
                            <a:pt x="940168" y="1320915"/>
                          </a:lnTo>
                          <a:lnTo>
                            <a:pt x="938367" y="1320915"/>
                          </a:lnTo>
                          <a:lnTo>
                            <a:pt x="936567" y="1322716"/>
                          </a:lnTo>
                          <a:lnTo>
                            <a:pt x="934317" y="1326766"/>
                          </a:lnTo>
                          <a:lnTo>
                            <a:pt x="932967" y="1327666"/>
                          </a:lnTo>
                          <a:lnTo>
                            <a:pt x="929366" y="1325416"/>
                          </a:lnTo>
                          <a:lnTo>
                            <a:pt x="927116" y="1324966"/>
                          </a:lnTo>
                          <a:lnTo>
                            <a:pt x="925766" y="1324066"/>
                          </a:lnTo>
                          <a:lnTo>
                            <a:pt x="924866" y="1323166"/>
                          </a:lnTo>
                          <a:lnTo>
                            <a:pt x="925316" y="1322265"/>
                          </a:lnTo>
                          <a:lnTo>
                            <a:pt x="927116" y="1321365"/>
                          </a:lnTo>
                          <a:lnTo>
                            <a:pt x="930266" y="1317765"/>
                          </a:lnTo>
                          <a:lnTo>
                            <a:pt x="930266" y="1315965"/>
                          </a:lnTo>
                          <a:lnTo>
                            <a:pt x="928016" y="1312814"/>
                          </a:lnTo>
                          <a:lnTo>
                            <a:pt x="926666" y="1311914"/>
                          </a:lnTo>
                          <a:lnTo>
                            <a:pt x="922165" y="1310564"/>
                          </a:lnTo>
                          <a:lnTo>
                            <a:pt x="916765" y="1311914"/>
                          </a:lnTo>
                          <a:lnTo>
                            <a:pt x="914514" y="1311464"/>
                          </a:lnTo>
                          <a:lnTo>
                            <a:pt x="913614" y="1307864"/>
                          </a:lnTo>
                          <a:lnTo>
                            <a:pt x="913164" y="1303813"/>
                          </a:lnTo>
                          <a:lnTo>
                            <a:pt x="912714" y="1299313"/>
                          </a:lnTo>
                          <a:lnTo>
                            <a:pt x="911814" y="1291212"/>
                          </a:lnTo>
                          <a:lnTo>
                            <a:pt x="910914" y="1287161"/>
                          </a:lnTo>
                          <a:lnTo>
                            <a:pt x="909564" y="1286711"/>
                          </a:lnTo>
                          <a:lnTo>
                            <a:pt x="902813" y="1288511"/>
                          </a:lnTo>
                          <a:lnTo>
                            <a:pt x="901013" y="1288511"/>
                          </a:lnTo>
                          <a:lnTo>
                            <a:pt x="900113" y="1288061"/>
                          </a:lnTo>
                          <a:lnTo>
                            <a:pt x="895612" y="1282661"/>
                          </a:lnTo>
                          <a:lnTo>
                            <a:pt x="893812" y="1280860"/>
                          </a:lnTo>
                          <a:lnTo>
                            <a:pt x="892912" y="1280410"/>
                          </a:lnTo>
                          <a:lnTo>
                            <a:pt x="889761" y="1274560"/>
                          </a:lnTo>
                          <a:lnTo>
                            <a:pt x="888411" y="1273209"/>
                          </a:lnTo>
                          <a:lnTo>
                            <a:pt x="887061" y="1270509"/>
                          </a:lnTo>
                          <a:lnTo>
                            <a:pt x="885261" y="1266008"/>
                          </a:lnTo>
                          <a:lnTo>
                            <a:pt x="883460" y="1264658"/>
                          </a:lnTo>
                          <a:lnTo>
                            <a:pt x="881660" y="1266459"/>
                          </a:lnTo>
                          <a:lnTo>
                            <a:pt x="879860" y="1269159"/>
                          </a:lnTo>
                          <a:lnTo>
                            <a:pt x="878060" y="1272309"/>
                          </a:lnTo>
                          <a:lnTo>
                            <a:pt x="877160" y="1275010"/>
                          </a:lnTo>
                          <a:lnTo>
                            <a:pt x="877160" y="1277260"/>
                          </a:lnTo>
                          <a:lnTo>
                            <a:pt x="878510" y="1279060"/>
                          </a:lnTo>
                          <a:lnTo>
                            <a:pt x="885711" y="1282210"/>
                          </a:lnTo>
                          <a:lnTo>
                            <a:pt x="887511" y="1284011"/>
                          </a:lnTo>
                          <a:lnTo>
                            <a:pt x="888861" y="1287161"/>
                          </a:lnTo>
                          <a:lnTo>
                            <a:pt x="889761" y="1291212"/>
                          </a:lnTo>
                          <a:lnTo>
                            <a:pt x="890661" y="1295712"/>
                          </a:lnTo>
                          <a:lnTo>
                            <a:pt x="890661" y="1299313"/>
                          </a:lnTo>
                          <a:lnTo>
                            <a:pt x="889761" y="1301563"/>
                          </a:lnTo>
                          <a:lnTo>
                            <a:pt x="888411" y="1303813"/>
                          </a:lnTo>
                          <a:lnTo>
                            <a:pt x="883910" y="1306964"/>
                          </a:lnTo>
                          <a:lnTo>
                            <a:pt x="879410" y="1308764"/>
                          </a:lnTo>
                          <a:lnTo>
                            <a:pt x="874909" y="1309214"/>
                          </a:lnTo>
                          <a:lnTo>
                            <a:pt x="872659" y="1308764"/>
                          </a:lnTo>
                          <a:lnTo>
                            <a:pt x="860958" y="1302463"/>
                          </a:lnTo>
                          <a:lnTo>
                            <a:pt x="858707" y="1302463"/>
                          </a:lnTo>
                          <a:lnTo>
                            <a:pt x="856007" y="1301563"/>
                          </a:lnTo>
                          <a:lnTo>
                            <a:pt x="850156" y="1298863"/>
                          </a:lnTo>
                          <a:lnTo>
                            <a:pt x="847006" y="1298413"/>
                          </a:lnTo>
                          <a:lnTo>
                            <a:pt x="841155" y="1296162"/>
                          </a:lnTo>
                          <a:lnTo>
                            <a:pt x="831254" y="1294812"/>
                          </a:lnTo>
                          <a:lnTo>
                            <a:pt x="829454" y="1295712"/>
                          </a:lnTo>
                          <a:lnTo>
                            <a:pt x="832154" y="1298413"/>
                          </a:lnTo>
                          <a:lnTo>
                            <a:pt x="834404" y="1299763"/>
                          </a:lnTo>
                          <a:lnTo>
                            <a:pt x="836204" y="1299763"/>
                          </a:lnTo>
                          <a:lnTo>
                            <a:pt x="838905" y="1302463"/>
                          </a:lnTo>
                          <a:lnTo>
                            <a:pt x="842505" y="1307414"/>
                          </a:lnTo>
                          <a:lnTo>
                            <a:pt x="844756" y="1310564"/>
                          </a:lnTo>
                          <a:lnTo>
                            <a:pt x="846556" y="1314165"/>
                          </a:lnTo>
                          <a:lnTo>
                            <a:pt x="846556" y="1315515"/>
                          </a:lnTo>
                          <a:lnTo>
                            <a:pt x="844756" y="1318215"/>
                          </a:lnTo>
                          <a:lnTo>
                            <a:pt x="831254" y="1305163"/>
                          </a:lnTo>
                          <a:lnTo>
                            <a:pt x="822703" y="1309664"/>
                          </a:lnTo>
                          <a:lnTo>
                            <a:pt x="818652" y="1311464"/>
                          </a:lnTo>
                          <a:lnTo>
                            <a:pt x="815502" y="1311914"/>
                          </a:lnTo>
                          <a:lnTo>
                            <a:pt x="811451" y="1310114"/>
                          </a:lnTo>
                          <a:lnTo>
                            <a:pt x="802000" y="1303813"/>
                          </a:lnTo>
                          <a:lnTo>
                            <a:pt x="798400" y="1301563"/>
                          </a:lnTo>
                          <a:lnTo>
                            <a:pt x="797050" y="1301113"/>
                          </a:lnTo>
                          <a:lnTo>
                            <a:pt x="791649" y="1305163"/>
                          </a:lnTo>
                          <a:lnTo>
                            <a:pt x="784898" y="1305163"/>
                          </a:lnTo>
                          <a:lnTo>
                            <a:pt x="770946" y="1302463"/>
                          </a:lnTo>
                          <a:lnTo>
                            <a:pt x="765996" y="1300663"/>
                          </a:lnTo>
                          <a:lnTo>
                            <a:pt x="764646" y="1298863"/>
                          </a:lnTo>
                          <a:lnTo>
                            <a:pt x="762845" y="1297962"/>
                          </a:lnTo>
                          <a:lnTo>
                            <a:pt x="759695" y="1297962"/>
                          </a:lnTo>
                          <a:lnTo>
                            <a:pt x="751144" y="1296162"/>
                          </a:lnTo>
                          <a:lnTo>
                            <a:pt x="743943" y="1300663"/>
                          </a:lnTo>
                          <a:lnTo>
                            <a:pt x="734942" y="1296612"/>
                          </a:lnTo>
                          <a:lnTo>
                            <a:pt x="732241" y="1293912"/>
                          </a:lnTo>
                          <a:lnTo>
                            <a:pt x="731341" y="1292112"/>
                          </a:lnTo>
                          <a:lnTo>
                            <a:pt x="728641" y="1284911"/>
                          </a:lnTo>
                          <a:lnTo>
                            <a:pt x="728191" y="1280860"/>
                          </a:lnTo>
                          <a:lnTo>
                            <a:pt x="729091" y="1277260"/>
                          </a:lnTo>
                          <a:lnTo>
                            <a:pt x="729991" y="1275010"/>
                          </a:lnTo>
                          <a:lnTo>
                            <a:pt x="730891" y="1273659"/>
                          </a:lnTo>
                          <a:lnTo>
                            <a:pt x="725941" y="1277710"/>
                          </a:lnTo>
                          <a:lnTo>
                            <a:pt x="724141" y="1278160"/>
                          </a:lnTo>
                          <a:lnTo>
                            <a:pt x="721890" y="1278160"/>
                          </a:lnTo>
                          <a:lnTo>
                            <a:pt x="715139" y="1276810"/>
                          </a:lnTo>
                          <a:lnTo>
                            <a:pt x="714239" y="1277710"/>
                          </a:lnTo>
                          <a:lnTo>
                            <a:pt x="714689" y="1279060"/>
                          </a:lnTo>
                          <a:lnTo>
                            <a:pt x="716489" y="1281310"/>
                          </a:lnTo>
                          <a:lnTo>
                            <a:pt x="716940" y="1282661"/>
                          </a:lnTo>
                          <a:lnTo>
                            <a:pt x="713339" y="1283561"/>
                          </a:lnTo>
                          <a:lnTo>
                            <a:pt x="707938" y="1282661"/>
                          </a:lnTo>
                          <a:lnTo>
                            <a:pt x="705688" y="1283111"/>
                          </a:lnTo>
                          <a:lnTo>
                            <a:pt x="704788" y="1283561"/>
                          </a:lnTo>
                          <a:lnTo>
                            <a:pt x="702088" y="1286711"/>
                          </a:lnTo>
                          <a:lnTo>
                            <a:pt x="701188" y="1287611"/>
                          </a:lnTo>
                          <a:lnTo>
                            <a:pt x="699838" y="1287161"/>
                          </a:lnTo>
                          <a:lnTo>
                            <a:pt x="693987" y="1279960"/>
                          </a:lnTo>
                          <a:lnTo>
                            <a:pt x="689036" y="1275460"/>
                          </a:lnTo>
                          <a:lnTo>
                            <a:pt x="683635" y="1273659"/>
                          </a:lnTo>
                          <a:lnTo>
                            <a:pt x="680935" y="1272309"/>
                          </a:lnTo>
                          <a:lnTo>
                            <a:pt x="679585" y="1270509"/>
                          </a:lnTo>
                          <a:lnTo>
                            <a:pt x="671934" y="1255207"/>
                          </a:lnTo>
                          <a:lnTo>
                            <a:pt x="671034" y="1252057"/>
                          </a:lnTo>
                          <a:lnTo>
                            <a:pt x="668784" y="1239905"/>
                          </a:lnTo>
                          <a:lnTo>
                            <a:pt x="667883" y="1237205"/>
                          </a:lnTo>
                          <a:lnTo>
                            <a:pt x="666983" y="1235405"/>
                          </a:lnTo>
                          <a:lnTo>
                            <a:pt x="668784" y="1234955"/>
                          </a:lnTo>
                          <a:lnTo>
                            <a:pt x="675984" y="1236305"/>
                          </a:lnTo>
                          <a:lnTo>
                            <a:pt x="683185" y="1236305"/>
                          </a:lnTo>
                          <a:lnTo>
                            <a:pt x="686786" y="1237205"/>
                          </a:lnTo>
                          <a:lnTo>
                            <a:pt x="691286" y="1240355"/>
                          </a:lnTo>
                          <a:lnTo>
                            <a:pt x="697137" y="1242606"/>
                          </a:lnTo>
                          <a:lnTo>
                            <a:pt x="701188" y="1243056"/>
                          </a:lnTo>
                          <a:lnTo>
                            <a:pt x="707938" y="1242155"/>
                          </a:lnTo>
                          <a:lnTo>
                            <a:pt x="715589" y="1240355"/>
                          </a:lnTo>
                          <a:lnTo>
                            <a:pt x="716489" y="1239005"/>
                          </a:lnTo>
                          <a:lnTo>
                            <a:pt x="711539" y="1236305"/>
                          </a:lnTo>
                          <a:lnTo>
                            <a:pt x="707038" y="1232704"/>
                          </a:lnTo>
                          <a:lnTo>
                            <a:pt x="702988" y="1228204"/>
                          </a:lnTo>
                          <a:lnTo>
                            <a:pt x="700738" y="1226404"/>
                          </a:lnTo>
                          <a:lnTo>
                            <a:pt x="696687" y="1225053"/>
                          </a:lnTo>
                          <a:lnTo>
                            <a:pt x="685436" y="1224153"/>
                          </a:lnTo>
                          <a:lnTo>
                            <a:pt x="675084" y="1221003"/>
                          </a:lnTo>
                          <a:lnTo>
                            <a:pt x="667883" y="1216952"/>
                          </a:lnTo>
                          <a:lnTo>
                            <a:pt x="662033" y="1212002"/>
                          </a:lnTo>
                          <a:lnTo>
                            <a:pt x="659783" y="1209301"/>
                          </a:lnTo>
                          <a:lnTo>
                            <a:pt x="658882" y="1207501"/>
                          </a:lnTo>
                          <a:lnTo>
                            <a:pt x="657982" y="1201200"/>
                          </a:lnTo>
                          <a:lnTo>
                            <a:pt x="657082" y="1190849"/>
                          </a:lnTo>
                          <a:lnTo>
                            <a:pt x="656182" y="1183648"/>
                          </a:lnTo>
                          <a:lnTo>
                            <a:pt x="655282" y="1180048"/>
                          </a:lnTo>
                          <a:lnTo>
                            <a:pt x="655282" y="1176897"/>
                          </a:lnTo>
                          <a:lnTo>
                            <a:pt x="657082" y="1170146"/>
                          </a:lnTo>
                          <a:lnTo>
                            <a:pt x="662933" y="1162495"/>
                          </a:lnTo>
                          <a:lnTo>
                            <a:pt x="662933" y="1161145"/>
                          </a:lnTo>
                          <a:lnTo>
                            <a:pt x="661583" y="1160695"/>
                          </a:lnTo>
                          <a:lnTo>
                            <a:pt x="659332" y="1158895"/>
                          </a:lnTo>
                          <a:lnTo>
                            <a:pt x="658432" y="1156195"/>
                          </a:lnTo>
                          <a:lnTo>
                            <a:pt x="657982" y="1151694"/>
                          </a:lnTo>
                          <a:lnTo>
                            <a:pt x="657982" y="1148094"/>
                          </a:lnTo>
                          <a:lnTo>
                            <a:pt x="658432" y="1144943"/>
                          </a:lnTo>
                          <a:lnTo>
                            <a:pt x="659332" y="1140893"/>
                          </a:lnTo>
                          <a:lnTo>
                            <a:pt x="661583" y="1133692"/>
                          </a:lnTo>
                          <a:lnTo>
                            <a:pt x="665183" y="1125141"/>
                          </a:lnTo>
                          <a:lnTo>
                            <a:pt x="668784" y="1117040"/>
                          </a:lnTo>
                          <a:lnTo>
                            <a:pt x="669234" y="1114340"/>
                          </a:lnTo>
                          <a:lnTo>
                            <a:pt x="669684" y="1107139"/>
                          </a:lnTo>
                          <a:lnTo>
                            <a:pt x="670134" y="1101738"/>
                          </a:lnTo>
                          <a:lnTo>
                            <a:pt x="670584" y="1098137"/>
                          </a:lnTo>
                          <a:lnTo>
                            <a:pt x="671484" y="1095437"/>
                          </a:lnTo>
                          <a:lnTo>
                            <a:pt x="673734" y="1090037"/>
                          </a:lnTo>
                          <a:lnTo>
                            <a:pt x="676885" y="1085086"/>
                          </a:lnTo>
                          <a:lnTo>
                            <a:pt x="681385" y="1080585"/>
                          </a:lnTo>
                          <a:lnTo>
                            <a:pt x="681835" y="1078785"/>
                          </a:lnTo>
                          <a:lnTo>
                            <a:pt x="681835" y="1076535"/>
                          </a:lnTo>
                          <a:lnTo>
                            <a:pt x="682285" y="1074734"/>
                          </a:lnTo>
                          <a:lnTo>
                            <a:pt x="682735" y="1073834"/>
                          </a:lnTo>
                          <a:lnTo>
                            <a:pt x="693987" y="1059433"/>
                          </a:lnTo>
                          <a:lnTo>
                            <a:pt x="698937" y="1053582"/>
                          </a:lnTo>
                          <a:lnTo>
                            <a:pt x="703438" y="1049981"/>
                          </a:lnTo>
                          <a:lnTo>
                            <a:pt x="708839" y="1047281"/>
                          </a:lnTo>
                          <a:lnTo>
                            <a:pt x="723690" y="1041430"/>
                          </a:lnTo>
                          <a:lnTo>
                            <a:pt x="731341" y="1039630"/>
                          </a:lnTo>
                          <a:lnTo>
                            <a:pt x="740793" y="1040080"/>
                          </a:lnTo>
                          <a:lnTo>
                            <a:pt x="758795" y="1043231"/>
                          </a:lnTo>
                          <a:lnTo>
                            <a:pt x="761045" y="1045481"/>
                          </a:lnTo>
                          <a:lnTo>
                            <a:pt x="761495" y="1046831"/>
                          </a:lnTo>
                          <a:lnTo>
                            <a:pt x="762395" y="1049981"/>
                          </a:lnTo>
                          <a:lnTo>
                            <a:pt x="761945" y="1052232"/>
                          </a:lnTo>
                          <a:lnTo>
                            <a:pt x="756995" y="1058983"/>
                          </a:lnTo>
                          <a:lnTo>
                            <a:pt x="750694" y="1064833"/>
                          </a:lnTo>
                          <a:lnTo>
                            <a:pt x="746643" y="1069784"/>
                          </a:lnTo>
                          <a:lnTo>
                            <a:pt x="739892" y="1081035"/>
                          </a:lnTo>
                          <a:lnTo>
                            <a:pt x="738092" y="1085086"/>
                          </a:lnTo>
                          <a:lnTo>
                            <a:pt x="729541" y="1107139"/>
                          </a:lnTo>
                          <a:lnTo>
                            <a:pt x="727741" y="1110739"/>
                          </a:lnTo>
                          <a:lnTo>
                            <a:pt x="726391" y="1113439"/>
                          </a:lnTo>
                          <a:lnTo>
                            <a:pt x="725491" y="1121090"/>
                          </a:lnTo>
                          <a:lnTo>
                            <a:pt x="725941" y="1123791"/>
                          </a:lnTo>
                          <a:lnTo>
                            <a:pt x="727291" y="1128291"/>
                          </a:lnTo>
                          <a:lnTo>
                            <a:pt x="731792" y="1137742"/>
                          </a:lnTo>
                          <a:lnTo>
                            <a:pt x="733142" y="1142243"/>
                          </a:lnTo>
                          <a:lnTo>
                            <a:pt x="733142" y="1146294"/>
                          </a:lnTo>
                          <a:lnTo>
                            <a:pt x="732692" y="1156195"/>
                          </a:lnTo>
                          <a:lnTo>
                            <a:pt x="732692" y="1161145"/>
                          </a:lnTo>
                          <a:lnTo>
                            <a:pt x="732692" y="1165646"/>
                          </a:lnTo>
                          <a:lnTo>
                            <a:pt x="733592" y="1172397"/>
                          </a:lnTo>
                          <a:lnTo>
                            <a:pt x="735392" y="1180948"/>
                          </a:lnTo>
                          <a:lnTo>
                            <a:pt x="739442" y="1189499"/>
                          </a:lnTo>
                          <a:lnTo>
                            <a:pt x="745293" y="1198050"/>
                          </a:lnTo>
                          <a:lnTo>
                            <a:pt x="749794" y="1203901"/>
                          </a:lnTo>
                          <a:lnTo>
                            <a:pt x="754294" y="1207951"/>
                          </a:lnTo>
                          <a:lnTo>
                            <a:pt x="759695" y="1214252"/>
                          </a:lnTo>
                          <a:lnTo>
                            <a:pt x="761045" y="1217402"/>
                          </a:lnTo>
                          <a:lnTo>
                            <a:pt x="758795" y="1220553"/>
                          </a:lnTo>
                          <a:lnTo>
                            <a:pt x="752944" y="1225503"/>
                          </a:lnTo>
                          <a:lnTo>
                            <a:pt x="745293" y="1227754"/>
                          </a:lnTo>
                          <a:lnTo>
                            <a:pt x="741243" y="1230004"/>
                          </a:lnTo>
                          <a:lnTo>
                            <a:pt x="736292" y="1234504"/>
                          </a:lnTo>
                          <a:lnTo>
                            <a:pt x="729991" y="1238105"/>
                          </a:lnTo>
                          <a:lnTo>
                            <a:pt x="726841" y="1239005"/>
                          </a:lnTo>
                          <a:close/>
                          <a:moveTo>
                            <a:pt x="876259" y="1054032"/>
                          </a:moveTo>
                          <a:lnTo>
                            <a:pt x="879860" y="1054932"/>
                          </a:lnTo>
                          <a:lnTo>
                            <a:pt x="902813" y="1053132"/>
                          </a:lnTo>
                          <a:lnTo>
                            <a:pt x="907763" y="1054482"/>
                          </a:lnTo>
                          <a:lnTo>
                            <a:pt x="922165" y="1063033"/>
                          </a:lnTo>
                          <a:lnTo>
                            <a:pt x="925766" y="1065733"/>
                          </a:lnTo>
                          <a:lnTo>
                            <a:pt x="927566" y="1069334"/>
                          </a:lnTo>
                          <a:lnTo>
                            <a:pt x="929366" y="1075185"/>
                          </a:lnTo>
                          <a:lnTo>
                            <a:pt x="930266" y="1076535"/>
                          </a:lnTo>
                          <a:lnTo>
                            <a:pt x="935667" y="1080135"/>
                          </a:lnTo>
                          <a:lnTo>
                            <a:pt x="937917" y="1084186"/>
                          </a:lnTo>
                          <a:lnTo>
                            <a:pt x="938817" y="1086436"/>
                          </a:lnTo>
                          <a:lnTo>
                            <a:pt x="939717" y="1091387"/>
                          </a:lnTo>
                          <a:lnTo>
                            <a:pt x="941968" y="1094087"/>
                          </a:lnTo>
                          <a:lnTo>
                            <a:pt x="944668" y="1095437"/>
                          </a:lnTo>
                          <a:lnTo>
                            <a:pt x="945568" y="1096787"/>
                          </a:lnTo>
                          <a:lnTo>
                            <a:pt x="945118" y="1102638"/>
                          </a:lnTo>
                          <a:lnTo>
                            <a:pt x="946468" y="1105338"/>
                          </a:lnTo>
                          <a:lnTo>
                            <a:pt x="949169" y="1108939"/>
                          </a:lnTo>
                          <a:lnTo>
                            <a:pt x="950069" y="1111189"/>
                          </a:lnTo>
                          <a:lnTo>
                            <a:pt x="948268" y="1113889"/>
                          </a:lnTo>
                          <a:lnTo>
                            <a:pt x="943768" y="1115690"/>
                          </a:lnTo>
                          <a:lnTo>
                            <a:pt x="930716" y="1113889"/>
                          </a:lnTo>
                          <a:lnTo>
                            <a:pt x="913164" y="1110289"/>
                          </a:lnTo>
                          <a:lnTo>
                            <a:pt x="902813" y="1111189"/>
                          </a:lnTo>
                          <a:lnTo>
                            <a:pt x="897862" y="1112989"/>
                          </a:lnTo>
                          <a:lnTo>
                            <a:pt x="885711" y="1119290"/>
                          </a:lnTo>
                          <a:lnTo>
                            <a:pt x="881660" y="1120190"/>
                          </a:lnTo>
                          <a:lnTo>
                            <a:pt x="877610" y="1120190"/>
                          </a:lnTo>
                          <a:lnTo>
                            <a:pt x="870859" y="1115240"/>
                          </a:lnTo>
                          <a:lnTo>
                            <a:pt x="868609" y="1112539"/>
                          </a:lnTo>
                          <a:lnTo>
                            <a:pt x="867708" y="1110289"/>
                          </a:lnTo>
                          <a:lnTo>
                            <a:pt x="865908" y="1103988"/>
                          </a:lnTo>
                          <a:lnTo>
                            <a:pt x="864558" y="1096787"/>
                          </a:lnTo>
                          <a:lnTo>
                            <a:pt x="863658" y="1090937"/>
                          </a:lnTo>
                          <a:lnTo>
                            <a:pt x="862758" y="1086436"/>
                          </a:lnTo>
                          <a:lnTo>
                            <a:pt x="860507" y="1085086"/>
                          </a:lnTo>
                          <a:lnTo>
                            <a:pt x="853757" y="1083286"/>
                          </a:lnTo>
                          <a:lnTo>
                            <a:pt x="851506" y="1080585"/>
                          </a:lnTo>
                          <a:lnTo>
                            <a:pt x="850606" y="1078335"/>
                          </a:lnTo>
                          <a:lnTo>
                            <a:pt x="849706" y="1074734"/>
                          </a:lnTo>
                          <a:lnTo>
                            <a:pt x="849706" y="1071134"/>
                          </a:lnTo>
                          <a:lnTo>
                            <a:pt x="850156" y="1067984"/>
                          </a:lnTo>
                          <a:lnTo>
                            <a:pt x="850606" y="1067084"/>
                          </a:lnTo>
                          <a:lnTo>
                            <a:pt x="851506" y="1067084"/>
                          </a:lnTo>
                          <a:lnTo>
                            <a:pt x="849706" y="1063033"/>
                          </a:lnTo>
                          <a:lnTo>
                            <a:pt x="849256" y="1058983"/>
                          </a:lnTo>
                          <a:lnTo>
                            <a:pt x="849256" y="1053132"/>
                          </a:lnTo>
                          <a:lnTo>
                            <a:pt x="849706" y="1049081"/>
                          </a:lnTo>
                          <a:lnTo>
                            <a:pt x="850156" y="1047281"/>
                          </a:lnTo>
                          <a:lnTo>
                            <a:pt x="851506" y="1046381"/>
                          </a:lnTo>
                          <a:lnTo>
                            <a:pt x="854657" y="1045481"/>
                          </a:lnTo>
                          <a:lnTo>
                            <a:pt x="859157" y="1045481"/>
                          </a:lnTo>
                          <a:lnTo>
                            <a:pt x="865458" y="1049981"/>
                          </a:lnTo>
                          <a:lnTo>
                            <a:pt x="870409" y="1050431"/>
                          </a:lnTo>
                          <a:lnTo>
                            <a:pt x="876259" y="1054032"/>
                          </a:lnTo>
                          <a:close/>
                          <a:moveTo>
                            <a:pt x="330341" y="1108039"/>
                          </a:moveTo>
                          <a:lnTo>
                            <a:pt x="329441" y="1108489"/>
                          </a:lnTo>
                          <a:lnTo>
                            <a:pt x="327641" y="1106689"/>
                          </a:lnTo>
                          <a:lnTo>
                            <a:pt x="324491" y="1103088"/>
                          </a:lnTo>
                          <a:lnTo>
                            <a:pt x="319540" y="1095437"/>
                          </a:lnTo>
                          <a:lnTo>
                            <a:pt x="313689" y="1087786"/>
                          </a:lnTo>
                          <a:lnTo>
                            <a:pt x="312789" y="1083286"/>
                          </a:lnTo>
                          <a:lnTo>
                            <a:pt x="311439" y="1079685"/>
                          </a:lnTo>
                          <a:lnTo>
                            <a:pt x="304238" y="1071584"/>
                          </a:lnTo>
                          <a:lnTo>
                            <a:pt x="299287" y="1068434"/>
                          </a:lnTo>
                          <a:lnTo>
                            <a:pt x="295687" y="1066634"/>
                          </a:lnTo>
                          <a:lnTo>
                            <a:pt x="295237" y="1064383"/>
                          </a:lnTo>
                          <a:lnTo>
                            <a:pt x="297937" y="1057632"/>
                          </a:lnTo>
                          <a:lnTo>
                            <a:pt x="300638" y="1052232"/>
                          </a:lnTo>
                          <a:lnTo>
                            <a:pt x="302438" y="1050431"/>
                          </a:lnTo>
                          <a:lnTo>
                            <a:pt x="307838" y="1048631"/>
                          </a:lnTo>
                          <a:lnTo>
                            <a:pt x="325841" y="1045031"/>
                          </a:lnTo>
                          <a:lnTo>
                            <a:pt x="329891" y="1045031"/>
                          </a:lnTo>
                          <a:lnTo>
                            <a:pt x="334392" y="1046831"/>
                          </a:lnTo>
                          <a:lnTo>
                            <a:pt x="340243" y="1054032"/>
                          </a:lnTo>
                          <a:lnTo>
                            <a:pt x="342493" y="1054932"/>
                          </a:lnTo>
                          <a:lnTo>
                            <a:pt x="343843" y="1056732"/>
                          </a:lnTo>
                          <a:lnTo>
                            <a:pt x="345193" y="1059433"/>
                          </a:lnTo>
                          <a:lnTo>
                            <a:pt x="346093" y="1062133"/>
                          </a:lnTo>
                          <a:lnTo>
                            <a:pt x="346093" y="1067984"/>
                          </a:lnTo>
                          <a:lnTo>
                            <a:pt x="345643" y="1076085"/>
                          </a:lnTo>
                          <a:lnTo>
                            <a:pt x="344743" y="1079235"/>
                          </a:lnTo>
                          <a:lnTo>
                            <a:pt x="341143" y="1089586"/>
                          </a:lnTo>
                          <a:lnTo>
                            <a:pt x="337542" y="1095437"/>
                          </a:lnTo>
                          <a:lnTo>
                            <a:pt x="336642" y="1099038"/>
                          </a:lnTo>
                          <a:lnTo>
                            <a:pt x="335292" y="1102188"/>
                          </a:lnTo>
                          <a:lnTo>
                            <a:pt x="332592" y="1105788"/>
                          </a:lnTo>
                          <a:lnTo>
                            <a:pt x="330341" y="1108039"/>
                          </a:lnTo>
                          <a:close/>
                          <a:moveTo>
                            <a:pt x="85061" y="1324516"/>
                          </a:moveTo>
                          <a:lnTo>
                            <a:pt x="89561" y="1324516"/>
                          </a:lnTo>
                          <a:lnTo>
                            <a:pt x="88661" y="1321816"/>
                          </a:lnTo>
                          <a:lnTo>
                            <a:pt x="85961" y="1317765"/>
                          </a:lnTo>
                          <a:lnTo>
                            <a:pt x="83260" y="1313714"/>
                          </a:lnTo>
                          <a:lnTo>
                            <a:pt x="80560" y="1309664"/>
                          </a:lnTo>
                          <a:lnTo>
                            <a:pt x="81010" y="1302463"/>
                          </a:lnTo>
                          <a:lnTo>
                            <a:pt x="90911" y="1302463"/>
                          </a:lnTo>
                          <a:lnTo>
                            <a:pt x="102163" y="1302463"/>
                          </a:lnTo>
                          <a:lnTo>
                            <a:pt x="113414" y="1302463"/>
                          </a:lnTo>
                          <a:lnTo>
                            <a:pt x="124666" y="1302463"/>
                          </a:lnTo>
                          <a:lnTo>
                            <a:pt x="135917" y="1302463"/>
                          </a:lnTo>
                          <a:lnTo>
                            <a:pt x="147168" y="1302463"/>
                          </a:lnTo>
                          <a:lnTo>
                            <a:pt x="158420" y="1302463"/>
                          </a:lnTo>
                          <a:lnTo>
                            <a:pt x="170121" y="1302463"/>
                          </a:lnTo>
                          <a:lnTo>
                            <a:pt x="170121" y="1307864"/>
                          </a:lnTo>
                          <a:lnTo>
                            <a:pt x="170121" y="1312814"/>
                          </a:lnTo>
                          <a:lnTo>
                            <a:pt x="172371" y="1312814"/>
                          </a:lnTo>
                          <a:lnTo>
                            <a:pt x="174622" y="1312814"/>
                          </a:lnTo>
                          <a:lnTo>
                            <a:pt x="177772" y="1307864"/>
                          </a:lnTo>
                          <a:lnTo>
                            <a:pt x="177772" y="1302463"/>
                          </a:lnTo>
                          <a:lnTo>
                            <a:pt x="184523" y="1302463"/>
                          </a:lnTo>
                          <a:lnTo>
                            <a:pt x="191274" y="1302463"/>
                          </a:lnTo>
                          <a:lnTo>
                            <a:pt x="198025" y="1302463"/>
                          </a:lnTo>
                          <a:lnTo>
                            <a:pt x="204776" y="1302463"/>
                          </a:lnTo>
                          <a:lnTo>
                            <a:pt x="211526" y="1302463"/>
                          </a:lnTo>
                          <a:lnTo>
                            <a:pt x="218277" y="1302463"/>
                          </a:lnTo>
                          <a:lnTo>
                            <a:pt x="225028" y="1302463"/>
                          </a:lnTo>
                          <a:lnTo>
                            <a:pt x="231779" y="1302463"/>
                          </a:lnTo>
                          <a:lnTo>
                            <a:pt x="231779" y="1268259"/>
                          </a:lnTo>
                          <a:lnTo>
                            <a:pt x="231779" y="1233154"/>
                          </a:lnTo>
                          <a:lnTo>
                            <a:pt x="231779" y="1197150"/>
                          </a:lnTo>
                          <a:lnTo>
                            <a:pt x="231779" y="1160245"/>
                          </a:lnTo>
                          <a:lnTo>
                            <a:pt x="231779" y="1121990"/>
                          </a:lnTo>
                          <a:lnTo>
                            <a:pt x="231779" y="1103088"/>
                          </a:lnTo>
                          <a:lnTo>
                            <a:pt x="239880" y="1110739"/>
                          </a:lnTo>
                          <a:lnTo>
                            <a:pt x="243030" y="1115690"/>
                          </a:lnTo>
                          <a:lnTo>
                            <a:pt x="245281" y="1117940"/>
                          </a:lnTo>
                          <a:lnTo>
                            <a:pt x="250231" y="1121540"/>
                          </a:lnTo>
                          <a:lnTo>
                            <a:pt x="252032" y="1124241"/>
                          </a:lnTo>
                          <a:lnTo>
                            <a:pt x="253382" y="1125591"/>
                          </a:lnTo>
                          <a:lnTo>
                            <a:pt x="253832" y="1126941"/>
                          </a:lnTo>
                          <a:lnTo>
                            <a:pt x="253382" y="1128291"/>
                          </a:lnTo>
                          <a:lnTo>
                            <a:pt x="253382" y="1130992"/>
                          </a:lnTo>
                          <a:lnTo>
                            <a:pt x="254282" y="1131892"/>
                          </a:lnTo>
                          <a:lnTo>
                            <a:pt x="257432" y="1132792"/>
                          </a:lnTo>
                          <a:lnTo>
                            <a:pt x="258332" y="1134142"/>
                          </a:lnTo>
                          <a:lnTo>
                            <a:pt x="259682" y="1137742"/>
                          </a:lnTo>
                          <a:lnTo>
                            <a:pt x="261033" y="1144043"/>
                          </a:lnTo>
                          <a:lnTo>
                            <a:pt x="262383" y="1150794"/>
                          </a:lnTo>
                          <a:lnTo>
                            <a:pt x="264633" y="1163396"/>
                          </a:lnTo>
                          <a:lnTo>
                            <a:pt x="268684" y="1179598"/>
                          </a:lnTo>
                          <a:lnTo>
                            <a:pt x="270034" y="1189949"/>
                          </a:lnTo>
                          <a:lnTo>
                            <a:pt x="270484" y="1191749"/>
                          </a:lnTo>
                          <a:lnTo>
                            <a:pt x="271384" y="1193099"/>
                          </a:lnTo>
                          <a:lnTo>
                            <a:pt x="274084" y="1194900"/>
                          </a:lnTo>
                          <a:lnTo>
                            <a:pt x="276335" y="1197600"/>
                          </a:lnTo>
                          <a:lnTo>
                            <a:pt x="278585" y="1198500"/>
                          </a:lnTo>
                          <a:lnTo>
                            <a:pt x="279035" y="1198050"/>
                          </a:lnTo>
                          <a:lnTo>
                            <a:pt x="279485" y="1195800"/>
                          </a:lnTo>
                          <a:lnTo>
                            <a:pt x="280835" y="1192199"/>
                          </a:lnTo>
                          <a:lnTo>
                            <a:pt x="288036" y="1184998"/>
                          </a:lnTo>
                          <a:lnTo>
                            <a:pt x="288486" y="1184098"/>
                          </a:lnTo>
                          <a:lnTo>
                            <a:pt x="287586" y="1182298"/>
                          </a:lnTo>
                          <a:lnTo>
                            <a:pt x="287136" y="1181398"/>
                          </a:lnTo>
                          <a:lnTo>
                            <a:pt x="287136" y="1180498"/>
                          </a:lnTo>
                          <a:lnTo>
                            <a:pt x="288486" y="1180048"/>
                          </a:lnTo>
                          <a:lnTo>
                            <a:pt x="283535" y="1171047"/>
                          </a:lnTo>
                          <a:lnTo>
                            <a:pt x="280385" y="1162495"/>
                          </a:lnTo>
                          <a:lnTo>
                            <a:pt x="278135" y="1151694"/>
                          </a:lnTo>
                          <a:lnTo>
                            <a:pt x="277685" y="1148544"/>
                          </a:lnTo>
                          <a:lnTo>
                            <a:pt x="277235" y="1141793"/>
                          </a:lnTo>
                          <a:lnTo>
                            <a:pt x="276335" y="1139993"/>
                          </a:lnTo>
                          <a:lnTo>
                            <a:pt x="274984" y="1138192"/>
                          </a:lnTo>
                          <a:lnTo>
                            <a:pt x="274534" y="1135942"/>
                          </a:lnTo>
                          <a:lnTo>
                            <a:pt x="274534" y="1133242"/>
                          </a:lnTo>
                          <a:lnTo>
                            <a:pt x="274084" y="1130992"/>
                          </a:lnTo>
                          <a:lnTo>
                            <a:pt x="272734" y="1126491"/>
                          </a:lnTo>
                          <a:lnTo>
                            <a:pt x="267783" y="1094087"/>
                          </a:lnTo>
                          <a:lnTo>
                            <a:pt x="267783" y="1090937"/>
                          </a:lnTo>
                          <a:lnTo>
                            <a:pt x="268684" y="1088686"/>
                          </a:lnTo>
                          <a:lnTo>
                            <a:pt x="270484" y="1087336"/>
                          </a:lnTo>
                          <a:lnTo>
                            <a:pt x="273634" y="1086886"/>
                          </a:lnTo>
                          <a:lnTo>
                            <a:pt x="274534" y="1085986"/>
                          </a:lnTo>
                          <a:lnTo>
                            <a:pt x="273634" y="1084636"/>
                          </a:lnTo>
                          <a:lnTo>
                            <a:pt x="271834" y="1081035"/>
                          </a:lnTo>
                          <a:lnTo>
                            <a:pt x="271384" y="1079235"/>
                          </a:lnTo>
                          <a:lnTo>
                            <a:pt x="272734" y="1076085"/>
                          </a:lnTo>
                          <a:lnTo>
                            <a:pt x="279485" y="1077435"/>
                          </a:lnTo>
                          <a:lnTo>
                            <a:pt x="284435" y="1080585"/>
                          </a:lnTo>
                          <a:lnTo>
                            <a:pt x="292537" y="1087786"/>
                          </a:lnTo>
                          <a:lnTo>
                            <a:pt x="293437" y="1087336"/>
                          </a:lnTo>
                          <a:lnTo>
                            <a:pt x="294337" y="1083736"/>
                          </a:lnTo>
                          <a:lnTo>
                            <a:pt x="296137" y="1081485"/>
                          </a:lnTo>
                          <a:lnTo>
                            <a:pt x="298837" y="1082386"/>
                          </a:lnTo>
                          <a:lnTo>
                            <a:pt x="306038" y="1087336"/>
                          </a:lnTo>
                          <a:lnTo>
                            <a:pt x="314589" y="1096337"/>
                          </a:lnTo>
                          <a:lnTo>
                            <a:pt x="320440" y="1100838"/>
                          </a:lnTo>
                          <a:lnTo>
                            <a:pt x="324491" y="1106689"/>
                          </a:lnTo>
                          <a:lnTo>
                            <a:pt x="327191" y="1112539"/>
                          </a:lnTo>
                          <a:lnTo>
                            <a:pt x="328991" y="1117040"/>
                          </a:lnTo>
                          <a:lnTo>
                            <a:pt x="328991" y="1118840"/>
                          </a:lnTo>
                          <a:lnTo>
                            <a:pt x="328541" y="1120640"/>
                          </a:lnTo>
                          <a:lnTo>
                            <a:pt x="328991" y="1122891"/>
                          </a:lnTo>
                          <a:lnTo>
                            <a:pt x="330341" y="1125591"/>
                          </a:lnTo>
                          <a:lnTo>
                            <a:pt x="330791" y="1128291"/>
                          </a:lnTo>
                          <a:lnTo>
                            <a:pt x="331241" y="1133692"/>
                          </a:lnTo>
                          <a:lnTo>
                            <a:pt x="332141" y="1140443"/>
                          </a:lnTo>
                          <a:lnTo>
                            <a:pt x="332592" y="1144043"/>
                          </a:lnTo>
                          <a:lnTo>
                            <a:pt x="340243" y="1174197"/>
                          </a:lnTo>
                          <a:lnTo>
                            <a:pt x="341593" y="1179598"/>
                          </a:lnTo>
                          <a:lnTo>
                            <a:pt x="342493" y="1181848"/>
                          </a:lnTo>
                          <a:lnTo>
                            <a:pt x="347893" y="1193099"/>
                          </a:lnTo>
                          <a:lnTo>
                            <a:pt x="350594" y="1201200"/>
                          </a:lnTo>
                          <a:lnTo>
                            <a:pt x="351044" y="1206601"/>
                          </a:lnTo>
                          <a:lnTo>
                            <a:pt x="351494" y="1207951"/>
                          </a:lnTo>
                          <a:lnTo>
                            <a:pt x="351494" y="1210652"/>
                          </a:lnTo>
                          <a:lnTo>
                            <a:pt x="351494" y="1214252"/>
                          </a:lnTo>
                          <a:lnTo>
                            <a:pt x="351044" y="1217402"/>
                          </a:lnTo>
                          <a:lnTo>
                            <a:pt x="350144" y="1219653"/>
                          </a:lnTo>
                          <a:lnTo>
                            <a:pt x="349244" y="1223253"/>
                          </a:lnTo>
                          <a:lnTo>
                            <a:pt x="347443" y="1230904"/>
                          </a:lnTo>
                          <a:lnTo>
                            <a:pt x="347443" y="1232704"/>
                          </a:lnTo>
                          <a:lnTo>
                            <a:pt x="348794" y="1235405"/>
                          </a:lnTo>
                          <a:lnTo>
                            <a:pt x="355995" y="1244406"/>
                          </a:lnTo>
                          <a:lnTo>
                            <a:pt x="360495" y="1255207"/>
                          </a:lnTo>
                          <a:lnTo>
                            <a:pt x="362745" y="1257007"/>
                          </a:lnTo>
                          <a:lnTo>
                            <a:pt x="368596" y="1263758"/>
                          </a:lnTo>
                          <a:lnTo>
                            <a:pt x="374897" y="1267359"/>
                          </a:lnTo>
                          <a:lnTo>
                            <a:pt x="377147" y="1269159"/>
                          </a:lnTo>
                          <a:lnTo>
                            <a:pt x="378947" y="1271409"/>
                          </a:lnTo>
                          <a:lnTo>
                            <a:pt x="379397" y="1271409"/>
                          </a:lnTo>
                          <a:lnTo>
                            <a:pt x="380748" y="1270959"/>
                          </a:lnTo>
                          <a:lnTo>
                            <a:pt x="381198" y="1270509"/>
                          </a:lnTo>
                          <a:lnTo>
                            <a:pt x="381198" y="1269609"/>
                          </a:lnTo>
                          <a:lnTo>
                            <a:pt x="379397" y="1264658"/>
                          </a:lnTo>
                          <a:lnTo>
                            <a:pt x="379397" y="1262858"/>
                          </a:lnTo>
                          <a:lnTo>
                            <a:pt x="380298" y="1262408"/>
                          </a:lnTo>
                          <a:lnTo>
                            <a:pt x="386598" y="1270959"/>
                          </a:lnTo>
                          <a:lnTo>
                            <a:pt x="390199" y="1274110"/>
                          </a:lnTo>
                          <a:lnTo>
                            <a:pt x="394699" y="1277710"/>
                          </a:lnTo>
                          <a:lnTo>
                            <a:pt x="402800" y="1285811"/>
                          </a:lnTo>
                          <a:lnTo>
                            <a:pt x="403700" y="1286261"/>
                          </a:lnTo>
                          <a:lnTo>
                            <a:pt x="408201" y="1285361"/>
                          </a:lnTo>
                          <a:lnTo>
                            <a:pt x="409551" y="1285811"/>
                          </a:lnTo>
                          <a:lnTo>
                            <a:pt x="410451" y="1286711"/>
                          </a:lnTo>
                          <a:lnTo>
                            <a:pt x="410901" y="1287611"/>
                          </a:lnTo>
                          <a:lnTo>
                            <a:pt x="410901" y="1292562"/>
                          </a:lnTo>
                          <a:lnTo>
                            <a:pt x="412252" y="1294812"/>
                          </a:lnTo>
                          <a:lnTo>
                            <a:pt x="419002" y="1293912"/>
                          </a:lnTo>
                          <a:lnTo>
                            <a:pt x="420803" y="1293912"/>
                          </a:lnTo>
                          <a:lnTo>
                            <a:pt x="422153" y="1294812"/>
                          </a:lnTo>
                          <a:lnTo>
                            <a:pt x="423053" y="1296162"/>
                          </a:lnTo>
                          <a:lnTo>
                            <a:pt x="424403" y="1301113"/>
                          </a:lnTo>
                          <a:lnTo>
                            <a:pt x="425753" y="1311014"/>
                          </a:lnTo>
                          <a:lnTo>
                            <a:pt x="425753" y="1314615"/>
                          </a:lnTo>
                          <a:lnTo>
                            <a:pt x="425303" y="1320465"/>
                          </a:lnTo>
                          <a:lnTo>
                            <a:pt x="424403" y="1322716"/>
                          </a:lnTo>
                          <a:lnTo>
                            <a:pt x="423053" y="1323616"/>
                          </a:lnTo>
                          <a:lnTo>
                            <a:pt x="419452" y="1323166"/>
                          </a:lnTo>
                          <a:lnTo>
                            <a:pt x="416752" y="1321365"/>
                          </a:lnTo>
                          <a:lnTo>
                            <a:pt x="415402" y="1319115"/>
                          </a:lnTo>
                          <a:lnTo>
                            <a:pt x="414052" y="1313714"/>
                          </a:lnTo>
                          <a:lnTo>
                            <a:pt x="413602" y="1312814"/>
                          </a:lnTo>
                          <a:lnTo>
                            <a:pt x="413152" y="1313714"/>
                          </a:lnTo>
                          <a:lnTo>
                            <a:pt x="411801" y="1318665"/>
                          </a:lnTo>
                          <a:lnTo>
                            <a:pt x="410901" y="1320915"/>
                          </a:lnTo>
                          <a:lnTo>
                            <a:pt x="410001" y="1322265"/>
                          </a:lnTo>
                          <a:lnTo>
                            <a:pt x="408201" y="1321816"/>
                          </a:lnTo>
                          <a:lnTo>
                            <a:pt x="405501" y="1319565"/>
                          </a:lnTo>
                          <a:lnTo>
                            <a:pt x="400550" y="1314165"/>
                          </a:lnTo>
                          <a:lnTo>
                            <a:pt x="398750" y="1312814"/>
                          </a:lnTo>
                          <a:lnTo>
                            <a:pt x="397850" y="1313264"/>
                          </a:lnTo>
                          <a:lnTo>
                            <a:pt x="395599" y="1315065"/>
                          </a:lnTo>
                          <a:lnTo>
                            <a:pt x="391999" y="1318215"/>
                          </a:lnTo>
                          <a:lnTo>
                            <a:pt x="390649" y="1320465"/>
                          </a:lnTo>
                          <a:lnTo>
                            <a:pt x="391099" y="1322265"/>
                          </a:lnTo>
                          <a:lnTo>
                            <a:pt x="391549" y="1324066"/>
                          </a:lnTo>
                          <a:lnTo>
                            <a:pt x="391549" y="1326316"/>
                          </a:lnTo>
                          <a:lnTo>
                            <a:pt x="391549" y="1328116"/>
                          </a:lnTo>
                          <a:lnTo>
                            <a:pt x="391099" y="1329016"/>
                          </a:lnTo>
                          <a:lnTo>
                            <a:pt x="389749" y="1330367"/>
                          </a:lnTo>
                          <a:lnTo>
                            <a:pt x="387048" y="1330817"/>
                          </a:lnTo>
                          <a:lnTo>
                            <a:pt x="383448" y="1329916"/>
                          </a:lnTo>
                          <a:lnTo>
                            <a:pt x="380298" y="1328116"/>
                          </a:lnTo>
                          <a:lnTo>
                            <a:pt x="374897" y="1323166"/>
                          </a:lnTo>
                          <a:lnTo>
                            <a:pt x="373547" y="1322265"/>
                          </a:lnTo>
                          <a:lnTo>
                            <a:pt x="371747" y="1323166"/>
                          </a:lnTo>
                          <a:lnTo>
                            <a:pt x="371296" y="1324516"/>
                          </a:lnTo>
                          <a:lnTo>
                            <a:pt x="372196" y="1326316"/>
                          </a:lnTo>
                          <a:lnTo>
                            <a:pt x="374897" y="1329016"/>
                          </a:lnTo>
                          <a:lnTo>
                            <a:pt x="378047" y="1333517"/>
                          </a:lnTo>
                          <a:lnTo>
                            <a:pt x="378947" y="1334417"/>
                          </a:lnTo>
                          <a:lnTo>
                            <a:pt x="379847" y="1334417"/>
                          </a:lnTo>
                          <a:lnTo>
                            <a:pt x="380298" y="1335317"/>
                          </a:lnTo>
                          <a:lnTo>
                            <a:pt x="380748" y="1337567"/>
                          </a:lnTo>
                          <a:lnTo>
                            <a:pt x="380748" y="1341618"/>
                          </a:lnTo>
                          <a:lnTo>
                            <a:pt x="379397" y="1349719"/>
                          </a:lnTo>
                          <a:lnTo>
                            <a:pt x="379397" y="1351519"/>
                          </a:lnTo>
                          <a:lnTo>
                            <a:pt x="379847" y="1351069"/>
                          </a:lnTo>
                          <a:lnTo>
                            <a:pt x="384348" y="1343418"/>
                          </a:lnTo>
                          <a:lnTo>
                            <a:pt x="386598" y="1341168"/>
                          </a:lnTo>
                          <a:lnTo>
                            <a:pt x="391549" y="1337567"/>
                          </a:lnTo>
                          <a:lnTo>
                            <a:pt x="393799" y="1334867"/>
                          </a:lnTo>
                          <a:lnTo>
                            <a:pt x="400100" y="1333967"/>
                          </a:lnTo>
                          <a:lnTo>
                            <a:pt x="402350" y="1335317"/>
                          </a:lnTo>
                          <a:lnTo>
                            <a:pt x="403700" y="1337567"/>
                          </a:lnTo>
                          <a:lnTo>
                            <a:pt x="403700" y="1338468"/>
                          </a:lnTo>
                          <a:lnTo>
                            <a:pt x="401900" y="1341168"/>
                          </a:lnTo>
                          <a:lnTo>
                            <a:pt x="401450" y="1342518"/>
                          </a:lnTo>
                          <a:lnTo>
                            <a:pt x="401450" y="1344318"/>
                          </a:lnTo>
                          <a:lnTo>
                            <a:pt x="401450" y="1346119"/>
                          </a:lnTo>
                          <a:lnTo>
                            <a:pt x="401900" y="1347469"/>
                          </a:lnTo>
                          <a:lnTo>
                            <a:pt x="403250" y="1348819"/>
                          </a:lnTo>
                          <a:lnTo>
                            <a:pt x="405051" y="1348369"/>
                          </a:lnTo>
                          <a:lnTo>
                            <a:pt x="405501" y="1348819"/>
                          </a:lnTo>
                          <a:lnTo>
                            <a:pt x="406401" y="1350169"/>
                          </a:lnTo>
                          <a:lnTo>
                            <a:pt x="407301" y="1352419"/>
                          </a:lnTo>
                          <a:lnTo>
                            <a:pt x="407301" y="1355570"/>
                          </a:lnTo>
                          <a:lnTo>
                            <a:pt x="405951" y="1361871"/>
                          </a:lnTo>
                          <a:lnTo>
                            <a:pt x="403250" y="1364121"/>
                          </a:lnTo>
                          <a:lnTo>
                            <a:pt x="395149" y="1368171"/>
                          </a:lnTo>
                          <a:lnTo>
                            <a:pt x="392449" y="1369971"/>
                          </a:lnTo>
                          <a:lnTo>
                            <a:pt x="387048" y="1371322"/>
                          </a:lnTo>
                          <a:lnTo>
                            <a:pt x="384798" y="1373122"/>
                          </a:lnTo>
                          <a:lnTo>
                            <a:pt x="383448" y="1373572"/>
                          </a:lnTo>
                          <a:lnTo>
                            <a:pt x="377597" y="1373122"/>
                          </a:lnTo>
                          <a:lnTo>
                            <a:pt x="371296" y="1374472"/>
                          </a:lnTo>
                          <a:lnTo>
                            <a:pt x="363645" y="1372222"/>
                          </a:lnTo>
                          <a:lnTo>
                            <a:pt x="358245" y="1371322"/>
                          </a:lnTo>
                          <a:lnTo>
                            <a:pt x="352394" y="1367721"/>
                          </a:lnTo>
                          <a:lnTo>
                            <a:pt x="350144" y="1368621"/>
                          </a:lnTo>
                          <a:lnTo>
                            <a:pt x="347893" y="1370872"/>
                          </a:lnTo>
                          <a:lnTo>
                            <a:pt x="336642" y="1368171"/>
                          </a:lnTo>
                          <a:lnTo>
                            <a:pt x="335292" y="1365921"/>
                          </a:lnTo>
                          <a:lnTo>
                            <a:pt x="335742" y="1364571"/>
                          </a:lnTo>
                          <a:lnTo>
                            <a:pt x="338442" y="1360070"/>
                          </a:lnTo>
                          <a:lnTo>
                            <a:pt x="338442" y="1359170"/>
                          </a:lnTo>
                          <a:lnTo>
                            <a:pt x="338442" y="1358270"/>
                          </a:lnTo>
                          <a:lnTo>
                            <a:pt x="333492" y="1357370"/>
                          </a:lnTo>
                          <a:lnTo>
                            <a:pt x="327641" y="1355120"/>
                          </a:lnTo>
                          <a:lnTo>
                            <a:pt x="321790" y="1353769"/>
                          </a:lnTo>
                          <a:lnTo>
                            <a:pt x="317290" y="1354219"/>
                          </a:lnTo>
                          <a:lnTo>
                            <a:pt x="314589" y="1353319"/>
                          </a:lnTo>
                          <a:lnTo>
                            <a:pt x="311889" y="1351519"/>
                          </a:lnTo>
                          <a:lnTo>
                            <a:pt x="310539" y="1349719"/>
                          </a:lnTo>
                          <a:lnTo>
                            <a:pt x="310089" y="1347919"/>
                          </a:lnTo>
                          <a:lnTo>
                            <a:pt x="310089" y="1346119"/>
                          </a:lnTo>
                          <a:lnTo>
                            <a:pt x="310539" y="1342518"/>
                          </a:lnTo>
                          <a:lnTo>
                            <a:pt x="310089" y="1339818"/>
                          </a:lnTo>
                          <a:lnTo>
                            <a:pt x="308739" y="1338017"/>
                          </a:lnTo>
                          <a:lnTo>
                            <a:pt x="306038" y="1336217"/>
                          </a:lnTo>
                          <a:lnTo>
                            <a:pt x="303338" y="1336217"/>
                          </a:lnTo>
                          <a:lnTo>
                            <a:pt x="301088" y="1338017"/>
                          </a:lnTo>
                          <a:lnTo>
                            <a:pt x="298837" y="1341618"/>
                          </a:lnTo>
                          <a:lnTo>
                            <a:pt x="295237" y="1351519"/>
                          </a:lnTo>
                          <a:lnTo>
                            <a:pt x="293437" y="1353319"/>
                          </a:lnTo>
                          <a:lnTo>
                            <a:pt x="288486" y="1360520"/>
                          </a:lnTo>
                          <a:lnTo>
                            <a:pt x="286686" y="1362321"/>
                          </a:lnTo>
                          <a:lnTo>
                            <a:pt x="277685" y="1365021"/>
                          </a:lnTo>
                          <a:lnTo>
                            <a:pt x="266883" y="1366371"/>
                          </a:lnTo>
                          <a:lnTo>
                            <a:pt x="262833" y="1368621"/>
                          </a:lnTo>
                          <a:lnTo>
                            <a:pt x="259232" y="1372672"/>
                          </a:lnTo>
                          <a:lnTo>
                            <a:pt x="254732" y="1376722"/>
                          </a:lnTo>
                          <a:lnTo>
                            <a:pt x="243480" y="1381673"/>
                          </a:lnTo>
                          <a:lnTo>
                            <a:pt x="233129" y="1384373"/>
                          </a:lnTo>
                          <a:lnTo>
                            <a:pt x="222328" y="1385723"/>
                          </a:lnTo>
                          <a:lnTo>
                            <a:pt x="214227" y="1387524"/>
                          </a:lnTo>
                          <a:lnTo>
                            <a:pt x="211977" y="1386624"/>
                          </a:lnTo>
                          <a:lnTo>
                            <a:pt x="208376" y="1387074"/>
                          </a:lnTo>
                          <a:lnTo>
                            <a:pt x="204326" y="1389774"/>
                          </a:lnTo>
                          <a:lnTo>
                            <a:pt x="199825" y="1390224"/>
                          </a:lnTo>
                          <a:lnTo>
                            <a:pt x="183173" y="1391124"/>
                          </a:lnTo>
                          <a:lnTo>
                            <a:pt x="175522" y="1392924"/>
                          </a:lnTo>
                          <a:lnTo>
                            <a:pt x="171471" y="1393374"/>
                          </a:lnTo>
                          <a:lnTo>
                            <a:pt x="168321" y="1392924"/>
                          </a:lnTo>
                          <a:lnTo>
                            <a:pt x="166071" y="1392024"/>
                          </a:lnTo>
                          <a:lnTo>
                            <a:pt x="161570" y="1390674"/>
                          </a:lnTo>
                          <a:lnTo>
                            <a:pt x="159320" y="1387074"/>
                          </a:lnTo>
                          <a:lnTo>
                            <a:pt x="154819" y="1377172"/>
                          </a:lnTo>
                          <a:lnTo>
                            <a:pt x="153469" y="1373122"/>
                          </a:lnTo>
                          <a:lnTo>
                            <a:pt x="153919" y="1365921"/>
                          </a:lnTo>
                          <a:lnTo>
                            <a:pt x="153469" y="1361871"/>
                          </a:lnTo>
                          <a:lnTo>
                            <a:pt x="152119" y="1352869"/>
                          </a:lnTo>
                          <a:lnTo>
                            <a:pt x="151669" y="1351969"/>
                          </a:lnTo>
                          <a:lnTo>
                            <a:pt x="143568" y="1348819"/>
                          </a:lnTo>
                          <a:lnTo>
                            <a:pt x="138167" y="1347919"/>
                          </a:lnTo>
                          <a:lnTo>
                            <a:pt x="130066" y="1347919"/>
                          </a:lnTo>
                          <a:lnTo>
                            <a:pt x="120165" y="1348369"/>
                          </a:lnTo>
                          <a:lnTo>
                            <a:pt x="110264" y="1347469"/>
                          </a:lnTo>
                          <a:lnTo>
                            <a:pt x="105313" y="1346119"/>
                          </a:lnTo>
                          <a:lnTo>
                            <a:pt x="100362" y="1344318"/>
                          </a:lnTo>
                          <a:lnTo>
                            <a:pt x="91811" y="1338918"/>
                          </a:lnTo>
                          <a:lnTo>
                            <a:pt x="91361" y="1338468"/>
                          </a:lnTo>
                          <a:lnTo>
                            <a:pt x="90461" y="1336667"/>
                          </a:lnTo>
                          <a:lnTo>
                            <a:pt x="89561" y="1333517"/>
                          </a:lnTo>
                          <a:lnTo>
                            <a:pt x="87311" y="1329466"/>
                          </a:lnTo>
                          <a:lnTo>
                            <a:pt x="85061" y="1324516"/>
                          </a:lnTo>
                          <a:close/>
                          <a:moveTo>
                            <a:pt x="510814" y="1106689"/>
                          </a:moveTo>
                          <a:lnTo>
                            <a:pt x="507213" y="1107589"/>
                          </a:lnTo>
                          <a:lnTo>
                            <a:pt x="504063" y="1102638"/>
                          </a:lnTo>
                          <a:lnTo>
                            <a:pt x="504063" y="1097687"/>
                          </a:lnTo>
                          <a:lnTo>
                            <a:pt x="504063" y="1094987"/>
                          </a:lnTo>
                          <a:lnTo>
                            <a:pt x="504513" y="1092737"/>
                          </a:lnTo>
                          <a:lnTo>
                            <a:pt x="505863" y="1090937"/>
                          </a:lnTo>
                          <a:lnTo>
                            <a:pt x="509014" y="1088686"/>
                          </a:lnTo>
                          <a:lnTo>
                            <a:pt x="510364" y="1090486"/>
                          </a:lnTo>
                          <a:lnTo>
                            <a:pt x="510814" y="1092737"/>
                          </a:lnTo>
                          <a:lnTo>
                            <a:pt x="511264" y="1093637"/>
                          </a:lnTo>
                          <a:lnTo>
                            <a:pt x="513514" y="1095437"/>
                          </a:lnTo>
                          <a:lnTo>
                            <a:pt x="514414" y="1097687"/>
                          </a:lnTo>
                          <a:lnTo>
                            <a:pt x="514414" y="1099938"/>
                          </a:lnTo>
                          <a:lnTo>
                            <a:pt x="513514" y="1103538"/>
                          </a:lnTo>
                          <a:lnTo>
                            <a:pt x="512614" y="1105788"/>
                          </a:lnTo>
                          <a:lnTo>
                            <a:pt x="511714" y="1106689"/>
                          </a:lnTo>
                          <a:lnTo>
                            <a:pt x="510814" y="1106689"/>
                          </a:lnTo>
                          <a:close/>
                          <a:moveTo>
                            <a:pt x="553119" y="1810577"/>
                          </a:moveTo>
                          <a:lnTo>
                            <a:pt x="542768" y="1810577"/>
                          </a:lnTo>
                          <a:lnTo>
                            <a:pt x="533317" y="1810577"/>
                          </a:lnTo>
                          <a:lnTo>
                            <a:pt x="523865" y="1810577"/>
                          </a:lnTo>
                          <a:lnTo>
                            <a:pt x="514414" y="1810577"/>
                          </a:lnTo>
                          <a:lnTo>
                            <a:pt x="504963" y="1810577"/>
                          </a:lnTo>
                          <a:lnTo>
                            <a:pt x="495512" y="1810577"/>
                          </a:lnTo>
                          <a:lnTo>
                            <a:pt x="486061" y="1810577"/>
                          </a:lnTo>
                          <a:lnTo>
                            <a:pt x="476610" y="1810577"/>
                          </a:lnTo>
                          <a:lnTo>
                            <a:pt x="467158" y="1810577"/>
                          </a:lnTo>
                          <a:lnTo>
                            <a:pt x="457707" y="1810577"/>
                          </a:lnTo>
                          <a:lnTo>
                            <a:pt x="448256" y="1810577"/>
                          </a:lnTo>
                          <a:lnTo>
                            <a:pt x="438805" y="1810577"/>
                          </a:lnTo>
                          <a:lnTo>
                            <a:pt x="429354" y="1810577"/>
                          </a:lnTo>
                          <a:lnTo>
                            <a:pt x="419902" y="1810577"/>
                          </a:lnTo>
                          <a:lnTo>
                            <a:pt x="410451" y="1810577"/>
                          </a:lnTo>
                          <a:lnTo>
                            <a:pt x="400100" y="1810577"/>
                          </a:lnTo>
                          <a:lnTo>
                            <a:pt x="400100" y="1800225"/>
                          </a:lnTo>
                          <a:lnTo>
                            <a:pt x="400100" y="1789874"/>
                          </a:lnTo>
                          <a:lnTo>
                            <a:pt x="400100" y="1779523"/>
                          </a:lnTo>
                          <a:lnTo>
                            <a:pt x="400100" y="1769171"/>
                          </a:lnTo>
                          <a:lnTo>
                            <a:pt x="400100" y="1758820"/>
                          </a:lnTo>
                          <a:lnTo>
                            <a:pt x="400100" y="1748019"/>
                          </a:lnTo>
                          <a:lnTo>
                            <a:pt x="400100" y="1737217"/>
                          </a:lnTo>
                          <a:lnTo>
                            <a:pt x="400100" y="1726416"/>
                          </a:lnTo>
                          <a:lnTo>
                            <a:pt x="400100" y="1715615"/>
                          </a:lnTo>
                          <a:lnTo>
                            <a:pt x="400100" y="1704813"/>
                          </a:lnTo>
                          <a:lnTo>
                            <a:pt x="400100" y="1693562"/>
                          </a:lnTo>
                          <a:lnTo>
                            <a:pt x="400100" y="1682311"/>
                          </a:lnTo>
                          <a:lnTo>
                            <a:pt x="400100" y="1671059"/>
                          </a:lnTo>
                          <a:lnTo>
                            <a:pt x="400100" y="1659808"/>
                          </a:lnTo>
                          <a:lnTo>
                            <a:pt x="400100" y="1648556"/>
                          </a:lnTo>
                          <a:lnTo>
                            <a:pt x="400100" y="1636855"/>
                          </a:lnTo>
                          <a:lnTo>
                            <a:pt x="400550" y="1625604"/>
                          </a:lnTo>
                          <a:lnTo>
                            <a:pt x="400100" y="1618403"/>
                          </a:lnTo>
                          <a:lnTo>
                            <a:pt x="390649" y="1616602"/>
                          </a:lnTo>
                          <a:lnTo>
                            <a:pt x="381198" y="1614802"/>
                          </a:lnTo>
                          <a:lnTo>
                            <a:pt x="371747" y="1613002"/>
                          </a:lnTo>
                          <a:lnTo>
                            <a:pt x="362295" y="1611202"/>
                          </a:lnTo>
                          <a:lnTo>
                            <a:pt x="352844" y="1609401"/>
                          </a:lnTo>
                          <a:lnTo>
                            <a:pt x="343393" y="1607601"/>
                          </a:lnTo>
                          <a:lnTo>
                            <a:pt x="333942" y="1605801"/>
                          </a:lnTo>
                          <a:lnTo>
                            <a:pt x="324491" y="1604001"/>
                          </a:lnTo>
                          <a:lnTo>
                            <a:pt x="315039" y="1602201"/>
                          </a:lnTo>
                          <a:lnTo>
                            <a:pt x="305588" y="1600400"/>
                          </a:lnTo>
                          <a:lnTo>
                            <a:pt x="296137" y="1598600"/>
                          </a:lnTo>
                          <a:lnTo>
                            <a:pt x="286686" y="1596800"/>
                          </a:lnTo>
                          <a:lnTo>
                            <a:pt x="277235" y="1595000"/>
                          </a:lnTo>
                          <a:lnTo>
                            <a:pt x="267783" y="1593199"/>
                          </a:lnTo>
                          <a:lnTo>
                            <a:pt x="258332" y="1591399"/>
                          </a:lnTo>
                          <a:lnTo>
                            <a:pt x="248881" y="1589599"/>
                          </a:lnTo>
                          <a:lnTo>
                            <a:pt x="243930" y="1587799"/>
                          </a:lnTo>
                          <a:lnTo>
                            <a:pt x="237630" y="1583298"/>
                          </a:lnTo>
                          <a:lnTo>
                            <a:pt x="231329" y="1575647"/>
                          </a:lnTo>
                          <a:lnTo>
                            <a:pt x="225028" y="1567996"/>
                          </a:lnTo>
                          <a:lnTo>
                            <a:pt x="218727" y="1560345"/>
                          </a:lnTo>
                          <a:lnTo>
                            <a:pt x="212426" y="1552694"/>
                          </a:lnTo>
                          <a:lnTo>
                            <a:pt x="202525" y="1552694"/>
                          </a:lnTo>
                          <a:lnTo>
                            <a:pt x="192624" y="1552694"/>
                          </a:lnTo>
                          <a:lnTo>
                            <a:pt x="182723" y="1552694"/>
                          </a:lnTo>
                          <a:lnTo>
                            <a:pt x="172822" y="1552694"/>
                          </a:lnTo>
                          <a:lnTo>
                            <a:pt x="167421" y="1548644"/>
                          </a:lnTo>
                          <a:lnTo>
                            <a:pt x="162020" y="1544593"/>
                          </a:lnTo>
                          <a:lnTo>
                            <a:pt x="156620" y="1540543"/>
                          </a:lnTo>
                          <a:lnTo>
                            <a:pt x="151219" y="1536492"/>
                          </a:lnTo>
                          <a:lnTo>
                            <a:pt x="145818" y="1532442"/>
                          </a:lnTo>
                          <a:lnTo>
                            <a:pt x="140417" y="1528391"/>
                          </a:lnTo>
                          <a:lnTo>
                            <a:pt x="135017" y="1524341"/>
                          </a:lnTo>
                          <a:lnTo>
                            <a:pt x="129616" y="1520290"/>
                          </a:lnTo>
                          <a:lnTo>
                            <a:pt x="124216" y="1516240"/>
                          </a:lnTo>
                          <a:lnTo>
                            <a:pt x="118815" y="1512189"/>
                          </a:lnTo>
                          <a:lnTo>
                            <a:pt x="113414" y="1508139"/>
                          </a:lnTo>
                          <a:lnTo>
                            <a:pt x="108014" y="1504088"/>
                          </a:lnTo>
                          <a:lnTo>
                            <a:pt x="102613" y="1500038"/>
                          </a:lnTo>
                          <a:lnTo>
                            <a:pt x="97212" y="1495987"/>
                          </a:lnTo>
                          <a:lnTo>
                            <a:pt x="91811" y="1491937"/>
                          </a:lnTo>
                          <a:lnTo>
                            <a:pt x="86411" y="1487886"/>
                          </a:lnTo>
                          <a:lnTo>
                            <a:pt x="81010" y="1483836"/>
                          </a:lnTo>
                          <a:lnTo>
                            <a:pt x="75609" y="1479785"/>
                          </a:lnTo>
                          <a:lnTo>
                            <a:pt x="70209" y="1475735"/>
                          </a:lnTo>
                          <a:lnTo>
                            <a:pt x="64808" y="1471684"/>
                          </a:lnTo>
                          <a:lnTo>
                            <a:pt x="59407" y="1467634"/>
                          </a:lnTo>
                          <a:lnTo>
                            <a:pt x="54007" y="1463583"/>
                          </a:lnTo>
                          <a:lnTo>
                            <a:pt x="48606" y="1459083"/>
                          </a:lnTo>
                          <a:lnTo>
                            <a:pt x="43205" y="1454582"/>
                          </a:lnTo>
                          <a:lnTo>
                            <a:pt x="37805" y="1450082"/>
                          </a:lnTo>
                          <a:lnTo>
                            <a:pt x="32404" y="1445581"/>
                          </a:lnTo>
                          <a:lnTo>
                            <a:pt x="27003" y="1441080"/>
                          </a:lnTo>
                          <a:lnTo>
                            <a:pt x="21603" y="1436580"/>
                          </a:lnTo>
                          <a:lnTo>
                            <a:pt x="16202" y="1432079"/>
                          </a:lnTo>
                          <a:lnTo>
                            <a:pt x="10801" y="1427579"/>
                          </a:lnTo>
                          <a:lnTo>
                            <a:pt x="5401" y="1423078"/>
                          </a:lnTo>
                          <a:lnTo>
                            <a:pt x="0" y="1418578"/>
                          </a:lnTo>
                          <a:lnTo>
                            <a:pt x="0" y="1406876"/>
                          </a:lnTo>
                          <a:lnTo>
                            <a:pt x="0" y="1395175"/>
                          </a:lnTo>
                          <a:lnTo>
                            <a:pt x="0" y="1383473"/>
                          </a:lnTo>
                          <a:lnTo>
                            <a:pt x="0" y="1371322"/>
                          </a:lnTo>
                          <a:lnTo>
                            <a:pt x="0" y="1359170"/>
                          </a:lnTo>
                          <a:lnTo>
                            <a:pt x="0" y="1347019"/>
                          </a:lnTo>
                          <a:lnTo>
                            <a:pt x="0" y="1327216"/>
                          </a:lnTo>
                          <a:lnTo>
                            <a:pt x="8101" y="1336217"/>
                          </a:lnTo>
                          <a:lnTo>
                            <a:pt x="11251" y="1338468"/>
                          </a:lnTo>
                          <a:lnTo>
                            <a:pt x="17552" y="1340718"/>
                          </a:lnTo>
                          <a:lnTo>
                            <a:pt x="38255" y="1345668"/>
                          </a:lnTo>
                          <a:lnTo>
                            <a:pt x="40955" y="1347019"/>
                          </a:lnTo>
                          <a:lnTo>
                            <a:pt x="46356" y="1352419"/>
                          </a:lnTo>
                          <a:lnTo>
                            <a:pt x="49956" y="1355570"/>
                          </a:lnTo>
                          <a:lnTo>
                            <a:pt x="54457" y="1358720"/>
                          </a:lnTo>
                          <a:lnTo>
                            <a:pt x="59857" y="1361420"/>
                          </a:lnTo>
                          <a:lnTo>
                            <a:pt x="70659" y="1365471"/>
                          </a:lnTo>
                          <a:lnTo>
                            <a:pt x="72459" y="1366821"/>
                          </a:lnTo>
                          <a:lnTo>
                            <a:pt x="74259" y="1367271"/>
                          </a:lnTo>
                          <a:lnTo>
                            <a:pt x="76510" y="1366821"/>
                          </a:lnTo>
                          <a:lnTo>
                            <a:pt x="86411" y="1369071"/>
                          </a:lnTo>
                          <a:lnTo>
                            <a:pt x="89111" y="1369071"/>
                          </a:lnTo>
                          <a:lnTo>
                            <a:pt x="90911" y="1369521"/>
                          </a:lnTo>
                          <a:lnTo>
                            <a:pt x="93162" y="1371322"/>
                          </a:lnTo>
                          <a:lnTo>
                            <a:pt x="96762" y="1371772"/>
                          </a:lnTo>
                          <a:lnTo>
                            <a:pt x="96762" y="1370872"/>
                          </a:lnTo>
                          <a:lnTo>
                            <a:pt x="92712" y="1365021"/>
                          </a:lnTo>
                          <a:lnTo>
                            <a:pt x="92712" y="1364121"/>
                          </a:lnTo>
                          <a:lnTo>
                            <a:pt x="94512" y="1364121"/>
                          </a:lnTo>
                          <a:lnTo>
                            <a:pt x="99462" y="1365021"/>
                          </a:lnTo>
                          <a:lnTo>
                            <a:pt x="100362" y="1363221"/>
                          </a:lnTo>
                          <a:lnTo>
                            <a:pt x="102163" y="1363221"/>
                          </a:lnTo>
                          <a:lnTo>
                            <a:pt x="105763" y="1364121"/>
                          </a:lnTo>
                          <a:lnTo>
                            <a:pt x="109814" y="1365921"/>
                          </a:lnTo>
                          <a:lnTo>
                            <a:pt x="114314" y="1368621"/>
                          </a:lnTo>
                          <a:lnTo>
                            <a:pt x="119715" y="1370872"/>
                          </a:lnTo>
                          <a:lnTo>
                            <a:pt x="127816" y="1377172"/>
                          </a:lnTo>
                          <a:lnTo>
                            <a:pt x="132317" y="1382123"/>
                          </a:lnTo>
                          <a:lnTo>
                            <a:pt x="136367" y="1388424"/>
                          </a:lnTo>
                          <a:lnTo>
                            <a:pt x="138617" y="1392924"/>
                          </a:lnTo>
                          <a:lnTo>
                            <a:pt x="139067" y="1395175"/>
                          </a:lnTo>
                          <a:lnTo>
                            <a:pt x="139968" y="1396525"/>
                          </a:lnTo>
                          <a:lnTo>
                            <a:pt x="141318" y="1396525"/>
                          </a:lnTo>
                          <a:lnTo>
                            <a:pt x="141768" y="1397425"/>
                          </a:lnTo>
                          <a:lnTo>
                            <a:pt x="140417" y="1402826"/>
                          </a:lnTo>
                          <a:lnTo>
                            <a:pt x="139517" y="1404176"/>
                          </a:lnTo>
                          <a:lnTo>
                            <a:pt x="138617" y="1405076"/>
                          </a:lnTo>
                          <a:lnTo>
                            <a:pt x="135017" y="1405976"/>
                          </a:lnTo>
                          <a:lnTo>
                            <a:pt x="124666" y="1404626"/>
                          </a:lnTo>
                          <a:lnTo>
                            <a:pt x="122865" y="1409126"/>
                          </a:lnTo>
                          <a:lnTo>
                            <a:pt x="117015" y="1412727"/>
                          </a:lnTo>
                          <a:lnTo>
                            <a:pt x="116114" y="1414077"/>
                          </a:lnTo>
                          <a:lnTo>
                            <a:pt x="115664" y="1415427"/>
                          </a:lnTo>
                          <a:lnTo>
                            <a:pt x="116114" y="1419028"/>
                          </a:lnTo>
                          <a:lnTo>
                            <a:pt x="115214" y="1420378"/>
                          </a:lnTo>
                          <a:lnTo>
                            <a:pt x="110264" y="1424428"/>
                          </a:lnTo>
                          <a:lnTo>
                            <a:pt x="110264" y="1425778"/>
                          </a:lnTo>
                          <a:lnTo>
                            <a:pt x="113414" y="1427579"/>
                          </a:lnTo>
                          <a:lnTo>
                            <a:pt x="116565" y="1430729"/>
                          </a:lnTo>
                          <a:lnTo>
                            <a:pt x="119265" y="1431629"/>
                          </a:lnTo>
                          <a:lnTo>
                            <a:pt x="122415" y="1431179"/>
                          </a:lnTo>
                          <a:lnTo>
                            <a:pt x="126466" y="1432079"/>
                          </a:lnTo>
                          <a:lnTo>
                            <a:pt x="131416" y="1434330"/>
                          </a:lnTo>
                          <a:lnTo>
                            <a:pt x="135017" y="1435680"/>
                          </a:lnTo>
                          <a:lnTo>
                            <a:pt x="136817" y="1435680"/>
                          </a:lnTo>
                          <a:lnTo>
                            <a:pt x="139517" y="1436130"/>
                          </a:lnTo>
                          <a:lnTo>
                            <a:pt x="142668" y="1437030"/>
                          </a:lnTo>
                          <a:lnTo>
                            <a:pt x="147168" y="1437480"/>
                          </a:lnTo>
                          <a:lnTo>
                            <a:pt x="157070" y="1437480"/>
                          </a:lnTo>
                          <a:lnTo>
                            <a:pt x="160220" y="1438380"/>
                          </a:lnTo>
                          <a:lnTo>
                            <a:pt x="164271" y="1438830"/>
                          </a:lnTo>
                          <a:lnTo>
                            <a:pt x="172371" y="1438830"/>
                          </a:lnTo>
                          <a:lnTo>
                            <a:pt x="173722" y="1438830"/>
                          </a:lnTo>
                          <a:lnTo>
                            <a:pt x="176422" y="1437030"/>
                          </a:lnTo>
                          <a:lnTo>
                            <a:pt x="178222" y="1436580"/>
                          </a:lnTo>
                          <a:lnTo>
                            <a:pt x="180923" y="1436580"/>
                          </a:lnTo>
                          <a:lnTo>
                            <a:pt x="189024" y="1435230"/>
                          </a:lnTo>
                          <a:lnTo>
                            <a:pt x="191724" y="1435230"/>
                          </a:lnTo>
                          <a:lnTo>
                            <a:pt x="194424" y="1434330"/>
                          </a:lnTo>
                          <a:lnTo>
                            <a:pt x="198025" y="1432079"/>
                          </a:lnTo>
                          <a:lnTo>
                            <a:pt x="200275" y="1431629"/>
                          </a:lnTo>
                          <a:lnTo>
                            <a:pt x="201175" y="1432979"/>
                          </a:lnTo>
                          <a:lnTo>
                            <a:pt x="202525" y="1433429"/>
                          </a:lnTo>
                          <a:lnTo>
                            <a:pt x="204776" y="1433429"/>
                          </a:lnTo>
                          <a:lnTo>
                            <a:pt x="208826" y="1431179"/>
                          </a:lnTo>
                          <a:lnTo>
                            <a:pt x="217827" y="1424428"/>
                          </a:lnTo>
                          <a:lnTo>
                            <a:pt x="220978" y="1424428"/>
                          </a:lnTo>
                          <a:lnTo>
                            <a:pt x="223228" y="1422178"/>
                          </a:lnTo>
                          <a:lnTo>
                            <a:pt x="223678" y="1422178"/>
                          </a:lnTo>
                          <a:lnTo>
                            <a:pt x="224128" y="1423078"/>
                          </a:lnTo>
                          <a:lnTo>
                            <a:pt x="226378" y="1428029"/>
                          </a:lnTo>
                          <a:lnTo>
                            <a:pt x="227278" y="1428929"/>
                          </a:lnTo>
                          <a:lnTo>
                            <a:pt x="228629" y="1429379"/>
                          </a:lnTo>
                          <a:lnTo>
                            <a:pt x="229979" y="1432079"/>
                          </a:lnTo>
                          <a:lnTo>
                            <a:pt x="231329" y="1436130"/>
                          </a:lnTo>
                          <a:lnTo>
                            <a:pt x="232679" y="1437030"/>
                          </a:lnTo>
                          <a:lnTo>
                            <a:pt x="241230" y="1437030"/>
                          </a:lnTo>
                          <a:lnTo>
                            <a:pt x="244380" y="1437930"/>
                          </a:lnTo>
                          <a:lnTo>
                            <a:pt x="245281" y="1438830"/>
                          </a:lnTo>
                          <a:lnTo>
                            <a:pt x="246181" y="1441980"/>
                          </a:lnTo>
                          <a:lnTo>
                            <a:pt x="246631" y="1447831"/>
                          </a:lnTo>
                          <a:lnTo>
                            <a:pt x="247081" y="1450082"/>
                          </a:lnTo>
                          <a:lnTo>
                            <a:pt x="248431" y="1453232"/>
                          </a:lnTo>
                          <a:lnTo>
                            <a:pt x="249331" y="1454132"/>
                          </a:lnTo>
                          <a:lnTo>
                            <a:pt x="250231" y="1453232"/>
                          </a:lnTo>
                          <a:lnTo>
                            <a:pt x="252482" y="1445131"/>
                          </a:lnTo>
                          <a:lnTo>
                            <a:pt x="253382" y="1443781"/>
                          </a:lnTo>
                          <a:lnTo>
                            <a:pt x="254732" y="1444231"/>
                          </a:lnTo>
                          <a:lnTo>
                            <a:pt x="255182" y="1444681"/>
                          </a:lnTo>
                          <a:lnTo>
                            <a:pt x="257432" y="1450532"/>
                          </a:lnTo>
                          <a:lnTo>
                            <a:pt x="260583" y="1455032"/>
                          </a:lnTo>
                          <a:lnTo>
                            <a:pt x="268234" y="1463133"/>
                          </a:lnTo>
                          <a:lnTo>
                            <a:pt x="269584" y="1466283"/>
                          </a:lnTo>
                          <a:lnTo>
                            <a:pt x="270034" y="1468534"/>
                          </a:lnTo>
                          <a:lnTo>
                            <a:pt x="269584" y="1470334"/>
                          </a:lnTo>
                          <a:lnTo>
                            <a:pt x="268234" y="1472134"/>
                          </a:lnTo>
                          <a:lnTo>
                            <a:pt x="265983" y="1473484"/>
                          </a:lnTo>
                          <a:lnTo>
                            <a:pt x="263283" y="1474385"/>
                          </a:lnTo>
                          <a:lnTo>
                            <a:pt x="260583" y="1473934"/>
                          </a:lnTo>
                          <a:lnTo>
                            <a:pt x="258332" y="1472134"/>
                          </a:lnTo>
                          <a:lnTo>
                            <a:pt x="257432" y="1472134"/>
                          </a:lnTo>
                          <a:lnTo>
                            <a:pt x="258332" y="1473934"/>
                          </a:lnTo>
                          <a:lnTo>
                            <a:pt x="263283" y="1480685"/>
                          </a:lnTo>
                          <a:lnTo>
                            <a:pt x="264633" y="1483386"/>
                          </a:lnTo>
                          <a:lnTo>
                            <a:pt x="265983" y="1485186"/>
                          </a:lnTo>
                          <a:lnTo>
                            <a:pt x="266883" y="1486086"/>
                          </a:lnTo>
                          <a:lnTo>
                            <a:pt x="267783" y="1487436"/>
                          </a:lnTo>
                          <a:lnTo>
                            <a:pt x="268684" y="1489236"/>
                          </a:lnTo>
                          <a:lnTo>
                            <a:pt x="272734" y="1494637"/>
                          </a:lnTo>
                          <a:lnTo>
                            <a:pt x="274084" y="1497337"/>
                          </a:lnTo>
                          <a:lnTo>
                            <a:pt x="279035" y="1504988"/>
                          </a:lnTo>
                          <a:lnTo>
                            <a:pt x="281285" y="1508139"/>
                          </a:lnTo>
                          <a:lnTo>
                            <a:pt x="283085" y="1509939"/>
                          </a:lnTo>
                          <a:lnTo>
                            <a:pt x="283986" y="1509939"/>
                          </a:lnTo>
                          <a:lnTo>
                            <a:pt x="283535" y="1508589"/>
                          </a:lnTo>
                          <a:lnTo>
                            <a:pt x="277235" y="1498238"/>
                          </a:lnTo>
                          <a:lnTo>
                            <a:pt x="274084" y="1491937"/>
                          </a:lnTo>
                          <a:lnTo>
                            <a:pt x="273634" y="1490587"/>
                          </a:lnTo>
                          <a:lnTo>
                            <a:pt x="273634" y="1488336"/>
                          </a:lnTo>
                          <a:lnTo>
                            <a:pt x="273634" y="1480235"/>
                          </a:lnTo>
                          <a:lnTo>
                            <a:pt x="274084" y="1478885"/>
                          </a:lnTo>
                          <a:lnTo>
                            <a:pt x="276335" y="1477985"/>
                          </a:lnTo>
                          <a:lnTo>
                            <a:pt x="279035" y="1481586"/>
                          </a:lnTo>
                          <a:lnTo>
                            <a:pt x="279935" y="1482035"/>
                          </a:lnTo>
                          <a:lnTo>
                            <a:pt x="280835" y="1482035"/>
                          </a:lnTo>
                          <a:lnTo>
                            <a:pt x="281285" y="1481135"/>
                          </a:lnTo>
                          <a:lnTo>
                            <a:pt x="282635" y="1482035"/>
                          </a:lnTo>
                          <a:lnTo>
                            <a:pt x="285336" y="1484736"/>
                          </a:lnTo>
                          <a:lnTo>
                            <a:pt x="286236" y="1484736"/>
                          </a:lnTo>
                          <a:lnTo>
                            <a:pt x="283986" y="1479785"/>
                          </a:lnTo>
                          <a:lnTo>
                            <a:pt x="282635" y="1477085"/>
                          </a:lnTo>
                          <a:lnTo>
                            <a:pt x="282185" y="1475285"/>
                          </a:lnTo>
                          <a:lnTo>
                            <a:pt x="283535" y="1472584"/>
                          </a:lnTo>
                          <a:lnTo>
                            <a:pt x="282635" y="1471234"/>
                          </a:lnTo>
                          <a:lnTo>
                            <a:pt x="279035" y="1467184"/>
                          </a:lnTo>
                          <a:lnTo>
                            <a:pt x="277235" y="1463133"/>
                          </a:lnTo>
                          <a:lnTo>
                            <a:pt x="275434" y="1456832"/>
                          </a:lnTo>
                          <a:lnTo>
                            <a:pt x="275434" y="1454582"/>
                          </a:lnTo>
                          <a:lnTo>
                            <a:pt x="275884" y="1451882"/>
                          </a:lnTo>
                          <a:lnTo>
                            <a:pt x="275434" y="1449631"/>
                          </a:lnTo>
                          <a:lnTo>
                            <a:pt x="273184" y="1445581"/>
                          </a:lnTo>
                          <a:lnTo>
                            <a:pt x="270934" y="1442881"/>
                          </a:lnTo>
                          <a:lnTo>
                            <a:pt x="269134" y="1439280"/>
                          </a:lnTo>
                          <a:lnTo>
                            <a:pt x="268684" y="1437480"/>
                          </a:lnTo>
                          <a:lnTo>
                            <a:pt x="269134" y="1432529"/>
                          </a:lnTo>
                          <a:lnTo>
                            <a:pt x="270484" y="1430279"/>
                          </a:lnTo>
                          <a:lnTo>
                            <a:pt x="273184" y="1427579"/>
                          </a:lnTo>
                          <a:lnTo>
                            <a:pt x="274084" y="1424428"/>
                          </a:lnTo>
                          <a:lnTo>
                            <a:pt x="272734" y="1421278"/>
                          </a:lnTo>
                          <a:lnTo>
                            <a:pt x="272284" y="1419928"/>
                          </a:lnTo>
                          <a:lnTo>
                            <a:pt x="273184" y="1420378"/>
                          </a:lnTo>
                          <a:lnTo>
                            <a:pt x="278585" y="1419028"/>
                          </a:lnTo>
                          <a:lnTo>
                            <a:pt x="279935" y="1419478"/>
                          </a:lnTo>
                          <a:lnTo>
                            <a:pt x="281735" y="1419028"/>
                          </a:lnTo>
                          <a:lnTo>
                            <a:pt x="284435" y="1417227"/>
                          </a:lnTo>
                          <a:lnTo>
                            <a:pt x="286686" y="1416327"/>
                          </a:lnTo>
                          <a:lnTo>
                            <a:pt x="289386" y="1416327"/>
                          </a:lnTo>
                          <a:lnTo>
                            <a:pt x="290736" y="1415877"/>
                          </a:lnTo>
                          <a:lnTo>
                            <a:pt x="292537" y="1414977"/>
                          </a:lnTo>
                          <a:lnTo>
                            <a:pt x="293437" y="1414077"/>
                          </a:lnTo>
                          <a:lnTo>
                            <a:pt x="295237" y="1410477"/>
                          </a:lnTo>
                          <a:lnTo>
                            <a:pt x="296137" y="1410026"/>
                          </a:lnTo>
                          <a:lnTo>
                            <a:pt x="298837" y="1410477"/>
                          </a:lnTo>
                          <a:lnTo>
                            <a:pt x="300638" y="1411377"/>
                          </a:lnTo>
                          <a:lnTo>
                            <a:pt x="301538" y="1410927"/>
                          </a:lnTo>
                          <a:lnTo>
                            <a:pt x="301538" y="1405976"/>
                          </a:lnTo>
                          <a:lnTo>
                            <a:pt x="301988" y="1404176"/>
                          </a:lnTo>
                          <a:lnTo>
                            <a:pt x="304688" y="1400575"/>
                          </a:lnTo>
                          <a:lnTo>
                            <a:pt x="307838" y="1400125"/>
                          </a:lnTo>
                          <a:lnTo>
                            <a:pt x="309639" y="1399225"/>
                          </a:lnTo>
                          <a:lnTo>
                            <a:pt x="311889" y="1396975"/>
                          </a:lnTo>
                          <a:lnTo>
                            <a:pt x="313689" y="1395175"/>
                          </a:lnTo>
                          <a:lnTo>
                            <a:pt x="315489" y="1392024"/>
                          </a:lnTo>
                          <a:lnTo>
                            <a:pt x="315939" y="1388424"/>
                          </a:lnTo>
                          <a:lnTo>
                            <a:pt x="315489" y="1387524"/>
                          </a:lnTo>
                          <a:lnTo>
                            <a:pt x="312339" y="1386174"/>
                          </a:lnTo>
                          <a:lnTo>
                            <a:pt x="310539" y="1387074"/>
                          </a:lnTo>
                          <a:lnTo>
                            <a:pt x="306038" y="1389774"/>
                          </a:lnTo>
                          <a:lnTo>
                            <a:pt x="301538" y="1393374"/>
                          </a:lnTo>
                          <a:lnTo>
                            <a:pt x="299738" y="1396525"/>
                          </a:lnTo>
                          <a:lnTo>
                            <a:pt x="299287" y="1400575"/>
                          </a:lnTo>
                          <a:lnTo>
                            <a:pt x="298387" y="1402376"/>
                          </a:lnTo>
                          <a:lnTo>
                            <a:pt x="294787" y="1400575"/>
                          </a:lnTo>
                          <a:lnTo>
                            <a:pt x="293437" y="1400575"/>
                          </a:lnTo>
                          <a:lnTo>
                            <a:pt x="291636" y="1401475"/>
                          </a:lnTo>
                          <a:lnTo>
                            <a:pt x="289386" y="1403276"/>
                          </a:lnTo>
                          <a:lnTo>
                            <a:pt x="287136" y="1405526"/>
                          </a:lnTo>
                          <a:lnTo>
                            <a:pt x="283986" y="1405976"/>
                          </a:lnTo>
                          <a:lnTo>
                            <a:pt x="279935" y="1404626"/>
                          </a:lnTo>
                          <a:lnTo>
                            <a:pt x="277235" y="1404176"/>
                          </a:lnTo>
                          <a:lnTo>
                            <a:pt x="274534" y="1406876"/>
                          </a:lnTo>
                          <a:lnTo>
                            <a:pt x="274534" y="1408676"/>
                          </a:lnTo>
                          <a:lnTo>
                            <a:pt x="275884" y="1411377"/>
                          </a:lnTo>
                          <a:lnTo>
                            <a:pt x="274534" y="1413177"/>
                          </a:lnTo>
                          <a:lnTo>
                            <a:pt x="268234" y="1413627"/>
                          </a:lnTo>
                          <a:lnTo>
                            <a:pt x="266433" y="1413177"/>
                          </a:lnTo>
                          <a:lnTo>
                            <a:pt x="263283" y="1414077"/>
                          </a:lnTo>
                          <a:lnTo>
                            <a:pt x="261933" y="1413627"/>
                          </a:lnTo>
                          <a:lnTo>
                            <a:pt x="261033" y="1412277"/>
                          </a:lnTo>
                          <a:lnTo>
                            <a:pt x="254282" y="1406426"/>
                          </a:lnTo>
                          <a:lnTo>
                            <a:pt x="253832" y="1405076"/>
                          </a:lnTo>
                          <a:lnTo>
                            <a:pt x="255632" y="1400575"/>
                          </a:lnTo>
                          <a:lnTo>
                            <a:pt x="261933" y="1387974"/>
                          </a:lnTo>
                          <a:lnTo>
                            <a:pt x="262833" y="1387074"/>
                          </a:lnTo>
                          <a:lnTo>
                            <a:pt x="274534" y="1384823"/>
                          </a:lnTo>
                          <a:lnTo>
                            <a:pt x="281735" y="1382573"/>
                          </a:lnTo>
                          <a:lnTo>
                            <a:pt x="294787" y="1375372"/>
                          </a:lnTo>
                          <a:lnTo>
                            <a:pt x="297487" y="1374922"/>
                          </a:lnTo>
                          <a:lnTo>
                            <a:pt x="305588" y="1370422"/>
                          </a:lnTo>
                          <a:lnTo>
                            <a:pt x="309189" y="1369071"/>
                          </a:lnTo>
                          <a:lnTo>
                            <a:pt x="312339" y="1369971"/>
                          </a:lnTo>
                          <a:lnTo>
                            <a:pt x="316840" y="1372222"/>
                          </a:lnTo>
                          <a:lnTo>
                            <a:pt x="319090" y="1374472"/>
                          </a:lnTo>
                          <a:lnTo>
                            <a:pt x="320890" y="1377172"/>
                          </a:lnTo>
                          <a:lnTo>
                            <a:pt x="322240" y="1380773"/>
                          </a:lnTo>
                          <a:lnTo>
                            <a:pt x="324041" y="1388874"/>
                          </a:lnTo>
                          <a:lnTo>
                            <a:pt x="324491" y="1395625"/>
                          </a:lnTo>
                          <a:lnTo>
                            <a:pt x="325391" y="1398325"/>
                          </a:lnTo>
                          <a:lnTo>
                            <a:pt x="329441" y="1403276"/>
                          </a:lnTo>
                          <a:lnTo>
                            <a:pt x="331241" y="1405076"/>
                          </a:lnTo>
                          <a:lnTo>
                            <a:pt x="332592" y="1405526"/>
                          </a:lnTo>
                          <a:lnTo>
                            <a:pt x="333492" y="1404626"/>
                          </a:lnTo>
                          <a:lnTo>
                            <a:pt x="334392" y="1404626"/>
                          </a:lnTo>
                          <a:lnTo>
                            <a:pt x="334842" y="1405076"/>
                          </a:lnTo>
                          <a:lnTo>
                            <a:pt x="335292" y="1408226"/>
                          </a:lnTo>
                          <a:lnTo>
                            <a:pt x="336192" y="1408676"/>
                          </a:lnTo>
                          <a:lnTo>
                            <a:pt x="338442" y="1408226"/>
                          </a:lnTo>
                          <a:lnTo>
                            <a:pt x="340693" y="1409576"/>
                          </a:lnTo>
                          <a:lnTo>
                            <a:pt x="341143" y="1410477"/>
                          </a:lnTo>
                          <a:lnTo>
                            <a:pt x="340693" y="1414077"/>
                          </a:lnTo>
                          <a:lnTo>
                            <a:pt x="341593" y="1415427"/>
                          </a:lnTo>
                          <a:lnTo>
                            <a:pt x="344743" y="1418578"/>
                          </a:lnTo>
                          <a:lnTo>
                            <a:pt x="347443" y="1419928"/>
                          </a:lnTo>
                          <a:lnTo>
                            <a:pt x="350594" y="1420378"/>
                          </a:lnTo>
                          <a:lnTo>
                            <a:pt x="356895" y="1419928"/>
                          </a:lnTo>
                          <a:lnTo>
                            <a:pt x="362295" y="1418128"/>
                          </a:lnTo>
                          <a:lnTo>
                            <a:pt x="366346" y="1415427"/>
                          </a:lnTo>
                          <a:lnTo>
                            <a:pt x="369496" y="1418128"/>
                          </a:lnTo>
                          <a:lnTo>
                            <a:pt x="375797" y="1425328"/>
                          </a:lnTo>
                          <a:lnTo>
                            <a:pt x="379847" y="1430279"/>
                          </a:lnTo>
                          <a:lnTo>
                            <a:pt x="382998" y="1432529"/>
                          </a:lnTo>
                          <a:lnTo>
                            <a:pt x="389299" y="1435230"/>
                          </a:lnTo>
                          <a:lnTo>
                            <a:pt x="390649" y="1436580"/>
                          </a:lnTo>
                          <a:lnTo>
                            <a:pt x="392899" y="1436580"/>
                          </a:lnTo>
                          <a:lnTo>
                            <a:pt x="396050" y="1435230"/>
                          </a:lnTo>
                          <a:lnTo>
                            <a:pt x="399650" y="1435680"/>
                          </a:lnTo>
                          <a:lnTo>
                            <a:pt x="403700" y="1437930"/>
                          </a:lnTo>
                          <a:lnTo>
                            <a:pt x="406401" y="1438830"/>
                          </a:lnTo>
                          <a:lnTo>
                            <a:pt x="416302" y="1434780"/>
                          </a:lnTo>
                          <a:lnTo>
                            <a:pt x="417652" y="1434780"/>
                          </a:lnTo>
                          <a:lnTo>
                            <a:pt x="421253" y="1432979"/>
                          </a:lnTo>
                          <a:lnTo>
                            <a:pt x="423503" y="1432529"/>
                          </a:lnTo>
                          <a:lnTo>
                            <a:pt x="426203" y="1432529"/>
                          </a:lnTo>
                          <a:lnTo>
                            <a:pt x="428453" y="1432079"/>
                          </a:lnTo>
                          <a:lnTo>
                            <a:pt x="429804" y="1430729"/>
                          </a:lnTo>
                          <a:lnTo>
                            <a:pt x="434754" y="1430729"/>
                          </a:lnTo>
                          <a:lnTo>
                            <a:pt x="444205" y="1432079"/>
                          </a:lnTo>
                          <a:lnTo>
                            <a:pt x="450506" y="1433880"/>
                          </a:lnTo>
                          <a:lnTo>
                            <a:pt x="454107" y="1436130"/>
                          </a:lnTo>
                          <a:lnTo>
                            <a:pt x="457257" y="1437480"/>
                          </a:lnTo>
                          <a:lnTo>
                            <a:pt x="459507" y="1437930"/>
                          </a:lnTo>
                          <a:lnTo>
                            <a:pt x="461758" y="1437480"/>
                          </a:lnTo>
                          <a:lnTo>
                            <a:pt x="464008" y="1436580"/>
                          </a:lnTo>
                          <a:lnTo>
                            <a:pt x="466258" y="1434780"/>
                          </a:lnTo>
                          <a:lnTo>
                            <a:pt x="471659" y="1433880"/>
                          </a:lnTo>
                          <a:lnTo>
                            <a:pt x="472559" y="1433429"/>
                          </a:lnTo>
                          <a:lnTo>
                            <a:pt x="472559" y="1432529"/>
                          </a:lnTo>
                          <a:lnTo>
                            <a:pt x="471659" y="1430729"/>
                          </a:lnTo>
                          <a:lnTo>
                            <a:pt x="468509" y="1427579"/>
                          </a:lnTo>
                          <a:lnTo>
                            <a:pt x="466258" y="1424428"/>
                          </a:lnTo>
                          <a:lnTo>
                            <a:pt x="465808" y="1422628"/>
                          </a:lnTo>
                          <a:lnTo>
                            <a:pt x="465808" y="1420378"/>
                          </a:lnTo>
                          <a:lnTo>
                            <a:pt x="466258" y="1419028"/>
                          </a:lnTo>
                          <a:lnTo>
                            <a:pt x="467608" y="1418578"/>
                          </a:lnTo>
                          <a:lnTo>
                            <a:pt x="469409" y="1419928"/>
                          </a:lnTo>
                          <a:lnTo>
                            <a:pt x="472109" y="1423078"/>
                          </a:lnTo>
                          <a:lnTo>
                            <a:pt x="479760" y="1435230"/>
                          </a:lnTo>
                          <a:lnTo>
                            <a:pt x="481560" y="1437030"/>
                          </a:lnTo>
                          <a:lnTo>
                            <a:pt x="482460" y="1438380"/>
                          </a:lnTo>
                          <a:lnTo>
                            <a:pt x="489211" y="1442881"/>
                          </a:lnTo>
                          <a:lnTo>
                            <a:pt x="492362" y="1443781"/>
                          </a:lnTo>
                          <a:lnTo>
                            <a:pt x="496412" y="1441080"/>
                          </a:lnTo>
                          <a:lnTo>
                            <a:pt x="498212" y="1439280"/>
                          </a:lnTo>
                          <a:lnTo>
                            <a:pt x="499112" y="1437480"/>
                          </a:lnTo>
                          <a:lnTo>
                            <a:pt x="499112" y="1435680"/>
                          </a:lnTo>
                          <a:lnTo>
                            <a:pt x="499562" y="1433429"/>
                          </a:lnTo>
                          <a:lnTo>
                            <a:pt x="499112" y="1432079"/>
                          </a:lnTo>
                          <a:lnTo>
                            <a:pt x="498212" y="1430279"/>
                          </a:lnTo>
                          <a:lnTo>
                            <a:pt x="499112" y="1426679"/>
                          </a:lnTo>
                          <a:lnTo>
                            <a:pt x="494612" y="1423528"/>
                          </a:lnTo>
                          <a:lnTo>
                            <a:pt x="490561" y="1422628"/>
                          </a:lnTo>
                          <a:lnTo>
                            <a:pt x="486961" y="1423978"/>
                          </a:lnTo>
                          <a:lnTo>
                            <a:pt x="482910" y="1426679"/>
                          </a:lnTo>
                          <a:lnTo>
                            <a:pt x="481110" y="1425328"/>
                          </a:lnTo>
                          <a:lnTo>
                            <a:pt x="475709" y="1417227"/>
                          </a:lnTo>
                          <a:lnTo>
                            <a:pt x="474359" y="1414077"/>
                          </a:lnTo>
                          <a:lnTo>
                            <a:pt x="474359" y="1413177"/>
                          </a:lnTo>
                          <a:lnTo>
                            <a:pt x="476610" y="1414077"/>
                          </a:lnTo>
                          <a:lnTo>
                            <a:pt x="476610" y="1413177"/>
                          </a:lnTo>
                          <a:lnTo>
                            <a:pt x="475259" y="1409126"/>
                          </a:lnTo>
                          <a:lnTo>
                            <a:pt x="474359" y="1407776"/>
                          </a:lnTo>
                          <a:lnTo>
                            <a:pt x="471209" y="1401475"/>
                          </a:lnTo>
                          <a:lnTo>
                            <a:pt x="470759" y="1399675"/>
                          </a:lnTo>
                          <a:lnTo>
                            <a:pt x="472559" y="1399225"/>
                          </a:lnTo>
                          <a:lnTo>
                            <a:pt x="473459" y="1398325"/>
                          </a:lnTo>
                          <a:lnTo>
                            <a:pt x="474809" y="1398325"/>
                          </a:lnTo>
                          <a:lnTo>
                            <a:pt x="480210" y="1401925"/>
                          </a:lnTo>
                          <a:lnTo>
                            <a:pt x="482910" y="1400125"/>
                          </a:lnTo>
                          <a:lnTo>
                            <a:pt x="489211" y="1397875"/>
                          </a:lnTo>
                          <a:lnTo>
                            <a:pt x="486511" y="1394274"/>
                          </a:lnTo>
                          <a:lnTo>
                            <a:pt x="486061" y="1390674"/>
                          </a:lnTo>
                          <a:lnTo>
                            <a:pt x="486511" y="1389774"/>
                          </a:lnTo>
                          <a:lnTo>
                            <a:pt x="488761" y="1389324"/>
                          </a:lnTo>
                          <a:lnTo>
                            <a:pt x="492812" y="1392474"/>
                          </a:lnTo>
                          <a:lnTo>
                            <a:pt x="494612" y="1392924"/>
                          </a:lnTo>
                          <a:lnTo>
                            <a:pt x="495962" y="1391574"/>
                          </a:lnTo>
                          <a:lnTo>
                            <a:pt x="497312" y="1391574"/>
                          </a:lnTo>
                          <a:lnTo>
                            <a:pt x="499112" y="1392474"/>
                          </a:lnTo>
                          <a:lnTo>
                            <a:pt x="500462" y="1393825"/>
                          </a:lnTo>
                          <a:lnTo>
                            <a:pt x="503163" y="1398325"/>
                          </a:lnTo>
                          <a:lnTo>
                            <a:pt x="504513" y="1401025"/>
                          </a:lnTo>
                          <a:lnTo>
                            <a:pt x="505863" y="1405076"/>
                          </a:lnTo>
                          <a:lnTo>
                            <a:pt x="506313" y="1405526"/>
                          </a:lnTo>
                          <a:lnTo>
                            <a:pt x="513514" y="1405976"/>
                          </a:lnTo>
                          <a:lnTo>
                            <a:pt x="517565" y="1402376"/>
                          </a:lnTo>
                          <a:lnTo>
                            <a:pt x="517565" y="1403726"/>
                          </a:lnTo>
                          <a:lnTo>
                            <a:pt x="516665" y="1406426"/>
                          </a:lnTo>
                          <a:lnTo>
                            <a:pt x="511264" y="1416777"/>
                          </a:lnTo>
                          <a:lnTo>
                            <a:pt x="511264" y="1418128"/>
                          </a:lnTo>
                          <a:lnTo>
                            <a:pt x="513964" y="1417677"/>
                          </a:lnTo>
                          <a:lnTo>
                            <a:pt x="515314" y="1416777"/>
                          </a:lnTo>
                          <a:lnTo>
                            <a:pt x="516214" y="1415427"/>
                          </a:lnTo>
                          <a:lnTo>
                            <a:pt x="517115" y="1412727"/>
                          </a:lnTo>
                          <a:lnTo>
                            <a:pt x="517565" y="1411827"/>
                          </a:lnTo>
                          <a:lnTo>
                            <a:pt x="525216" y="1406876"/>
                          </a:lnTo>
                          <a:lnTo>
                            <a:pt x="527466" y="1405976"/>
                          </a:lnTo>
                          <a:lnTo>
                            <a:pt x="526116" y="1411377"/>
                          </a:lnTo>
                          <a:lnTo>
                            <a:pt x="523415" y="1429829"/>
                          </a:lnTo>
                          <a:lnTo>
                            <a:pt x="522965" y="1436130"/>
                          </a:lnTo>
                          <a:lnTo>
                            <a:pt x="522515" y="1438380"/>
                          </a:lnTo>
                          <a:lnTo>
                            <a:pt x="519365" y="1445581"/>
                          </a:lnTo>
                          <a:lnTo>
                            <a:pt x="519365" y="1447831"/>
                          </a:lnTo>
                          <a:lnTo>
                            <a:pt x="522515" y="1453682"/>
                          </a:lnTo>
                          <a:lnTo>
                            <a:pt x="522965" y="1455482"/>
                          </a:lnTo>
                          <a:lnTo>
                            <a:pt x="523415" y="1460433"/>
                          </a:lnTo>
                          <a:lnTo>
                            <a:pt x="523865" y="1461333"/>
                          </a:lnTo>
                          <a:lnTo>
                            <a:pt x="526566" y="1461333"/>
                          </a:lnTo>
                          <a:lnTo>
                            <a:pt x="529266" y="1459983"/>
                          </a:lnTo>
                          <a:lnTo>
                            <a:pt x="532867" y="1459083"/>
                          </a:lnTo>
                          <a:lnTo>
                            <a:pt x="533317" y="1459983"/>
                          </a:lnTo>
                          <a:lnTo>
                            <a:pt x="531516" y="1465834"/>
                          </a:lnTo>
                          <a:lnTo>
                            <a:pt x="531516" y="1466283"/>
                          </a:lnTo>
                          <a:lnTo>
                            <a:pt x="534667" y="1464933"/>
                          </a:lnTo>
                          <a:lnTo>
                            <a:pt x="536017" y="1464933"/>
                          </a:lnTo>
                          <a:lnTo>
                            <a:pt x="536467" y="1465383"/>
                          </a:lnTo>
                          <a:lnTo>
                            <a:pt x="538717" y="1468534"/>
                          </a:lnTo>
                          <a:lnTo>
                            <a:pt x="539167" y="1470784"/>
                          </a:lnTo>
                          <a:lnTo>
                            <a:pt x="539167" y="1473934"/>
                          </a:lnTo>
                          <a:lnTo>
                            <a:pt x="539617" y="1476185"/>
                          </a:lnTo>
                          <a:lnTo>
                            <a:pt x="538717" y="1477535"/>
                          </a:lnTo>
                          <a:lnTo>
                            <a:pt x="537817" y="1477985"/>
                          </a:lnTo>
                          <a:lnTo>
                            <a:pt x="536467" y="1478435"/>
                          </a:lnTo>
                          <a:lnTo>
                            <a:pt x="535567" y="1478435"/>
                          </a:lnTo>
                          <a:lnTo>
                            <a:pt x="532417" y="1478885"/>
                          </a:lnTo>
                          <a:lnTo>
                            <a:pt x="530616" y="1478435"/>
                          </a:lnTo>
                          <a:lnTo>
                            <a:pt x="528816" y="1476635"/>
                          </a:lnTo>
                          <a:lnTo>
                            <a:pt x="527466" y="1476185"/>
                          </a:lnTo>
                          <a:lnTo>
                            <a:pt x="525666" y="1477535"/>
                          </a:lnTo>
                          <a:lnTo>
                            <a:pt x="522965" y="1477085"/>
                          </a:lnTo>
                          <a:lnTo>
                            <a:pt x="520265" y="1473034"/>
                          </a:lnTo>
                          <a:lnTo>
                            <a:pt x="518915" y="1473484"/>
                          </a:lnTo>
                          <a:lnTo>
                            <a:pt x="518465" y="1473934"/>
                          </a:lnTo>
                          <a:lnTo>
                            <a:pt x="518465" y="1474835"/>
                          </a:lnTo>
                          <a:lnTo>
                            <a:pt x="519815" y="1477535"/>
                          </a:lnTo>
                          <a:lnTo>
                            <a:pt x="529716" y="1491037"/>
                          </a:lnTo>
                          <a:lnTo>
                            <a:pt x="531066" y="1493737"/>
                          </a:lnTo>
                          <a:lnTo>
                            <a:pt x="531516" y="1497787"/>
                          </a:lnTo>
                          <a:lnTo>
                            <a:pt x="531516" y="1497787"/>
                          </a:lnTo>
                          <a:lnTo>
                            <a:pt x="532417" y="1493737"/>
                          </a:lnTo>
                          <a:lnTo>
                            <a:pt x="531966" y="1491937"/>
                          </a:lnTo>
                          <a:lnTo>
                            <a:pt x="526566" y="1484286"/>
                          </a:lnTo>
                          <a:lnTo>
                            <a:pt x="526116" y="1480685"/>
                          </a:lnTo>
                          <a:lnTo>
                            <a:pt x="526116" y="1479785"/>
                          </a:lnTo>
                          <a:lnTo>
                            <a:pt x="527466" y="1478885"/>
                          </a:lnTo>
                          <a:lnTo>
                            <a:pt x="534667" y="1480685"/>
                          </a:lnTo>
                          <a:lnTo>
                            <a:pt x="537367" y="1480235"/>
                          </a:lnTo>
                          <a:lnTo>
                            <a:pt x="539167" y="1478885"/>
                          </a:lnTo>
                          <a:lnTo>
                            <a:pt x="540068" y="1477085"/>
                          </a:lnTo>
                          <a:lnTo>
                            <a:pt x="540968" y="1467634"/>
                          </a:lnTo>
                          <a:lnTo>
                            <a:pt x="542318" y="1461783"/>
                          </a:lnTo>
                          <a:lnTo>
                            <a:pt x="541418" y="1456382"/>
                          </a:lnTo>
                          <a:lnTo>
                            <a:pt x="539617" y="1447831"/>
                          </a:lnTo>
                          <a:lnTo>
                            <a:pt x="538267" y="1442881"/>
                          </a:lnTo>
                          <a:lnTo>
                            <a:pt x="534667" y="1437480"/>
                          </a:lnTo>
                          <a:lnTo>
                            <a:pt x="534217" y="1435680"/>
                          </a:lnTo>
                          <a:lnTo>
                            <a:pt x="538267" y="1419928"/>
                          </a:lnTo>
                          <a:lnTo>
                            <a:pt x="539167" y="1418578"/>
                          </a:lnTo>
                          <a:lnTo>
                            <a:pt x="540068" y="1418128"/>
                          </a:lnTo>
                          <a:lnTo>
                            <a:pt x="543218" y="1417677"/>
                          </a:lnTo>
                          <a:lnTo>
                            <a:pt x="545468" y="1416327"/>
                          </a:lnTo>
                          <a:lnTo>
                            <a:pt x="549069" y="1418128"/>
                          </a:lnTo>
                          <a:lnTo>
                            <a:pt x="550869" y="1418578"/>
                          </a:lnTo>
                          <a:lnTo>
                            <a:pt x="553569" y="1416777"/>
                          </a:lnTo>
                          <a:lnTo>
                            <a:pt x="558970" y="1410026"/>
                          </a:lnTo>
                          <a:lnTo>
                            <a:pt x="561220" y="1407776"/>
                          </a:lnTo>
                          <a:lnTo>
                            <a:pt x="563920" y="1403726"/>
                          </a:lnTo>
                          <a:lnTo>
                            <a:pt x="567071" y="1397875"/>
                          </a:lnTo>
                          <a:lnTo>
                            <a:pt x="570671" y="1393374"/>
                          </a:lnTo>
                          <a:lnTo>
                            <a:pt x="576522" y="1389324"/>
                          </a:lnTo>
                          <a:lnTo>
                            <a:pt x="580123" y="1386174"/>
                          </a:lnTo>
                          <a:lnTo>
                            <a:pt x="581023" y="1384823"/>
                          </a:lnTo>
                          <a:lnTo>
                            <a:pt x="577872" y="1384373"/>
                          </a:lnTo>
                          <a:lnTo>
                            <a:pt x="576972" y="1383923"/>
                          </a:lnTo>
                          <a:lnTo>
                            <a:pt x="576072" y="1380773"/>
                          </a:lnTo>
                          <a:lnTo>
                            <a:pt x="576522" y="1374922"/>
                          </a:lnTo>
                          <a:lnTo>
                            <a:pt x="576522" y="1371772"/>
                          </a:lnTo>
                          <a:lnTo>
                            <a:pt x="576072" y="1369071"/>
                          </a:lnTo>
                          <a:lnTo>
                            <a:pt x="575172" y="1366371"/>
                          </a:lnTo>
                          <a:lnTo>
                            <a:pt x="574272" y="1364121"/>
                          </a:lnTo>
                          <a:lnTo>
                            <a:pt x="573372" y="1362771"/>
                          </a:lnTo>
                          <a:lnTo>
                            <a:pt x="572471" y="1362321"/>
                          </a:lnTo>
                          <a:lnTo>
                            <a:pt x="572022" y="1362321"/>
                          </a:lnTo>
                          <a:lnTo>
                            <a:pt x="571571" y="1363221"/>
                          </a:lnTo>
                          <a:lnTo>
                            <a:pt x="570671" y="1368621"/>
                          </a:lnTo>
                          <a:lnTo>
                            <a:pt x="569321" y="1372672"/>
                          </a:lnTo>
                          <a:lnTo>
                            <a:pt x="567971" y="1374922"/>
                          </a:lnTo>
                          <a:lnTo>
                            <a:pt x="564821" y="1376272"/>
                          </a:lnTo>
                          <a:lnTo>
                            <a:pt x="559420" y="1377172"/>
                          </a:lnTo>
                          <a:lnTo>
                            <a:pt x="557170" y="1375372"/>
                          </a:lnTo>
                          <a:lnTo>
                            <a:pt x="556720" y="1373572"/>
                          </a:lnTo>
                          <a:lnTo>
                            <a:pt x="557620" y="1367271"/>
                          </a:lnTo>
                          <a:lnTo>
                            <a:pt x="559420" y="1364571"/>
                          </a:lnTo>
                          <a:lnTo>
                            <a:pt x="564371" y="1359170"/>
                          </a:lnTo>
                          <a:lnTo>
                            <a:pt x="567521" y="1354670"/>
                          </a:lnTo>
                          <a:lnTo>
                            <a:pt x="567521" y="1353769"/>
                          </a:lnTo>
                          <a:lnTo>
                            <a:pt x="564371" y="1353769"/>
                          </a:lnTo>
                          <a:lnTo>
                            <a:pt x="563470" y="1352869"/>
                          </a:lnTo>
                          <a:lnTo>
                            <a:pt x="563020" y="1347469"/>
                          </a:lnTo>
                          <a:lnTo>
                            <a:pt x="563020" y="1345668"/>
                          </a:lnTo>
                          <a:lnTo>
                            <a:pt x="563470" y="1343418"/>
                          </a:lnTo>
                          <a:lnTo>
                            <a:pt x="565721" y="1341618"/>
                          </a:lnTo>
                          <a:lnTo>
                            <a:pt x="572022" y="1339368"/>
                          </a:lnTo>
                          <a:lnTo>
                            <a:pt x="576972" y="1337117"/>
                          </a:lnTo>
                          <a:lnTo>
                            <a:pt x="576972" y="1338017"/>
                          </a:lnTo>
                          <a:lnTo>
                            <a:pt x="572922" y="1345218"/>
                          </a:lnTo>
                          <a:lnTo>
                            <a:pt x="572471" y="1347019"/>
                          </a:lnTo>
                          <a:lnTo>
                            <a:pt x="573822" y="1348819"/>
                          </a:lnTo>
                          <a:lnTo>
                            <a:pt x="577872" y="1344768"/>
                          </a:lnTo>
                          <a:lnTo>
                            <a:pt x="580573" y="1341168"/>
                          </a:lnTo>
                          <a:lnTo>
                            <a:pt x="581023" y="1339818"/>
                          </a:lnTo>
                          <a:lnTo>
                            <a:pt x="578772" y="1339368"/>
                          </a:lnTo>
                          <a:lnTo>
                            <a:pt x="578772" y="1338017"/>
                          </a:lnTo>
                          <a:lnTo>
                            <a:pt x="579222" y="1335317"/>
                          </a:lnTo>
                          <a:lnTo>
                            <a:pt x="579222" y="1333517"/>
                          </a:lnTo>
                          <a:lnTo>
                            <a:pt x="576522" y="1331267"/>
                          </a:lnTo>
                          <a:lnTo>
                            <a:pt x="573372" y="1332617"/>
                          </a:lnTo>
                          <a:lnTo>
                            <a:pt x="570671" y="1334867"/>
                          </a:lnTo>
                          <a:lnTo>
                            <a:pt x="568421" y="1335317"/>
                          </a:lnTo>
                          <a:lnTo>
                            <a:pt x="565271" y="1335317"/>
                          </a:lnTo>
                          <a:lnTo>
                            <a:pt x="563020" y="1334867"/>
                          </a:lnTo>
                          <a:lnTo>
                            <a:pt x="561670" y="1333517"/>
                          </a:lnTo>
                          <a:lnTo>
                            <a:pt x="559870" y="1330817"/>
                          </a:lnTo>
                          <a:lnTo>
                            <a:pt x="558070" y="1326766"/>
                          </a:lnTo>
                          <a:lnTo>
                            <a:pt x="555369" y="1322716"/>
                          </a:lnTo>
                          <a:lnTo>
                            <a:pt x="554469" y="1322265"/>
                          </a:lnTo>
                          <a:lnTo>
                            <a:pt x="553569" y="1322716"/>
                          </a:lnTo>
                          <a:lnTo>
                            <a:pt x="551769" y="1326766"/>
                          </a:lnTo>
                          <a:lnTo>
                            <a:pt x="550869" y="1327216"/>
                          </a:lnTo>
                          <a:lnTo>
                            <a:pt x="540968" y="1321816"/>
                          </a:lnTo>
                          <a:lnTo>
                            <a:pt x="536917" y="1318665"/>
                          </a:lnTo>
                          <a:lnTo>
                            <a:pt x="534667" y="1316415"/>
                          </a:lnTo>
                          <a:lnTo>
                            <a:pt x="531966" y="1315065"/>
                          </a:lnTo>
                          <a:lnTo>
                            <a:pt x="528816" y="1314615"/>
                          </a:lnTo>
                          <a:lnTo>
                            <a:pt x="526566" y="1313714"/>
                          </a:lnTo>
                          <a:lnTo>
                            <a:pt x="524766" y="1311914"/>
                          </a:lnTo>
                          <a:lnTo>
                            <a:pt x="523415" y="1309214"/>
                          </a:lnTo>
                          <a:lnTo>
                            <a:pt x="522515" y="1306064"/>
                          </a:lnTo>
                          <a:lnTo>
                            <a:pt x="520265" y="1302013"/>
                          </a:lnTo>
                          <a:lnTo>
                            <a:pt x="515314" y="1293912"/>
                          </a:lnTo>
                          <a:lnTo>
                            <a:pt x="513964" y="1288511"/>
                          </a:lnTo>
                          <a:lnTo>
                            <a:pt x="513964" y="1286261"/>
                          </a:lnTo>
                          <a:lnTo>
                            <a:pt x="514414" y="1280860"/>
                          </a:lnTo>
                          <a:lnTo>
                            <a:pt x="518915" y="1271859"/>
                          </a:lnTo>
                          <a:lnTo>
                            <a:pt x="519815" y="1269159"/>
                          </a:lnTo>
                          <a:lnTo>
                            <a:pt x="521165" y="1267359"/>
                          </a:lnTo>
                          <a:lnTo>
                            <a:pt x="523415" y="1266008"/>
                          </a:lnTo>
                          <a:lnTo>
                            <a:pt x="525216" y="1265558"/>
                          </a:lnTo>
                          <a:lnTo>
                            <a:pt x="528816" y="1266909"/>
                          </a:lnTo>
                          <a:lnTo>
                            <a:pt x="526566" y="1264208"/>
                          </a:lnTo>
                          <a:lnTo>
                            <a:pt x="526566" y="1262858"/>
                          </a:lnTo>
                          <a:lnTo>
                            <a:pt x="528816" y="1257907"/>
                          </a:lnTo>
                          <a:lnTo>
                            <a:pt x="528366" y="1257907"/>
                          </a:lnTo>
                          <a:lnTo>
                            <a:pt x="522515" y="1261508"/>
                          </a:lnTo>
                          <a:lnTo>
                            <a:pt x="521165" y="1261058"/>
                          </a:lnTo>
                          <a:lnTo>
                            <a:pt x="518915" y="1258808"/>
                          </a:lnTo>
                          <a:lnTo>
                            <a:pt x="514864" y="1250256"/>
                          </a:lnTo>
                          <a:lnTo>
                            <a:pt x="514864" y="1244856"/>
                          </a:lnTo>
                          <a:lnTo>
                            <a:pt x="516214" y="1237655"/>
                          </a:lnTo>
                          <a:lnTo>
                            <a:pt x="516665" y="1233154"/>
                          </a:lnTo>
                          <a:lnTo>
                            <a:pt x="515314" y="1229554"/>
                          </a:lnTo>
                          <a:lnTo>
                            <a:pt x="515765" y="1228654"/>
                          </a:lnTo>
                          <a:lnTo>
                            <a:pt x="517115" y="1227754"/>
                          </a:lnTo>
                          <a:lnTo>
                            <a:pt x="517565" y="1226404"/>
                          </a:lnTo>
                          <a:lnTo>
                            <a:pt x="517115" y="1222353"/>
                          </a:lnTo>
                          <a:lnTo>
                            <a:pt x="518015" y="1220103"/>
                          </a:lnTo>
                          <a:lnTo>
                            <a:pt x="520715" y="1215602"/>
                          </a:lnTo>
                          <a:lnTo>
                            <a:pt x="523415" y="1212002"/>
                          </a:lnTo>
                          <a:lnTo>
                            <a:pt x="525216" y="1210652"/>
                          </a:lnTo>
                          <a:lnTo>
                            <a:pt x="526566" y="1210652"/>
                          </a:lnTo>
                          <a:lnTo>
                            <a:pt x="527916" y="1212002"/>
                          </a:lnTo>
                          <a:lnTo>
                            <a:pt x="529266" y="1214252"/>
                          </a:lnTo>
                          <a:lnTo>
                            <a:pt x="531966" y="1216502"/>
                          </a:lnTo>
                          <a:lnTo>
                            <a:pt x="533767" y="1216952"/>
                          </a:lnTo>
                          <a:lnTo>
                            <a:pt x="535117" y="1215602"/>
                          </a:lnTo>
                          <a:lnTo>
                            <a:pt x="537817" y="1207501"/>
                          </a:lnTo>
                          <a:lnTo>
                            <a:pt x="538717" y="1205251"/>
                          </a:lnTo>
                          <a:lnTo>
                            <a:pt x="537817" y="1204351"/>
                          </a:lnTo>
                          <a:lnTo>
                            <a:pt x="532867" y="1204351"/>
                          </a:lnTo>
                          <a:lnTo>
                            <a:pt x="530616" y="1203451"/>
                          </a:lnTo>
                          <a:lnTo>
                            <a:pt x="529266" y="1202551"/>
                          </a:lnTo>
                          <a:lnTo>
                            <a:pt x="528366" y="1199400"/>
                          </a:lnTo>
                          <a:lnTo>
                            <a:pt x="529266" y="1197600"/>
                          </a:lnTo>
                          <a:lnTo>
                            <a:pt x="533767" y="1191749"/>
                          </a:lnTo>
                          <a:lnTo>
                            <a:pt x="536017" y="1185448"/>
                          </a:lnTo>
                          <a:lnTo>
                            <a:pt x="542768" y="1176897"/>
                          </a:lnTo>
                          <a:lnTo>
                            <a:pt x="549519" y="1172847"/>
                          </a:lnTo>
                          <a:lnTo>
                            <a:pt x="552669" y="1171497"/>
                          </a:lnTo>
                          <a:lnTo>
                            <a:pt x="555369" y="1171047"/>
                          </a:lnTo>
                          <a:lnTo>
                            <a:pt x="556720" y="1171497"/>
                          </a:lnTo>
                          <a:lnTo>
                            <a:pt x="558070" y="1175997"/>
                          </a:lnTo>
                          <a:lnTo>
                            <a:pt x="558520" y="1180498"/>
                          </a:lnTo>
                          <a:lnTo>
                            <a:pt x="562120" y="1186349"/>
                          </a:lnTo>
                          <a:lnTo>
                            <a:pt x="564821" y="1186799"/>
                          </a:lnTo>
                          <a:lnTo>
                            <a:pt x="566621" y="1185898"/>
                          </a:lnTo>
                          <a:lnTo>
                            <a:pt x="572471" y="1186349"/>
                          </a:lnTo>
                          <a:lnTo>
                            <a:pt x="573822" y="1188149"/>
                          </a:lnTo>
                          <a:lnTo>
                            <a:pt x="573822" y="1189949"/>
                          </a:lnTo>
                          <a:lnTo>
                            <a:pt x="573372" y="1192649"/>
                          </a:lnTo>
                          <a:lnTo>
                            <a:pt x="573822" y="1194900"/>
                          </a:lnTo>
                          <a:lnTo>
                            <a:pt x="577872" y="1199400"/>
                          </a:lnTo>
                          <a:lnTo>
                            <a:pt x="581473" y="1202551"/>
                          </a:lnTo>
                          <a:lnTo>
                            <a:pt x="584623" y="1206601"/>
                          </a:lnTo>
                          <a:lnTo>
                            <a:pt x="589574" y="1215152"/>
                          </a:lnTo>
                          <a:lnTo>
                            <a:pt x="590474" y="1217402"/>
                          </a:lnTo>
                          <a:lnTo>
                            <a:pt x="591374" y="1220103"/>
                          </a:lnTo>
                          <a:lnTo>
                            <a:pt x="592724" y="1229104"/>
                          </a:lnTo>
                          <a:lnTo>
                            <a:pt x="592724" y="1232704"/>
                          </a:lnTo>
                          <a:lnTo>
                            <a:pt x="592274" y="1242606"/>
                          </a:lnTo>
                          <a:lnTo>
                            <a:pt x="591824" y="1244406"/>
                          </a:lnTo>
                          <a:lnTo>
                            <a:pt x="590474" y="1246656"/>
                          </a:lnTo>
                          <a:lnTo>
                            <a:pt x="590924" y="1247556"/>
                          </a:lnTo>
                          <a:lnTo>
                            <a:pt x="594524" y="1250256"/>
                          </a:lnTo>
                          <a:lnTo>
                            <a:pt x="597675" y="1255207"/>
                          </a:lnTo>
                          <a:lnTo>
                            <a:pt x="599475" y="1257007"/>
                          </a:lnTo>
                          <a:lnTo>
                            <a:pt x="603075" y="1259708"/>
                          </a:lnTo>
                          <a:lnTo>
                            <a:pt x="603975" y="1260608"/>
                          </a:lnTo>
                          <a:lnTo>
                            <a:pt x="604876" y="1262408"/>
                          </a:lnTo>
                          <a:lnTo>
                            <a:pt x="607126" y="1269609"/>
                          </a:lnTo>
                          <a:lnTo>
                            <a:pt x="610726" y="1276360"/>
                          </a:lnTo>
                          <a:lnTo>
                            <a:pt x="611176" y="1277710"/>
                          </a:lnTo>
                          <a:lnTo>
                            <a:pt x="610276" y="1280860"/>
                          </a:lnTo>
                          <a:lnTo>
                            <a:pt x="610726" y="1281760"/>
                          </a:lnTo>
                          <a:lnTo>
                            <a:pt x="612077" y="1282661"/>
                          </a:lnTo>
                          <a:lnTo>
                            <a:pt x="613427" y="1282210"/>
                          </a:lnTo>
                          <a:lnTo>
                            <a:pt x="614327" y="1279960"/>
                          </a:lnTo>
                          <a:lnTo>
                            <a:pt x="615677" y="1279510"/>
                          </a:lnTo>
                          <a:lnTo>
                            <a:pt x="617027" y="1280410"/>
                          </a:lnTo>
                          <a:lnTo>
                            <a:pt x="617927" y="1282210"/>
                          </a:lnTo>
                          <a:lnTo>
                            <a:pt x="619277" y="1286261"/>
                          </a:lnTo>
                          <a:lnTo>
                            <a:pt x="621078" y="1289861"/>
                          </a:lnTo>
                          <a:lnTo>
                            <a:pt x="621078" y="1290762"/>
                          </a:lnTo>
                          <a:lnTo>
                            <a:pt x="620177" y="1291662"/>
                          </a:lnTo>
                          <a:lnTo>
                            <a:pt x="615227" y="1292562"/>
                          </a:lnTo>
                          <a:lnTo>
                            <a:pt x="612527" y="1292112"/>
                          </a:lnTo>
                          <a:lnTo>
                            <a:pt x="609826" y="1290312"/>
                          </a:lnTo>
                          <a:lnTo>
                            <a:pt x="608026" y="1288511"/>
                          </a:lnTo>
                          <a:lnTo>
                            <a:pt x="606226" y="1285811"/>
                          </a:lnTo>
                          <a:lnTo>
                            <a:pt x="605776" y="1286261"/>
                          </a:lnTo>
                          <a:lnTo>
                            <a:pt x="604876" y="1288511"/>
                          </a:lnTo>
                          <a:lnTo>
                            <a:pt x="603075" y="1291662"/>
                          </a:lnTo>
                          <a:lnTo>
                            <a:pt x="601725" y="1294362"/>
                          </a:lnTo>
                          <a:lnTo>
                            <a:pt x="603075" y="1295712"/>
                          </a:lnTo>
                          <a:lnTo>
                            <a:pt x="609826" y="1295712"/>
                          </a:lnTo>
                          <a:lnTo>
                            <a:pt x="611176" y="1296612"/>
                          </a:lnTo>
                          <a:lnTo>
                            <a:pt x="612977" y="1298863"/>
                          </a:lnTo>
                          <a:lnTo>
                            <a:pt x="611176" y="1302463"/>
                          </a:lnTo>
                          <a:lnTo>
                            <a:pt x="606676" y="1308314"/>
                          </a:lnTo>
                          <a:lnTo>
                            <a:pt x="596775" y="1319115"/>
                          </a:lnTo>
                          <a:lnTo>
                            <a:pt x="594074" y="1321816"/>
                          </a:lnTo>
                          <a:lnTo>
                            <a:pt x="594974" y="1322716"/>
                          </a:lnTo>
                          <a:lnTo>
                            <a:pt x="595874" y="1322716"/>
                          </a:lnTo>
                          <a:lnTo>
                            <a:pt x="599475" y="1322265"/>
                          </a:lnTo>
                          <a:lnTo>
                            <a:pt x="602625" y="1320915"/>
                          </a:lnTo>
                          <a:lnTo>
                            <a:pt x="606676" y="1321365"/>
                          </a:lnTo>
                          <a:lnTo>
                            <a:pt x="608476" y="1322716"/>
                          </a:lnTo>
                          <a:lnTo>
                            <a:pt x="608026" y="1324066"/>
                          </a:lnTo>
                          <a:lnTo>
                            <a:pt x="608926" y="1325866"/>
                          </a:lnTo>
                          <a:lnTo>
                            <a:pt x="615227" y="1330367"/>
                          </a:lnTo>
                          <a:lnTo>
                            <a:pt x="619277" y="1329466"/>
                          </a:lnTo>
                          <a:lnTo>
                            <a:pt x="623328" y="1325416"/>
                          </a:lnTo>
                          <a:lnTo>
                            <a:pt x="626478" y="1323166"/>
                          </a:lnTo>
                          <a:lnTo>
                            <a:pt x="630529" y="1323616"/>
                          </a:lnTo>
                          <a:lnTo>
                            <a:pt x="631429" y="1324066"/>
                          </a:lnTo>
                          <a:lnTo>
                            <a:pt x="630979" y="1324966"/>
                          </a:lnTo>
                          <a:lnTo>
                            <a:pt x="628279" y="1327216"/>
                          </a:lnTo>
                          <a:lnTo>
                            <a:pt x="625578" y="1329916"/>
                          </a:lnTo>
                          <a:lnTo>
                            <a:pt x="625128" y="1330817"/>
                          </a:lnTo>
                          <a:lnTo>
                            <a:pt x="628279" y="1329916"/>
                          </a:lnTo>
                          <a:lnTo>
                            <a:pt x="635479" y="1331717"/>
                          </a:lnTo>
                          <a:lnTo>
                            <a:pt x="639080" y="1332167"/>
                          </a:lnTo>
                          <a:lnTo>
                            <a:pt x="641780" y="1331717"/>
                          </a:lnTo>
                          <a:lnTo>
                            <a:pt x="644031" y="1332167"/>
                          </a:lnTo>
                          <a:lnTo>
                            <a:pt x="646281" y="1333967"/>
                          </a:lnTo>
                          <a:lnTo>
                            <a:pt x="647181" y="1334867"/>
                          </a:lnTo>
                          <a:lnTo>
                            <a:pt x="644931" y="1335767"/>
                          </a:lnTo>
                          <a:lnTo>
                            <a:pt x="643130" y="1335767"/>
                          </a:lnTo>
                          <a:lnTo>
                            <a:pt x="641330" y="1336667"/>
                          </a:lnTo>
                          <a:lnTo>
                            <a:pt x="639980" y="1338918"/>
                          </a:lnTo>
                          <a:lnTo>
                            <a:pt x="639080" y="1341618"/>
                          </a:lnTo>
                          <a:lnTo>
                            <a:pt x="638630" y="1345218"/>
                          </a:lnTo>
                          <a:lnTo>
                            <a:pt x="637280" y="1346569"/>
                          </a:lnTo>
                          <a:lnTo>
                            <a:pt x="635029" y="1346119"/>
                          </a:lnTo>
                          <a:lnTo>
                            <a:pt x="634129" y="1345218"/>
                          </a:lnTo>
                          <a:lnTo>
                            <a:pt x="634579" y="1343868"/>
                          </a:lnTo>
                          <a:lnTo>
                            <a:pt x="633679" y="1343868"/>
                          </a:lnTo>
                          <a:lnTo>
                            <a:pt x="631879" y="1344768"/>
                          </a:lnTo>
                          <a:lnTo>
                            <a:pt x="630529" y="1344768"/>
                          </a:lnTo>
                          <a:lnTo>
                            <a:pt x="630079" y="1345668"/>
                          </a:lnTo>
                          <a:lnTo>
                            <a:pt x="640430" y="1356470"/>
                          </a:lnTo>
                          <a:lnTo>
                            <a:pt x="643580" y="1365921"/>
                          </a:lnTo>
                          <a:lnTo>
                            <a:pt x="645831" y="1369971"/>
                          </a:lnTo>
                          <a:lnTo>
                            <a:pt x="646281" y="1370872"/>
                          </a:lnTo>
                          <a:lnTo>
                            <a:pt x="644931" y="1373572"/>
                          </a:lnTo>
                          <a:lnTo>
                            <a:pt x="644931" y="1375372"/>
                          </a:lnTo>
                          <a:lnTo>
                            <a:pt x="645831" y="1381223"/>
                          </a:lnTo>
                          <a:lnTo>
                            <a:pt x="645381" y="1385723"/>
                          </a:lnTo>
                          <a:lnTo>
                            <a:pt x="644480" y="1393825"/>
                          </a:lnTo>
                          <a:lnTo>
                            <a:pt x="645381" y="1396075"/>
                          </a:lnTo>
                          <a:lnTo>
                            <a:pt x="647631" y="1398325"/>
                          </a:lnTo>
                          <a:lnTo>
                            <a:pt x="648981" y="1401025"/>
                          </a:lnTo>
                          <a:lnTo>
                            <a:pt x="649881" y="1401925"/>
                          </a:lnTo>
                          <a:lnTo>
                            <a:pt x="650781" y="1404176"/>
                          </a:lnTo>
                          <a:lnTo>
                            <a:pt x="651681" y="1405526"/>
                          </a:lnTo>
                          <a:lnTo>
                            <a:pt x="652582" y="1405976"/>
                          </a:lnTo>
                          <a:lnTo>
                            <a:pt x="653032" y="1405076"/>
                          </a:lnTo>
                          <a:lnTo>
                            <a:pt x="653482" y="1403276"/>
                          </a:lnTo>
                          <a:lnTo>
                            <a:pt x="654382" y="1401475"/>
                          </a:lnTo>
                          <a:lnTo>
                            <a:pt x="656632" y="1397875"/>
                          </a:lnTo>
                          <a:lnTo>
                            <a:pt x="658882" y="1392474"/>
                          </a:lnTo>
                          <a:lnTo>
                            <a:pt x="659332" y="1390674"/>
                          </a:lnTo>
                          <a:lnTo>
                            <a:pt x="658882" y="1386624"/>
                          </a:lnTo>
                          <a:lnTo>
                            <a:pt x="659332" y="1384823"/>
                          </a:lnTo>
                          <a:lnTo>
                            <a:pt x="661583" y="1378523"/>
                          </a:lnTo>
                          <a:lnTo>
                            <a:pt x="662483" y="1374022"/>
                          </a:lnTo>
                          <a:lnTo>
                            <a:pt x="662933" y="1366821"/>
                          </a:lnTo>
                          <a:lnTo>
                            <a:pt x="664283" y="1361871"/>
                          </a:lnTo>
                          <a:lnTo>
                            <a:pt x="666533" y="1357820"/>
                          </a:lnTo>
                          <a:lnTo>
                            <a:pt x="670584" y="1349269"/>
                          </a:lnTo>
                          <a:lnTo>
                            <a:pt x="671934" y="1347469"/>
                          </a:lnTo>
                          <a:lnTo>
                            <a:pt x="673734" y="1346569"/>
                          </a:lnTo>
                          <a:lnTo>
                            <a:pt x="676885" y="1346569"/>
                          </a:lnTo>
                          <a:lnTo>
                            <a:pt x="679135" y="1349269"/>
                          </a:lnTo>
                          <a:lnTo>
                            <a:pt x="682285" y="1354219"/>
                          </a:lnTo>
                          <a:lnTo>
                            <a:pt x="685886" y="1358720"/>
                          </a:lnTo>
                          <a:lnTo>
                            <a:pt x="692637" y="1365021"/>
                          </a:lnTo>
                          <a:lnTo>
                            <a:pt x="694437" y="1367271"/>
                          </a:lnTo>
                          <a:lnTo>
                            <a:pt x="698487" y="1373572"/>
                          </a:lnTo>
                          <a:lnTo>
                            <a:pt x="700288" y="1379423"/>
                          </a:lnTo>
                          <a:lnTo>
                            <a:pt x="701188" y="1387974"/>
                          </a:lnTo>
                          <a:lnTo>
                            <a:pt x="702088" y="1392924"/>
                          </a:lnTo>
                          <a:lnTo>
                            <a:pt x="702988" y="1394725"/>
                          </a:lnTo>
                          <a:lnTo>
                            <a:pt x="703438" y="1397425"/>
                          </a:lnTo>
                          <a:lnTo>
                            <a:pt x="703438" y="1400575"/>
                          </a:lnTo>
                          <a:lnTo>
                            <a:pt x="702988" y="1403276"/>
                          </a:lnTo>
                          <a:lnTo>
                            <a:pt x="702538" y="1405076"/>
                          </a:lnTo>
                          <a:lnTo>
                            <a:pt x="701638" y="1405976"/>
                          </a:lnTo>
                          <a:lnTo>
                            <a:pt x="699387" y="1406426"/>
                          </a:lnTo>
                          <a:lnTo>
                            <a:pt x="696687" y="1405976"/>
                          </a:lnTo>
                          <a:lnTo>
                            <a:pt x="695787" y="1405076"/>
                          </a:lnTo>
                          <a:lnTo>
                            <a:pt x="694437" y="1401025"/>
                          </a:lnTo>
                          <a:lnTo>
                            <a:pt x="693987" y="1400575"/>
                          </a:lnTo>
                          <a:lnTo>
                            <a:pt x="691736" y="1403276"/>
                          </a:lnTo>
                          <a:lnTo>
                            <a:pt x="691286" y="1405076"/>
                          </a:lnTo>
                          <a:lnTo>
                            <a:pt x="692186" y="1410477"/>
                          </a:lnTo>
                          <a:lnTo>
                            <a:pt x="692186" y="1420378"/>
                          </a:lnTo>
                          <a:lnTo>
                            <a:pt x="692637" y="1422628"/>
                          </a:lnTo>
                          <a:lnTo>
                            <a:pt x="695337" y="1432979"/>
                          </a:lnTo>
                          <a:lnTo>
                            <a:pt x="699387" y="1440630"/>
                          </a:lnTo>
                          <a:lnTo>
                            <a:pt x="709739" y="1455482"/>
                          </a:lnTo>
                          <a:lnTo>
                            <a:pt x="710189" y="1457282"/>
                          </a:lnTo>
                          <a:lnTo>
                            <a:pt x="711089" y="1463133"/>
                          </a:lnTo>
                          <a:lnTo>
                            <a:pt x="711539" y="1464483"/>
                          </a:lnTo>
                          <a:lnTo>
                            <a:pt x="712439" y="1465383"/>
                          </a:lnTo>
                          <a:lnTo>
                            <a:pt x="713339" y="1465834"/>
                          </a:lnTo>
                          <a:lnTo>
                            <a:pt x="714689" y="1465383"/>
                          </a:lnTo>
                          <a:lnTo>
                            <a:pt x="718740" y="1460883"/>
                          </a:lnTo>
                          <a:lnTo>
                            <a:pt x="722340" y="1455932"/>
                          </a:lnTo>
                          <a:lnTo>
                            <a:pt x="724591" y="1453232"/>
                          </a:lnTo>
                          <a:lnTo>
                            <a:pt x="725941" y="1453232"/>
                          </a:lnTo>
                          <a:lnTo>
                            <a:pt x="727291" y="1452332"/>
                          </a:lnTo>
                          <a:lnTo>
                            <a:pt x="728641" y="1450532"/>
                          </a:lnTo>
                          <a:lnTo>
                            <a:pt x="729541" y="1448731"/>
                          </a:lnTo>
                          <a:lnTo>
                            <a:pt x="729991" y="1446931"/>
                          </a:lnTo>
                          <a:lnTo>
                            <a:pt x="730891" y="1439730"/>
                          </a:lnTo>
                          <a:lnTo>
                            <a:pt x="731341" y="1436130"/>
                          </a:lnTo>
                          <a:lnTo>
                            <a:pt x="733142" y="1431179"/>
                          </a:lnTo>
                          <a:lnTo>
                            <a:pt x="733592" y="1429829"/>
                          </a:lnTo>
                          <a:lnTo>
                            <a:pt x="741693" y="1417227"/>
                          </a:lnTo>
                          <a:lnTo>
                            <a:pt x="742593" y="1415877"/>
                          </a:lnTo>
                          <a:lnTo>
                            <a:pt x="746193" y="1401475"/>
                          </a:lnTo>
                          <a:lnTo>
                            <a:pt x="747543" y="1394725"/>
                          </a:lnTo>
                          <a:lnTo>
                            <a:pt x="747543" y="1390674"/>
                          </a:lnTo>
                          <a:lnTo>
                            <a:pt x="747093" y="1387074"/>
                          </a:lnTo>
                          <a:lnTo>
                            <a:pt x="747543" y="1383923"/>
                          </a:lnTo>
                          <a:lnTo>
                            <a:pt x="748444" y="1381673"/>
                          </a:lnTo>
                          <a:lnTo>
                            <a:pt x="749344" y="1379873"/>
                          </a:lnTo>
                          <a:lnTo>
                            <a:pt x="751144" y="1378073"/>
                          </a:lnTo>
                          <a:lnTo>
                            <a:pt x="752044" y="1375822"/>
                          </a:lnTo>
                          <a:lnTo>
                            <a:pt x="752494" y="1375372"/>
                          </a:lnTo>
                          <a:lnTo>
                            <a:pt x="753844" y="1375372"/>
                          </a:lnTo>
                          <a:lnTo>
                            <a:pt x="755644" y="1377172"/>
                          </a:lnTo>
                          <a:lnTo>
                            <a:pt x="756995" y="1377622"/>
                          </a:lnTo>
                          <a:lnTo>
                            <a:pt x="765546" y="1375822"/>
                          </a:lnTo>
                          <a:lnTo>
                            <a:pt x="765546" y="1374922"/>
                          </a:lnTo>
                          <a:lnTo>
                            <a:pt x="760595" y="1371772"/>
                          </a:lnTo>
                          <a:lnTo>
                            <a:pt x="760595" y="1369971"/>
                          </a:lnTo>
                          <a:lnTo>
                            <a:pt x="761045" y="1367721"/>
                          </a:lnTo>
                          <a:lnTo>
                            <a:pt x="762845" y="1365471"/>
                          </a:lnTo>
                          <a:lnTo>
                            <a:pt x="764646" y="1364571"/>
                          </a:lnTo>
                          <a:lnTo>
                            <a:pt x="765096" y="1363221"/>
                          </a:lnTo>
                          <a:lnTo>
                            <a:pt x="765096" y="1361420"/>
                          </a:lnTo>
                          <a:lnTo>
                            <a:pt x="765546" y="1358270"/>
                          </a:lnTo>
                          <a:lnTo>
                            <a:pt x="765096" y="1357370"/>
                          </a:lnTo>
                          <a:lnTo>
                            <a:pt x="760145" y="1352869"/>
                          </a:lnTo>
                          <a:lnTo>
                            <a:pt x="757445" y="1352869"/>
                          </a:lnTo>
                          <a:lnTo>
                            <a:pt x="756545" y="1352419"/>
                          </a:lnTo>
                          <a:lnTo>
                            <a:pt x="754294" y="1348819"/>
                          </a:lnTo>
                          <a:lnTo>
                            <a:pt x="753394" y="1343418"/>
                          </a:lnTo>
                          <a:lnTo>
                            <a:pt x="753394" y="1341168"/>
                          </a:lnTo>
                          <a:lnTo>
                            <a:pt x="753844" y="1337567"/>
                          </a:lnTo>
                          <a:lnTo>
                            <a:pt x="754294" y="1336667"/>
                          </a:lnTo>
                          <a:lnTo>
                            <a:pt x="754294" y="1335317"/>
                          </a:lnTo>
                          <a:lnTo>
                            <a:pt x="753844" y="1333067"/>
                          </a:lnTo>
                          <a:lnTo>
                            <a:pt x="753844" y="1331267"/>
                          </a:lnTo>
                          <a:lnTo>
                            <a:pt x="754294" y="1329466"/>
                          </a:lnTo>
                          <a:lnTo>
                            <a:pt x="753844" y="1327666"/>
                          </a:lnTo>
                          <a:lnTo>
                            <a:pt x="752944" y="1325416"/>
                          </a:lnTo>
                          <a:lnTo>
                            <a:pt x="752494" y="1323616"/>
                          </a:lnTo>
                          <a:lnTo>
                            <a:pt x="753844" y="1317765"/>
                          </a:lnTo>
                          <a:lnTo>
                            <a:pt x="753844" y="1315965"/>
                          </a:lnTo>
                          <a:lnTo>
                            <a:pt x="752944" y="1313264"/>
                          </a:lnTo>
                          <a:lnTo>
                            <a:pt x="752044" y="1312364"/>
                          </a:lnTo>
                          <a:lnTo>
                            <a:pt x="752494" y="1311914"/>
                          </a:lnTo>
                          <a:lnTo>
                            <a:pt x="754294" y="1311464"/>
                          </a:lnTo>
                          <a:lnTo>
                            <a:pt x="756545" y="1312364"/>
                          </a:lnTo>
                          <a:lnTo>
                            <a:pt x="759245" y="1314165"/>
                          </a:lnTo>
                          <a:lnTo>
                            <a:pt x="762395" y="1314165"/>
                          </a:lnTo>
                          <a:lnTo>
                            <a:pt x="766446" y="1312364"/>
                          </a:lnTo>
                          <a:lnTo>
                            <a:pt x="770496" y="1311464"/>
                          </a:lnTo>
                          <a:lnTo>
                            <a:pt x="777247" y="1311914"/>
                          </a:lnTo>
                          <a:lnTo>
                            <a:pt x="779047" y="1312364"/>
                          </a:lnTo>
                          <a:lnTo>
                            <a:pt x="785798" y="1317765"/>
                          </a:lnTo>
                          <a:lnTo>
                            <a:pt x="791199" y="1320465"/>
                          </a:lnTo>
                          <a:lnTo>
                            <a:pt x="793449" y="1320015"/>
                          </a:lnTo>
                          <a:lnTo>
                            <a:pt x="805151" y="1320915"/>
                          </a:lnTo>
                          <a:lnTo>
                            <a:pt x="810551" y="1320465"/>
                          </a:lnTo>
                          <a:lnTo>
                            <a:pt x="813252" y="1320915"/>
                          </a:lnTo>
                          <a:lnTo>
                            <a:pt x="818652" y="1324066"/>
                          </a:lnTo>
                          <a:lnTo>
                            <a:pt x="818202" y="1326766"/>
                          </a:lnTo>
                          <a:lnTo>
                            <a:pt x="815952" y="1330817"/>
                          </a:lnTo>
                          <a:lnTo>
                            <a:pt x="813252" y="1331717"/>
                          </a:lnTo>
                          <a:lnTo>
                            <a:pt x="810551" y="1333067"/>
                          </a:lnTo>
                          <a:lnTo>
                            <a:pt x="812802" y="1335317"/>
                          </a:lnTo>
                          <a:lnTo>
                            <a:pt x="820002" y="1338017"/>
                          </a:lnTo>
                          <a:lnTo>
                            <a:pt x="821803" y="1342518"/>
                          </a:lnTo>
                          <a:lnTo>
                            <a:pt x="822253" y="1344768"/>
                          </a:lnTo>
                          <a:lnTo>
                            <a:pt x="821353" y="1346569"/>
                          </a:lnTo>
                          <a:lnTo>
                            <a:pt x="821803" y="1347469"/>
                          </a:lnTo>
                          <a:lnTo>
                            <a:pt x="823603" y="1347469"/>
                          </a:lnTo>
                          <a:lnTo>
                            <a:pt x="827653" y="1345668"/>
                          </a:lnTo>
                          <a:lnTo>
                            <a:pt x="832154" y="1346569"/>
                          </a:lnTo>
                          <a:lnTo>
                            <a:pt x="838905" y="1350169"/>
                          </a:lnTo>
                          <a:lnTo>
                            <a:pt x="839805" y="1351069"/>
                          </a:lnTo>
                          <a:lnTo>
                            <a:pt x="841155" y="1353769"/>
                          </a:lnTo>
                          <a:lnTo>
                            <a:pt x="841155" y="1355120"/>
                          </a:lnTo>
                          <a:lnTo>
                            <a:pt x="835304" y="1361871"/>
                          </a:lnTo>
                          <a:lnTo>
                            <a:pt x="832154" y="1364571"/>
                          </a:lnTo>
                          <a:lnTo>
                            <a:pt x="828104" y="1367271"/>
                          </a:lnTo>
                          <a:lnTo>
                            <a:pt x="828104" y="1368621"/>
                          </a:lnTo>
                          <a:lnTo>
                            <a:pt x="833954" y="1369071"/>
                          </a:lnTo>
                          <a:lnTo>
                            <a:pt x="838455" y="1369971"/>
                          </a:lnTo>
                          <a:lnTo>
                            <a:pt x="840255" y="1370872"/>
                          </a:lnTo>
                          <a:lnTo>
                            <a:pt x="841155" y="1372222"/>
                          </a:lnTo>
                          <a:lnTo>
                            <a:pt x="842505" y="1374922"/>
                          </a:lnTo>
                          <a:lnTo>
                            <a:pt x="842955" y="1377172"/>
                          </a:lnTo>
                          <a:lnTo>
                            <a:pt x="842955" y="1380323"/>
                          </a:lnTo>
                          <a:lnTo>
                            <a:pt x="842505" y="1382573"/>
                          </a:lnTo>
                          <a:lnTo>
                            <a:pt x="837105" y="1388424"/>
                          </a:lnTo>
                          <a:lnTo>
                            <a:pt x="834854" y="1390224"/>
                          </a:lnTo>
                          <a:lnTo>
                            <a:pt x="830804" y="1392474"/>
                          </a:lnTo>
                          <a:lnTo>
                            <a:pt x="829004" y="1394274"/>
                          </a:lnTo>
                          <a:lnTo>
                            <a:pt x="827203" y="1394274"/>
                          </a:lnTo>
                          <a:lnTo>
                            <a:pt x="824953" y="1392024"/>
                          </a:lnTo>
                          <a:lnTo>
                            <a:pt x="822703" y="1391574"/>
                          </a:lnTo>
                          <a:lnTo>
                            <a:pt x="818652" y="1393374"/>
                          </a:lnTo>
                          <a:lnTo>
                            <a:pt x="816402" y="1393374"/>
                          </a:lnTo>
                          <a:lnTo>
                            <a:pt x="815502" y="1393825"/>
                          </a:lnTo>
                          <a:lnTo>
                            <a:pt x="815502" y="1395175"/>
                          </a:lnTo>
                          <a:lnTo>
                            <a:pt x="817302" y="1398775"/>
                          </a:lnTo>
                          <a:lnTo>
                            <a:pt x="818202" y="1400125"/>
                          </a:lnTo>
                          <a:lnTo>
                            <a:pt x="818652" y="1401025"/>
                          </a:lnTo>
                          <a:lnTo>
                            <a:pt x="817752" y="1402826"/>
                          </a:lnTo>
                          <a:lnTo>
                            <a:pt x="817752" y="1403276"/>
                          </a:lnTo>
                          <a:lnTo>
                            <a:pt x="818202" y="1403726"/>
                          </a:lnTo>
                          <a:lnTo>
                            <a:pt x="821803" y="1411827"/>
                          </a:lnTo>
                          <a:lnTo>
                            <a:pt x="822703" y="1412277"/>
                          </a:lnTo>
                          <a:lnTo>
                            <a:pt x="823603" y="1411827"/>
                          </a:lnTo>
                          <a:lnTo>
                            <a:pt x="824953" y="1409576"/>
                          </a:lnTo>
                          <a:lnTo>
                            <a:pt x="825853" y="1408676"/>
                          </a:lnTo>
                          <a:lnTo>
                            <a:pt x="826303" y="1408676"/>
                          </a:lnTo>
                          <a:lnTo>
                            <a:pt x="826303" y="1410026"/>
                          </a:lnTo>
                          <a:lnTo>
                            <a:pt x="824503" y="1416777"/>
                          </a:lnTo>
                          <a:lnTo>
                            <a:pt x="824503" y="1418578"/>
                          </a:lnTo>
                          <a:lnTo>
                            <a:pt x="824503" y="1420378"/>
                          </a:lnTo>
                          <a:lnTo>
                            <a:pt x="825403" y="1423978"/>
                          </a:lnTo>
                          <a:lnTo>
                            <a:pt x="827203" y="1427579"/>
                          </a:lnTo>
                          <a:lnTo>
                            <a:pt x="829454" y="1430729"/>
                          </a:lnTo>
                          <a:lnTo>
                            <a:pt x="833054" y="1435230"/>
                          </a:lnTo>
                          <a:lnTo>
                            <a:pt x="837555" y="1440180"/>
                          </a:lnTo>
                          <a:lnTo>
                            <a:pt x="839355" y="1442431"/>
                          </a:lnTo>
                          <a:lnTo>
                            <a:pt x="842055" y="1447831"/>
                          </a:lnTo>
                          <a:lnTo>
                            <a:pt x="842505" y="1450082"/>
                          </a:lnTo>
                          <a:lnTo>
                            <a:pt x="842055" y="1455932"/>
                          </a:lnTo>
                          <a:lnTo>
                            <a:pt x="840255" y="1464933"/>
                          </a:lnTo>
                          <a:lnTo>
                            <a:pt x="838905" y="1470334"/>
                          </a:lnTo>
                          <a:lnTo>
                            <a:pt x="838455" y="1471684"/>
                          </a:lnTo>
                          <a:lnTo>
                            <a:pt x="834854" y="1475285"/>
                          </a:lnTo>
                          <a:lnTo>
                            <a:pt x="833054" y="1476185"/>
                          </a:lnTo>
                          <a:lnTo>
                            <a:pt x="829904" y="1476185"/>
                          </a:lnTo>
                          <a:lnTo>
                            <a:pt x="829004" y="1477085"/>
                          </a:lnTo>
                          <a:lnTo>
                            <a:pt x="827203" y="1480235"/>
                          </a:lnTo>
                          <a:lnTo>
                            <a:pt x="824953" y="1485186"/>
                          </a:lnTo>
                          <a:lnTo>
                            <a:pt x="823153" y="1488336"/>
                          </a:lnTo>
                          <a:lnTo>
                            <a:pt x="821803" y="1489686"/>
                          </a:lnTo>
                          <a:lnTo>
                            <a:pt x="819552" y="1491487"/>
                          </a:lnTo>
                          <a:lnTo>
                            <a:pt x="815952" y="1495987"/>
                          </a:lnTo>
                          <a:lnTo>
                            <a:pt x="814152" y="1497787"/>
                          </a:lnTo>
                          <a:lnTo>
                            <a:pt x="807401" y="1499588"/>
                          </a:lnTo>
                          <a:lnTo>
                            <a:pt x="802000" y="1505889"/>
                          </a:lnTo>
                          <a:lnTo>
                            <a:pt x="799750" y="1508139"/>
                          </a:lnTo>
                          <a:lnTo>
                            <a:pt x="797500" y="1509039"/>
                          </a:lnTo>
                          <a:lnTo>
                            <a:pt x="794799" y="1509039"/>
                          </a:lnTo>
                          <a:lnTo>
                            <a:pt x="793449" y="1508139"/>
                          </a:lnTo>
                          <a:lnTo>
                            <a:pt x="792549" y="1504088"/>
                          </a:lnTo>
                          <a:lnTo>
                            <a:pt x="792099" y="1502738"/>
                          </a:lnTo>
                          <a:lnTo>
                            <a:pt x="790299" y="1500038"/>
                          </a:lnTo>
                          <a:lnTo>
                            <a:pt x="786248" y="1492387"/>
                          </a:lnTo>
                          <a:lnTo>
                            <a:pt x="784448" y="1489686"/>
                          </a:lnTo>
                          <a:lnTo>
                            <a:pt x="783548" y="1489236"/>
                          </a:lnTo>
                          <a:lnTo>
                            <a:pt x="781298" y="1489686"/>
                          </a:lnTo>
                          <a:lnTo>
                            <a:pt x="779947" y="1489236"/>
                          </a:lnTo>
                          <a:lnTo>
                            <a:pt x="777697" y="1486986"/>
                          </a:lnTo>
                          <a:lnTo>
                            <a:pt x="776797" y="1485186"/>
                          </a:lnTo>
                          <a:lnTo>
                            <a:pt x="776797" y="1484736"/>
                          </a:lnTo>
                          <a:lnTo>
                            <a:pt x="778597" y="1483836"/>
                          </a:lnTo>
                          <a:lnTo>
                            <a:pt x="777697" y="1482486"/>
                          </a:lnTo>
                          <a:lnTo>
                            <a:pt x="774547" y="1478885"/>
                          </a:lnTo>
                          <a:lnTo>
                            <a:pt x="773197" y="1477085"/>
                          </a:lnTo>
                          <a:lnTo>
                            <a:pt x="773197" y="1476635"/>
                          </a:lnTo>
                          <a:lnTo>
                            <a:pt x="770046" y="1474385"/>
                          </a:lnTo>
                          <a:lnTo>
                            <a:pt x="766896" y="1473934"/>
                          </a:lnTo>
                          <a:lnTo>
                            <a:pt x="762845" y="1477985"/>
                          </a:lnTo>
                          <a:lnTo>
                            <a:pt x="761495" y="1480685"/>
                          </a:lnTo>
                          <a:lnTo>
                            <a:pt x="761495" y="1481586"/>
                          </a:lnTo>
                          <a:lnTo>
                            <a:pt x="763295" y="1482486"/>
                          </a:lnTo>
                          <a:lnTo>
                            <a:pt x="764195" y="1482035"/>
                          </a:lnTo>
                          <a:lnTo>
                            <a:pt x="765996" y="1479785"/>
                          </a:lnTo>
                          <a:lnTo>
                            <a:pt x="766896" y="1478885"/>
                          </a:lnTo>
                          <a:lnTo>
                            <a:pt x="769596" y="1479335"/>
                          </a:lnTo>
                          <a:lnTo>
                            <a:pt x="771847" y="1481135"/>
                          </a:lnTo>
                          <a:lnTo>
                            <a:pt x="772747" y="1482486"/>
                          </a:lnTo>
                          <a:lnTo>
                            <a:pt x="773197" y="1483386"/>
                          </a:lnTo>
                          <a:lnTo>
                            <a:pt x="779047" y="1491037"/>
                          </a:lnTo>
                          <a:lnTo>
                            <a:pt x="781298" y="1492387"/>
                          </a:lnTo>
                          <a:lnTo>
                            <a:pt x="782198" y="1494187"/>
                          </a:lnTo>
                          <a:lnTo>
                            <a:pt x="782648" y="1497337"/>
                          </a:lnTo>
                          <a:lnTo>
                            <a:pt x="783998" y="1500938"/>
                          </a:lnTo>
                          <a:lnTo>
                            <a:pt x="786698" y="1506339"/>
                          </a:lnTo>
                          <a:lnTo>
                            <a:pt x="789849" y="1513089"/>
                          </a:lnTo>
                          <a:lnTo>
                            <a:pt x="790299" y="1515790"/>
                          </a:lnTo>
                          <a:lnTo>
                            <a:pt x="788949" y="1517140"/>
                          </a:lnTo>
                          <a:lnTo>
                            <a:pt x="788049" y="1517140"/>
                          </a:lnTo>
                          <a:lnTo>
                            <a:pt x="785798" y="1516240"/>
                          </a:lnTo>
                          <a:lnTo>
                            <a:pt x="779947" y="1513089"/>
                          </a:lnTo>
                          <a:lnTo>
                            <a:pt x="779497" y="1513089"/>
                          </a:lnTo>
                          <a:lnTo>
                            <a:pt x="777697" y="1514890"/>
                          </a:lnTo>
                          <a:lnTo>
                            <a:pt x="776347" y="1518490"/>
                          </a:lnTo>
                          <a:lnTo>
                            <a:pt x="775897" y="1518940"/>
                          </a:lnTo>
                          <a:lnTo>
                            <a:pt x="772747" y="1517590"/>
                          </a:lnTo>
                          <a:lnTo>
                            <a:pt x="766896" y="1514440"/>
                          </a:lnTo>
                          <a:lnTo>
                            <a:pt x="762845" y="1511739"/>
                          </a:lnTo>
                          <a:lnTo>
                            <a:pt x="761045" y="1509489"/>
                          </a:lnTo>
                          <a:lnTo>
                            <a:pt x="758795" y="1505889"/>
                          </a:lnTo>
                          <a:lnTo>
                            <a:pt x="756095" y="1500938"/>
                          </a:lnTo>
                          <a:lnTo>
                            <a:pt x="752494" y="1499138"/>
                          </a:lnTo>
                          <a:lnTo>
                            <a:pt x="748444" y="1500938"/>
                          </a:lnTo>
                          <a:lnTo>
                            <a:pt x="742593" y="1501388"/>
                          </a:lnTo>
                          <a:lnTo>
                            <a:pt x="730441" y="1500938"/>
                          </a:lnTo>
                          <a:lnTo>
                            <a:pt x="728641" y="1501388"/>
                          </a:lnTo>
                          <a:lnTo>
                            <a:pt x="728191" y="1501838"/>
                          </a:lnTo>
                          <a:lnTo>
                            <a:pt x="729091" y="1504538"/>
                          </a:lnTo>
                          <a:lnTo>
                            <a:pt x="728641" y="1505438"/>
                          </a:lnTo>
                          <a:lnTo>
                            <a:pt x="727741" y="1505889"/>
                          </a:lnTo>
                          <a:lnTo>
                            <a:pt x="727741" y="1506789"/>
                          </a:lnTo>
                          <a:lnTo>
                            <a:pt x="729091" y="1509939"/>
                          </a:lnTo>
                          <a:lnTo>
                            <a:pt x="731341" y="1512189"/>
                          </a:lnTo>
                          <a:lnTo>
                            <a:pt x="737192" y="1514890"/>
                          </a:lnTo>
                          <a:lnTo>
                            <a:pt x="741243" y="1517140"/>
                          </a:lnTo>
                          <a:lnTo>
                            <a:pt x="743493" y="1518940"/>
                          </a:lnTo>
                          <a:lnTo>
                            <a:pt x="744393" y="1520740"/>
                          </a:lnTo>
                          <a:lnTo>
                            <a:pt x="744393" y="1522541"/>
                          </a:lnTo>
                          <a:lnTo>
                            <a:pt x="743043" y="1526141"/>
                          </a:lnTo>
                          <a:lnTo>
                            <a:pt x="742593" y="1527491"/>
                          </a:lnTo>
                          <a:lnTo>
                            <a:pt x="728641" y="1545493"/>
                          </a:lnTo>
                          <a:lnTo>
                            <a:pt x="723240" y="1552694"/>
                          </a:lnTo>
                          <a:lnTo>
                            <a:pt x="720540" y="1557195"/>
                          </a:lnTo>
                          <a:lnTo>
                            <a:pt x="718290" y="1560345"/>
                          </a:lnTo>
                          <a:lnTo>
                            <a:pt x="716040" y="1561695"/>
                          </a:lnTo>
                          <a:lnTo>
                            <a:pt x="712439" y="1562596"/>
                          </a:lnTo>
                          <a:lnTo>
                            <a:pt x="707488" y="1562596"/>
                          </a:lnTo>
                          <a:lnTo>
                            <a:pt x="701188" y="1561695"/>
                          </a:lnTo>
                          <a:lnTo>
                            <a:pt x="698037" y="1559445"/>
                          </a:lnTo>
                          <a:lnTo>
                            <a:pt x="692186" y="1553144"/>
                          </a:lnTo>
                          <a:lnTo>
                            <a:pt x="688136" y="1549544"/>
                          </a:lnTo>
                          <a:lnTo>
                            <a:pt x="686336" y="1548194"/>
                          </a:lnTo>
                          <a:lnTo>
                            <a:pt x="684986" y="1544593"/>
                          </a:lnTo>
                          <a:lnTo>
                            <a:pt x="683635" y="1544143"/>
                          </a:lnTo>
                          <a:lnTo>
                            <a:pt x="680935" y="1543693"/>
                          </a:lnTo>
                          <a:lnTo>
                            <a:pt x="677785" y="1541893"/>
                          </a:lnTo>
                          <a:lnTo>
                            <a:pt x="670584" y="1535592"/>
                          </a:lnTo>
                          <a:lnTo>
                            <a:pt x="666983" y="1532892"/>
                          </a:lnTo>
                          <a:lnTo>
                            <a:pt x="663833" y="1531542"/>
                          </a:lnTo>
                          <a:lnTo>
                            <a:pt x="660683" y="1531092"/>
                          </a:lnTo>
                          <a:lnTo>
                            <a:pt x="659332" y="1531542"/>
                          </a:lnTo>
                          <a:lnTo>
                            <a:pt x="661583" y="1534692"/>
                          </a:lnTo>
                          <a:lnTo>
                            <a:pt x="660683" y="1534692"/>
                          </a:lnTo>
                          <a:lnTo>
                            <a:pt x="658432" y="1533792"/>
                          </a:lnTo>
                          <a:lnTo>
                            <a:pt x="652132" y="1533792"/>
                          </a:lnTo>
                          <a:lnTo>
                            <a:pt x="648081" y="1531542"/>
                          </a:lnTo>
                          <a:lnTo>
                            <a:pt x="644031" y="1531992"/>
                          </a:lnTo>
                          <a:lnTo>
                            <a:pt x="640880" y="1531542"/>
                          </a:lnTo>
                          <a:lnTo>
                            <a:pt x="637280" y="1530192"/>
                          </a:lnTo>
                          <a:lnTo>
                            <a:pt x="633229" y="1529741"/>
                          </a:lnTo>
                          <a:lnTo>
                            <a:pt x="626928" y="1529741"/>
                          </a:lnTo>
                          <a:lnTo>
                            <a:pt x="624678" y="1530192"/>
                          </a:lnTo>
                          <a:lnTo>
                            <a:pt x="624228" y="1530642"/>
                          </a:lnTo>
                          <a:lnTo>
                            <a:pt x="627378" y="1533342"/>
                          </a:lnTo>
                          <a:lnTo>
                            <a:pt x="632779" y="1536492"/>
                          </a:lnTo>
                          <a:lnTo>
                            <a:pt x="631879" y="1533792"/>
                          </a:lnTo>
                          <a:lnTo>
                            <a:pt x="631879" y="1532892"/>
                          </a:lnTo>
                          <a:lnTo>
                            <a:pt x="633679" y="1531992"/>
                          </a:lnTo>
                          <a:lnTo>
                            <a:pt x="641780" y="1533792"/>
                          </a:lnTo>
                          <a:lnTo>
                            <a:pt x="651231" y="1537392"/>
                          </a:lnTo>
                          <a:lnTo>
                            <a:pt x="653482" y="1537843"/>
                          </a:lnTo>
                          <a:lnTo>
                            <a:pt x="656182" y="1539193"/>
                          </a:lnTo>
                          <a:lnTo>
                            <a:pt x="658882" y="1541443"/>
                          </a:lnTo>
                          <a:lnTo>
                            <a:pt x="662933" y="1545944"/>
                          </a:lnTo>
                          <a:lnTo>
                            <a:pt x="670584" y="1556295"/>
                          </a:lnTo>
                          <a:lnTo>
                            <a:pt x="672834" y="1558995"/>
                          </a:lnTo>
                          <a:lnTo>
                            <a:pt x="675984" y="1561245"/>
                          </a:lnTo>
                          <a:lnTo>
                            <a:pt x="692637" y="1564846"/>
                          </a:lnTo>
                          <a:lnTo>
                            <a:pt x="698487" y="1564846"/>
                          </a:lnTo>
                          <a:lnTo>
                            <a:pt x="709739" y="1565746"/>
                          </a:lnTo>
                          <a:lnTo>
                            <a:pt x="715589" y="1567546"/>
                          </a:lnTo>
                          <a:lnTo>
                            <a:pt x="717390" y="1568896"/>
                          </a:lnTo>
                          <a:lnTo>
                            <a:pt x="717840" y="1573397"/>
                          </a:lnTo>
                          <a:lnTo>
                            <a:pt x="717390" y="1575647"/>
                          </a:lnTo>
                          <a:lnTo>
                            <a:pt x="714239" y="1582398"/>
                          </a:lnTo>
                          <a:lnTo>
                            <a:pt x="711989" y="1587349"/>
                          </a:lnTo>
                          <a:lnTo>
                            <a:pt x="699387" y="1608501"/>
                          </a:lnTo>
                          <a:lnTo>
                            <a:pt x="697587" y="1613452"/>
                          </a:lnTo>
                          <a:lnTo>
                            <a:pt x="696687" y="1616152"/>
                          </a:lnTo>
                          <a:lnTo>
                            <a:pt x="694437" y="1619303"/>
                          </a:lnTo>
                          <a:lnTo>
                            <a:pt x="688586" y="1623803"/>
                          </a:lnTo>
                          <a:lnTo>
                            <a:pt x="682735" y="1627854"/>
                          </a:lnTo>
                          <a:lnTo>
                            <a:pt x="679135" y="1628754"/>
                          </a:lnTo>
                          <a:lnTo>
                            <a:pt x="675984" y="1627854"/>
                          </a:lnTo>
                          <a:lnTo>
                            <a:pt x="674184" y="1626954"/>
                          </a:lnTo>
                          <a:lnTo>
                            <a:pt x="671034" y="1622903"/>
                          </a:lnTo>
                          <a:lnTo>
                            <a:pt x="671034" y="1623353"/>
                          </a:lnTo>
                          <a:lnTo>
                            <a:pt x="673284" y="1629204"/>
                          </a:lnTo>
                          <a:lnTo>
                            <a:pt x="672834" y="1629654"/>
                          </a:lnTo>
                          <a:lnTo>
                            <a:pt x="671034" y="1628754"/>
                          </a:lnTo>
                          <a:lnTo>
                            <a:pt x="666983" y="1626053"/>
                          </a:lnTo>
                          <a:lnTo>
                            <a:pt x="665633" y="1626504"/>
                          </a:lnTo>
                          <a:lnTo>
                            <a:pt x="664733" y="1627404"/>
                          </a:lnTo>
                          <a:lnTo>
                            <a:pt x="663833" y="1627404"/>
                          </a:lnTo>
                          <a:lnTo>
                            <a:pt x="662483" y="1626504"/>
                          </a:lnTo>
                          <a:lnTo>
                            <a:pt x="659783" y="1624253"/>
                          </a:lnTo>
                          <a:lnTo>
                            <a:pt x="659332" y="1623353"/>
                          </a:lnTo>
                          <a:lnTo>
                            <a:pt x="658882" y="1620203"/>
                          </a:lnTo>
                          <a:lnTo>
                            <a:pt x="658432" y="1619753"/>
                          </a:lnTo>
                          <a:lnTo>
                            <a:pt x="653482" y="1621553"/>
                          </a:lnTo>
                          <a:lnTo>
                            <a:pt x="652582" y="1622003"/>
                          </a:lnTo>
                          <a:lnTo>
                            <a:pt x="654382" y="1623353"/>
                          </a:lnTo>
                          <a:lnTo>
                            <a:pt x="655282" y="1624253"/>
                          </a:lnTo>
                          <a:lnTo>
                            <a:pt x="657082" y="1629204"/>
                          </a:lnTo>
                          <a:lnTo>
                            <a:pt x="657082" y="1630104"/>
                          </a:lnTo>
                          <a:lnTo>
                            <a:pt x="655732" y="1630554"/>
                          </a:lnTo>
                          <a:lnTo>
                            <a:pt x="651231" y="1628754"/>
                          </a:lnTo>
                          <a:lnTo>
                            <a:pt x="650781" y="1628754"/>
                          </a:lnTo>
                          <a:lnTo>
                            <a:pt x="653032" y="1633704"/>
                          </a:lnTo>
                          <a:lnTo>
                            <a:pt x="653932" y="1635955"/>
                          </a:lnTo>
                          <a:lnTo>
                            <a:pt x="653932" y="1637305"/>
                          </a:lnTo>
                          <a:lnTo>
                            <a:pt x="650781" y="1642706"/>
                          </a:lnTo>
                          <a:lnTo>
                            <a:pt x="648981" y="1644956"/>
                          </a:lnTo>
                          <a:lnTo>
                            <a:pt x="646281" y="1645856"/>
                          </a:lnTo>
                          <a:lnTo>
                            <a:pt x="644480" y="1645406"/>
                          </a:lnTo>
                          <a:lnTo>
                            <a:pt x="642680" y="1644056"/>
                          </a:lnTo>
                          <a:lnTo>
                            <a:pt x="641330" y="1644056"/>
                          </a:lnTo>
                          <a:lnTo>
                            <a:pt x="640430" y="1645856"/>
                          </a:lnTo>
                          <a:lnTo>
                            <a:pt x="639080" y="1647206"/>
                          </a:lnTo>
                          <a:lnTo>
                            <a:pt x="636830" y="1648106"/>
                          </a:lnTo>
                          <a:lnTo>
                            <a:pt x="634129" y="1647656"/>
                          </a:lnTo>
                          <a:lnTo>
                            <a:pt x="630529" y="1646306"/>
                          </a:lnTo>
                          <a:lnTo>
                            <a:pt x="621528" y="1641356"/>
                          </a:lnTo>
                          <a:lnTo>
                            <a:pt x="618827" y="1640455"/>
                          </a:lnTo>
                          <a:lnTo>
                            <a:pt x="613427" y="1639555"/>
                          </a:lnTo>
                          <a:lnTo>
                            <a:pt x="612977" y="1638655"/>
                          </a:lnTo>
                          <a:lnTo>
                            <a:pt x="612977" y="1637755"/>
                          </a:lnTo>
                          <a:lnTo>
                            <a:pt x="613877" y="1637305"/>
                          </a:lnTo>
                          <a:lnTo>
                            <a:pt x="613877" y="1636855"/>
                          </a:lnTo>
                          <a:lnTo>
                            <a:pt x="612527" y="1636405"/>
                          </a:lnTo>
                          <a:lnTo>
                            <a:pt x="611176" y="1636855"/>
                          </a:lnTo>
                          <a:lnTo>
                            <a:pt x="609826" y="1638205"/>
                          </a:lnTo>
                          <a:lnTo>
                            <a:pt x="607576" y="1638655"/>
                          </a:lnTo>
                          <a:lnTo>
                            <a:pt x="604426" y="1638205"/>
                          </a:lnTo>
                          <a:lnTo>
                            <a:pt x="599925" y="1636405"/>
                          </a:lnTo>
                          <a:lnTo>
                            <a:pt x="590924" y="1631004"/>
                          </a:lnTo>
                          <a:lnTo>
                            <a:pt x="581023" y="1626504"/>
                          </a:lnTo>
                          <a:lnTo>
                            <a:pt x="575172" y="1620653"/>
                          </a:lnTo>
                          <a:lnTo>
                            <a:pt x="577422" y="1625604"/>
                          </a:lnTo>
                          <a:lnTo>
                            <a:pt x="577422" y="1627404"/>
                          </a:lnTo>
                          <a:lnTo>
                            <a:pt x="576522" y="1628754"/>
                          </a:lnTo>
                          <a:lnTo>
                            <a:pt x="576522" y="1630104"/>
                          </a:lnTo>
                          <a:lnTo>
                            <a:pt x="578772" y="1633704"/>
                          </a:lnTo>
                          <a:lnTo>
                            <a:pt x="581923" y="1635055"/>
                          </a:lnTo>
                          <a:lnTo>
                            <a:pt x="585073" y="1635055"/>
                          </a:lnTo>
                          <a:lnTo>
                            <a:pt x="585073" y="1634605"/>
                          </a:lnTo>
                          <a:lnTo>
                            <a:pt x="583723" y="1633704"/>
                          </a:lnTo>
                          <a:lnTo>
                            <a:pt x="582373" y="1632354"/>
                          </a:lnTo>
                          <a:lnTo>
                            <a:pt x="581923" y="1630554"/>
                          </a:lnTo>
                          <a:lnTo>
                            <a:pt x="582373" y="1630104"/>
                          </a:lnTo>
                          <a:lnTo>
                            <a:pt x="585073" y="1631004"/>
                          </a:lnTo>
                          <a:lnTo>
                            <a:pt x="586873" y="1632354"/>
                          </a:lnTo>
                          <a:lnTo>
                            <a:pt x="600375" y="1639105"/>
                          </a:lnTo>
                          <a:lnTo>
                            <a:pt x="604426" y="1640455"/>
                          </a:lnTo>
                          <a:lnTo>
                            <a:pt x="607576" y="1641805"/>
                          </a:lnTo>
                          <a:lnTo>
                            <a:pt x="608476" y="1642706"/>
                          </a:lnTo>
                          <a:lnTo>
                            <a:pt x="607576" y="1644506"/>
                          </a:lnTo>
                          <a:lnTo>
                            <a:pt x="602175" y="1648556"/>
                          </a:lnTo>
                          <a:lnTo>
                            <a:pt x="602175" y="1649456"/>
                          </a:lnTo>
                          <a:lnTo>
                            <a:pt x="605776" y="1649006"/>
                          </a:lnTo>
                          <a:lnTo>
                            <a:pt x="610276" y="1645406"/>
                          </a:lnTo>
                          <a:lnTo>
                            <a:pt x="612977" y="1643606"/>
                          </a:lnTo>
                          <a:lnTo>
                            <a:pt x="615227" y="1642706"/>
                          </a:lnTo>
                          <a:lnTo>
                            <a:pt x="618377" y="1644506"/>
                          </a:lnTo>
                          <a:lnTo>
                            <a:pt x="622428" y="1649006"/>
                          </a:lnTo>
                          <a:lnTo>
                            <a:pt x="626028" y="1651707"/>
                          </a:lnTo>
                          <a:lnTo>
                            <a:pt x="630979" y="1653057"/>
                          </a:lnTo>
                          <a:lnTo>
                            <a:pt x="633679" y="1654407"/>
                          </a:lnTo>
                          <a:lnTo>
                            <a:pt x="638630" y="1658908"/>
                          </a:lnTo>
                          <a:lnTo>
                            <a:pt x="639530" y="1661158"/>
                          </a:lnTo>
                          <a:lnTo>
                            <a:pt x="639980" y="1670159"/>
                          </a:lnTo>
                          <a:lnTo>
                            <a:pt x="639980" y="1672409"/>
                          </a:lnTo>
                          <a:lnTo>
                            <a:pt x="639530" y="1674660"/>
                          </a:lnTo>
                          <a:lnTo>
                            <a:pt x="638630" y="1676910"/>
                          </a:lnTo>
                          <a:lnTo>
                            <a:pt x="636830" y="1678260"/>
                          </a:lnTo>
                          <a:lnTo>
                            <a:pt x="634129" y="1678710"/>
                          </a:lnTo>
                          <a:lnTo>
                            <a:pt x="631879" y="1679610"/>
                          </a:lnTo>
                          <a:lnTo>
                            <a:pt x="626928" y="1684561"/>
                          </a:lnTo>
                          <a:lnTo>
                            <a:pt x="624678" y="1685461"/>
                          </a:lnTo>
                          <a:lnTo>
                            <a:pt x="615677" y="1684111"/>
                          </a:lnTo>
                          <a:lnTo>
                            <a:pt x="612077" y="1682761"/>
                          </a:lnTo>
                          <a:lnTo>
                            <a:pt x="610276" y="1682761"/>
                          </a:lnTo>
                          <a:lnTo>
                            <a:pt x="609376" y="1683661"/>
                          </a:lnTo>
                          <a:lnTo>
                            <a:pt x="608476" y="1684111"/>
                          </a:lnTo>
                          <a:lnTo>
                            <a:pt x="604876" y="1684561"/>
                          </a:lnTo>
                          <a:lnTo>
                            <a:pt x="604426" y="1685461"/>
                          </a:lnTo>
                          <a:lnTo>
                            <a:pt x="604426" y="1686811"/>
                          </a:lnTo>
                          <a:lnTo>
                            <a:pt x="605326" y="1688611"/>
                          </a:lnTo>
                          <a:lnTo>
                            <a:pt x="606226" y="1689511"/>
                          </a:lnTo>
                          <a:lnTo>
                            <a:pt x="607576" y="1690862"/>
                          </a:lnTo>
                          <a:lnTo>
                            <a:pt x="609376" y="1691762"/>
                          </a:lnTo>
                          <a:lnTo>
                            <a:pt x="613427" y="1692662"/>
                          </a:lnTo>
                          <a:lnTo>
                            <a:pt x="613877" y="1694912"/>
                          </a:lnTo>
                          <a:lnTo>
                            <a:pt x="613877" y="1695812"/>
                          </a:lnTo>
                          <a:lnTo>
                            <a:pt x="612527" y="1697613"/>
                          </a:lnTo>
                          <a:lnTo>
                            <a:pt x="611176" y="1697613"/>
                          </a:lnTo>
                          <a:lnTo>
                            <a:pt x="608476" y="1695812"/>
                          </a:lnTo>
                          <a:lnTo>
                            <a:pt x="607126" y="1695812"/>
                          </a:lnTo>
                          <a:lnTo>
                            <a:pt x="605776" y="1696712"/>
                          </a:lnTo>
                          <a:lnTo>
                            <a:pt x="603975" y="1697162"/>
                          </a:lnTo>
                          <a:lnTo>
                            <a:pt x="601725" y="1696712"/>
                          </a:lnTo>
                          <a:lnTo>
                            <a:pt x="600375" y="1697613"/>
                          </a:lnTo>
                          <a:lnTo>
                            <a:pt x="599925" y="1699413"/>
                          </a:lnTo>
                          <a:lnTo>
                            <a:pt x="599025" y="1700763"/>
                          </a:lnTo>
                          <a:lnTo>
                            <a:pt x="596775" y="1703013"/>
                          </a:lnTo>
                          <a:lnTo>
                            <a:pt x="595424" y="1704813"/>
                          </a:lnTo>
                          <a:lnTo>
                            <a:pt x="595424" y="1706164"/>
                          </a:lnTo>
                          <a:lnTo>
                            <a:pt x="596775" y="1707064"/>
                          </a:lnTo>
                          <a:lnTo>
                            <a:pt x="598125" y="1709314"/>
                          </a:lnTo>
                          <a:lnTo>
                            <a:pt x="599925" y="1712914"/>
                          </a:lnTo>
                          <a:lnTo>
                            <a:pt x="600375" y="1714265"/>
                          </a:lnTo>
                          <a:lnTo>
                            <a:pt x="599475" y="1713814"/>
                          </a:lnTo>
                          <a:lnTo>
                            <a:pt x="598125" y="1712464"/>
                          </a:lnTo>
                          <a:lnTo>
                            <a:pt x="596325" y="1710214"/>
                          </a:lnTo>
                          <a:lnTo>
                            <a:pt x="593624" y="1707964"/>
                          </a:lnTo>
                          <a:lnTo>
                            <a:pt x="587323" y="1705263"/>
                          </a:lnTo>
                          <a:lnTo>
                            <a:pt x="586423" y="1705263"/>
                          </a:lnTo>
                          <a:lnTo>
                            <a:pt x="586873" y="1706164"/>
                          </a:lnTo>
                          <a:lnTo>
                            <a:pt x="590924" y="1708864"/>
                          </a:lnTo>
                          <a:lnTo>
                            <a:pt x="592274" y="1710664"/>
                          </a:lnTo>
                          <a:lnTo>
                            <a:pt x="592274" y="1712014"/>
                          </a:lnTo>
                          <a:lnTo>
                            <a:pt x="588674" y="1715165"/>
                          </a:lnTo>
                          <a:lnTo>
                            <a:pt x="588674" y="1716065"/>
                          </a:lnTo>
                          <a:lnTo>
                            <a:pt x="589574" y="1716965"/>
                          </a:lnTo>
                          <a:lnTo>
                            <a:pt x="590024" y="1717865"/>
                          </a:lnTo>
                          <a:lnTo>
                            <a:pt x="588674" y="1719215"/>
                          </a:lnTo>
                          <a:lnTo>
                            <a:pt x="586873" y="1720565"/>
                          </a:lnTo>
                          <a:lnTo>
                            <a:pt x="582823" y="1720565"/>
                          </a:lnTo>
                          <a:lnTo>
                            <a:pt x="582373" y="1721465"/>
                          </a:lnTo>
                          <a:lnTo>
                            <a:pt x="583723" y="1722816"/>
                          </a:lnTo>
                          <a:lnTo>
                            <a:pt x="584173" y="1723716"/>
                          </a:lnTo>
                          <a:lnTo>
                            <a:pt x="582823" y="1725066"/>
                          </a:lnTo>
                          <a:lnTo>
                            <a:pt x="581923" y="1725066"/>
                          </a:lnTo>
                          <a:lnTo>
                            <a:pt x="577422" y="1724616"/>
                          </a:lnTo>
                          <a:lnTo>
                            <a:pt x="578772" y="1727766"/>
                          </a:lnTo>
                          <a:lnTo>
                            <a:pt x="579672" y="1728666"/>
                          </a:lnTo>
                          <a:lnTo>
                            <a:pt x="581023" y="1730017"/>
                          </a:lnTo>
                          <a:lnTo>
                            <a:pt x="583273" y="1731367"/>
                          </a:lnTo>
                          <a:lnTo>
                            <a:pt x="583273" y="1731817"/>
                          </a:lnTo>
                          <a:lnTo>
                            <a:pt x="582373" y="1733167"/>
                          </a:lnTo>
                          <a:lnTo>
                            <a:pt x="581023" y="1734517"/>
                          </a:lnTo>
                          <a:lnTo>
                            <a:pt x="574722" y="1739018"/>
                          </a:lnTo>
                          <a:lnTo>
                            <a:pt x="570221" y="1744418"/>
                          </a:lnTo>
                          <a:lnTo>
                            <a:pt x="569771" y="1746219"/>
                          </a:lnTo>
                          <a:lnTo>
                            <a:pt x="570671" y="1749819"/>
                          </a:lnTo>
                          <a:lnTo>
                            <a:pt x="570671" y="1750719"/>
                          </a:lnTo>
                          <a:lnTo>
                            <a:pt x="569321" y="1752519"/>
                          </a:lnTo>
                          <a:lnTo>
                            <a:pt x="566621" y="1752069"/>
                          </a:lnTo>
                          <a:lnTo>
                            <a:pt x="566171" y="1752519"/>
                          </a:lnTo>
                          <a:lnTo>
                            <a:pt x="566621" y="1754320"/>
                          </a:lnTo>
                          <a:lnTo>
                            <a:pt x="566621" y="1756570"/>
                          </a:lnTo>
                          <a:lnTo>
                            <a:pt x="566171" y="1759720"/>
                          </a:lnTo>
                          <a:lnTo>
                            <a:pt x="564371" y="1764671"/>
                          </a:lnTo>
                          <a:lnTo>
                            <a:pt x="561220" y="1771422"/>
                          </a:lnTo>
                          <a:lnTo>
                            <a:pt x="558520" y="1777723"/>
                          </a:lnTo>
                          <a:lnTo>
                            <a:pt x="556720" y="1783123"/>
                          </a:lnTo>
                          <a:lnTo>
                            <a:pt x="555369" y="1785823"/>
                          </a:lnTo>
                          <a:lnTo>
                            <a:pt x="553119" y="1785823"/>
                          </a:lnTo>
                          <a:lnTo>
                            <a:pt x="551319" y="1787624"/>
                          </a:lnTo>
                          <a:lnTo>
                            <a:pt x="552669" y="1788524"/>
                          </a:lnTo>
                          <a:lnTo>
                            <a:pt x="553569" y="1789424"/>
                          </a:lnTo>
                          <a:lnTo>
                            <a:pt x="554019" y="1791224"/>
                          </a:lnTo>
                          <a:lnTo>
                            <a:pt x="553569" y="1796175"/>
                          </a:lnTo>
                          <a:lnTo>
                            <a:pt x="552219" y="1804276"/>
                          </a:lnTo>
                          <a:lnTo>
                            <a:pt x="553119" y="1810577"/>
                          </a:lnTo>
                          <a:close/>
                          <a:moveTo>
                            <a:pt x="436104" y="1271859"/>
                          </a:moveTo>
                          <a:lnTo>
                            <a:pt x="435654" y="1272309"/>
                          </a:lnTo>
                          <a:lnTo>
                            <a:pt x="431154" y="1270059"/>
                          </a:lnTo>
                          <a:lnTo>
                            <a:pt x="429354" y="1268709"/>
                          </a:lnTo>
                          <a:lnTo>
                            <a:pt x="428904" y="1267809"/>
                          </a:lnTo>
                          <a:lnTo>
                            <a:pt x="428453" y="1265558"/>
                          </a:lnTo>
                          <a:lnTo>
                            <a:pt x="428004" y="1262408"/>
                          </a:lnTo>
                          <a:lnTo>
                            <a:pt x="428904" y="1261058"/>
                          </a:lnTo>
                          <a:lnTo>
                            <a:pt x="431154" y="1261058"/>
                          </a:lnTo>
                          <a:lnTo>
                            <a:pt x="433404" y="1262408"/>
                          </a:lnTo>
                          <a:lnTo>
                            <a:pt x="436555" y="1266008"/>
                          </a:lnTo>
                          <a:lnTo>
                            <a:pt x="435654" y="1266909"/>
                          </a:lnTo>
                          <a:lnTo>
                            <a:pt x="435654" y="1269159"/>
                          </a:lnTo>
                          <a:lnTo>
                            <a:pt x="436104" y="1271409"/>
                          </a:lnTo>
                          <a:lnTo>
                            <a:pt x="436104" y="1271859"/>
                          </a:lnTo>
                          <a:close/>
                          <a:moveTo>
                            <a:pt x="720090" y="1296162"/>
                          </a:moveTo>
                          <a:lnTo>
                            <a:pt x="722340" y="1296612"/>
                          </a:lnTo>
                          <a:lnTo>
                            <a:pt x="724591" y="1296162"/>
                          </a:lnTo>
                          <a:lnTo>
                            <a:pt x="726391" y="1296612"/>
                          </a:lnTo>
                          <a:lnTo>
                            <a:pt x="727291" y="1298413"/>
                          </a:lnTo>
                          <a:lnTo>
                            <a:pt x="728191" y="1300213"/>
                          </a:lnTo>
                          <a:lnTo>
                            <a:pt x="728641" y="1302013"/>
                          </a:lnTo>
                          <a:lnTo>
                            <a:pt x="727741" y="1303363"/>
                          </a:lnTo>
                          <a:lnTo>
                            <a:pt x="724141" y="1304713"/>
                          </a:lnTo>
                          <a:lnTo>
                            <a:pt x="721440" y="1304263"/>
                          </a:lnTo>
                          <a:lnTo>
                            <a:pt x="718740" y="1302463"/>
                          </a:lnTo>
                          <a:lnTo>
                            <a:pt x="717390" y="1303363"/>
                          </a:lnTo>
                          <a:lnTo>
                            <a:pt x="714239" y="1302013"/>
                          </a:lnTo>
                          <a:lnTo>
                            <a:pt x="712889" y="1300213"/>
                          </a:lnTo>
                          <a:lnTo>
                            <a:pt x="711539" y="1297962"/>
                          </a:lnTo>
                          <a:lnTo>
                            <a:pt x="711539" y="1296612"/>
                          </a:lnTo>
                          <a:lnTo>
                            <a:pt x="714689" y="1295262"/>
                          </a:lnTo>
                          <a:lnTo>
                            <a:pt x="716040" y="1293912"/>
                          </a:lnTo>
                          <a:lnTo>
                            <a:pt x="720090" y="1296162"/>
                          </a:lnTo>
                          <a:close/>
                          <a:moveTo>
                            <a:pt x="496862" y="1324966"/>
                          </a:moveTo>
                          <a:lnTo>
                            <a:pt x="497312" y="1325866"/>
                          </a:lnTo>
                          <a:lnTo>
                            <a:pt x="498662" y="1325416"/>
                          </a:lnTo>
                          <a:lnTo>
                            <a:pt x="499562" y="1323616"/>
                          </a:lnTo>
                          <a:lnTo>
                            <a:pt x="500013" y="1323166"/>
                          </a:lnTo>
                          <a:lnTo>
                            <a:pt x="500913" y="1323616"/>
                          </a:lnTo>
                          <a:lnTo>
                            <a:pt x="504063" y="1327216"/>
                          </a:lnTo>
                          <a:lnTo>
                            <a:pt x="506313" y="1330817"/>
                          </a:lnTo>
                          <a:lnTo>
                            <a:pt x="508564" y="1333517"/>
                          </a:lnTo>
                          <a:lnTo>
                            <a:pt x="512614" y="1335767"/>
                          </a:lnTo>
                          <a:lnTo>
                            <a:pt x="521165" y="1343418"/>
                          </a:lnTo>
                          <a:lnTo>
                            <a:pt x="523415" y="1348369"/>
                          </a:lnTo>
                          <a:lnTo>
                            <a:pt x="526116" y="1356470"/>
                          </a:lnTo>
                          <a:lnTo>
                            <a:pt x="528366" y="1362321"/>
                          </a:lnTo>
                          <a:lnTo>
                            <a:pt x="530616" y="1366371"/>
                          </a:lnTo>
                          <a:lnTo>
                            <a:pt x="532867" y="1369521"/>
                          </a:lnTo>
                          <a:lnTo>
                            <a:pt x="536467" y="1373122"/>
                          </a:lnTo>
                          <a:lnTo>
                            <a:pt x="539617" y="1370422"/>
                          </a:lnTo>
                          <a:lnTo>
                            <a:pt x="540968" y="1369521"/>
                          </a:lnTo>
                          <a:lnTo>
                            <a:pt x="542318" y="1370422"/>
                          </a:lnTo>
                          <a:lnTo>
                            <a:pt x="543218" y="1373122"/>
                          </a:lnTo>
                          <a:lnTo>
                            <a:pt x="542768" y="1374472"/>
                          </a:lnTo>
                          <a:lnTo>
                            <a:pt x="541418" y="1375822"/>
                          </a:lnTo>
                          <a:lnTo>
                            <a:pt x="539167" y="1377622"/>
                          </a:lnTo>
                          <a:lnTo>
                            <a:pt x="536017" y="1377622"/>
                          </a:lnTo>
                          <a:lnTo>
                            <a:pt x="534667" y="1378073"/>
                          </a:lnTo>
                          <a:lnTo>
                            <a:pt x="532417" y="1380773"/>
                          </a:lnTo>
                          <a:lnTo>
                            <a:pt x="530616" y="1384373"/>
                          </a:lnTo>
                          <a:lnTo>
                            <a:pt x="527916" y="1385723"/>
                          </a:lnTo>
                          <a:lnTo>
                            <a:pt x="522965" y="1391574"/>
                          </a:lnTo>
                          <a:lnTo>
                            <a:pt x="520265" y="1393825"/>
                          </a:lnTo>
                          <a:lnTo>
                            <a:pt x="516214" y="1394274"/>
                          </a:lnTo>
                          <a:lnTo>
                            <a:pt x="507663" y="1389774"/>
                          </a:lnTo>
                          <a:lnTo>
                            <a:pt x="502263" y="1390224"/>
                          </a:lnTo>
                          <a:lnTo>
                            <a:pt x="497762" y="1389324"/>
                          </a:lnTo>
                          <a:lnTo>
                            <a:pt x="492812" y="1384373"/>
                          </a:lnTo>
                          <a:lnTo>
                            <a:pt x="488761" y="1381673"/>
                          </a:lnTo>
                          <a:lnTo>
                            <a:pt x="481560" y="1377622"/>
                          </a:lnTo>
                          <a:lnTo>
                            <a:pt x="481110" y="1377172"/>
                          </a:lnTo>
                          <a:lnTo>
                            <a:pt x="480660" y="1375822"/>
                          </a:lnTo>
                          <a:lnTo>
                            <a:pt x="480660" y="1373572"/>
                          </a:lnTo>
                          <a:lnTo>
                            <a:pt x="480210" y="1372222"/>
                          </a:lnTo>
                          <a:lnTo>
                            <a:pt x="479760" y="1371322"/>
                          </a:lnTo>
                          <a:lnTo>
                            <a:pt x="478410" y="1371322"/>
                          </a:lnTo>
                          <a:lnTo>
                            <a:pt x="477060" y="1372672"/>
                          </a:lnTo>
                          <a:lnTo>
                            <a:pt x="474809" y="1374022"/>
                          </a:lnTo>
                          <a:lnTo>
                            <a:pt x="471209" y="1373572"/>
                          </a:lnTo>
                          <a:lnTo>
                            <a:pt x="469859" y="1372672"/>
                          </a:lnTo>
                          <a:lnTo>
                            <a:pt x="468509" y="1371322"/>
                          </a:lnTo>
                          <a:lnTo>
                            <a:pt x="468059" y="1369971"/>
                          </a:lnTo>
                          <a:lnTo>
                            <a:pt x="468059" y="1368171"/>
                          </a:lnTo>
                          <a:lnTo>
                            <a:pt x="467608" y="1366821"/>
                          </a:lnTo>
                          <a:lnTo>
                            <a:pt x="467158" y="1365921"/>
                          </a:lnTo>
                          <a:lnTo>
                            <a:pt x="465808" y="1365921"/>
                          </a:lnTo>
                          <a:lnTo>
                            <a:pt x="464008" y="1366821"/>
                          </a:lnTo>
                          <a:lnTo>
                            <a:pt x="463108" y="1367721"/>
                          </a:lnTo>
                          <a:lnTo>
                            <a:pt x="463558" y="1369071"/>
                          </a:lnTo>
                          <a:lnTo>
                            <a:pt x="463108" y="1369971"/>
                          </a:lnTo>
                          <a:lnTo>
                            <a:pt x="459507" y="1369971"/>
                          </a:lnTo>
                          <a:lnTo>
                            <a:pt x="458157" y="1369071"/>
                          </a:lnTo>
                          <a:lnTo>
                            <a:pt x="455457" y="1366821"/>
                          </a:lnTo>
                          <a:lnTo>
                            <a:pt x="454107" y="1364571"/>
                          </a:lnTo>
                          <a:lnTo>
                            <a:pt x="452757" y="1360070"/>
                          </a:lnTo>
                          <a:lnTo>
                            <a:pt x="452757" y="1358720"/>
                          </a:lnTo>
                          <a:lnTo>
                            <a:pt x="453657" y="1356020"/>
                          </a:lnTo>
                          <a:lnTo>
                            <a:pt x="455007" y="1354219"/>
                          </a:lnTo>
                          <a:lnTo>
                            <a:pt x="462658" y="1353319"/>
                          </a:lnTo>
                          <a:lnTo>
                            <a:pt x="466258" y="1352419"/>
                          </a:lnTo>
                          <a:lnTo>
                            <a:pt x="470309" y="1349269"/>
                          </a:lnTo>
                          <a:lnTo>
                            <a:pt x="474809" y="1343868"/>
                          </a:lnTo>
                          <a:lnTo>
                            <a:pt x="475709" y="1342068"/>
                          </a:lnTo>
                          <a:lnTo>
                            <a:pt x="475709" y="1340718"/>
                          </a:lnTo>
                          <a:lnTo>
                            <a:pt x="475259" y="1339368"/>
                          </a:lnTo>
                          <a:lnTo>
                            <a:pt x="473909" y="1336217"/>
                          </a:lnTo>
                          <a:lnTo>
                            <a:pt x="473459" y="1333967"/>
                          </a:lnTo>
                          <a:lnTo>
                            <a:pt x="473909" y="1333067"/>
                          </a:lnTo>
                          <a:lnTo>
                            <a:pt x="475709" y="1333067"/>
                          </a:lnTo>
                          <a:lnTo>
                            <a:pt x="474809" y="1331717"/>
                          </a:lnTo>
                          <a:lnTo>
                            <a:pt x="473909" y="1329916"/>
                          </a:lnTo>
                          <a:lnTo>
                            <a:pt x="473459" y="1329016"/>
                          </a:lnTo>
                          <a:lnTo>
                            <a:pt x="473459" y="1327216"/>
                          </a:lnTo>
                          <a:lnTo>
                            <a:pt x="474809" y="1326766"/>
                          </a:lnTo>
                          <a:lnTo>
                            <a:pt x="476610" y="1327666"/>
                          </a:lnTo>
                          <a:lnTo>
                            <a:pt x="480210" y="1332617"/>
                          </a:lnTo>
                          <a:lnTo>
                            <a:pt x="481560" y="1333517"/>
                          </a:lnTo>
                          <a:lnTo>
                            <a:pt x="483810" y="1334417"/>
                          </a:lnTo>
                          <a:lnTo>
                            <a:pt x="481110" y="1331267"/>
                          </a:lnTo>
                          <a:lnTo>
                            <a:pt x="478410" y="1324066"/>
                          </a:lnTo>
                          <a:lnTo>
                            <a:pt x="477960" y="1321816"/>
                          </a:lnTo>
                          <a:lnTo>
                            <a:pt x="477960" y="1320465"/>
                          </a:lnTo>
                          <a:lnTo>
                            <a:pt x="478860" y="1316415"/>
                          </a:lnTo>
                          <a:lnTo>
                            <a:pt x="479310" y="1315065"/>
                          </a:lnTo>
                          <a:lnTo>
                            <a:pt x="480210" y="1314165"/>
                          </a:lnTo>
                          <a:lnTo>
                            <a:pt x="482910" y="1311914"/>
                          </a:lnTo>
                          <a:lnTo>
                            <a:pt x="486961" y="1310564"/>
                          </a:lnTo>
                          <a:lnTo>
                            <a:pt x="489211" y="1310564"/>
                          </a:lnTo>
                          <a:lnTo>
                            <a:pt x="491461" y="1311914"/>
                          </a:lnTo>
                          <a:lnTo>
                            <a:pt x="493262" y="1314165"/>
                          </a:lnTo>
                          <a:lnTo>
                            <a:pt x="497312" y="1318215"/>
                          </a:lnTo>
                          <a:lnTo>
                            <a:pt x="497762" y="1320015"/>
                          </a:lnTo>
                          <a:lnTo>
                            <a:pt x="497762" y="1320915"/>
                          </a:lnTo>
                          <a:lnTo>
                            <a:pt x="495962" y="1321816"/>
                          </a:lnTo>
                          <a:lnTo>
                            <a:pt x="495962" y="1322716"/>
                          </a:lnTo>
                          <a:lnTo>
                            <a:pt x="496862" y="1324966"/>
                          </a:lnTo>
                          <a:close/>
                          <a:moveTo>
                            <a:pt x="878510" y="1315965"/>
                          </a:moveTo>
                          <a:lnTo>
                            <a:pt x="879410" y="1319565"/>
                          </a:lnTo>
                          <a:lnTo>
                            <a:pt x="879860" y="1320465"/>
                          </a:lnTo>
                          <a:lnTo>
                            <a:pt x="878960" y="1322265"/>
                          </a:lnTo>
                          <a:lnTo>
                            <a:pt x="875810" y="1325416"/>
                          </a:lnTo>
                          <a:lnTo>
                            <a:pt x="868609" y="1326766"/>
                          </a:lnTo>
                          <a:lnTo>
                            <a:pt x="865008" y="1325416"/>
                          </a:lnTo>
                          <a:lnTo>
                            <a:pt x="866808" y="1330367"/>
                          </a:lnTo>
                          <a:lnTo>
                            <a:pt x="867258" y="1332167"/>
                          </a:lnTo>
                          <a:lnTo>
                            <a:pt x="866808" y="1333067"/>
                          </a:lnTo>
                          <a:lnTo>
                            <a:pt x="865458" y="1332617"/>
                          </a:lnTo>
                          <a:lnTo>
                            <a:pt x="863208" y="1331267"/>
                          </a:lnTo>
                          <a:lnTo>
                            <a:pt x="861858" y="1329466"/>
                          </a:lnTo>
                          <a:lnTo>
                            <a:pt x="861408" y="1327666"/>
                          </a:lnTo>
                          <a:lnTo>
                            <a:pt x="860958" y="1327216"/>
                          </a:lnTo>
                          <a:lnTo>
                            <a:pt x="860507" y="1328116"/>
                          </a:lnTo>
                          <a:lnTo>
                            <a:pt x="860058" y="1327666"/>
                          </a:lnTo>
                          <a:lnTo>
                            <a:pt x="858707" y="1324966"/>
                          </a:lnTo>
                          <a:lnTo>
                            <a:pt x="857807" y="1324066"/>
                          </a:lnTo>
                          <a:lnTo>
                            <a:pt x="850606" y="1322265"/>
                          </a:lnTo>
                          <a:lnTo>
                            <a:pt x="850156" y="1321365"/>
                          </a:lnTo>
                          <a:lnTo>
                            <a:pt x="850606" y="1320015"/>
                          </a:lnTo>
                          <a:lnTo>
                            <a:pt x="851506" y="1318215"/>
                          </a:lnTo>
                          <a:lnTo>
                            <a:pt x="852857" y="1317765"/>
                          </a:lnTo>
                          <a:lnTo>
                            <a:pt x="856907" y="1318665"/>
                          </a:lnTo>
                          <a:lnTo>
                            <a:pt x="857357" y="1318215"/>
                          </a:lnTo>
                          <a:lnTo>
                            <a:pt x="857807" y="1315965"/>
                          </a:lnTo>
                          <a:lnTo>
                            <a:pt x="858257" y="1315065"/>
                          </a:lnTo>
                          <a:lnTo>
                            <a:pt x="860958" y="1315515"/>
                          </a:lnTo>
                          <a:lnTo>
                            <a:pt x="862758" y="1315065"/>
                          </a:lnTo>
                          <a:lnTo>
                            <a:pt x="863658" y="1316415"/>
                          </a:lnTo>
                          <a:lnTo>
                            <a:pt x="864558" y="1319115"/>
                          </a:lnTo>
                          <a:lnTo>
                            <a:pt x="865908" y="1318665"/>
                          </a:lnTo>
                          <a:lnTo>
                            <a:pt x="867708" y="1319115"/>
                          </a:lnTo>
                          <a:lnTo>
                            <a:pt x="869959" y="1318215"/>
                          </a:lnTo>
                          <a:lnTo>
                            <a:pt x="873109" y="1315965"/>
                          </a:lnTo>
                          <a:lnTo>
                            <a:pt x="875810" y="1315065"/>
                          </a:lnTo>
                          <a:lnTo>
                            <a:pt x="878510" y="1315965"/>
                          </a:lnTo>
                          <a:close/>
                          <a:moveTo>
                            <a:pt x="908213" y="1320465"/>
                          </a:moveTo>
                          <a:lnTo>
                            <a:pt x="909114" y="1323616"/>
                          </a:lnTo>
                          <a:lnTo>
                            <a:pt x="909114" y="1325416"/>
                          </a:lnTo>
                          <a:lnTo>
                            <a:pt x="907763" y="1327216"/>
                          </a:lnTo>
                          <a:lnTo>
                            <a:pt x="901913" y="1330817"/>
                          </a:lnTo>
                          <a:lnTo>
                            <a:pt x="898312" y="1333967"/>
                          </a:lnTo>
                          <a:lnTo>
                            <a:pt x="896512" y="1334417"/>
                          </a:lnTo>
                          <a:lnTo>
                            <a:pt x="894262" y="1333967"/>
                          </a:lnTo>
                          <a:lnTo>
                            <a:pt x="891561" y="1335317"/>
                          </a:lnTo>
                          <a:lnTo>
                            <a:pt x="890661" y="1335317"/>
                          </a:lnTo>
                          <a:lnTo>
                            <a:pt x="892011" y="1333067"/>
                          </a:lnTo>
                          <a:lnTo>
                            <a:pt x="896512" y="1325866"/>
                          </a:lnTo>
                          <a:lnTo>
                            <a:pt x="900113" y="1324966"/>
                          </a:lnTo>
                          <a:lnTo>
                            <a:pt x="901463" y="1323616"/>
                          </a:lnTo>
                          <a:lnTo>
                            <a:pt x="902363" y="1324066"/>
                          </a:lnTo>
                          <a:lnTo>
                            <a:pt x="902813" y="1322716"/>
                          </a:lnTo>
                          <a:lnTo>
                            <a:pt x="902813" y="1320915"/>
                          </a:lnTo>
                          <a:lnTo>
                            <a:pt x="904163" y="1319565"/>
                          </a:lnTo>
                          <a:lnTo>
                            <a:pt x="905513" y="1319565"/>
                          </a:lnTo>
                          <a:lnTo>
                            <a:pt x="908213" y="1320465"/>
                          </a:lnTo>
                          <a:close/>
                          <a:moveTo>
                            <a:pt x="1122890" y="1331267"/>
                          </a:moveTo>
                          <a:lnTo>
                            <a:pt x="1122440" y="1331717"/>
                          </a:lnTo>
                          <a:lnTo>
                            <a:pt x="1117040" y="1329016"/>
                          </a:lnTo>
                          <a:lnTo>
                            <a:pt x="1116590" y="1326766"/>
                          </a:lnTo>
                          <a:lnTo>
                            <a:pt x="1119290" y="1324516"/>
                          </a:lnTo>
                          <a:lnTo>
                            <a:pt x="1121540" y="1323166"/>
                          </a:lnTo>
                          <a:lnTo>
                            <a:pt x="1123340" y="1323166"/>
                          </a:lnTo>
                          <a:lnTo>
                            <a:pt x="1125141" y="1323616"/>
                          </a:lnTo>
                          <a:lnTo>
                            <a:pt x="1126941" y="1326316"/>
                          </a:lnTo>
                          <a:lnTo>
                            <a:pt x="1125141" y="1328566"/>
                          </a:lnTo>
                          <a:lnTo>
                            <a:pt x="1122890" y="1331267"/>
                          </a:lnTo>
                          <a:close/>
                          <a:moveTo>
                            <a:pt x="537367" y="1329016"/>
                          </a:moveTo>
                          <a:lnTo>
                            <a:pt x="540068" y="1333067"/>
                          </a:lnTo>
                          <a:lnTo>
                            <a:pt x="540068" y="1334867"/>
                          </a:lnTo>
                          <a:lnTo>
                            <a:pt x="539617" y="1338017"/>
                          </a:lnTo>
                          <a:lnTo>
                            <a:pt x="538717" y="1340718"/>
                          </a:lnTo>
                          <a:lnTo>
                            <a:pt x="537367" y="1342518"/>
                          </a:lnTo>
                          <a:lnTo>
                            <a:pt x="535567" y="1343418"/>
                          </a:lnTo>
                          <a:lnTo>
                            <a:pt x="533317" y="1343418"/>
                          </a:lnTo>
                          <a:lnTo>
                            <a:pt x="532417" y="1342518"/>
                          </a:lnTo>
                          <a:lnTo>
                            <a:pt x="533317" y="1339818"/>
                          </a:lnTo>
                          <a:lnTo>
                            <a:pt x="533767" y="1338918"/>
                          </a:lnTo>
                          <a:lnTo>
                            <a:pt x="533767" y="1336667"/>
                          </a:lnTo>
                          <a:lnTo>
                            <a:pt x="533317" y="1333067"/>
                          </a:lnTo>
                          <a:lnTo>
                            <a:pt x="532867" y="1330817"/>
                          </a:lnTo>
                          <a:lnTo>
                            <a:pt x="531516" y="1329466"/>
                          </a:lnTo>
                          <a:lnTo>
                            <a:pt x="530616" y="1329466"/>
                          </a:lnTo>
                          <a:lnTo>
                            <a:pt x="530166" y="1330817"/>
                          </a:lnTo>
                          <a:lnTo>
                            <a:pt x="530616" y="1333067"/>
                          </a:lnTo>
                          <a:lnTo>
                            <a:pt x="530166" y="1336217"/>
                          </a:lnTo>
                          <a:lnTo>
                            <a:pt x="529266" y="1340268"/>
                          </a:lnTo>
                          <a:lnTo>
                            <a:pt x="528366" y="1342068"/>
                          </a:lnTo>
                          <a:lnTo>
                            <a:pt x="527016" y="1341168"/>
                          </a:lnTo>
                          <a:lnTo>
                            <a:pt x="526566" y="1339818"/>
                          </a:lnTo>
                          <a:lnTo>
                            <a:pt x="526566" y="1337567"/>
                          </a:lnTo>
                          <a:lnTo>
                            <a:pt x="526116" y="1335317"/>
                          </a:lnTo>
                          <a:lnTo>
                            <a:pt x="526566" y="1333067"/>
                          </a:lnTo>
                          <a:lnTo>
                            <a:pt x="527466" y="1329466"/>
                          </a:lnTo>
                          <a:lnTo>
                            <a:pt x="528816" y="1327216"/>
                          </a:lnTo>
                          <a:lnTo>
                            <a:pt x="530616" y="1325866"/>
                          </a:lnTo>
                          <a:lnTo>
                            <a:pt x="532417" y="1325866"/>
                          </a:lnTo>
                          <a:lnTo>
                            <a:pt x="534667" y="1327216"/>
                          </a:lnTo>
                          <a:lnTo>
                            <a:pt x="537367" y="1329016"/>
                          </a:lnTo>
                          <a:close/>
                          <a:moveTo>
                            <a:pt x="417652" y="1339818"/>
                          </a:moveTo>
                          <a:lnTo>
                            <a:pt x="415852" y="1340268"/>
                          </a:lnTo>
                          <a:lnTo>
                            <a:pt x="415402" y="1340268"/>
                          </a:lnTo>
                          <a:lnTo>
                            <a:pt x="415402" y="1338468"/>
                          </a:lnTo>
                          <a:lnTo>
                            <a:pt x="415402" y="1337567"/>
                          </a:lnTo>
                          <a:lnTo>
                            <a:pt x="414952" y="1337117"/>
                          </a:lnTo>
                          <a:lnTo>
                            <a:pt x="416302" y="1335767"/>
                          </a:lnTo>
                          <a:lnTo>
                            <a:pt x="416302" y="1334867"/>
                          </a:lnTo>
                          <a:lnTo>
                            <a:pt x="415852" y="1333967"/>
                          </a:lnTo>
                          <a:lnTo>
                            <a:pt x="413602" y="1332617"/>
                          </a:lnTo>
                          <a:lnTo>
                            <a:pt x="413152" y="1331267"/>
                          </a:lnTo>
                          <a:lnTo>
                            <a:pt x="413152" y="1329916"/>
                          </a:lnTo>
                          <a:lnTo>
                            <a:pt x="414052" y="1329016"/>
                          </a:lnTo>
                          <a:lnTo>
                            <a:pt x="415402" y="1329016"/>
                          </a:lnTo>
                          <a:lnTo>
                            <a:pt x="418552" y="1330817"/>
                          </a:lnTo>
                          <a:lnTo>
                            <a:pt x="419902" y="1333517"/>
                          </a:lnTo>
                          <a:lnTo>
                            <a:pt x="420353" y="1335767"/>
                          </a:lnTo>
                          <a:lnTo>
                            <a:pt x="419452" y="1336217"/>
                          </a:lnTo>
                          <a:lnTo>
                            <a:pt x="418552" y="1337117"/>
                          </a:lnTo>
                          <a:lnTo>
                            <a:pt x="417652" y="1338918"/>
                          </a:lnTo>
                          <a:lnTo>
                            <a:pt x="417652" y="1339818"/>
                          </a:lnTo>
                          <a:close/>
                          <a:moveTo>
                            <a:pt x="930266" y="1355120"/>
                          </a:moveTo>
                          <a:lnTo>
                            <a:pt x="927566" y="1356020"/>
                          </a:lnTo>
                          <a:lnTo>
                            <a:pt x="925766" y="1355570"/>
                          </a:lnTo>
                          <a:lnTo>
                            <a:pt x="924416" y="1354219"/>
                          </a:lnTo>
                          <a:lnTo>
                            <a:pt x="923515" y="1352419"/>
                          </a:lnTo>
                          <a:lnTo>
                            <a:pt x="922165" y="1347469"/>
                          </a:lnTo>
                          <a:lnTo>
                            <a:pt x="922615" y="1345218"/>
                          </a:lnTo>
                          <a:lnTo>
                            <a:pt x="922615" y="1341168"/>
                          </a:lnTo>
                          <a:lnTo>
                            <a:pt x="923065" y="1339818"/>
                          </a:lnTo>
                          <a:lnTo>
                            <a:pt x="923515" y="1338918"/>
                          </a:lnTo>
                          <a:lnTo>
                            <a:pt x="926216" y="1337567"/>
                          </a:lnTo>
                          <a:lnTo>
                            <a:pt x="928016" y="1337567"/>
                          </a:lnTo>
                          <a:lnTo>
                            <a:pt x="930266" y="1338918"/>
                          </a:lnTo>
                          <a:lnTo>
                            <a:pt x="935667" y="1339368"/>
                          </a:lnTo>
                          <a:lnTo>
                            <a:pt x="937017" y="1340718"/>
                          </a:lnTo>
                          <a:lnTo>
                            <a:pt x="937467" y="1341618"/>
                          </a:lnTo>
                          <a:lnTo>
                            <a:pt x="937467" y="1342518"/>
                          </a:lnTo>
                          <a:lnTo>
                            <a:pt x="937017" y="1343868"/>
                          </a:lnTo>
                          <a:lnTo>
                            <a:pt x="934317" y="1347469"/>
                          </a:lnTo>
                          <a:lnTo>
                            <a:pt x="932967" y="1350169"/>
                          </a:lnTo>
                          <a:lnTo>
                            <a:pt x="932067" y="1353319"/>
                          </a:lnTo>
                          <a:lnTo>
                            <a:pt x="930266" y="1355120"/>
                          </a:lnTo>
                          <a:close/>
                          <a:moveTo>
                            <a:pt x="650331" y="1338468"/>
                          </a:moveTo>
                          <a:lnTo>
                            <a:pt x="650781" y="1342068"/>
                          </a:lnTo>
                          <a:lnTo>
                            <a:pt x="648981" y="1347019"/>
                          </a:lnTo>
                          <a:lnTo>
                            <a:pt x="648531" y="1347919"/>
                          </a:lnTo>
                          <a:lnTo>
                            <a:pt x="647631" y="1348369"/>
                          </a:lnTo>
                          <a:lnTo>
                            <a:pt x="646731" y="1347919"/>
                          </a:lnTo>
                          <a:lnTo>
                            <a:pt x="644480" y="1343868"/>
                          </a:lnTo>
                          <a:lnTo>
                            <a:pt x="644031" y="1341168"/>
                          </a:lnTo>
                          <a:lnTo>
                            <a:pt x="644931" y="1339818"/>
                          </a:lnTo>
                          <a:lnTo>
                            <a:pt x="646731" y="1338468"/>
                          </a:lnTo>
                          <a:lnTo>
                            <a:pt x="648081" y="1337567"/>
                          </a:lnTo>
                          <a:lnTo>
                            <a:pt x="649431" y="1338017"/>
                          </a:lnTo>
                          <a:lnTo>
                            <a:pt x="649881" y="1337117"/>
                          </a:lnTo>
                          <a:lnTo>
                            <a:pt x="650331" y="1338468"/>
                          </a:lnTo>
                          <a:close/>
                          <a:moveTo>
                            <a:pt x="883460" y="1372672"/>
                          </a:moveTo>
                          <a:lnTo>
                            <a:pt x="882110" y="1373122"/>
                          </a:lnTo>
                          <a:lnTo>
                            <a:pt x="880310" y="1372222"/>
                          </a:lnTo>
                          <a:lnTo>
                            <a:pt x="879860" y="1370422"/>
                          </a:lnTo>
                          <a:lnTo>
                            <a:pt x="879410" y="1368621"/>
                          </a:lnTo>
                          <a:lnTo>
                            <a:pt x="879860" y="1367721"/>
                          </a:lnTo>
                          <a:lnTo>
                            <a:pt x="880760" y="1366821"/>
                          </a:lnTo>
                          <a:lnTo>
                            <a:pt x="881660" y="1364571"/>
                          </a:lnTo>
                          <a:lnTo>
                            <a:pt x="883010" y="1361420"/>
                          </a:lnTo>
                          <a:lnTo>
                            <a:pt x="885261" y="1359170"/>
                          </a:lnTo>
                          <a:lnTo>
                            <a:pt x="889761" y="1356920"/>
                          </a:lnTo>
                          <a:lnTo>
                            <a:pt x="890211" y="1356020"/>
                          </a:lnTo>
                          <a:lnTo>
                            <a:pt x="892462" y="1350169"/>
                          </a:lnTo>
                          <a:lnTo>
                            <a:pt x="893362" y="1349269"/>
                          </a:lnTo>
                          <a:lnTo>
                            <a:pt x="895612" y="1348819"/>
                          </a:lnTo>
                          <a:lnTo>
                            <a:pt x="896062" y="1347919"/>
                          </a:lnTo>
                          <a:lnTo>
                            <a:pt x="895162" y="1346569"/>
                          </a:lnTo>
                          <a:lnTo>
                            <a:pt x="895162" y="1345218"/>
                          </a:lnTo>
                          <a:lnTo>
                            <a:pt x="896062" y="1343868"/>
                          </a:lnTo>
                          <a:lnTo>
                            <a:pt x="897412" y="1342518"/>
                          </a:lnTo>
                          <a:lnTo>
                            <a:pt x="900563" y="1341168"/>
                          </a:lnTo>
                          <a:lnTo>
                            <a:pt x="903263" y="1341168"/>
                          </a:lnTo>
                          <a:lnTo>
                            <a:pt x="904163" y="1341618"/>
                          </a:lnTo>
                          <a:lnTo>
                            <a:pt x="904613" y="1342518"/>
                          </a:lnTo>
                          <a:lnTo>
                            <a:pt x="905513" y="1345218"/>
                          </a:lnTo>
                          <a:lnTo>
                            <a:pt x="905513" y="1345668"/>
                          </a:lnTo>
                          <a:lnTo>
                            <a:pt x="904163" y="1348369"/>
                          </a:lnTo>
                          <a:lnTo>
                            <a:pt x="901013" y="1351969"/>
                          </a:lnTo>
                          <a:lnTo>
                            <a:pt x="899212" y="1355120"/>
                          </a:lnTo>
                          <a:lnTo>
                            <a:pt x="898762" y="1356020"/>
                          </a:lnTo>
                          <a:lnTo>
                            <a:pt x="898762" y="1357370"/>
                          </a:lnTo>
                          <a:lnTo>
                            <a:pt x="897862" y="1359170"/>
                          </a:lnTo>
                          <a:lnTo>
                            <a:pt x="895612" y="1363221"/>
                          </a:lnTo>
                          <a:lnTo>
                            <a:pt x="894262" y="1366821"/>
                          </a:lnTo>
                          <a:lnTo>
                            <a:pt x="892912" y="1369071"/>
                          </a:lnTo>
                          <a:lnTo>
                            <a:pt x="888861" y="1370872"/>
                          </a:lnTo>
                          <a:lnTo>
                            <a:pt x="883460" y="1372672"/>
                          </a:lnTo>
                          <a:close/>
                          <a:moveTo>
                            <a:pt x="644031" y="1350169"/>
                          </a:moveTo>
                          <a:lnTo>
                            <a:pt x="642230" y="1351069"/>
                          </a:lnTo>
                          <a:lnTo>
                            <a:pt x="641330" y="1348369"/>
                          </a:lnTo>
                          <a:lnTo>
                            <a:pt x="640430" y="1347919"/>
                          </a:lnTo>
                          <a:lnTo>
                            <a:pt x="639980" y="1346119"/>
                          </a:lnTo>
                          <a:lnTo>
                            <a:pt x="638180" y="1345668"/>
                          </a:lnTo>
                          <a:lnTo>
                            <a:pt x="638180" y="1342968"/>
                          </a:lnTo>
                          <a:lnTo>
                            <a:pt x="638630" y="1341618"/>
                          </a:lnTo>
                          <a:lnTo>
                            <a:pt x="640430" y="1340718"/>
                          </a:lnTo>
                          <a:lnTo>
                            <a:pt x="641780" y="1341168"/>
                          </a:lnTo>
                          <a:lnTo>
                            <a:pt x="643130" y="1343868"/>
                          </a:lnTo>
                          <a:lnTo>
                            <a:pt x="643580" y="1346119"/>
                          </a:lnTo>
                          <a:lnTo>
                            <a:pt x="644031" y="1348819"/>
                          </a:lnTo>
                          <a:lnTo>
                            <a:pt x="644031" y="1350169"/>
                          </a:lnTo>
                          <a:close/>
                          <a:moveTo>
                            <a:pt x="442405" y="1362771"/>
                          </a:moveTo>
                          <a:lnTo>
                            <a:pt x="441955" y="1366371"/>
                          </a:lnTo>
                          <a:lnTo>
                            <a:pt x="439255" y="1365471"/>
                          </a:lnTo>
                          <a:lnTo>
                            <a:pt x="437905" y="1364121"/>
                          </a:lnTo>
                          <a:lnTo>
                            <a:pt x="437005" y="1361420"/>
                          </a:lnTo>
                          <a:lnTo>
                            <a:pt x="437005" y="1360520"/>
                          </a:lnTo>
                          <a:lnTo>
                            <a:pt x="437005" y="1359620"/>
                          </a:lnTo>
                          <a:lnTo>
                            <a:pt x="437905" y="1356920"/>
                          </a:lnTo>
                          <a:lnTo>
                            <a:pt x="438805" y="1356020"/>
                          </a:lnTo>
                          <a:lnTo>
                            <a:pt x="440605" y="1356920"/>
                          </a:lnTo>
                          <a:lnTo>
                            <a:pt x="441505" y="1358270"/>
                          </a:lnTo>
                          <a:lnTo>
                            <a:pt x="441955" y="1360520"/>
                          </a:lnTo>
                          <a:lnTo>
                            <a:pt x="442405" y="1362771"/>
                          </a:lnTo>
                          <a:close/>
                          <a:moveTo>
                            <a:pt x="437905" y="1374922"/>
                          </a:moveTo>
                          <a:lnTo>
                            <a:pt x="437455" y="1376722"/>
                          </a:lnTo>
                          <a:lnTo>
                            <a:pt x="436555" y="1377172"/>
                          </a:lnTo>
                          <a:lnTo>
                            <a:pt x="434754" y="1379423"/>
                          </a:lnTo>
                          <a:lnTo>
                            <a:pt x="434304" y="1379873"/>
                          </a:lnTo>
                          <a:lnTo>
                            <a:pt x="433404" y="1378523"/>
                          </a:lnTo>
                          <a:lnTo>
                            <a:pt x="432504" y="1376272"/>
                          </a:lnTo>
                          <a:lnTo>
                            <a:pt x="432054" y="1375822"/>
                          </a:lnTo>
                          <a:lnTo>
                            <a:pt x="431604" y="1375822"/>
                          </a:lnTo>
                          <a:lnTo>
                            <a:pt x="430704" y="1377172"/>
                          </a:lnTo>
                          <a:lnTo>
                            <a:pt x="430254" y="1377172"/>
                          </a:lnTo>
                          <a:lnTo>
                            <a:pt x="429804" y="1376272"/>
                          </a:lnTo>
                          <a:lnTo>
                            <a:pt x="429804" y="1374472"/>
                          </a:lnTo>
                          <a:lnTo>
                            <a:pt x="429804" y="1371772"/>
                          </a:lnTo>
                          <a:lnTo>
                            <a:pt x="430254" y="1367271"/>
                          </a:lnTo>
                          <a:lnTo>
                            <a:pt x="430254" y="1365471"/>
                          </a:lnTo>
                          <a:lnTo>
                            <a:pt x="429804" y="1364121"/>
                          </a:lnTo>
                          <a:lnTo>
                            <a:pt x="430254" y="1362771"/>
                          </a:lnTo>
                          <a:lnTo>
                            <a:pt x="431154" y="1361871"/>
                          </a:lnTo>
                          <a:lnTo>
                            <a:pt x="432054" y="1361420"/>
                          </a:lnTo>
                          <a:lnTo>
                            <a:pt x="434304" y="1361871"/>
                          </a:lnTo>
                          <a:lnTo>
                            <a:pt x="436104" y="1363671"/>
                          </a:lnTo>
                          <a:lnTo>
                            <a:pt x="437005" y="1365921"/>
                          </a:lnTo>
                          <a:lnTo>
                            <a:pt x="438805" y="1367721"/>
                          </a:lnTo>
                          <a:lnTo>
                            <a:pt x="439255" y="1369071"/>
                          </a:lnTo>
                          <a:lnTo>
                            <a:pt x="437905" y="1374922"/>
                          </a:lnTo>
                          <a:close/>
                          <a:moveTo>
                            <a:pt x="403250" y="1387524"/>
                          </a:moveTo>
                          <a:lnTo>
                            <a:pt x="402350" y="1387524"/>
                          </a:lnTo>
                          <a:lnTo>
                            <a:pt x="401000" y="1386624"/>
                          </a:lnTo>
                          <a:lnTo>
                            <a:pt x="394249" y="1383023"/>
                          </a:lnTo>
                          <a:lnTo>
                            <a:pt x="393349" y="1382123"/>
                          </a:lnTo>
                          <a:lnTo>
                            <a:pt x="394249" y="1380773"/>
                          </a:lnTo>
                          <a:lnTo>
                            <a:pt x="396950" y="1378973"/>
                          </a:lnTo>
                          <a:lnTo>
                            <a:pt x="398750" y="1377172"/>
                          </a:lnTo>
                          <a:lnTo>
                            <a:pt x="400100" y="1374022"/>
                          </a:lnTo>
                          <a:lnTo>
                            <a:pt x="404150" y="1375372"/>
                          </a:lnTo>
                          <a:lnTo>
                            <a:pt x="405501" y="1376722"/>
                          </a:lnTo>
                          <a:lnTo>
                            <a:pt x="405951" y="1378073"/>
                          </a:lnTo>
                          <a:lnTo>
                            <a:pt x="406401" y="1379873"/>
                          </a:lnTo>
                          <a:lnTo>
                            <a:pt x="406401" y="1383923"/>
                          </a:lnTo>
                          <a:lnTo>
                            <a:pt x="405051" y="1384823"/>
                          </a:lnTo>
                          <a:lnTo>
                            <a:pt x="403250" y="1387524"/>
                          </a:lnTo>
                          <a:close/>
                          <a:moveTo>
                            <a:pt x="975272" y="1401475"/>
                          </a:moveTo>
                          <a:lnTo>
                            <a:pt x="973472" y="1401925"/>
                          </a:lnTo>
                          <a:lnTo>
                            <a:pt x="971221" y="1398325"/>
                          </a:lnTo>
                          <a:lnTo>
                            <a:pt x="966271" y="1394274"/>
                          </a:lnTo>
                          <a:lnTo>
                            <a:pt x="964471" y="1391124"/>
                          </a:lnTo>
                          <a:lnTo>
                            <a:pt x="964471" y="1389774"/>
                          </a:lnTo>
                          <a:lnTo>
                            <a:pt x="964471" y="1387524"/>
                          </a:lnTo>
                          <a:lnTo>
                            <a:pt x="964921" y="1384823"/>
                          </a:lnTo>
                          <a:lnTo>
                            <a:pt x="966721" y="1381673"/>
                          </a:lnTo>
                          <a:lnTo>
                            <a:pt x="968521" y="1381223"/>
                          </a:lnTo>
                          <a:lnTo>
                            <a:pt x="971221" y="1381673"/>
                          </a:lnTo>
                          <a:lnTo>
                            <a:pt x="973022" y="1383923"/>
                          </a:lnTo>
                          <a:lnTo>
                            <a:pt x="975272" y="1389774"/>
                          </a:lnTo>
                          <a:lnTo>
                            <a:pt x="976622" y="1392474"/>
                          </a:lnTo>
                          <a:lnTo>
                            <a:pt x="977072" y="1394725"/>
                          </a:lnTo>
                          <a:lnTo>
                            <a:pt x="976172" y="1395625"/>
                          </a:lnTo>
                          <a:lnTo>
                            <a:pt x="976172" y="1396525"/>
                          </a:lnTo>
                          <a:lnTo>
                            <a:pt x="976622" y="1396975"/>
                          </a:lnTo>
                          <a:lnTo>
                            <a:pt x="976622" y="1397875"/>
                          </a:lnTo>
                          <a:lnTo>
                            <a:pt x="976172" y="1399675"/>
                          </a:lnTo>
                          <a:lnTo>
                            <a:pt x="975272" y="1401475"/>
                          </a:lnTo>
                          <a:close/>
                          <a:moveTo>
                            <a:pt x="346093" y="1398325"/>
                          </a:moveTo>
                          <a:lnTo>
                            <a:pt x="344743" y="1398325"/>
                          </a:lnTo>
                          <a:lnTo>
                            <a:pt x="342493" y="1397425"/>
                          </a:lnTo>
                          <a:lnTo>
                            <a:pt x="339342" y="1395175"/>
                          </a:lnTo>
                          <a:lnTo>
                            <a:pt x="337092" y="1392924"/>
                          </a:lnTo>
                          <a:lnTo>
                            <a:pt x="335292" y="1390674"/>
                          </a:lnTo>
                          <a:lnTo>
                            <a:pt x="335292" y="1388874"/>
                          </a:lnTo>
                          <a:lnTo>
                            <a:pt x="336642" y="1387974"/>
                          </a:lnTo>
                          <a:lnTo>
                            <a:pt x="338442" y="1387524"/>
                          </a:lnTo>
                          <a:lnTo>
                            <a:pt x="342943" y="1387974"/>
                          </a:lnTo>
                          <a:lnTo>
                            <a:pt x="345193" y="1388874"/>
                          </a:lnTo>
                          <a:lnTo>
                            <a:pt x="347893" y="1392024"/>
                          </a:lnTo>
                          <a:lnTo>
                            <a:pt x="348344" y="1393825"/>
                          </a:lnTo>
                          <a:lnTo>
                            <a:pt x="348344" y="1395175"/>
                          </a:lnTo>
                          <a:lnTo>
                            <a:pt x="347893" y="1396075"/>
                          </a:lnTo>
                          <a:lnTo>
                            <a:pt x="346093" y="1398325"/>
                          </a:lnTo>
                          <a:close/>
                          <a:moveTo>
                            <a:pt x="887961" y="1410477"/>
                          </a:moveTo>
                          <a:lnTo>
                            <a:pt x="886161" y="1410927"/>
                          </a:lnTo>
                          <a:lnTo>
                            <a:pt x="883910" y="1407776"/>
                          </a:lnTo>
                          <a:lnTo>
                            <a:pt x="883910" y="1405976"/>
                          </a:lnTo>
                          <a:lnTo>
                            <a:pt x="884361" y="1401925"/>
                          </a:lnTo>
                          <a:lnTo>
                            <a:pt x="888411" y="1401025"/>
                          </a:lnTo>
                          <a:lnTo>
                            <a:pt x="890211" y="1403276"/>
                          </a:lnTo>
                          <a:lnTo>
                            <a:pt x="891111" y="1405526"/>
                          </a:lnTo>
                          <a:lnTo>
                            <a:pt x="887961" y="1410477"/>
                          </a:lnTo>
                          <a:close/>
                          <a:moveTo>
                            <a:pt x="958170" y="1402826"/>
                          </a:moveTo>
                          <a:lnTo>
                            <a:pt x="969421" y="1407776"/>
                          </a:lnTo>
                          <a:lnTo>
                            <a:pt x="970321" y="1409576"/>
                          </a:lnTo>
                          <a:lnTo>
                            <a:pt x="970771" y="1411377"/>
                          </a:lnTo>
                          <a:lnTo>
                            <a:pt x="971221" y="1413177"/>
                          </a:lnTo>
                          <a:lnTo>
                            <a:pt x="971221" y="1416777"/>
                          </a:lnTo>
                          <a:lnTo>
                            <a:pt x="971221" y="1418128"/>
                          </a:lnTo>
                          <a:lnTo>
                            <a:pt x="970321" y="1421728"/>
                          </a:lnTo>
                          <a:lnTo>
                            <a:pt x="970321" y="1423078"/>
                          </a:lnTo>
                          <a:lnTo>
                            <a:pt x="971221" y="1435230"/>
                          </a:lnTo>
                          <a:lnTo>
                            <a:pt x="971221" y="1441530"/>
                          </a:lnTo>
                          <a:lnTo>
                            <a:pt x="970321" y="1446931"/>
                          </a:lnTo>
                          <a:lnTo>
                            <a:pt x="968521" y="1451432"/>
                          </a:lnTo>
                          <a:lnTo>
                            <a:pt x="966271" y="1454582"/>
                          </a:lnTo>
                          <a:lnTo>
                            <a:pt x="964471" y="1456382"/>
                          </a:lnTo>
                          <a:lnTo>
                            <a:pt x="956370" y="1460883"/>
                          </a:lnTo>
                          <a:lnTo>
                            <a:pt x="950519" y="1462233"/>
                          </a:lnTo>
                          <a:lnTo>
                            <a:pt x="944668" y="1462233"/>
                          </a:lnTo>
                          <a:lnTo>
                            <a:pt x="937017" y="1463583"/>
                          </a:lnTo>
                          <a:lnTo>
                            <a:pt x="933417" y="1463133"/>
                          </a:lnTo>
                          <a:lnTo>
                            <a:pt x="931616" y="1462683"/>
                          </a:lnTo>
                          <a:lnTo>
                            <a:pt x="930266" y="1461783"/>
                          </a:lnTo>
                          <a:lnTo>
                            <a:pt x="928916" y="1459083"/>
                          </a:lnTo>
                          <a:lnTo>
                            <a:pt x="927116" y="1454132"/>
                          </a:lnTo>
                          <a:lnTo>
                            <a:pt x="925766" y="1448731"/>
                          </a:lnTo>
                          <a:lnTo>
                            <a:pt x="923965" y="1438830"/>
                          </a:lnTo>
                          <a:lnTo>
                            <a:pt x="923965" y="1437480"/>
                          </a:lnTo>
                          <a:lnTo>
                            <a:pt x="925766" y="1429379"/>
                          </a:lnTo>
                          <a:lnTo>
                            <a:pt x="928016" y="1423978"/>
                          </a:lnTo>
                          <a:lnTo>
                            <a:pt x="932067" y="1415877"/>
                          </a:lnTo>
                          <a:lnTo>
                            <a:pt x="936567" y="1407776"/>
                          </a:lnTo>
                          <a:lnTo>
                            <a:pt x="937467" y="1406426"/>
                          </a:lnTo>
                          <a:lnTo>
                            <a:pt x="939267" y="1405076"/>
                          </a:lnTo>
                          <a:lnTo>
                            <a:pt x="944218" y="1402826"/>
                          </a:lnTo>
                          <a:lnTo>
                            <a:pt x="948268" y="1403276"/>
                          </a:lnTo>
                          <a:lnTo>
                            <a:pt x="950069" y="1402826"/>
                          </a:lnTo>
                          <a:lnTo>
                            <a:pt x="952319" y="1401925"/>
                          </a:lnTo>
                          <a:lnTo>
                            <a:pt x="954569" y="1401475"/>
                          </a:lnTo>
                          <a:lnTo>
                            <a:pt x="958170" y="1402826"/>
                          </a:lnTo>
                          <a:close/>
                          <a:moveTo>
                            <a:pt x="726841" y="1436130"/>
                          </a:moveTo>
                          <a:lnTo>
                            <a:pt x="725941" y="1436130"/>
                          </a:lnTo>
                          <a:lnTo>
                            <a:pt x="724591" y="1435230"/>
                          </a:lnTo>
                          <a:lnTo>
                            <a:pt x="721440" y="1431629"/>
                          </a:lnTo>
                          <a:lnTo>
                            <a:pt x="720990" y="1430279"/>
                          </a:lnTo>
                          <a:lnTo>
                            <a:pt x="720540" y="1428479"/>
                          </a:lnTo>
                          <a:lnTo>
                            <a:pt x="720540" y="1426679"/>
                          </a:lnTo>
                          <a:lnTo>
                            <a:pt x="720990" y="1424428"/>
                          </a:lnTo>
                          <a:lnTo>
                            <a:pt x="721890" y="1420378"/>
                          </a:lnTo>
                          <a:lnTo>
                            <a:pt x="719640" y="1417677"/>
                          </a:lnTo>
                          <a:lnTo>
                            <a:pt x="719190" y="1415877"/>
                          </a:lnTo>
                          <a:lnTo>
                            <a:pt x="719190" y="1414977"/>
                          </a:lnTo>
                          <a:lnTo>
                            <a:pt x="720090" y="1412277"/>
                          </a:lnTo>
                          <a:lnTo>
                            <a:pt x="720540" y="1410477"/>
                          </a:lnTo>
                          <a:lnTo>
                            <a:pt x="721440" y="1408226"/>
                          </a:lnTo>
                          <a:lnTo>
                            <a:pt x="724141" y="1403726"/>
                          </a:lnTo>
                          <a:lnTo>
                            <a:pt x="726841" y="1404626"/>
                          </a:lnTo>
                          <a:lnTo>
                            <a:pt x="729541" y="1408226"/>
                          </a:lnTo>
                          <a:lnTo>
                            <a:pt x="729991" y="1410477"/>
                          </a:lnTo>
                          <a:lnTo>
                            <a:pt x="729991" y="1413177"/>
                          </a:lnTo>
                          <a:lnTo>
                            <a:pt x="729991" y="1416777"/>
                          </a:lnTo>
                          <a:lnTo>
                            <a:pt x="730441" y="1421728"/>
                          </a:lnTo>
                          <a:lnTo>
                            <a:pt x="730441" y="1425328"/>
                          </a:lnTo>
                          <a:lnTo>
                            <a:pt x="729991" y="1427579"/>
                          </a:lnTo>
                          <a:lnTo>
                            <a:pt x="729091" y="1431629"/>
                          </a:lnTo>
                          <a:lnTo>
                            <a:pt x="728191" y="1433429"/>
                          </a:lnTo>
                          <a:lnTo>
                            <a:pt x="726841" y="1435230"/>
                          </a:lnTo>
                          <a:lnTo>
                            <a:pt x="726841" y="1436130"/>
                          </a:lnTo>
                          <a:close/>
                          <a:moveTo>
                            <a:pt x="244831" y="1421728"/>
                          </a:moveTo>
                          <a:lnTo>
                            <a:pt x="243930" y="1421728"/>
                          </a:lnTo>
                          <a:lnTo>
                            <a:pt x="241230" y="1418578"/>
                          </a:lnTo>
                          <a:lnTo>
                            <a:pt x="241680" y="1415877"/>
                          </a:lnTo>
                          <a:lnTo>
                            <a:pt x="244380" y="1419028"/>
                          </a:lnTo>
                          <a:lnTo>
                            <a:pt x="244831" y="1420828"/>
                          </a:lnTo>
                          <a:lnTo>
                            <a:pt x="244831" y="1421728"/>
                          </a:lnTo>
                          <a:close/>
                          <a:moveTo>
                            <a:pt x="1001825" y="1433429"/>
                          </a:moveTo>
                          <a:lnTo>
                            <a:pt x="991474" y="1433429"/>
                          </a:lnTo>
                          <a:lnTo>
                            <a:pt x="985623" y="1432979"/>
                          </a:lnTo>
                          <a:lnTo>
                            <a:pt x="983373" y="1432079"/>
                          </a:lnTo>
                          <a:lnTo>
                            <a:pt x="981573" y="1430729"/>
                          </a:lnTo>
                          <a:lnTo>
                            <a:pt x="979322" y="1426228"/>
                          </a:lnTo>
                          <a:lnTo>
                            <a:pt x="977972" y="1421728"/>
                          </a:lnTo>
                          <a:lnTo>
                            <a:pt x="977972" y="1419928"/>
                          </a:lnTo>
                          <a:lnTo>
                            <a:pt x="978422" y="1418128"/>
                          </a:lnTo>
                          <a:lnTo>
                            <a:pt x="978872" y="1417227"/>
                          </a:lnTo>
                          <a:lnTo>
                            <a:pt x="985623" y="1415877"/>
                          </a:lnTo>
                          <a:lnTo>
                            <a:pt x="991474" y="1417677"/>
                          </a:lnTo>
                          <a:lnTo>
                            <a:pt x="996425" y="1419928"/>
                          </a:lnTo>
                          <a:lnTo>
                            <a:pt x="1002725" y="1420378"/>
                          </a:lnTo>
                          <a:lnTo>
                            <a:pt x="1004525" y="1421278"/>
                          </a:lnTo>
                          <a:lnTo>
                            <a:pt x="1005426" y="1421728"/>
                          </a:lnTo>
                          <a:lnTo>
                            <a:pt x="1005876" y="1422628"/>
                          </a:lnTo>
                          <a:lnTo>
                            <a:pt x="1006776" y="1427579"/>
                          </a:lnTo>
                          <a:lnTo>
                            <a:pt x="1006776" y="1430279"/>
                          </a:lnTo>
                          <a:lnTo>
                            <a:pt x="1006776" y="1432529"/>
                          </a:lnTo>
                          <a:lnTo>
                            <a:pt x="1001825" y="1433429"/>
                          </a:lnTo>
                          <a:close/>
                          <a:moveTo>
                            <a:pt x="247981" y="1422178"/>
                          </a:moveTo>
                          <a:lnTo>
                            <a:pt x="250231" y="1422628"/>
                          </a:lnTo>
                          <a:lnTo>
                            <a:pt x="252032" y="1422178"/>
                          </a:lnTo>
                          <a:lnTo>
                            <a:pt x="253382" y="1424428"/>
                          </a:lnTo>
                          <a:lnTo>
                            <a:pt x="253832" y="1426679"/>
                          </a:lnTo>
                          <a:lnTo>
                            <a:pt x="253832" y="1427579"/>
                          </a:lnTo>
                          <a:lnTo>
                            <a:pt x="253382" y="1428029"/>
                          </a:lnTo>
                          <a:lnTo>
                            <a:pt x="249781" y="1425328"/>
                          </a:lnTo>
                          <a:lnTo>
                            <a:pt x="248431" y="1423978"/>
                          </a:lnTo>
                          <a:lnTo>
                            <a:pt x="247981" y="1422178"/>
                          </a:lnTo>
                          <a:lnTo>
                            <a:pt x="247981" y="1422178"/>
                          </a:lnTo>
                          <a:close/>
                          <a:moveTo>
                            <a:pt x="274984" y="1454582"/>
                          </a:moveTo>
                          <a:lnTo>
                            <a:pt x="274084" y="1459083"/>
                          </a:lnTo>
                          <a:lnTo>
                            <a:pt x="273634" y="1458633"/>
                          </a:lnTo>
                          <a:lnTo>
                            <a:pt x="272734" y="1456382"/>
                          </a:lnTo>
                          <a:lnTo>
                            <a:pt x="271384" y="1455482"/>
                          </a:lnTo>
                          <a:lnTo>
                            <a:pt x="269584" y="1453232"/>
                          </a:lnTo>
                          <a:lnTo>
                            <a:pt x="269584" y="1447831"/>
                          </a:lnTo>
                          <a:lnTo>
                            <a:pt x="270034" y="1445581"/>
                          </a:lnTo>
                          <a:lnTo>
                            <a:pt x="270034" y="1442431"/>
                          </a:lnTo>
                          <a:lnTo>
                            <a:pt x="271834" y="1440630"/>
                          </a:lnTo>
                          <a:lnTo>
                            <a:pt x="273184" y="1442881"/>
                          </a:lnTo>
                          <a:lnTo>
                            <a:pt x="273634" y="1446931"/>
                          </a:lnTo>
                          <a:lnTo>
                            <a:pt x="273184" y="1448731"/>
                          </a:lnTo>
                          <a:lnTo>
                            <a:pt x="274534" y="1450982"/>
                          </a:lnTo>
                          <a:lnTo>
                            <a:pt x="274984" y="1451432"/>
                          </a:lnTo>
                          <a:lnTo>
                            <a:pt x="275434" y="1453232"/>
                          </a:lnTo>
                          <a:lnTo>
                            <a:pt x="274984" y="1454582"/>
                          </a:lnTo>
                          <a:close/>
                          <a:moveTo>
                            <a:pt x="1233604" y="1473484"/>
                          </a:moveTo>
                          <a:lnTo>
                            <a:pt x="1230904" y="1474835"/>
                          </a:lnTo>
                          <a:lnTo>
                            <a:pt x="1229554" y="1473034"/>
                          </a:lnTo>
                          <a:lnTo>
                            <a:pt x="1230454" y="1472584"/>
                          </a:lnTo>
                          <a:lnTo>
                            <a:pt x="1231804" y="1470334"/>
                          </a:lnTo>
                          <a:lnTo>
                            <a:pt x="1233604" y="1468534"/>
                          </a:lnTo>
                          <a:lnTo>
                            <a:pt x="1234504" y="1467184"/>
                          </a:lnTo>
                          <a:lnTo>
                            <a:pt x="1237655" y="1466283"/>
                          </a:lnTo>
                          <a:lnTo>
                            <a:pt x="1238555" y="1466283"/>
                          </a:lnTo>
                          <a:lnTo>
                            <a:pt x="1239005" y="1466734"/>
                          </a:lnTo>
                          <a:lnTo>
                            <a:pt x="1237205" y="1468984"/>
                          </a:lnTo>
                          <a:lnTo>
                            <a:pt x="1233604" y="1473484"/>
                          </a:lnTo>
                          <a:close/>
                          <a:moveTo>
                            <a:pt x="270934" y="1476185"/>
                          </a:moveTo>
                          <a:lnTo>
                            <a:pt x="273634" y="1476635"/>
                          </a:lnTo>
                          <a:lnTo>
                            <a:pt x="277235" y="1476635"/>
                          </a:lnTo>
                          <a:lnTo>
                            <a:pt x="276785" y="1480685"/>
                          </a:lnTo>
                          <a:lnTo>
                            <a:pt x="275434" y="1483386"/>
                          </a:lnTo>
                          <a:lnTo>
                            <a:pt x="274534" y="1484286"/>
                          </a:lnTo>
                          <a:lnTo>
                            <a:pt x="274084" y="1482936"/>
                          </a:lnTo>
                          <a:lnTo>
                            <a:pt x="272284" y="1479785"/>
                          </a:lnTo>
                          <a:lnTo>
                            <a:pt x="270934" y="1476185"/>
                          </a:lnTo>
                          <a:close/>
                          <a:moveTo>
                            <a:pt x="800200" y="1514890"/>
                          </a:moveTo>
                          <a:lnTo>
                            <a:pt x="802450" y="1515340"/>
                          </a:lnTo>
                          <a:lnTo>
                            <a:pt x="804250" y="1515340"/>
                          </a:lnTo>
                          <a:lnTo>
                            <a:pt x="804701" y="1516240"/>
                          </a:lnTo>
                          <a:lnTo>
                            <a:pt x="802900" y="1518940"/>
                          </a:lnTo>
                          <a:lnTo>
                            <a:pt x="802000" y="1519390"/>
                          </a:lnTo>
                          <a:lnTo>
                            <a:pt x="800200" y="1517590"/>
                          </a:lnTo>
                          <a:lnTo>
                            <a:pt x="798850" y="1515340"/>
                          </a:lnTo>
                          <a:lnTo>
                            <a:pt x="798400" y="1513989"/>
                          </a:lnTo>
                          <a:lnTo>
                            <a:pt x="798400" y="1512639"/>
                          </a:lnTo>
                          <a:lnTo>
                            <a:pt x="798850" y="1512189"/>
                          </a:lnTo>
                          <a:lnTo>
                            <a:pt x="800200" y="1514890"/>
                          </a:lnTo>
                          <a:close/>
                          <a:moveTo>
                            <a:pt x="787598" y="1540543"/>
                          </a:moveTo>
                          <a:lnTo>
                            <a:pt x="790299" y="1542793"/>
                          </a:lnTo>
                          <a:lnTo>
                            <a:pt x="792999" y="1544143"/>
                          </a:lnTo>
                          <a:lnTo>
                            <a:pt x="797500" y="1544593"/>
                          </a:lnTo>
                          <a:lnTo>
                            <a:pt x="797950" y="1545043"/>
                          </a:lnTo>
                          <a:lnTo>
                            <a:pt x="797950" y="1545944"/>
                          </a:lnTo>
                          <a:lnTo>
                            <a:pt x="797500" y="1547294"/>
                          </a:lnTo>
                          <a:lnTo>
                            <a:pt x="796150" y="1549094"/>
                          </a:lnTo>
                          <a:lnTo>
                            <a:pt x="795249" y="1549094"/>
                          </a:lnTo>
                          <a:lnTo>
                            <a:pt x="792999" y="1547744"/>
                          </a:lnTo>
                          <a:lnTo>
                            <a:pt x="792099" y="1546844"/>
                          </a:lnTo>
                          <a:lnTo>
                            <a:pt x="791199" y="1545493"/>
                          </a:lnTo>
                          <a:lnTo>
                            <a:pt x="790749" y="1545493"/>
                          </a:lnTo>
                          <a:lnTo>
                            <a:pt x="790299" y="1545944"/>
                          </a:lnTo>
                          <a:lnTo>
                            <a:pt x="790299" y="1546394"/>
                          </a:lnTo>
                          <a:lnTo>
                            <a:pt x="790749" y="1547294"/>
                          </a:lnTo>
                          <a:lnTo>
                            <a:pt x="790299" y="1547744"/>
                          </a:lnTo>
                          <a:lnTo>
                            <a:pt x="787148" y="1547294"/>
                          </a:lnTo>
                          <a:lnTo>
                            <a:pt x="786698" y="1546844"/>
                          </a:lnTo>
                          <a:lnTo>
                            <a:pt x="787148" y="1545043"/>
                          </a:lnTo>
                          <a:lnTo>
                            <a:pt x="789399" y="1542793"/>
                          </a:lnTo>
                          <a:lnTo>
                            <a:pt x="787598" y="1541893"/>
                          </a:lnTo>
                          <a:lnTo>
                            <a:pt x="787148" y="1540993"/>
                          </a:lnTo>
                          <a:lnTo>
                            <a:pt x="784448" y="1542343"/>
                          </a:lnTo>
                          <a:lnTo>
                            <a:pt x="783098" y="1542793"/>
                          </a:lnTo>
                          <a:lnTo>
                            <a:pt x="780848" y="1541893"/>
                          </a:lnTo>
                          <a:lnTo>
                            <a:pt x="780398" y="1536492"/>
                          </a:lnTo>
                          <a:lnTo>
                            <a:pt x="779947" y="1534692"/>
                          </a:lnTo>
                          <a:lnTo>
                            <a:pt x="779047" y="1533342"/>
                          </a:lnTo>
                          <a:lnTo>
                            <a:pt x="778597" y="1531992"/>
                          </a:lnTo>
                          <a:lnTo>
                            <a:pt x="777697" y="1531092"/>
                          </a:lnTo>
                          <a:lnTo>
                            <a:pt x="775447" y="1530192"/>
                          </a:lnTo>
                          <a:lnTo>
                            <a:pt x="773647" y="1527491"/>
                          </a:lnTo>
                          <a:lnTo>
                            <a:pt x="773197" y="1526141"/>
                          </a:lnTo>
                          <a:lnTo>
                            <a:pt x="773647" y="1525241"/>
                          </a:lnTo>
                          <a:lnTo>
                            <a:pt x="774547" y="1523891"/>
                          </a:lnTo>
                          <a:lnTo>
                            <a:pt x="780398" y="1526591"/>
                          </a:lnTo>
                          <a:lnTo>
                            <a:pt x="783998" y="1529291"/>
                          </a:lnTo>
                          <a:lnTo>
                            <a:pt x="787598" y="1532442"/>
                          </a:lnTo>
                          <a:lnTo>
                            <a:pt x="789399" y="1534692"/>
                          </a:lnTo>
                          <a:lnTo>
                            <a:pt x="789399" y="1536042"/>
                          </a:lnTo>
                          <a:lnTo>
                            <a:pt x="788949" y="1537392"/>
                          </a:lnTo>
                          <a:lnTo>
                            <a:pt x="788049" y="1538743"/>
                          </a:lnTo>
                          <a:lnTo>
                            <a:pt x="787598" y="1540543"/>
                          </a:lnTo>
                          <a:close/>
                          <a:moveTo>
                            <a:pt x="767346" y="1551794"/>
                          </a:moveTo>
                          <a:lnTo>
                            <a:pt x="766446" y="1552244"/>
                          </a:lnTo>
                          <a:lnTo>
                            <a:pt x="765096" y="1551794"/>
                          </a:lnTo>
                          <a:lnTo>
                            <a:pt x="764195" y="1550444"/>
                          </a:lnTo>
                          <a:lnTo>
                            <a:pt x="763295" y="1547744"/>
                          </a:lnTo>
                          <a:lnTo>
                            <a:pt x="761945" y="1545944"/>
                          </a:lnTo>
                          <a:lnTo>
                            <a:pt x="758795" y="1543243"/>
                          </a:lnTo>
                          <a:lnTo>
                            <a:pt x="758345" y="1542343"/>
                          </a:lnTo>
                          <a:lnTo>
                            <a:pt x="757445" y="1539193"/>
                          </a:lnTo>
                          <a:lnTo>
                            <a:pt x="757445" y="1536042"/>
                          </a:lnTo>
                          <a:lnTo>
                            <a:pt x="756995" y="1532892"/>
                          </a:lnTo>
                          <a:lnTo>
                            <a:pt x="756995" y="1531542"/>
                          </a:lnTo>
                          <a:lnTo>
                            <a:pt x="757445" y="1529291"/>
                          </a:lnTo>
                          <a:lnTo>
                            <a:pt x="760145" y="1528841"/>
                          </a:lnTo>
                          <a:lnTo>
                            <a:pt x="761945" y="1529741"/>
                          </a:lnTo>
                          <a:lnTo>
                            <a:pt x="762395" y="1530192"/>
                          </a:lnTo>
                          <a:lnTo>
                            <a:pt x="762845" y="1531542"/>
                          </a:lnTo>
                          <a:lnTo>
                            <a:pt x="763295" y="1533342"/>
                          </a:lnTo>
                          <a:lnTo>
                            <a:pt x="765546" y="1537843"/>
                          </a:lnTo>
                          <a:lnTo>
                            <a:pt x="766896" y="1541443"/>
                          </a:lnTo>
                          <a:lnTo>
                            <a:pt x="768696" y="1548644"/>
                          </a:lnTo>
                          <a:lnTo>
                            <a:pt x="768696" y="1549994"/>
                          </a:lnTo>
                          <a:lnTo>
                            <a:pt x="768246" y="1551344"/>
                          </a:lnTo>
                          <a:lnTo>
                            <a:pt x="767346" y="1551794"/>
                          </a:lnTo>
                          <a:close/>
                          <a:moveTo>
                            <a:pt x="762395" y="1567546"/>
                          </a:moveTo>
                          <a:lnTo>
                            <a:pt x="763295" y="1567996"/>
                          </a:lnTo>
                          <a:lnTo>
                            <a:pt x="764195" y="1567546"/>
                          </a:lnTo>
                          <a:lnTo>
                            <a:pt x="765546" y="1564846"/>
                          </a:lnTo>
                          <a:lnTo>
                            <a:pt x="768696" y="1557645"/>
                          </a:lnTo>
                          <a:lnTo>
                            <a:pt x="769596" y="1556745"/>
                          </a:lnTo>
                          <a:lnTo>
                            <a:pt x="770946" y="1556745"/>
                          </a:lnTo>
                          <a:lnTo>
                            <a:pt x="775897" y="1561245"/>
                          </a:lnTo>
                          <a:lnTo>
                            <a:pt x="777697" y="1563946"/>
                          </a:lnTo>
                          <a:lnTo>
                            <a:pt x="778597" y="1567546"/>
                          </a:lnTo>
                          <a:lnTo>
                            <a:pt x="779497" y="1568896"/>
                          </a:lnTo>
                          <a:lnTo>
                            <a:pt x="783548" y="1570697"/>
                          </a:lnTo>
                          <a:lnTo>
                            <a:pt x="787148" y="1571147"/>
                          </a:lnTo>
                          <a:lnTo>
                            <a:pt x="792099" y="1572947"/>
                          </a:lnTo>
                          <a:lnTo>
                            <a:pt x="793899" y="1574297"/>
                          </a:lnTo>
                          <a:lnTo>
                            <a:pt x="797950" y="1581048"/>
                          </a:lnTo>
                          <a:lnTo>
                            <a:pt x="798400" y="1581498"/>
                          </a:lnTo>
                          <a:lnTo>
                            <a:pt x="802900" y="1584198"/>
                          </a:lnTo>
                          <a:lnTo>
                            <a:pt x="809651" y="1590499"/>
                          </a:lnTo>
                          <a:lnTo>
                            <a:pt x="811451" y="1591399"/>
                          </a:lnTo>
                          <a:lnTo>
                            <a:pt x="818202" y="1593650"/>
                          </a:lnTo>
                          <a:lnTo>
                            <a:pt x="820453" y="1595000"/>
                          </a:lnTo>
                          <a:lnTo>
                            <a:pt x="822703" y="1597250"/>
                          </a:lnTo>
                          <a:lnTo>
                            <a:pt x="825403" y="1601300"/>
                          </a:lnTo>
                          <a:lnTo>
                            <a:pt x="828554" y="1608051"/>
                          </a:lnTo>
                          <a:lnTo>
                            <a:pt x="830804" y="1618403"/>
                          </a:lnTo>
                          <a:lnTo>
                            <a:pt x="830804" y="1620653"/>
                          </a:lnTo>
                          <a:lnTo>
                            <a:pt x="830354" y="1622003"/>
                          </a:lnTo>
                          <a:lnTo>
                            <a:pt x="829454" y="1623353"/>
                          </a:lnTo>
                          <a:lnTo>
                            <a:pt x="825403" y="1627404"/>
                          </a:lnTo>
                          <a:lnTo>
                            <a:pt x="825853" y="1628304"/>
                          </a:lnTo>
                          <a:lnTo>
                            <a:pt x="829454" y="1627854"/>
                          </a:lnTo>
                          <a:lnTo>
                            <a:pt x="837555" y="1625153"/>
                          </a:lnTo>
                          <a:lnTo>
                            <a:pt x="842505" y="1626954"/>
                          </a:lnTo>
                          <a:lnTo>
                            <a:pt x="844306" y="1627404"/>
                          </a:lnTo>
                          <a:lnTo>
                            <a:pt x="844756" y="1627404"/>
                          </a:lnTo>
                          <a:lnTo>
                            <a:pt x="846556" y="1624253"/>
                          </a:lnTo>
                          <a:lnTo>
                            <a:pt x="848356" y="1624703"/>
                          </a:lnTo>
                          <a:lnTo>
                            <a:pt x="851056" y="1627854"/>
                          </a:lnTo>
                          <a:lnTo>
                            <a:pt x="852857" y="1630554"/>
                          </a:lnTo>
                          <a:lnTo>
                            <a:pt x="853757" y="1632354"/>
                          </a:lnTo>
                          <a:lnTo>
                            <a:pt x="853757" y="1633254"/>
                          </a:lnTo>
                          <a:lnTo>
                            <a:pt x="851956" y="1633704"/>
                          </a:lnTo>
                          <a:lnTo>
                            <a:pt x="856457" y="1635505"/>
                          </a:lnTo>
                          <a:lnTo>
                            <a:pt x="860507" y="1638655"/>
                          </a:lnTo>
                          <a:lnTo>
                            <a:pt x="859607" y="1640455"/>
                          </a:lnTo>
                          <a:lnTo>
                            <a:pt x="855107" y="1644506"/>
                          </a:lnTo>
                          <a:lnTo>
                            <a:pt x="850606" y="1648106"/>
                          </a:lnTo>
                          <a:lnTo>
                            <a:pt x="845656" y="1653507"/>
                          </a:lnTo>
                          <a:lnTo>
                            <a:pt x="844306" y="1654407"/>
                          </a:lnTo>
                          <a:lnTo>
                            <a:pt x="843405" y="1654407"/>
                          </a:lnTo>
                          <a:lnTo>
                            <a:pt x="840705" y="1653507"/>
                          </a:lnTo>
                          <a:lnTo>
                            <a:pt x="836655" y="1650807"/>
                          </a:lnTo>
                          <a:lnTo>
                            <a:pt x="824053" y="1644956"/>
                          </a:lnTo>
                          <a:lnTo>
                            <a:pt x="820002" y="1643606"/>
                          </a:lnTo>
                          <a:lnTo>
                            <a:pt x="815052" y="1642706"/>
                          </a:lnTo>
                          <a:lnTo>
                            <a:pt x="814152" y="1641356"/>
                          </a:lnTo>
                          <a:lnTo>
                            <a:pt x="812802" y="1632354"/>
                          </a:lnTo>
                          <a:lnTo>
                            <a:pt x="810551" y="1630554"/>
                          </a:lnTo>
                          <a:lnTo>
                            <a:pt x="802900" y="1628754"/>
                          </a:lnTo>
                          <a:lnTo>
                            <a:pt x="800650" y="1627854"/>
                          </a:lnTo>
                          <a:lnTo>
                            <a:pt x="800650" y="1626053"/>
                          </a:lnTo>
                          <a:lnTo>
                            <a:pt x="801100" y="1622903"/>
                          </a:lnTo>
                          <a:lnTo>
                            <a:pt x="800200" y="1621553"/>
                          </a:lnTo>
                          <a:lnTo>
                            <a:pt x="797500" y="1621553"/>
                          </a:lnTo>
                          <a:lnTo>
                            <a:pt x="794799" y="1622003"/>
                          </a:lnTo>
                          <a:lnTo>
                            <a:pt x="790749" y="1624253"/>
                          </a:lnTo>
                          <a:lnTo>
                            <a:pt x="788949" y="1626053"/>
                          </a:lnTo>
                          <a:lnTo>
                            <a:pt x="788049" y="1628304"/>
                          </a:lnTo>
                          <a:lnTo>
                            <a:pt x="787598" y="1632804"/>
                          </a:lnTo>
                          <a:lnTo>
                            <a:pt x="787148" y="1635055"/>
                          </a:lnTo>
                          <a:lnTo>
                            <a:pt x="785798" y="1637755"/>
                          </a:lnTo>
                          <a:lnTo>
                            <a:pt x="779497" y="1644956"/>
                          </a:lnTo>
                          <a:lnTo>
                            <a:pt x="776797" y="1647206"/>
                          </a:lnTo>
                          <a:lnTo>
                            <a:pt x="774097" y="1647656"/>
                          </a:lnTo>
                          <a:lnTo>
                            <a:pt x="773197" y="1648556"/>
                          </a:lnTo>
                          <a:lnTo>
                            <a:pt x="771396" y="1651257"/>
                          </a:lnTo>
                          <a:lnTo>
                            <a:pt x="768696" y="1658008"/>
                          </a:lnTo>
                          <a:lnTo>
                            <a:pt x="767796" y="1659808"/>
                          </a:lnTo>
                          <a:lnTo>
                            <a:pt x="765996" y="1661608"/>
                          </a:lnTo>
                          <a:lnTo>
                            <a:pt x="762395" y="1664758"/>
                          </a:lnTo>
                          <a:lnTo>
                            <a:pt x="758795" y="1667009"/>
                          </a:lnTo>
                          <a:lnTo>
                            <a:pt x="752944" y="1669709"/>
                          </a:lnTo>
                          <a:lnTo>
                            <a:pt x="749794" y="1670609"/>
                          </a:lnTo>
                          <a:lnTo>
                            <a:pt x="747543" y="1669709"/>
                          </a:lnTo>
                          <a:lnTo>
                            <a:pt x="746193" y="1663408"/>
                          </a:lnTo>
                          <a:lnTo>
                            <a:pt x="743043" y="1644956"/>
                          </a:lnTo>
                          <a:lnTo>
                            <a:pt x="742593" y="1643606"/>
                          </a:lnTo>
                          <a:lnTo>
                            <a:pt x="742143" y="1642706"/>
                          </a:lnTo>
                          <a:lnTo>
                            <a:pt x="741243" y="1642256"/>
                          </a:lnTo>
                          <a:lnTo>
                            <a:pt x="730891" y="1644506"/>
                          </a:lnTo>
                          <a:lnTo>
                            <a:pt x="725041" y="1644056"/>
                          </a:lnTo>
                          <a:lnTo>
                            <a:pt x="719190" y="1648106"/>
                          </a:lnTo>
                          <a:lnTo>
                            <a:pt x="717840" y="1648556"/>
                          </a:lnTo>
                          <a:lnTo>
                            <a:pt x="715139" y="1648556"/>
                          </a:lnTo>
                          <a:lnTo>
                            <a:pt x="712889" y="1648106"/>
                          </a:lnTo>
                          <a:lnTo>
                            <a:pt x="712439" y="1647656"/>
                          </a:lnTo>
                          <a:lnTo>
                            <a:pt x="711989" y="1645856"/>
                          </a:lnTo>
                          <a:lnTo>
                            <a:pt x="711989" y="1644056"/>
                          </a:lnTo>
                          <a:lnTo>
                            <a:pt x="712889" y="1641805"/>
                          </a:lnTo>
                          <a:lnTo>
                            <a:pt x="715589" y="1636405"/>
                          </a:lnTo>
                          <a:lnTo>
                            <a:pt x="717840" y="1632804"/>
                          </a:lnTo>
                          <a:lnTo>
                            <a:pt x="718740" y="1631904"/>
                          </a:lnTo>
                          <a:lnTo>
                            <a:pt x="728641" y="1625604"/>
                          </a:lnTo>
                          <a:lnTo>
                            <a:pt x="730891" y="1623353"/>
                          </a:lnTo>
                          <a:lnTo>
                            <a:pt x="732241" y="1621103"/>
                          </a:lnTo>
                          <a:lnTo>
                            <a:pt x="732241" y="1618853"/>
                          </a:lnTo>
                          <a:lnTo>
                            <a:pt x="731792" y="1616152"/>
                          </a:lnTo>
                          <a:lnTo>
                            <a:pt x="729991" y="1609401"/>
                          </a:lnTo>
                          <a:lnTo>
                            <a:pt x="729541" y="1603101"/>
                          </a:lnTo>
                          <a:lnTo>
                            <a:pt x="729541" y="1599950"/>
                          </a:lnTo>
                          <a:lnTo>
                            <a:pt x="729991" y="1595000"/>
                          </a:lnTo>
                          <a:lnTo>
                            <a:pt x="732241" y="1583298"/>
                          </a:lnTo>
                          <a:lnTo>
                            <a:pt x="733142" y="1577447"/>
                          </a:lnTo>
                          <a:lnTo>
                            <a:pt x="734492" y="1556745"/>
                          </a:lnTo>
                          <a:lnTo>
                            <a:pt x="735392" y="1550894"/>
                          </a:lnTo>
                          <a:lnTo>
                            <a:pt x="736742" y="1545493"/>
                          </a:lnTo>
                          <a:lnTo>
                            <a:pt x="738092" y="1542343"/>
                          </a:lnTo>
                          <a:lnTo>
                            <a:pt x="741243" y="1535592"/>
                          </a:lnTo>
                          <a:lnTo>
                            <a:pt x="743493" y="1532892"/>
                          </a:lnTo>
                          <a:lnTo>
                            <a:pt x="746643" y="1531092"/>
                          </a:lnTo>
                          <a:lnTo>
                            <a:pt x="747093" y="1531092"/>
                          </a:lnTo>
                          <a:lnTo>
                            <a:pt x="747543" y="1531992"/>
                          </a:lnTo>
                          <a:lnTo>
                            <a:pt x="748894" y="1534692"/>
                          </a:lnTo>
                          <a:lnTo>
                            <a:pt x="752944" y="1537392"/>
                          </a:lnTo>
                          <a:lnTo>
                            <a:pt x="754294" y="1540093"/>
                          </a:lnTo>
                          <a:lnTo>
                            <a:pt x="755194" y="1542793"/>
                          </a:lnTo>
                          <a:lnTo>
                            <a:pt x="755644" y="1546394"/>
                          </a:lnTo>
                          <a:lnTo>
                            <a:pt x="755194" y="1547744"/>
                          </a:lnTo>
                          <a:lnTo>
                            <a:pt x="752944" y="1549994"/>
                          </a:lnTo>
                          <a:lnTo>
                            <a:pt x="752494" y="1550894"/>
                          </a:lnTo>
                          <a:lnTo>
                            <a:pt x="752494" y="1551794"/>
                          </a:lnTo>
                          <a:lnTo>
                            <a:pt x="756545" y="1555395"/>
                          </a:lnTo>
                          <a:lnTo>
                            <a:pt x="762395" y="1567546"/>
                          </a:lnTo>
                          <a:close/>
                          <a:moveTo>
                            <a:pt x="916765" y="1630554"/>
                          </a:moveTo>
                          <a:lnTo>
                            <a:pt x="915414" y="1632804"/>
                          </a:lnTo>
                          <a:lnTo>
                            <a:pt x="910914" y="1631904"/>
                          </a:lnTo>
                          <a:lnTo>
                            <a:pt x="910464" y="1631004"/>
                          </a:lnTo>
                          <a:lnTo>
                            <a:pt x="910464" y="1630104"/>
                          </a:lnTo>
                          <a:lnTo>
                            <a:pt x="911364" y="1629204"/>
                          </a:lnTo>
                          <a:lnTo>
                            <a:pt x="915865" y="1628304"/>
                          </a:lnTo>
                          <a:lnTo>
                            <a:pt x="917665" y="1628304"/>
                          </a:lnTo>
                          <a:lnTo>
                            <a:pt x="918565" y="1628754"/>
                          </a:lnTo>
                          <a:lnTo>
                            <a:pt x="918565" y="1629204"/>
                          </a:lnTo>
                          <a:lnTo>
                            <a:pt x="916765" y="1630554"/>
                          </a:lnTo>
                          <a:close/>
                          <a:moveTo>
                            <a:pt x="937017" y="1658908"/>
                          </a:moveTo>
                          <a:lnTo>
                            <a:pt x="934767" y="1659358"/>
                          </a:lnTo>
                          <a:lnTo>
                            <a:pt x="931616" y="1658458"/>
                          </a:lnTo>
                          <a:lnTo>
                            <a:pt x="928916" y="1656207"/>
                          </a:lnTo>
                          <a:lnTo>
                            <a:pt x="922165" y="1649456"/>
                          </a:lnTo>
                          <a:lnTo>
                            <a:pt x="927116" y="1644956"/>
                          </a:lnTo>
                          <a:lnTo>
                            <a:pt x="934767" y="1650357"/>
                          </a:lnTo>
                          <a:lnTo>
                            <a:pt x="937017" y="1653507"/>
                          </a:lnTo>
                          <a:lnTo>
                            <a:pt x="937017" y="1658908"/>
                          </a:lnTo>
                          <a:close/>
                          <a:moveTo>
                            <a:pt x="911364" y="1655307"/>
                          </a:moveTo>
                          <a:lnTo>
                            <a:pt x="913164" y="1657557"/>
                          </a:lnTo>
                          <a:lnTo>
                            <a:pt x="914964" y="1657557"/>
                          </a:lnTo>
                          <a:lnTo>
                            <a:pt x="915865" y="1659358"/>
                          </a:lnTo>
                          <a:lnTo>
                            <a:pt x="918115" y="1664308"/>
                          </a:lnTo>
                          <a:lnTo>
                            <a:pt x="918565" y="1665208"/>
                          </a:lnTo>
                          <a:lnTo>
                            <a:pt x="918565" y="1667009"/>
                          </a:lnTo>
                          <a:lnTo>
                            <a:pt x="917215" y="1669259"/>
                          </a:lnTo>
                          <a:lnTo>
                            <a:pt x="915865" y="1670159"/>
                          </a:lnTo>
                          <a:lnTo>
                            <a:pt x="913164" y="1671959"/>
                          </a:lnTo>
                          <a:lnTo>
                            <a:pt x="910014" y="1672859"/>
                          </a:lnTo>
                          <a:lnTo>
                            <a:pt x="908213" y="1671509"/>
                          </a:lnTo>
                          <a:lnTo>
                            <a:pt x="903263" y="1666559"/>
                          </a:lnTo>
                          <a:lnTo>
                            <a:pt x="898762" y="1661158"/>
                          </a:lnTo>
                          <a:lnTo>
                            <a:pt x="897412" y="1658008"/>
                          </a:lnTo>
                          <a:lnTo>
                            <a:pt x="897862" y="1656657"/>
                          </a:lnTo>
                          <a:lnTo>
                            <a:pt x="899662" y="1655757"/>
                          </a:lnTo>
                          <a:lnTo>
                            <a:pt x="903713" y="1654857"/>
                          </a:lnTo>
                          <a:lnTo>
                            <a:pt x="910014" y="1655307"/>
                          </a:lnTo>
                          <a:lnTo>
                            <a:pt x="911364" y="1655307"/>
                          </a:lnTo>
                          <a:close/>
                          <a:moveTo>
                            <a:pt x="824053" y="1679610"/>
                          </a:moveTo>
                          <a:lnTo>
                            <a:pt x="824953" y="1680960"/>
                          </a:lnTo>
                          <a:lnTo>
                            <a:pt x="825403" y="1682761"/>
                          </a:lnTo>
                          <a:lnTo>
                            <a:pt x="824953" y="1685461"/>
                          </a:lnTo>
                          <a:lnTo>
                            <a:pt x="824503" y="1687711"/>
                          </a:lnTo>
                          <a:lnTo>
                            <a:pt x="823603" y="1689962"/>
                          </a:lnTo>
                          <a:lnTo>
                            <a:pt x="821803" y="1693562"/>
                          </a:lnTo>
                          <a:lnTo>
                            <a:pt x="815952" y="1699863"/>
                          </a:lnTo>
                          <a:lnTo>
                            <a:pt x="813702" y="1703013"/>
                          </a:lnTo>
                          <a:lnTo>
                            <a:pt x="811901" y="1704813"/>
                          </a:lnTo>
                          <a:lnTo>
                            <a:pt x="802450" y="1713814"/>
                          </a:lnTo>
                          <a:lnTo>
                            <a:pt x="801100" y="1714265"/>
                          </a:lnTo>
                          <a:lnTo>
                            <a:pt x="799750" y="1714265"/>
                          </a:lnTo>
                          <a:lnTo>
                            <a:pt x="797050" y="1712914"/>
                          </a:lnTo>
                          <a:lnTo>
                            <a:pt x="794349" y="1712464"/>
                          </a:lnTo>
                          <a:lnTo>
                            <a:pt x="787598" y="1716065"/>
                          </a:lnTo>
                          <a:lnTo>
                            <a:pt x="787148" y="1715615"/>
                          </a:lnTo>
                          <a:lnTo>
                            <a:pt x="786698" y="1712014"/>
                          </a:lnTo>
                          <a:lnTo>
                            <a:pt x="785798" y="1709764"/>
                          </a:lnTo>
                          <a:lnTo>
                            <a:pt x="782648" y="1705263"/>
                          </a:lnTo>
                          <a:lnTo>
                            <a:pt x="782648" y="1704363"/>
                          </a:lnTo>
                          <a:lnTo>
                            <a:pt x="782648" y="1703013"/>
                          </a:lnTo>
                          <a:lnTo>
                            <a:pt x="783098" y="1702113"/>
                          </a:lnTo>
                          <a:lnTo>
                            <a:pt x="786698" y="1698062"/>
                          </a:lnTo>
                          <a:lnTo>
                            <a:pt x="794349" y="1682311"/>
                          </a:lnTo>
                          <a:lnTo>
                            <a:pt x="796150" y="1681410"/>
                          </a:lnTo>
                          <a:lnTo>
                            <a:pt x="799750" y="1683211"/>
                          </a:lnTo>
                          <a:lnTo>
                            <a:pt x="801550" y="1683661"/>
                          </a:lnTo>
                          <a:lnTo>
                            <a:pt x="802900" y="1683661"/>
                          </a:lnTo>
                          <a:lnTo>
                            <a:pt x="808301" y="1680510"/>
                          </a:lnTo>
                          <a:lnTo>
                            <a:pt x="813702" y="1680960"/>
                          </a:lnTo>
                          <a:lnTo>
                            <a:pt x="818652" y="1679160"/>
                          </a:lnTo>
                          <a:lnTo>
                            <a:pt x="820903" y="1679160"/>
                          </a:lnTo>
                          <a:lnTo>
                            <a:pt x="822703" y="1679610"/>
                          </a:lnTo>
                          <a:lnTo>
                            <a:pt x="824053" y="1679610"/>
                          </a:lnTo>
                          <a:close/>
                          <a:moveTo>
                            <a:pt x="1071584" y="1698513"/>
                          </a:moveTo>
                          <a:lnTo>
                            <a:pt x="1070234" y="1698513"/>
                          </a:lnTo>
                          <a:lnTo>
                            <a:pt x="1067533" y="1698062"/>
                          </a:lnTo>
                          <a:lnTo>
                            <a:pt x="1064383" y="1697162"/>
                          </a:lnTo>
                          <a:lnTo>
                            <a:pt x="1062583" y="1696262"/>
                          </a:lnTo>
                          <a:lnTo>
                            <a:pt x="1061233" y="1694012"/>
                          </a:lnTo>
                          <a:lnTo>
                            <a:pt x="1060783" y="1691312"/>
                          </a:lnTo>
                          <a:lnTo>
                            <a:pt x="1058082" y="1687261"/>
                          </a:lnTo>
                          <a:lnTo>
                            <a:pt x="1054932" y="1685911"/>
                          </a:lnTo>
                          <a:lnTo>
                            <a:pt x="1052682" y="1683211"/>
                          </a:lnTo>
                          <a:lnTo>
                            <a:pt x="1054482" y="1683211"/>
                          </a:lnTo>
                          <a:lnTo>
                            <a:pt x="1057182" y="1683661"/>
                          </a:lnTo>
                          <a:lnTo>
                            <a:pt x="1060783" y="1685011"/>
                          </a:lnTo>
                          <a:lnTo>
                            <a:pt x="1064383" y="1686361"/>
                          </a:lnTo>
                          <a:lnTo>
                            <a:pt x="1069334" y="1689962"/>
                          </a:lnTo>
                          <a:lnTo>
                            <a:pt x="1071134" y="1693112"/>
                          </a:lnTo>
                          <a:lnTo>
                            <a:pt x="1072934" y="1695362"/>
                          </a:lnTo>
                          <a:lnTo>
                            <a:pt x="1073384" y="1697162"/>
                          </a:lnTo>
                          <a:lnTo>
                            <a:pt x="1072934" y="1698062"/>
                          </a:lnTo>
                          <a:lnTo>
                            <a:pt x="1071584" y="1698513"/>
                          </a:lnTo>
                          <a:close/>
                          <a:moveTo>
                            <a:pt x="993724" y="1695362"/>
                          </a:moveTo>
                          <a:lnTo>
                            <a:pt x="992374" y="1695812"/>
                          </a:lnTo>
                          <a:lnTo>
                            <a:pt x="988324" y="1695362"/>
                          </a:lnTo>
                          <a:lnTo>
                            <a:pt x="982923" y="1693112"/>
                          </a:lnTo>
                          <a:lnTo>
                            <a:pt x="980222" y="1690862"/>
                          </a:lnTo>
                          <a:lnTo>
                            <a:pt x="980222" y="1690412"/>
                          </a:lnTo>
                          <a:lnTo>
                            <a:pt x="981573" y="1689962"/>
                          </a:lnTo>
                          <a:lnTo>
                            <a:pt x="982923" y="1690412"/>
                          </a:lnTo>
                          <a:lnTo>
                            <a:pt x="985173" y="1691762"/>
                          </a:lnTo>
                          <a:lnTo>
                            <a:pt x="991024" y="1692662"/>
                          </a:lnTo>
                          <a:lnTo>
                            <a:pt x="992824" y="1693562"/>
                          </a:lnTo>
                          <a:lnTo>
                            <a:pt x="993274" y="1694912"/>
                          </a:lnTo>
                          <a:lnTo>
                            <a:pt x="993724" y="1695362"/>
                          </a:lnTo>
                          <a:close/>
                          <a:moveTo>
                            <a:pt x="1188148" y="1698062"/>
                          </a:moveTo>
                          <a:lnTo>
                            <a:pt x="1192199" y="1698513"/>
                          </a:lnTo>
                          <a:lnTo>
                            <a:pt x="1194449" y="1698513"/>
                          </a:lnTo>
                          <a:lnTo>
                            <a:pt x="1195349" y="1699413"/>
                          </a:lnTo>
                          <a:lnTo>
                            <a:pt x="1196250" y="1701663"/>
                          </a:lnTo>
                          <a:lnTo>
                            <a:pt x="1194899" y="1704813"/>
                          </a:lnTo>
                          <a:lnTo>
                            <a:pt x="1193549" y="1706164"/>
                          </a:lnTo>
                          <a:lnTo>
                            <a:pt x="1191299" y="1706614"/>
                          </a:lnTo>
                          <a:lnTo>
                            <a:pt x="1187698" y="1705713"/>
                          </a:lnTo>
                          <a:lnTo>
                            <a:pt x="1186348" y="1704813"/>
                          </a:lnTo>
                          <a:lnTo>
                            <a:pt x="1184998" y="1703013"/>
                          </a:lnTo>
                          <a:lnTo>
                            <a:pt x="1185448" y="1701663"/>
                          </a:lnTo>
                          <a:lnTo>
                            <a:pt x="1187249" y="1701213"/>
                          </a:lnTo>
                          <a:lnTo>
                            <a:pt x="1187698" y="1700763"/>
                          </a:lnTo>
                          <a:lnTo>
                            <a:pt x="1187249" y="1699863"/>
                          </a:lnTo>
                          <a:lnTo>
                            <a:pt x="1187249" y="1698963"/>
                          </a:lnTo>
                          <a:lnTo>
                            <a:pt x="1188148" y="1698062"/>
                          </a:lnTo>
                          <a:close/>
                          <a:moveTo>
                            <a:pt x="876259" y="1704813"/>
                          </a:moveTo>
                          <a:lnTo>
                            <a:pt x="878060" y="1706164"/>
                          </a:lnTo>
                          <a:lnTo>
                            <a:pt x="880760" y="1710214"/>
                          </a:lnTo>
                          <a:lnTo>
                            <a:pt x="881660" y="1712464"/>
                          </a:lnTo>
                          <a:lnTo>
                            <a:pt x="882110" y="1715165"/>
                          </a:lnTo>
                          <a:lnTo>
                            <a:pt x="881210" y="1718765"/>
                          </a:lnTo>
                          <a:lnTo>
                            <a:pt x="880760" y="1722366"/>
                          </a:lnTo>
                          <a:lnTo>
                            <a:pt x="879860" y="1725066"/>
                          </a:lnTo>
                          <a:lnTo>
                            <a:pt x="878060" y="1728216"/>
                          </a:lnTo>
                          <a:lnTo>
                            <a:pt x="876259" y="1732267"/>
                          </a:lnTo>
                          <a:lnTo>
                            <a:pt x="874909" y="1736767"/>
                          </a:lnTo>
                          <a:lnTo>
                            <a:pt x="873559" y="1739468"/>
                          </a:lnTo>
                          <a:lnTo>
                            <a:pt x="872659" y="1740818"/>
                          </a:lnTo>
                          <a:lnTo>
                            <a:pt x="871759" y="1741718"/>
                          </a:lnTo>
                          <a:lnTo>
                            <a:pt x="870859" y="1741718"/>
                          </a:lnTo>
                          <a:lnTo>
                            <a:pt x="869059" y="1739918"/>
                          </a:lnTo>
                          <a:lnTo>
                            <a:pt x="866808" y="1736767"/>
                          </a:lnTo>
                          <a:lnTo>
                            <a:pt x="865008" y="1734967"/>
                          </a:lnTo>
                          <a:lnTo>
                            <a:pt x="862758" y="1733617"/>
                          </a:lnTo>
                          <a:lnTo>
                            <a:pt x="861408" y="1731817"/>
                          </a:lnTo>
                          <a:lnTo>
                            <a:pt x="860958" y="1730017"/>
                          </a:lnTo>
                          <a:lnTo>
                            <a:pt x="860958" y="1724166"/>
                          </a:lnTo>
                          <a:lnTo>
                            <a:pt x="860958" y="1721015"/>
                          </a:lnTo>
                          <a:lnTo>
                            <a:pt x="861408" y="1718765"/>
                          </a:lnTo>
                          <a:lnTo>
                            <a:pt x="861858" y="1716965"/>
                          </a:lnTo>
                          <a:lnTo>
                            <a:pt x="863208" y="1714265"/>
                          </a:lnTo>
                          <a:lnTo>
                            <a:pt x="866358" y="1708414"/>
                          </a:lnTo>
                          <a:lnTo>
                            <a:pt x="868159" y="1706164"/>
                          </a:lnTo>
                          <a:lnTo>
                            <a:pt x="869509" y="1705713"/>
                          </a:lnTo>
                          <a:lnTo>
                            <a:pt x="872659" y="1706164"/>
                          </a:lnTo>
                          <a:lnTo>
                            <a:pt x="874009" y="1706164"/>
                          </a:lnTo>
                          <a:lnTo>
                            <a:pt x="874909" y="1705263"/>
                          </a:lnTo>
                          <a:lnTo>
                            <a:pt x="876259" y="1704813"/>
                          </a:lnTo>
                          <a:close/>
                          <a:moveTo>
                            <a:pt x="1184098" y="1728666"/>
                          </a:moveTo>
                          <a:lnTo>
                            <a:pt x="1184548" y="1729116"/>
                          </a:lnTo>
                          <a:lnTo>
                            <a:pt x="1184998" y="1728666"/>
                          </a:lnTo>
                          <a:lnTo>
                            <a:pt x="1185448" y="1729116"/>
                          </a:lnTo>
                          <a:lnTo>
                            <a:pt x="1185898" y="1730467"/>
                          </a:lnTo>
                          <a:lnTo>
                            <a:pt x="1186348" y="1731367"/>
                          </a:lnTo>
                          <a:lnTo>
                            <a:pt x="1187698" y="1732717"/>
                          </a:lnTo>
                          <a:lnTo>
                            <a:pt x="1188148" y="1733617"/>
                          </a:lnTo>
                          <a:lnTo>
                            <a:pt x="1188148" y="1734517"/>
                          </a:lnTo>
                          <a:lnTo>
                            <a:pt x="1187249" y="1735867"/>
                          </a:lnTo>
                          <a:lnTo>
                            <a:pt x="1186798" y="1735867"/>
                          </a:lnTo>
                          <a:lnTo>
                            <a:pt x="1181848" y="1733167"/>
                          </a:lnTo>
                          <a:lnTo>
                            <a:pt x="1180498" y="1730017"/>
                          </a:lnTo>
                          <a:lnTo>
                            <a:pt x="1180498" y="1728666"/>
                          </a:lnTo>
                          <a:lnTo>
                            <a:pt x="1180948" y="1727316"/>
                          </a:lnTo>
                          <a:lnTo>
                            <a:pt x="1181848" y="1726866"/>
                          </a:lnTo>
                          <a:lnTo>
                            <a:pt x="1182748" y="1726866"/>
                          </a:lnTo>
                          <a:lnTo>
                            <a:pt x="1184098" y="1727766"/>
                          </a:lnTo>
                          <a:lnTo>
                            <a:pt x="1184098" y="1728666"/>
                          </a:lnTo>
                          <a:close/>
                          <a:moveTo>
                            <a:pt x="590024" y="1730467"/>
                          </a:moveTo>
                          <a:lnTo>
                            <a:pt x="589124" y="1730467"/>
                          </a:lnTo>
                          <a:lnTo>
                            <a:pt x="587323" y="1728216"/>
                          </a:lnTo>
                          <a:lnTo>
                            <a:pt x="586873" y="1726866"/>
                          </a:lnTo>
                          <a:lnTo>
                            <a:pt x="589574" y="1725966"/>
                          </a:lnTo>
                          <a:lnTo>
                            <a:pt x="591374" y="1728216"/>
                          </a:lnTo>
                          <a:lnTo>
                            <a:pt x="591374" y="1729116"/>
                          </a:lnTo>
                          <a:lnTo>
                            <a:pt x="590024" y="1730467"/>
                          </a:lnTo>
                          <a:close/>
                          <a:moveTo>
                            <a:pt x="1188148" y="1751619"/>
                          </a:moveTo>
                          <a:lnTo>
                            <a:pt x="1187698" y="1752069"/>
                          </a:lnTo>
                          <a:lnTo>
                            <a:pt x="1187249" y="1752069"/>
                          </a:lnTo>
                          <a:lnTo>
                            <a:pt x="1185448" y="1749819"/>
                          </a:lnTo>
                          <a:lnTo>
                            <a:pt x="1183198" y="1748919"/>
                          </a:lnTo>
                          <a:lnTo>
                            <a:pt x="1182298" y="1748019"/>
                          </a:lnTo>
                          <a:lnTo>
                            <a:pt x="1175997" y="1743068"/>
                          </a:lnTo>
                          <a:lnTo>
                            <a:pt x="1175097" y="1740818"/>
                          </a:lnTo>
                          <a:lnTo>
                            <a:pt x="1175097" y="1739018"/>
                          </a:lnTo>
                          <a:lnTo>
                            <a:pt x="1177347" y="1738118"/>
                          </a:lnTo>
                          <a:lnTo>
                            <a:pt x="1181848" y="1737217"/>
                          </a:lnTo>
                          <a:lnTo>
                            <a:pt x="1185448" y="1737217"/>
                          </a:lnTo>
                          <a:lnTo>
                            <a:pt x="1189049" y="1738118"/>
                          </a:lnTo>
                          <a:lnTo>
                            <a:pt x="1189949" y="1739018"/>
                          </a:lnTo>
                          <a:lnTo>
                            <a:pt x="1191749" y="1740818"/>
                          </a:lnTo>
                          <a:lnTo>
                            <a:pt x="1191299" y="1743068"/>
                          </a:lnTo>
                          <a:lnTo>
                            <a:pt x="1191299" y="1746219"/>
                          </a:lnTo>
                          <a:lnTo>
                            <a:pt x="1190399" y="1747569"/>
                          </a:lnTo>
                          <a:lnTo>
                            <a:pt x="1189049" y="1748469"/>
                          </a:lnTo>
                          <a:lnTo>
                            <a:pt x="1188148" y="1751619"/>
                          </a:lnTo>
                          <a:close/>
                          <a:moveTo>
                            <a:pt x="897862" y="1779523"/>
                          </a:moveTo>
                          <a:lnTo>
                            <a:pt x="895162" y="1779973"/>
                          </a:lnTo>
                          <a:lnTo>
                            <a:pt x="895162" y="1779523"/>
                          </a:lnTo>
                          <a:lnTo>
                            <a:pt x="896512" y="1777723"/>
                          </a:lnTo>
                          <a:lnTo>
                            <a:pt x="901013" y="1776372"/>
                          </a:lnTo>
                          <a:lnTo>
                            <a:pt x="904163" y="1775922"/>
                          </a:lnTo>
                          <a:lnTo>
                            <a:pt x="903263" y="1777272"/>
                          </a:lnTo>
                          <a:lnTo>
                            <a:pt x="901463" y="1778623"/>
                          </a:lnTo>
                          <a:lnTo>
                            <a:pt x="897862" y="1779523"/>
                          </a:lnTo>
                          <a:close/>
                          <a:moveTo>
                            <a:pt x="1116140" y="1800675"/>
                          </a:moveTo>
                          <a:lnTo>
                            <a:pt x="1114339" y="1801125"/>
                          </a:lnTo>
                          <a:lnTo>
                            <a:pt x="1113439" y="1800225"/>
                          </a:lnTo>
                          <a:lnTo>
                            <a:pt x="1113439" y="1797525"/>
                          </a:lnTo>
                          <a:lnTo>
                            <a:pt x="1113889" y="1795725"/>
                          </a:lnTo>
                          <a:lnTo>
                            <a:pt x="1116140" y="1791674"/>
                          </a:lnTo>
                          <a:lnTo>
                            <a:pt x="1117940" y="1787174"/>
                          </a:lnTo>
                          <a:lnTo>
                            <a:pt x="1119290" y="1786274"/>
                          </a:lnTo>
                          <a:lnTo>
                            <a:pt x="1121540" y="1787174"/>
                          </a:lnTo>
                          <a:lnTo>
                            <a:pt x="1122890" y="1788524"/>
                          </a:lnTo>
                          <a:lnTo>
                            <a:pt x="1124241" y="1790774"/>
                          </a:lnTo>
                          <a:lnTo>
                            <a:pt x="1124691" y="1792574"/>
                          </a:lnTo>
                          <a:lnTo>
                            <a:pt x="1124241" y="1795275"/>
                          </a:lnTo>
                          <a:lnTo>
                            <a:pt x="1122440" y="1797525"/>
                          </a:lnTo>
                          <a:lnTo>
                            <a:pt x="1120640" y="1798875"/>
                          </a:lnTo>
                          <a:lnTo>
                            <a:pt x="1116140" y="1800675"/>
                          </a:lnTo>
                          <a:close/>
                          <a:moveTo>
                            <a:pt x="1197150" y="1795275"/>
                          </a:moveTo>
                          <a:lnTo>
                            <a:pt x="1196250" y="1798425"/>
                          </a:lnTo>
                          <a:lnTo>
                            <a:pt x="1193999" y="1797525"/>
                          </a:lnTo>
                          <a:lnTo>
                            <a:pt x="1190399" y="1795275"/>
                          </a:lnTo>
                          <a:lnTo>
                            <a:pt x="1189049" y="1793925"/>
                          </a:lnTo>
                          <a:lnTo>
                            <a:pt x="1188599" y="1792124"/>
                          </a:lnTo>
                          <a:lnTo>
                            <a:pt x="1188599" y="1789874"/>
                          </a:lnTo>
                          <a:lnTo>
                            <a:pt x="1189949" y="1789424"/>
                          </a:lnTo>
                          <a:lnTo>
                            <a:pt x="1192649" y="1789424"/>
                          </a:lnTo>
                          <a:lnTo>
                            <a:pt x="1194899" y="1792574"/>
                          </a:lnTo>
                          <a:lnTo>
                            <a:pt x="1195799" y="1793024"/>
                          </a:lnTo>
                          <a:lnTo>
                            <a:pt x="1197150" y="1795275"/>
                          </a:lnTo>
                          <a:close/>
                          <a:moveTo>
                            <a:pt x="865008" y="1820478"/>
                          </a:moveTo>
                          <a:lnTo>
                            <a:pt x="862758" y="1820928"/>
                          </a:lnTo>
                          <a:lnTo>
                            <a:pt x="863658" y="1818228"/>
                          </a:lnTo>
                          <a:lnTo>
                            <a:pt x="864558" y="1816877"/>
                          </a:lnTo>
                          <a:lnTo>
                            <a:pt x="865458" y="1815977"/>
                          </a:lnTo>
                          <a:lnTo>
                            <a:pt x="867258" y="1815527"/>
                          </a:lnTo>
                          <a:lnTo>
                            <a:pt x="868609" y="1816427"/>
                          </a:lnTo>
                          <a:lnTo>
                            <a:pt x="867708" y="1818228"/>
                          </a:lnTo>
                          <a:lnTo>
                            <a:pt x="865008" y="1820478"/>
                          </a:lnTo>
                          <a:close/>
                          <a:moveTo>
                            <a:pt x="860507" y="1826779"/>
                          </a:moveTo>
                          <a:lnTo>
                            <a:pt x="859607" y="1826779"/>
                          </a:lnTo>
                          <a:lnTo>
                            <a:pt x="859607" y="1826329"/>
                          </a:lnTo>
                          <a:lnTo>
                            <a:pt x="860058" y="1824528"/>
                          </a:lnTo>
                          <a:lnTo>
                            <a:pt x="860958" y="1824528"/>
                          </a:lnTo>
                          <a:lnTo>
                            <a:pt x="861858" y="1822728"/>
                          </a:lnTo>
                          <a:lnTo>
                            <a:pt x="862758" y="1823178"/>
                          </a:lnTo>
                          <a:lnTo>
                            <a:pt x="862308" y="1824078"/>
                          </a:lnTo>
                          <a:lnTo>
                            <a:pt x="860958" y="1825879"/>
                          </a:lnTo>
                          <a:lnTo>
                            <a:pt x="860507" y="1826779"/>
                          </a:lnTo>
                          <a:close/>
                          <a:moveTo>
                            <a:pt x="1096337" y="1851082"/>
                          </a:moveTo>
                          <a:lnTo>
                            <a:pt x="1094987" y="1854232"/>
                          </a:lnTo>
                          <a:lnTo>
                            <a:pt x="1093187" y="1853782"/>
                          </a:lnTo>
                          <a:lnTo>
                            <a:pt x="1092737" y="1854232"/>
                          </a:lnTo>
                          <a:lnTo>
                            <a:pt x="1092286" y="1854232"/>
                          </a:lnTo>
                          <a:lnTo>
                            <a:pt x="1093187" y="1851532"/>
                          </a:lnTo>
                          <a:lnTo>
                            <a:pt x="1093187" y="1849732"/>
                          </a:lnTo>
                          <a:lnTo>
                            <a:pt x="1092737" y="1847931"/>
                          </a:lnTo>
                          <a:lnTo>
                            <a:pt x="1093187" y="1847031"/>
                          </a:lnTo>
                          <a:lnTo>
                            <a:pt x="1095437" y="1847031"/>
                          </a:lnTo>
                          <a:lnTo>
                            <a:pt x="1095437" y="1849281"/>
                          </a:lnTo>
                          <a:lnTo>
                            <a:pt x="1095887" y="1850182"/>
                          </a:lnTo>
                          <a:lnTo>
                            <a:pt x="1096337" y="1850632"/>
                          </a:lnTo>
                          <a:lnTo>
                            <a:pt x="1096337" y="1851082"/>
                          </a:lnTo>
                          <a:close/>
                          <a:moveTo>
                            <a:pt x="872659" y="1912289"/>
                          </a:moveTo>
                          <a:lnTo>
                            <a:pt x="872659" y="1912289"/>
                          </a:lnTo>
                          <a:lnTo>
                            <a:pt x="871309" y="1912289"/>
                          </a:lnTo>
                          <a:lnTo>
                            <a:pt x="870859" y="1914990"/>
                          </a:lnTo>
                          <a:lnTo>
                            <a:pt x="870409" y="1915440"/>
                          </a:lnTo>
                          <a:lnTo>
                            <a:pt x="869959" y="1913640"/>
                          </a:lnTo>
                          <a:lnTo>
                            <a:pt x="870409" y="1912289"/>
                          </a:lnTo>
                          <a:lnTo>
                            <a:pt x="870409" y="1911389"/>
                          </a:lnTo>
                          <a:lnTo>
                            <a:pt x="870409" y="1910489"/>
                          </a:lnTo>
                          <a:lnTo>
                            <a:pt x="871309" y="1909139"/>
                          </a:lnTo>
                          <a:lnTo>
                            <a:pt x="871759" y="1908689"/>
                          </a:lnTo>
                          <a:lnTo>
                            <a:pt x="872209" y="1908689"/>
                          </a:lnTo>
                          <a:lnTo>
                            <a:pt x="872659" y="1910489"/>
                          </a:lnTo>
                          <a:lnTo>
                            <a:pt x="872659" y="1912289"/>
                          </a:lnTo>
                          <a:close/>
                          <a:moveTo>
                            <a:pt x="869509" y="1941093"/>
                          </a:moveTo>
                          <a:lnTo>
                            <a:pt x="869059" y="1941993"/>
                          </a:lnTo>
                          <a:lnTo>
                            <a:pt x="868159" y="1941093"/>
                          </a:lnTo>
                          <a:lnTo>
                            <a:pt x="868159" y="1939293"/>
                          </a:lnTo>
                          <a:lnTo>
                            <a:pt x="869059" y="1937943"/>
                          </a:lnTo>
                          <a:lnTo>
                            <a:pt x="869959" y="1937943"/>
                          </a:lnTo>
                          <a:lnTo>
                            <a:pt x="870859" y="1938843"/>
                          </a:lnTo>
                          <a:lnTo>
                            <a:pt x="870859" y="1939743"/>
                          </a:lnTo>
                          <a:lnTo>
                            <a:pt x="869509" y="1941093"/>
                          </a:lnTo>
                          <a:close/>
                          <a:moveTo>
                            <a:pt x="876710" y="1945593"/>
                          </a:moveTo>
                          <a:lnTo>
                            <a:pt x="875810" y="1946044"/>
                          </a:lnTo>
                          <a:lnTo>
                            <a:pt x="875359" y="1946044"/>
                          </a:lnTo>
                          <a:lnTo>
                            <a:pt x="875810" y="1942443"/>
                          </a:lnTo>
                          <a:lnTo>
                            <a:pt x="875359" y="1941093"/>
                          </a:lnTo>
                          <a:lnTo>
                            <a:pt x="875359" y="1940643"/>
                          </a:lnTo>
                          <a:lnTo>
                            <a:pt x="875810" y="1940193"/>
                          </a:lnTo>
                          <a:lnTo>
                            <a:pt x="876259" y="1940193"/>
                          </a:lnTo>
                          <a:lnTo>
                            <a:pt x="877160" y="1941093"/>
                          </a:lnTo>
                          <a:lnTo>
                            <a:pt x="877610" y="1941993"/>
                          </a:lnTo>
                          <a:lnTo>
                            <a:pt x="877610" y="1942893"/>
                          </a:lnTo>
                          <a:lnTo>
                            <a:pt x="877610" y="1943793"/>
                          </a:lnTo>
                          <a:lnTo>
                            <a:pt x="876710" y="1945593"/>
                          </a:lnTo>
                          <a:lnTo>
                            <a:pt x="876710" y="1945593"/>
                          </a:lnTo>
                          <a:close/>
                          <a:moveTo>
                            <a:pt x="889311" y="1960445"/>
                          </a:moveTo>
                          <a:lnTo>
                            <a:pt x="887511" y="1964496"/>
                          </a:lnTo>
                          <a:lnTo>
                            <a:pt x="886161" y="1968096"/>
                          </a:lnTo>
                          <a:lnTo>
                            <a:pt x="884361" y="1974847"/>
                          </a:lnTo>
                          <a:lnTo>
                            <a:pt x="883460" y="1975297"/>
                          </a:lnTo>
                          <a:lnTo>
                            <a:pt x="882560" y="1973497"/>
                          </a:lnTo>
                          <a:lnTo>
                            <a:pt x="885261" y="1965396"/>
                          </a:lnTo>
                          <a:lnTo>
                            <a:pt x="885261" y="1964496"/>
                          </a:lnTo>
                          <a:lnTo>
                            <a:pt x="885261" y="1963596"/>
                          </a:lnTo>
                          <a:lnTo>
                            <a:pt x="884361" y="1962246"/>
                          </a:lnTo>
                          <a:lnTo>
                            <a:pt x="883460" y="1963596"/>
                          </a:lnTo>
                          <a:lnTo>
                            <a:pt x="879410" y="1972597"/>
                          </a:lnTo>
                          <a:lnTo>
                            <a:pt x="878510" y="1973947"/>
                          </a:lnTo>
                          <a:lnTo>
                            <a:pt x="877610" y="1974847"/>
                          </a:lnTo>
                          <a:lnTo>
                            <a:pt x="877160" y="1974847"/>
                          </a:lnTo>
                          <a:lnTo>
                            <a:pt x="875359" y="1974847"/>
                          </a:lnTo>
                          <a:lnTo>
                            <a:pt x="872209" y="1977547"/>
                          </a:lnTo>
                          <a:lnTo>
                            <a:pt x="878060" y="1966746"/>
                          </a:lnTo>
                          <a:lnTo>
                            <a:pt x="878060" y="1965846"/>
                          </a:lnTo>
                          <a:lnTo>
                            <a:pt x="877160" y="1965396"/>
                          </a:lnTo>
                          <a:lnTo>
                            <a:pt x="876710" y="1965846"/>
                          </a:lnTo>
                          <a:lnTo>
                            <a:pt x="872209" y="1972597"/>
                          </a:lnTo>
                          <a:lnTo>
                            <a:pt x="869509" y="1975297"/>
                          </a:lnTo>
                          <a:lnTo>
                            <a:pt x="867708" y="1974397"/>
                          </a:lnTo>
                          <a:lnTo>
                            <a:pt x="867258" y="1973497"/>
                          </a:lnTo>
                          <a:lnTo>
                            <a:pt x="867258" y="1972597"/>
                          </a:lnTo>
                          <a:lnTo>
                            <a:pt x="871759" y="1965846"/>
                          </a:lnTo>
                          <a:lnTo>
                            <a:pt x="875810" y="1960895"/>
                          </a:lnTo>
                          <a:lnTo>
                            <a:pt x="877610" y="1957745"/>
                          </a:lnTo>
                          <a:lnTo>
                            <a:pt x="878510" y="1954595"/>
                          </a:lnTo>
                          <a:lnTo>
                            <a:pt x="878960" y="1952344"/>
                          </a:lnTo>
                          <a:lnTo>
                            <a:pt x="878960" y="1950094"/>
                          </a:lnTo>
                          <a:lnTo>
                            <a:pt x="878960" y="1949644"/>
                          </a:lnTo>
                          <a:lnTo>
                            <a:pt x="879410" y="1949644"/>
                          </a:lnTo>
                          <a:lnTo>
                            <a:pt x="879860" y="1950544"/>
                          </a:lnTo>
                          <a:lnTo>
                            <a:pt x="879860" y="1953244"/>
                          </a:lnTo>
                          <a:lnTo>
                            <a:pt x="878960" y="1958195"/>
                          </a:lnTo>
                          <a:lnTo>
                            <a:pt x="878060" y="1960895"/>
                          </a:lnTo>
                          <a:lnTo>
                            <a:pt x="877160" y="1963146"/>
                          </a:lnTo>
                          <a:lnTo>
                            <a:pt x="877610" y="1963596"/>
                          </a:lnTo>
                          <a:lnTo>
                            <a:pt x="879410" y="1962246"/>
                          </a:lnTo>
                          <a:lnTo>
                            <a:pt x="880760" y="1959545"/>
                          </a:lnTo>
                          <a:lnTo>
                            <a:pt x="882110" y="1955945"/>
                          </a:lnTo>
                          <a:lnTo>
                            <a:pt x="883010" y="1952794"/>
                          </a:lnTo>
                          <a:lnTo>
                            <a:pt x="883910" y="1947394"/>
                          </a:lnTo>
                          <a:lnTo>
                            <a:pt x="884361" y="1947394"/>
                          </a:lnTo>
                          <a:lnTo>
                            <a:pt x="884811" y="1948294"/>
                          </a:lnTo>
                          <a:lnTo>
                            <a:pt x="885711" y="1949194"/>
                          </a:lnTo>
                          <a:lnTo>
                            <a:pt x="887061" y="1949644"/>
                          </a:lnTo>
                          <a:lnTo>
                            <a:pt x="887511" y="1950544"/>
                          </a:lnTo>
                          <a:lnTo>
                            <a:pt x="887961" y="1952344"/>
                          </a:lnTo>
                          <a:lnTo>
                            <a:pt x="888411" y="1953244"/>
                          </a:lnTo>
                          <a:lnTo>
                            <a:pt x="890211" y="1953695"/>
                          </a:lnTo>
                          <a:lnTo>
                            <a:pt x="891111" y="1954145"/>
                          </a:lnTo>
                          <a:lnTo>
                            <a:pt x="891561" y="1955945"/>
                          </a:lnTo>
                          <a:lnTo>
                            <a:pt x="891561" y="1956845"/>
                          </a:lnTo>
                          <a:lnTo>
                            <a:pt x="892011" y="1957295"/>
                          </a:lnTo>
                          <a:lnTo>
                            <a:pt x="892462" y="1957745"/>
                          </a:lnTo>
                          <a:lnTo>
                            <a:pt x="889311" y="1960445"/>
                          </a:lnTo>
                          <a:close/>
                          <a:moveTo>
                            <a:pt x="866808" y="1962696"/>
                          </a:moveTo>
                          <a:lnTo>
                            <a:pt x="865908" y="1963146"/>
                          </a:lnTo>
                          <a:lnTo>
                            <a:pt x="864558" y="1962696"/>
                          </a:lnTo>
                          <a:lnTo>
                            <a:pt x="865008" y="1959995"/>
                          </a:lnTo>
                          <a:lnTo>
                            <a:pt x="865908" y="1958645"/>
                          </a:lnTo>
                          <a:lnTo>
                            <a:pt x="868609" y="1957295"/>
                          </a:lnTo>
                          <a:lnTo>
                            <a:pt x="869059" y="1956395"/>
                          </a:lnTo>
                          <a:lnTo>
                            <a:pt x="869959" y="1955945"/>
                          </a:lnTo>
                          <a:lnTo>
                            <a:pt x="871309" y="1955945"/>
                          </a:lnTo>
                          <a:lnTo>
                            <a:pt x="872659" y="1955045"/>
                          </a:lnTo>
                          <a:lnTo>
                            <a:pt x="874459" y="1952794"/>
                          </a:lnTo>
                          <a:lnTo>
                            <a:pt x="874909" y="1952344"/>
                          </a:lnTo>
                          <a:lnTo>
                            <a:pt x="874009" y="1955495"/>
                          </a:lnTo>
                          <a:lnTo>
                            <a:pt x="872659" y="1957745"/>
                          </a:lnTo>
                          <a:lnTo>
                            <a:pt x="866808" y="1962696"/>
                          </a:lnTo>
                          <a:close/>
                          <a:moveTo>
                            <a:pt x="891561" y="1965396"/>
                          </a:moveTo>
                          <a:lnTo>
                            <a:pt x="890661" y="1965846"/>
                          </a:lnTo>
                          <a:lnTo>
                            <a:pt x="889761" y="1965846"/>
                          </a:lnTo>
                          <a:lnTo>
                            <a:pt x="889761" y="1964496"/>
                          </a:lnTo>
                          <a:lnTo>
                            <a:pt x="890661" y="1961796"/>
                          </a:lnTo>
                          <a:lnTo>
                            <a:pt x="891111" y="1959545"/>
                          </a:lnTo>
                          <a:lnTo>
                            <a:pt x="891111" y="1957745"/>
                          </a:lnTo>
                          <a:lnTo>
                            <a:pt x="891561" y="1955945"/>
                          </a:lnTo>
                          <a:lnTo>
                            <a:pt x="892462" y="1954595"/>
                          </a:lnTo>
                          <a:lnTo>
                            <a:pt x="893362" y="1953695"/>
                          </a:lnTo>
                          <a:lnTo>
                            <a:pt x="894712" y="1953695"/>
                          </a:lnTo>
                          <a:lnTo>
                            <a:pt x="895162" y="1958195"/>
                          </a:lnTo>
                          <a:lnTo>
                            <a:pt x="894712" y="1960445"/>
                          </a:lnTo>
                          <a:lnTo>
                            <a:pt x="893812" y="1962246"/>
                          </a:lnTo>
                          <a:lnTo>
                            <a:pt x="892912" y="1963596"/>
                          </a:lnTo>
                          <a:lnTo>
                            <a:pt x="891561" y="1965396"/>
                          </a:lnTo>
                          <a:close/>
                          <a:moveTo>
                            <a:pt x="867708" y="2069359"/>
                          </a:moveTo>
                          <a:lnTo>
                            <a:pt x="867708" y="2070259"/>
                          </a:lnTo>
                          <a:lnTo>
                            <a:pt x="866358" y="2070259"/>
                          </a:lnTo>
                          <a:lnTo>
                            <a:pt x="865458" y="2069809"/>
                          </a:lnTo>
                          <a:lnTo>
                            <a:pt x="865008" y="2068909"/>
                          </a:lnTo>
                          <a:lnTo>
                            <a:pt x="865008" y="2068009"/>
                          </a:lnTo>
                          <a:lnTo>
                            <a:pt x="865458" y="2067109"/>
                          </a:lnTo>
                          <a:lnTo>
                            <a:pt x="867258" y="2067559"/>
                          </a:lnTo>
                          <a:lnTo>
                            <a:pt x="867708" y="2069359"/>
                          </a:lnTo>
                          <a:close/>
                          <a:moveTo>
                            <a:pt x="851056" y="2089162"/>
                          </a:moveTo>
                          <a:lnTo>
                            <a:pt x="849706" y="2089611"/>
                          </a:lnTo>
                          <a:lnTo>
                            <a:pt x="845206" y="2088711"/>
                          </a:lnTo>
                          <a:lnTo>
                            <a:pt x="843405" y="2088261"/>
                          </a:lnTo>
                          <a:lnTo>
                            <a:pt x="838005" y="2085561"/>
                          </a:lnTo>
                          <a:lnTo>
                            <a:pt x="827653" y="2081961"/>
                          </a:lnTo>
                          <a:lnTo>
                            <a:pt x="824053" y="2080160"/>
                          </a:lnTo>
                          <a:lnTo>
                            <a:pt x="823153" y="2078810"/>
                          </a:lnTo>
                          <a:lnTo>
                            <a:pt x="824953" y="2076110"/>
                          </a:lnTo>
                          <a:lnTo>
                            <a:pt x="825853" y="2074760"/>
                          </a:lnTo>
                          <a:lnTo>
                            <a:pt x="827203" y="2073860"/>
                          </a:lnTo>
                          <a:lnTo>
                            <a:pt x="838005" y="2072509"/>
                          </a:lnTo>
                          <a:lnTo>
                            <a:pt x="842055" y="2072959"/>
                          </a:lnTo>
                          <a:lnTo>
                            <a:pt x="847006" y="2078810"/>
                          </a:lnTo>
                          <a:lnTo>
                            <a:pt x="849706" y="2082861"/>
                          </a:lnTo>
                          <a:lnTo>
                            <a:pt x="851056" y="2086011"/>
                          </a:lnTo>
                          <a:lnTo>
                            <a:pt x="851056" y="2087361"/>
                          </a:lnTo>
                          <a:lnTo>
                            <a:pt x="851056" y="2089162"/>
                          </a:lnTo>
                          <a:close/>
                          <a:moveTo>
                            <a:pt x="879410" y="2116615"/>
                          </a:moveTo>
                          <a:lnTo>
                            <a:pt x="878510" y="2117065"/>
                          </a:lnTo>
                          <a:lnTo>
                            <a:pt x="876710" y="2116615"/>
                          </a:lnTo>
                          <a:lnTo>
                            <a:pt x="874909" y="2115715"/>
                          </a:lnTo>
                          <a:lnTo>
                            <a:pt x="874009" y="2114815"/>
                          </a:lnTo>
                          <a:lnTo>
                            <a:pt x="880760" y="2111664"/>
                          </a:lnTo>
                          <a:lnTo>
                            <a:pt x="882110" y="2112114"/>
                          </a:lnTo>
                          <a:lnTo>
                            <a:pt x="882110" y="2112564"/>
                          </a:lnTo>
                          <a:lnTo>
                            <a:pt x="881210" y="2114365"/>
                          </a:lnTo>
                          <a:lnTo>
                            <a:pt x="880760" y="2115265"/>
                          </a:lnTo>
                          <a:lnTo>
                            <a:pt x="880310" y="2116165"/>
                          </a:lnTo>
                          <a:lnTo>
                            <a:pt x="879410" y="2116615"/>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5" name="Freeform: Shape 1984">
                      <a:extLst>
                        <a:ext uri="{FF2B5EF4-FFF2-40B4-BE49-F238E27FC236}">
                          <a16:creationId xmlns:a16="http://schemas.microsoft.com/office/drawing/2014/main" id="{B1DEE183-E703-D2B0-936D-7EB7CAE70375}"/>
                        </a:ext>
                      </a:extLst>
                    </p:cNvPr>
                    <p:cNvSpPr/>
                    <p:nvPr/>
                  </p:nvSpPr>
                  <p:spPr>
                    <a:xfrm>
                      <a:off x="1692661" y="2156219"/>
                      <a:ext cx="442855" cy="498212"/>
                    </a:xfrm>
                    <a:custGeom>
                      <a:avLst/>
                      <a:gdLst>
                        <a:gd name="connsiteX0" fmla="*/ 332141 w 442855"/>
                        <a:gd name="connsiteY0" fmla="*/ 216027 h 498212"/>
                        <a:gd name="connsiteX1" fmla="*/ 332141 w 442855"/>
                        <a:gd name="connsiteY1" fmla="*/ 221878 h 498212"/>
                        <a:gd name="connsiteX2" fmla="*/ 332141 w 442855"/>
                        <a:gd name="connsiteY2" fmla="*/ 229979 h 498212"/>
                        <a:gd name="connsiteX3" fmla="*/ 332141 w 442855"/>
                        <a:gd name="connsiteY3" fmla="*/ 238080 h 498212"/>
                        <a:gd name="connsiteX4" fmla="*/ 332141 w 442855"/>
                        <a:gd name="connsiteY4" fmla="*/ 246181 h 498212"/>
                        <a:gd name="connsiteX5" fmla="*/ 332141 w 442855"/>
                        <a:gd name="connsiteY5" fmla="*/ 254282 h 498212"/>
                        <a:gd name="connsiteX6" fmla="*/ 332141 w 442855"/>
                        <a:gd name="connsiteY6" fmla="*/ 262383 h 498212"/>
                        <a:gd name="connsiteX7" fmla="*/ 332141 w 442855"/>
                        <a:gd name="connsiteY7" fmla="*/ 270034 h 498212"/>
                        <a:gd name="connsiteX8" fmla="*/ 332141 w 442855"/>
                        <a:gd name="connsiteY8" fmla="*/ 277685 h 498212"/>
                        <a:gd name="connsiteX9" fmla="*/ 332141 w 442855"/>
                        <a:gd name="connsiteY9" fmla="*/ 285336 h 498212"/>
                        <a:gd name="connsiteX10" fmla="*/ 332141 w 442855"/>
                        <a:gd name="connsiteY10" fmla="*/ 292987 h 498212"/>
                        <a:gd name="connsiteX11" fmla="*/ 332141 w 442855"/>
                        <a:gd name="connsiteY11" fmla="*/ 300638 h 498212"/>
                        <a:gd name="connsiteX12" fmla="*/ 332141 w 442855"/>
                        <a:gd name="connsiteY12" fmla="*/ 308288 h 498212"/>
                        <a:gd name="connsiteX13" fmla="*/ 332141 w 442855"/>
                        <a:gd name="connsiteY13" fmla="*/ 315939 h 498212"/>
                        <a:gd name="connsiteX14" fmla="*/ 332141 w 442855"/>
                        <a:gd name="connsiteY14" fmla="*/ 324941 h 498212"/>
                        <a:gd name="connsiteX15" fmla="*/ 332141 w 442855"/>
                        <a:gd name="connsiteY15" fmla="*/ 324941 h 498212"/>
                        <a:gd name="connsiteX16" fmla="*/ 331241 w 442855"/>
                        <a:gd name="connsiteY16" fmla="*/ 327191 h 498212"/>
                        <a:gd name="connsiteX17" fmla="*/ 331691 w 442855"/>
                        <a:gd name="connsiteY17" fmla="*/ 329441 h 498212"/>
                        <a:gd name="connsiteX18" fmla="*/ 333042 w 442855"/>
                        <a:gd name="connsiteY18" fmla="*/ 332142 h 498212"/>
                        <a:gd name="connsiteX19" fmla="*/ 333942 w 442855"/>
                        <a:gd name="connsiteY19" fmla="*/ 334842 h 498212"/>
                        <a:gd name="connsiteX20" fmla="*/ 333942 w 442855"/>
                        <a:gd name="connsiteY20" fmla="*/ 337542 h 498212"/>
                        <a:gd name="connsiteX21" fmla="*/ 335292 w 442855"/>
                        <a:gd name="connsiteY21" fmla="*/ 341143 h 498212"/>
                        <a:gd name="connsiteX22" fmla="*/ 339342 w 442855"/>
                        <a:gd name="connsiteY22" fmla="*/ 346993 h 498212"/>
                        <a:gd name="connsiteX23" fmla="*/ 342493 w 442855"/>
                        <a:gd name="connsiteY23" fmla="*/ 353744 h 498212"/>
                        <a:gd name="connsiteX24" fmla="*/ 344743 w 442855"/>
                        <a:gd name="connsiteY24" fmla="*/ 357345 h 498212"/>
                        <a:gd name="connsiteX25" fmla="*/ 347443 w 442855"/>
                        <a:gd name="connsiteY25" fmla="*/ 360045 h 498212"/>
                        <a:gd name="connsiteX26" fmla="*/ 354194 w 442855"/>
                        <a:gd name="connsiteY26" fmla="*/ 362745 h 498212"/>
                        <a:gd name="connsiteX27" fmla="*/ 370846 w 442855"/>
                        <a:gd name="connsiteY27" fmla="*/ 366346 h 498212"/>
                        <a:gd name="connsiteX28" fmla="*/ 377597 w 442855"/>
                        <a:gd name="connsiteY28" fmla="*/ 369946 h 498212"/>
                        <a:gd name="connsiteX29" fmla="*/ 377597 w 442855"/>
                        <a:gd name="connsiteY29" fmla="*/ 369946 h 498212"/>
                        <a:gd name="connsiteX30" fmla="*/ 379397 w 442855"/>
                        <a:gd name="connsiteY30" fmla="*/ 372647 h 498212"/>
                        <a:gd name="connsiteX31" fmla="*/ 379397 w 442855"/>
                        <a:gd name="connsiteY31" fmla="*/ 373097 h 498212"/>
                        <a:gd name="connsiteX32" fmla="*/ 379847 w 442855"/>
                        <a:gd name="connsiteY32" fmla="*/ 373997 h 498212"/>
                        <a:gd name="connsiteX33" fmla="*/ 380748 w 442855"/>
                        <a:gd name="connsiteY33" fmla="*/ 374897 h 498212"/>
                        <a:gd name="connsiteX34" fmla="*/ 383448 w 442855"/>
                        <a:gd name="connsiteY34" fmla="*/ 377147 h 498212"/>
                        <a:gd name="connsiteX35" fmla="*/ 384798 w 442855"/>
                        <a:gd name="connsiteY35" fmla="*/ 378047 h 498212"/>
                        <a:gd name="connsiteX36" fmla="*/ 386148 w 442855"/>
                        <a:gd name="connsiteY36" fmla="*/ 378497 h 498212"/>
                        <a:gd name="connsiteX37" fmla="*/ 387048 w 442855"/>
                        <a:gd name="connsiteY37" fmla="*/ 378497 h 498212"/>
                        <a:gd name="connsiteX38" fmla="*/ 387498 w 442855"/>
                        <a:gd name="connsiteY38" fmla="*/ 378047 h 498212"/>
                        <a:gd name="connsiteX39" fmla="*/ 387948 w 442855"/>
                        <a:gd name="connsiteY39" fmla="*/ 376247 h 498212"/>
                        <a:gd name="connsiteX40" fmla="*/ 388399 w 442855"/>
                        <a:gd name="connsiteY40" fmla="*/ 375797 h 498212"/>
                        <a:gd name="connsiteX41" fmla="*/ 388849 w 442855"/>
                        <a:gd name="connsiteY41" fmla="*/ 375797 h 498212"/>
                        <a:gd name="connsiteX42" fmla="*/ 389749 w 442855"/>
                        <a:gd name="connsiteY42" fmla="*/ 376247 h 498212"/>
                        <a:gd name="connsiteX43" fmla="*/ 391099 w 442855"/>
                        <a:gd name="connsiteY43" fmla="*/ 378947 h 498212"/>
                        <a:gd name="connsiteX44" fmla="*/ 392899 w 442855"/>
                        <a:gd name="connsiteY44" fmla="*/ 383448 h 498212"/>
                        <a:gd name="connsiteX45" fmla="*/ 395149 w 442855"/>
                        <a:gd name="connsiteY45" fmla="*/ 386598 h 498212"/>
                        <a:gd name="connsiteX46" fmla="*/ 398300 w 442855"/>
                        <a:gd name="connsiteY46" fmla="*/ 387948 h 498212"/>
                        <a:gd name="connsiteX47" fmla="*/ 401450 w 442855"/>
                        <a:gd name="connsiteY47" fmla="*/ 388399 h 498212"/>
                        <a:gd name="connsiteX48" fmla="*/ 404601 w 442855"/>
                        <a:gd name="connsiteY48" fmla="*/ 387948 h 498212"/>
                        <a:gd name="connsiteX49" fmla="*/ 407301 w 442855"/>
                        <a:gd name="connsiteY49" fmla="*/ 388399 h 498212"/>
                        <a:gd name="connsiteX50" fmla="*/ 409551 w 442855"/>
                        <a:gd name="connsiteY50" fmla="*/ 390199 h 498212"/>
                        <a:gd name="connsiteX51" fmla="*/ 415402 w 442855"/>
                        <a:gd name="connsiteY51" fmla="*/ 389299 h 498212"/>
                        <a:gd name="connsiteX52" fmla="*/ 425303 w 442855"/>
                        <a:gd name="connsiteY52" fmla="*/ 385698 h 498212"/>
                        <a:gd name="connsiteX53" fmla="*/ 431604 w 442855"/>
                        <a:gd name="connsiteY53" fmla="*/ 383898 h 498212"/>
                        <a:gd name="connsiteX54" fmla="*/ 434754 w 442855"/>
                        <a:gd name="connsiteY54" fmla="*/ 383448 h 498212"/>
                        <a:gd name="connsiteX55" fmla="*/ 437905 w 442855"/>
                        <a:gd name="connsiteY55" fmla="*/ 383898 h 498212"/>
                        <a:gd name="connsiteX56" fmla="*/ 441955 w 442855"/>
                        <a:gd name="connsiteY56" fmla="*/ 385698 h 498212"/>
                        <a:gd name="connsiteX57" fmla="*/ 441505 w 442855"/>
                        <a:gd name="connsiteY57" fmla="*/ 387499 h 498212"/>
                        <a:gd name="connsiteX58" fmla="*/ 440605 w 442855"/>
                        <a:gd name="connsiteY58" fmla="*/ 391099 h 498212"/>
                        <a:gd name="connsiteX59" fmla="*/ 440155 w 442855"/>
                        <a:gd name="connsiteY59" fmla="*/ 393349 h 498212"/>
                        <a:gd name="connsiteX60" fmla="*/ 441505 w 442855"/>
                        <a:gd name="connsiteY60" fmla="*/ 394699 h 498212"/>
                        <a:gd name="connsiteX61" fmla="*/ 442855 w 442855"/>
                        <a:gd name="connsiteY61" fmla="*/ 396500 h 498212"/>
                        <a:gd name="connsiteX62" fmla="*/ 442405 w 442855"/>
                        <a:gd name="connsiteY62" fmla="*/ 396950 h 498212"/>
                        <a:gd name="connsiteX63" fmla="*/ 434754 w 442855"/>
                        <a:gd name="connsiteY63" fmla="*/ 402800 h 498212"/>
                        <a:gd name="connsiteX64" fmla="*/ 433404 w 442855"/>
                        <a:gd name="connsiteY64" fmla="*/ 402800 h 498212"/>
                        <a:gd name="connsiteX65" fmla="*/ 431604 w 442855"/>
                        <a:gd name="connsiteY65" fmla="*/ 402800 h 498212"/>
                        <a:gd name="connsiteX66" fmla="*/ 428453 w 442855"/>
                        <a:gd name="connsiteY66" fmla="*/ 403700 h 498212"/>
                        <a:gd name="connsiteX67" fmla="*/ 424403 w 442855"/>
                        <a:gd name="connsiteY67" fmla="*/ 405951 h 498212"/>
                        <a:gd name="connsiteX68" fmla="*/ 419902 w 442855"/>
                        <a:gd name="connsiteY68" fmla="*/ 409551 h 498212"/>
                        <a:gd name="connsiteX69" fmla="*/ 411801 w 442855"/>
                        <a:gd name="connsiteY69" fmla="*/ 417652 h 498212"/>
                        <a:gd name="connsiteX70" fmla="*/ 411801 w 442855"/>
                        <a:gd name="connsiteY70" fmla="*/ 417652 h 498212"/>
                        <a:gd name="connsiteX71" fmla="*/ 411801 w 442855"/>
                        <a:gd name="connsiteY71" fmla="*/ 417652 h 498212"/>
                        <a:gd name="connsiteX72" fmla="*/ 411351 w 442855"/>
                        <a:gd name="connsiteY72" fmla="*/ 417652 h 498212"/>
                        <a:gd name="connsiteX73" fmla="*/ 409101 w 442855"/>
                        <a:gd name="connsiteY73" fmla="*/ 419903 h 498212"/>
                        <a:gd name="connsiteX74" fmla="*/ 406851 w 442855"/>
                        <a:gd name="connsiteY74" fmla="*/ 421253 h 498212"/>
                        <a:gd name="connsiteX75" fmla="*/ 401000 w 442855"/>
                        <a:gd name="connsiteY75" fmla="*/ 423503 h 498212"/>
                        <a:gd name="connsiteX76" fmla="*/ 399650 w 442855"/>
                        <a:gd name="connsiteY76" fmla="*/ 424403 h 498212"/>
                        <a:gd name="connsiteX77" fmla="*/ 397850 w 442855"/>
                        <a:gd name="connsiteY77" fmla="*/ 424853 h 498212"/>
                        <a:gd name="connsiteX78" fmla="*/ 395599 w 442855"/>
                        <a:gd name="connsiteY78" fmla="*/ 424853 h 498212"/>
                        <a:gd name="connsiteX79" fmla="*/ 393349 w 442855"/>
                        <a:gd name="connsiteY79" fmla="*/ 425303 h 498212"/>
                        <a:gd name="connsiteX80" fmla="*/ 391099 w 442855"/>
                        <a:gd name="connsiteY80" fmla="*/ 426203 h 498212"/>
                        <a:gd name="connsiteX81" fmla="*/ 386598 w 442855"/>
                        <a:gd name="connsiteY81" fmla="*/ 429354 h 498212"/>
                        <a:gd name="connsiteX82" fmla="*/ 385698 w 442855"/>
                        <a:gd name="connsiteY82" fmla="*/ 429354 h 498212"/>
                        <a:gd name="connsiteX83" fmla="*/ 385248 w 442855"/>
                        <a:gd name="connsiteY83" fmla="*/ 428904 h 498212"/>
                        <a:gd name="connsiteX84" fmla="*/ 385248 w 442855"/>
                        <a:gd name="connsiteY84" fmla="*/ 428454 h 498212"/>
                        <a:gd name="connsiteX85" fmla="*/ 386148 w 442855"/>
                        <a:gd name="connsiteY85" fmla="*/ 427553 h 498212"/>
                        <a:gd name="connsiteX86" fmla="*/ 388849 w 442855"/>
                        <a:gd name="connsiteY86" fmla="*/ 425753 h 498212"/>
                        <a:gd name="connsiteX87" fmla="*/ 388399 w 442855"/>
                        <a:gd name="connsiteY87" fmla="*/ 425303 h 498212"/>
                        <a:gd name="connsiteX88" fmla="*/ 386598 w 442855"/>
                        <a:gd name="connsiteY88" fmla="*/ 427103 h 498212"/>
                        <a:gd name="connsiteX89" fmla="*/ 385248 w 442855"/>
                        <a:gd name="connsiteY89" fmla="*/ 428004 h 498212"/>
                        <a:gd name="connsiteX90" fmla="*/ 384798 w 442855"/>
                        <a:gd name="connsiteY90" fmla="*/ 428004 h 498212"/>
                        <a:gd name="connsiteX91" fmla="*/ 385248 w 442855"/>
                        <a:gd name="connsiteY91" fmla="*/ 426653 h 498212"/>
                        <a:gd name="connsiteX92" fmla="*/ 384348 w 442855"/>
                        <a:gd name="connsiteY92" fmla="*/ 426203 h 498212"/>
                        <a:gd name="connsiteX93" fmla="*/ 382548 w 442855"/>
                        <a:gd name="connsiteY93" fmla="*/ 427103 h 498212"/>
                        <a:gd name="connsiteX94" fmla="*/ 381198 w 442855"/>
                        <a:gd name="connsiteY94" fmla="*/ 427103 h 498212"/>
                        <a:gd name="connsiteX95" fmla="*/ 380748 w 442855"/>
                        <a:gd name="connsiteY95" fmla="*/ 426653 h 498212"/>
                        <a:gd name="connsiteX96" fmla="*/ 380298 w 442855"/>
                        <a:gd name="connsiteY96" fmla="*/ 426653 h 498212"/>
                        <a:gd name="connsiteX97" fmla="*/ 379847 w 442855"/>
                        <a:gd name="connsiteY97" fmla="*/ 427103 h 498212"/>
                        <a:gd name="connsiteX98" fmla="*/ 378947 w 442855"/>
                        <a:gd name="connsiteY98" fmla="*/ 427103 h 498212"/>
                        <a:gd name="connsiteX99" fmla="*/ 377597 w 442855"/>
                        <a:gd name="connsiteY99" fmla="*/ 427553 h 498212"/>
                        <a:gd name="connsiteX100" fmla="*/ 374447 w 442855"/>
                        <a:gd name="connsiteY100" fmla="*/ 428454 h 498212"/>
                        <a:gd name="connsiteX101" fmla="*/ 373547 w 442855"/>
                        <a:gd name="connsiteY101" fmla="*/ 429354 h 498212"/>
                        <a:gd name="connsiteX102" fmla="*/ 373547 w 442855"/>
                        <a:gd name="connsiteY102" fmla="*/ 429804 h 498212"/>
                        <a:gd name="connsiteX103" fmla="*/ 376697 w 442855"/>
                        <a:gd name="connsiteY103" fmla="*/ 428454 h 498212"/>
                        <a:gd name="connsiteX104" fmla="*/ 378047 w 442855"/>
                        <a:gd name="connsiteY104" fmla="*/ 428004 h 498212"/>
                        <a:gd name="connsiteX105" fmla="*/ 378947 w 442855"/>
                        <a:gd name="connsiteY105" fmla="*/ 428004 h 498212"/>
                        <a:gd name="connsiteX106" fmla="*/ 379397 w 442855"/>
                        <a:gd name="connsiteY106" fmla="*/ 428454 h 498212"/>
                        <a:gd name="connsiteX107" fmla="*/ 378947 w 442855"/>
                        <a:gd name="connsiteY107" fmla="*/ 429354 h 498212"/>
                        <a:gd name="connsiteX108" fmla="*/ 378947 w 442855"/>
                        <a:gd name="connsiteY108" fmla="*/ 429804 h 498212"/>
                        <a:gd name="connsiteX109" fmla="*/ 379847 w 442855"/>
                        <a:gd name="connsiteY109" fmla="*/ 429804 h 498212"/>
                        <a:gd name="connsiteX110" fmla="*/ 380298 w 442855"/>
                        <a:gd name="connsiteY110" fmla="*/ 429804 h 498212"/>
                        <a:gd name="connsiteX111" fmla="*/ 380298 w 442855"/>
                        <a:gd name="connsiteY111" fmla="*/ 429804 h 498212"/>
                        <a:gd name="connsiteX112" fmla="*/ 379847 w 442855"/>
                        <a:gd name="connsiteY112" fmla="*/ 429804 h 498212"/>
                        <a:gd name="connsiteX113" fmla="*/ 379847 w 442855"/>
                        <a:gd name="connsiteY113" fmla="*/ 429354 h 498212"/>
                        <a:gd name="connsiteX114" fmla="*/ 380298 w 442855"/>
                        <a:gd name="connsiteY114" fmla="*/ 428904 h 498212"/>
                        <a:gd name="connsiteX115" fmla="*/ 383448 w 442855"/>
                        <a:gd name="connsiteY115" fmla="*/ 428004 h 498212"/>
                        <a:gd name="connsiteX116" fmla="*/ 384348 w 442855"/>
                        <a:gd name="connsiteY116" fmla="*/ 428904 h 498212"/>
                        <a:gd name="connsiteX117" fmla="*/ 383448 w 442855"/>
                        <a:gd name="connsiteY117" fmla="*/ 430704 h 498212"/>
                        <a:gd name="connsiteX118" fmla="*/ 383898 w 442855"/>
                        <a:gd name="connsiteY118" fmla="*/ 431604 h 498212"/>
                        <a:gd name="connsiteX119" fmla="*/ 385248 w 442855"/>
                        <a:gd name="connsiteY119" fmla="*/ 431604 h 498212"/>
                        <a:gd name="connsiteX120" fmla="*/ 386598 w 442855"/>
                        <a:gd name="connsiteY120" fmla="*/ 431154 h 498212"/>
                        <a:gd name="connsiteX121" fmla="*/ 388399 w 442855"/>
                        <a:gd name="connsiteY121" fmla="*/ 430254 h 498212"/>
                        <a:gd name="connsiteX122" fmla="*/ 388849 w 442855"/>
                        <a:gd name="connsiteY122" fmla="*/ 430254 h 498212"/>
                        <a:gd name="connsiteX123" fmla="*/ 388399 w 442855"/>
                        <a:gd name="connsiteY123" fmla="*/ 431154 h 498212"/>
                        <a:gd name="connsiteX124" fmla="*/ 387498 w 442855"/>
                        <a:gd name="connsiteY124" fmla="*/ 432054 h 498212"/>
                        <a:gd name="connsiteX125" fmla="*/ 385698 w 442855"/>
                        <a:gd name="connsiteY125" fmla="*/ 433404 h 498212"/>
                        <a:gd name="connsiteX126" fmla="*/ 385248 w 442855"/>
                        <a:gd name="connsiteY126" fmla="*/ 434304 h 498212"/>
                        <a:gd name="connsiteX127" fmla="*/ 385248 w 442855"/>
                        <a:gd name="connsiteY127" fmla="*/ 434754 h 498212"/>
                        <a:gd name="connsiteX128" fmla="*/ 385698 w 442855"/>
                        <a:gd name="connsiteY128" fmla="*/ 434304 h 498212"/>
                        <a:gd name="connsiteX129" fmla="*/ 387948 w 442855"/>
                        <a:gd name="connsiteY129" fmla="*/ 433854 h 498212"/>
                        <a:gd name="connsiteX130" fmla="*/ 388849 w 442855"/>
                        <a:gd name="connsiteY130" fmla="*/ 433854 h 498212"/>
                        <a:gd name="connsiteX131" fmla="*/ 388849 w 442855"/>
                        <a:gd name="connsiteY131" fmla="*/ 434304 h 498212"/>
                        <a:gd name="connsiteX132" fmla="*/ 387498 w 442855"/>
                        <a:gd name="connsiteY132" fmla="*/ 434754 h 498212"/>
                        <a:gd name="connsiteX133" fmla="*/ 384798 w 442855"/>
                        <a:gd name="connsiteY133" fmla="*/ 436105 h 498212"/>
                        <a:gd name="connsiteX134" fmla="*/ 382548 w 442855"/>
                        <a:gd name="connsiteY134" fmla="*/ 436555 h 498212"/>
                        <a:gd name="connsiteX135" fmla="*/ 381198 w 442855"/>
                        <a:gd name="connsiteY135" fmla="*/ 436105 h 498212"/>
                        <a:gd name="connsiteX136" fmla="*/ 380748 w 442855"/>
                        <a:gd name="connsiteY136" fmla="*/ 435204 h 498212"/>
                        <a:gd name="connsiteX137" fmla="*/ 381648 w 442855"/>
                        <a:gd name="connsiteY137" fmla="*/ 434304 h 498212"/>
                        <a:gd name="connsiteX138" fmla="*/ 381648 w 442855"/>
                        <a:gd name="connsiteY138" fmla="*/ 433854 h 498212"/>
                        <a:gd name="connsiteX139" fmla="*/ 379847 w 442855"/>
                        <a:gd name="connsiteY139" fmla="*/ 434754 h 498212"/>
                        <a:gd name="connsiteX140" fmla="*/ 379397 w 442855"/>
                        <a:gd name="connsiteY140" fmla="*/ 434754 h 498212"/>
                        <a:gd name="connsiteX141" fmla="*/ 378947 w 442855"/>
                        <a:gd name="connsiteY141" fmla="*/ 433854 h 498212"/>
                        <a:gd name="connsiteX142" fmla="*/ 378947 w 442855"/>
                        <a:gd name="connsiteY142" fmla="*/ 433854 h 498212"/>
                        <a:gd name="connsiteX143" fmla="*/ 379847 w 442855"/>
                        <a:gd name="connsiteY143" fmla="*/ 433854 h 498212"/>
                        <a:gd name="connsiteX144" fmla="*/ 380298 w 442855"/>
                        <a:gd name="connsiteY144" fmla="*/ 433404 h 498212"/>
                        <a:gd name="connsiteX145" fmla="*/ 378947 w 442855"/>
                        <a:gd name="connsiteY145" fmla="*/ 433404 h 498212"/>
                        <a:gd name="connsiteX146" fmla="*/ 376697 w 442855"/>
                        <a:gd name="connsiteY146" fmla="*/ 433854 h 498212"/>
                        <a:gd name="connsiteX147" fmla="*/ 374897 w 442855"/>
                        <a:gd name="connsiteY147" fmla="*/ 433404 h 498212"/>
                        <a:gd name="connsiteX148" fmla="*/ 373997 w 442855"/>
                        <a:gd name="connsiteY148" fmla="*/ 432504 h 498212"/>
                        <a:gd name="connsiteX149" fmla="*/ 373547 w 442855"/>
                        <a:gd name="connsiteY149" fmla="*/ 432054 h 498212"/>
                        <a:gd name="connsiteX150" fmla="*/ 373997 w 442855"/>
                        <a:gd name="connsiteY150" fmla="*/ 432054 h 498212"/>
                        <a:gd name="connsiteX151" fmla="*/ 373997 w 442855"/>
                        <a:gd name="connsiteY151" fmla="*/ 431604 h 498212"/>
                        <a:gd name="connsiteX152" fmla="*/ 373097 w 442855"/>
                        <a:gd name="connsiteY152" fmla="*/ 431604 h 498212"/>
                        <a:gd name="connsiteX153" fmla="*/ 370846 w 442855"/>
                        <a:gd name="connsiteY153" fmla="*/ 431604 h 498212"/>
                        <a:gd name="connsiteX154" fmla="*/ 370396 w 442855"/>
                        <a:gd name="connsiteY154" fmla="*/ 432054 h 498212"/>
                        <a:gd name="connsiteX155" fmla="*/ 369946 w 442855"/>
                        <a:gd name="connsiteY155" fmla="*/ 432954 h 498212"/>
                        <a:gd name="connsiteX156" fmla="*/ 367696 w 442855"/>
                        <a:gd name="connsiteY156" fmla="*/ 432954 h 498212"/>
                        <a:gd name="connsiteX157" fmla="*/ 366796 w 442855"/>
                        <a:gd name="connsiteY157" fmla="*/ 433404 h 498212"/>
                        <a:gd name="connsiteX158" fmla="*/ 364095 w 442855"/>
                        <a:gd name="connsiteY158" fmla="*/ 433854 h 498212"/>
                        <a:gd name="connsiteX159" fmla="*/ 360045 w 442855"/>
                        <a:gd name="connsiteY159" fmla="*/ 434304 h 498212"/>
                        <a:gd name="connsiteX160" fmla="*/ 356895 w 442855"/>
                        <a:gd name="connsiteY160" fmla="*/ 434754 h 498212"/>
                        <a:gd name="connsiteX161" fmla="*/ 354644 w 442855"/>
                        <a:gd name="connsiteY161" fmla="*/ 435655 h 498212"/>
                        <a:gd name="connsiteX162" fmla="*/ 352844 w 442855"/>
                        <a:gd name="connsiteY162" fmla="*/ 436105 h 498212"/>
                        <a:gd name="connsiteX163" fmla="*/ 351494 w 442855"/>
                        <a:gd name="connsiteY163" fmla="*/ 436105 h 498212"/>
                        <a:gd name="connsiteX164" fmla="*/ 349694 w 442855"/>
                        <a:gd name="connsiteY164" fmla="*/ 436555 h 498212"/>
                        <a:gd name="connsiteX165" fmla="*/ 346993 w 442855"/>
                        <a:gd name="connsiteY165" fmla="*/ 437455 h 498212"/>
                        <a:gd name="connsiteX166" fmla="*/ 342943 w 442855"/>
                        <a:gd name="connsiteY166" fmla="*/ 437905 h 498212"/>
                        <a:gd name="connsiteX167" fmla="*/ 341593 w 442855"/>
                        <a:gd name="connsiteY167" fmla="*/ 438355 h 498212"/>
                        <a:gd name="connsiteX168" fmla="*/ 339342 w 442855"/>
                        <a:gd name="connsiteY168" fmla="*/ 440155 h 498212"/>
                        <a:gd name="connsiteX169" fmla="*/ 336642 w 442855"/>
                        <a:gd name="connsiteY169" fmla="*/ 442855 h 498212"/>
                        <a:gd name="connsiteX170" fmla="*/ 334842 w 442855"/>
                        <a:gd name="connsiteY170" fmla="*/ 444206 h 498212"/>
                        <a:gd name="connsiteX171" fmla="*/ 333942 w 442855"/>
                        <a:gd name="connsiteY171" fmla="*/ 444206 h 498212"/>
                        <a:gd name="connsiteX172" fmla="*/ 333042 w 442855"/>
                        <a:gd name="connsiteY172" fmla="*/ 444656 h 498212"/>
                        <a:gd name="connsiteX173" fmla="*/ 332592 w 442855"/>
                        <a:gd name="connsiteY173" fmla="*/ 445556 h 498212"/>
                        <a:gd name="connsiteX174" fmla="*/ 331241 w 442855"/>
                        <a:gd name="connsiteY174" fmla="*/ 446456 h 498212"/>
                        <a:gd name="connsiteX175" fmla="*/ 330791 w 442855"/>
                        <a:gd name="connsiteY175" fmla="*/ 447356 h 498212"/>
                        <a:gd name="connsiteX176" fmla="*/ 330341 w 442855"/>
                        <a:gd name="connsiteY176" fmla="*/ 448256 h 498212"/>
                        <a:gd name="connsiteX177" fmla="*/ 329441 w 442855"/>
                        <a:gd name="connsiteY177" fmla="*/ 450056 h 498212"/>
                        <a:gd name="connsiteX178" fmla="*/ 326741 w 442855"/>
                        <a:gd name="connsiteY178" fmla="*/ 454107 h 498212"/>
                        <a:gd name="connsiteX179" fmla="*/ 326741 w 442855"/>
                        <a:gd name="connsiteY179" fmla="*/ 454557 h 498212"/>
                        <a:gd name="connsiteX180" fmla="*/ 327641 w 442855"/>
                        <a:gd name="connsiteY180" fmla="*/ 455907 h 498212"/>
                        <a:gd name="connsiteX181" fmla="*/ 329441 w 442855"/>
                        <a:gd name="connsiteY181" fmla="*/ 456357 h 498212"/>
                        <a:gd name="connsiteX182" fmla="*/ 331691 w 442855"/>
                        <a:gd name="connsiteY182" fmla="*/ 457257 h 498212"/>
                        <a:gd name="connsiteX183" fmla="*/ 334392 w 442855"/>
                        <a:gd name="connsiteY183" fmla="*/ 457257 h 498212"/>
                        <a:gd name="connsiteX184" fmla="*/ 335742 w 442855"/>
                        <a:gd name="connsiteY184" fmla="*/ 457707 h 498212"/>
                        <a:gd name="connsiteX185" fmla="*/ 336642 w 442855"/>
                        <a:gd name="connsiteY185" fmla="*/ 457257 h 498212"/>
                        <a:gd name="connsiteX186" fmla="*/ 338442 w 442855"/>
                        <a:gd name="connsiteY186" fmla="*/ 456357 h 498212"/>
                        <a:gd name="connsiteX187" fmla="*/ 341593 w 442855"/>
                        <a:gd name="connsiteY187" fmla="*/ 455007 h 498212"/>
                        <a:gd name="connsiteX188" fmla="*/ 341593 w 442855"/>
                        <a:gd name="connsiteY188" fmla="*/ 455007 h 498212"/>
                        <a:gd name="connsiteX189" fmla="*/ 341593 w 442855"/>
                        <a:gd name="connsiteY189" fmla="*/ 459957 h 498212"/>
                        <a:gd name="connsiteX190" fmla="*/ 341593 w 442855"/>
                        <a:gd name="connsiteY190" fmla="*/ 460408 h 498212"/>
                        <a:gd name="connsiteX191" fmla="*/ 342043 w 442855"/>
                        <a:gd name="connsiteY191" fmla="*/ 461308 h 498212"/>
                        <a:gd name="connsiteX192" fmla="*/ 342043 w 442855"/>
                        <a:gd name="connsiteY192" fmla="*/ 461758 h 498212"/>
                        <a:gd name="connsiteX193" fmla="*/ 342043 w 442855"/>
                        <a:gd name="connsiteY193" fmla="*/ 462208 h 498212"/>
                        <a:gd name="connsiteX194" fmla="*/ 342493 w 442855"/>
                        <a:gd name="connsiteY194" fmla="*/ 463108 h 498212"/>
                        <a:gd name="connsiteX195" fmla="*/ 343843 w 442855"/>
                        <a:gd name="connsiteY195" fmla="*/ 464458 h 498212"/>
                        <a:gd name="connsiteX196" fmla="*/ 344293 w 442855"/>
                        <a:gd name="connsiteY196" fmla="*/ 465358 h 498212"/>
                        <a:gd name="connsiteX197" fmla="*/ 343843 w 442855"/>
                        <a:gd name="connsiteY197" fmla="*/ 465808 h 498212"/>
                        <a:gd name="connsiteX198" fmla="*/ 341143 w 442855"/>
                        <a:gd name="connsiteY198" fmla="*/ 467159 h 498212"/>
                        <a:gd name="connsiteX199" fmla="*/ 339792 w 442855"/>
                        <a:gd name="connsiteY199" fmla="*/ 467159 h 498212"/>
                        <a:gd name="connsiteX200" fmla="*/ 338442 w 442855"/>
                        <a:gd name="connsiteY200" fmla="*/ 466708 h 498212"/>
                        <a:gd name="connsiteX201" fmla="*/ 336642 w 442855"/>
                        <a:gd name="connsiteY201" fmla="*/ 466708 h 498212"/>
                        <a:gd name="connsiteX202" fmla="*/ 333942 w 442855"/>
                        <a:gd name="connsiteY202" fmla="*/ 466708 h 498212"/>
                        <a:gd name="connsiteX203" fmla="*/ 329441 w 442855"/>
                        <a:gd name="connsiteY203" fmla="*/ 467609 h 498212"/>
                        <a:gd name="connsiteX204" fmla="*/ 328091 w 442855"/>
                        <a:gd name="connsiteY204" fmla="*/ 467609 h 498212"/>
                        <a:gd name="connsiteX205" fmla="*/ 327191 w 442855"/>
                        <a:gd name="connsiteY205" fmla="*/ 467159 h 498212"/>
                        <a:gd name="connsiteX206" fmla="*/ 326291 w 442855"/>
                        <a:gd name="connsiteY206" fmla="*/ 467159 h 498212"/>
                        <a:gd name="connsiteX207" fmla="*/ 322690 w 442855"/>
                        <a:gd name="connsiteY207" fmla="*/ 468058 h 498212"/>
                        <a:gd name="connsiteX208" fmla="*/ 319090 w 442855"/>
                        <a:gd name="connsiteY208" fmla="*/ 468509 h 498212"/>
                        <a:gd name="connsiteX209" fmla="*/ 316390 w 442855"/>
                        <a:gd name="connsiteY209" fmla="*/ 469409 h 498212"/>
                        <a:gd name="connsiteX210" fmla="*/ 315039 w 442855"/>
                        <a:gd name="connsiteY210" fmla="*/ 470309 h 498212"/>
                        <a:gd name="connsiteX211" fmla="*/ 314139 w 442855"/>
                        <a:gd name="connsiteY211" fmla="*/ 471209 h 498212"/>
                        <a:gd name="connsiteX212" fmla="*/ 313239 w 442855"/>
                        <a:gd name="connsiteY212" fmla="*/ 472109 h 498212"/>
                        <a:gd name="connsiteX213" fmla="*/ 312789 w 442855"/>
                        <a:gd name="connsiteY213" fmla="*/ 472109 h 498212"/>
                        <a:gd name="connsiteX214" fmla="*/ 311439 w 442855"/>
                        <a:gd name="connsiteY214" fmla="*/ 473909 h 498212"/>
                        <a:gd name="connsiteX215" fmla="*/ 311439 w 442855"/>
                        <a:gd name="connsiteY215" fmla="*/ 474359 h 498212"/>
                        <a:gd name="connsiteX216" fmla="*/ 313239 w 442855"/>
                        <a:gd name="connsiteY216" fmla="*/ 474359 h 498212"/>
                        <a:gd name="connsiteX217" fmla="*/ 314589 w 442855"/>
                        <a:gd name="connsiteY217" fmla="*/ 474809 h 498212"/>
                        <a:gd name="connsiteX218" fmla="*/ 318640 w 442855"/>
                        <a:gd name="connsiteY218" fmla="*/ 475260 h 498212"/>
                        <a:gd name="connsiteX219" fmla="*/ 319540 w 442855"/>
                        <a:gd name="connsiteY219" fmla="*/ 475709 h 498212"/>
                        <a:gd name="connsiteX220" fmla="*/ 319090 w 442855"/>
                        <a:gd name="connsiteY220" fmla="*/ 475709 h 498212"/>
                        <a:gd name="connsiteX221" fmla="*/ 312789 w 442855"/>
                        <a:gd name="connsiteY221" fmla="*/ 474809 h 498212"/>
                        <a:gd name="connsiteX222" fmla="*/ 310989 w 442855"/>
                        <a:gd name="connsiteY222" fmla="*/ 474809 h 498212"/>
                        <a:gd name="connsiteX223" fmla="*/ 307838 w 442855"/>
                        <a:gd name="connsiteY223" fmla="*/ 474359 h 498212"/>
                        <a:gd name="connsiteX224" fmla="*/ 303338 w 442855"/>
                        <a:gd name="connsiteY224" fmla="*/ 473009 h 498212"/>
                        <a:gd name="connsiteX225" fmla="*/ 298837 w 442855"/>
                        <a:gd name="connsiteY225" fmla="*/ 472559 h 498212"/>
                        <a:gd name="connsiteX226" fmla="*/ 294337 w 442855"/>
                        <a:gd name="connsiteY226" fmla="*/ 473009 h 498212"/>
                        <a:gd name="connsiteX227" fmla="*/ 291186 w 442855"/>
                        <a:gd name="connsiteY227" fmla="*/ 473909 h 498212"/>
                        <a:gd name="connsiteX228" fmla="*/ 289386 w 442855"/>
                        <a:gd name="connsiteY228" fmla="*/ 474809 h 498212"/>
                        <a:gd name="connsiteX229" fmla="*/ 284435 w 442855"/>
                        <a:gd name="connsiteY229" fmla="*/ 478860 h 498212"/>
                        <a:gd name="connsiteX230" fmla="*/ 282635 w 442855"/>
                        <a:gd name="connsiteY230" fmla="*/ 481110 h 498212"/>
                        <a:gd name="connsiteX231" fmla="*/ 281735 w 442855"/>
                        <a:gd name="connsiteY231" fmla="*/ 483360 h 498212"/>
                        <a:gd name="connsiteX232" fmla="*/ 281285 w 442855"/>
                        <a:gd name="connsiteY232" fmla="*/ 484261 h 498212"/>
                        <a:gd name="connsiteX233" fmla="*/ 280835 w 442855"/>
                        <a:gd name="connsiteY233" fmla="*/ 484261 h 498212"/>
                        <a:gd name="connsiteX234" fmla="*/ 280835 w 442855"/>
                        <a:gd name="connsiteY234" fmla="*/ 483810 h 498212"/>
                        <a:gd name="connsiteX235" fmla="*/ 281285 w 442855"/>
                        <a:gd name="connsiteY235" fmla="*/ 482911 h 498212"/>
                        <a:gd name="connsiteX236" fmla="*/ 281285 w 442855"/>
                        <a:gd name="connsiteY236" fmla="*/ 482911 h 498212"/>
                        <a:gd name="connsiteX237" fmla="*/ 279935 w 442855"/>
                        <a:gd name="connsiteY237" fmla="*/ 483810 h 498212"/>
                        <a:gd name="connsiteX238" fmla="*/ 279935 w 442855"/>
                        <a:gd name="connsiteY238" fmla="*/ 484261 h 498212"/>
                        <a:gd name="connsiteX239" fmla="*/ 277685 w 442855"/>
                        <a:gd name="connsiteY239" fmla="*/ 484711 h 498212"/>
                        <a:gd name="connsiteX240" fmla="*/ 275434 w 442855"/>
                        <a:gd name="connsiteY240" fmla="*/ 485611 h 498212"/>
                        <a:gd name="connsiteX241" fmla="*/ 272284 w 442855"/>
                        <a:gd name="connsiteY241" fmla="*/ 487411 h 498212"/>
                        <a:gd name="connsiteX242" fmla="*/ 270034 w 442855"/>
                        <a:gd name="connsiteY242" fmla="*/ 488761 h 498212"/>
                        <a:gd name="connsiteX243" fmla="*/ 269134 w 442855"/>
                        <a:gd name="connsiteY243" fmla="*/ 490111 h 498212"/>
                        <a:gd name="connsiteX244" fmla="*/ 268684 w 442855"/>
                        <a:gd name="connsiteY244" fmla="*/ 491461 h 498212"/>
                        <a:gd name="connsiteX245" fmla="*/ 268684 w 442855"/>
                        <a:gd name="connsiteY245" fmla="*/ 493262 h 498212"/>
                        <a:gd name="connsiteX246" fmla="*/ 268234 w 442855"/>
                        <a:gd name="connsiteY246" fmla="*/ 493712 h 498212"/>
                        <a:gd name="connsiteX247" fmla="*/ 266883 w 442855"/>
                        <a:gd name="connsiteY247" fmla="*/ 491912 h 498212"/>
                        <a:gd name="connsiteX248" fmla="*/ 265983 w 442855"/>
                        <a:gd name="connsiteY248" fmla="*/ 491011 h 498212"/>
                        <a:gd name="connsiteX249" fmla="*/ 265083 w 442855"/>
                        <a:gd name="connsiteY249" fmla="*/ 490561 h 498212"/>
                        <a:gd name="connsiteX250" fmla="*/ 264183 w 442855"/>
                        <a:gd name="connsiteY250" fmla="*/ 490561 h 498212"/>
                        <a:gd name="connsiteX251" fmla="*/ 261033 w 442855"/>
                        <a:gd name="connsiteY251" fmla="*/ 491461 h 498212"/>
                        <a:gd name="connsiteX252" fmla="*/ 258782 w 442855"/>
                        <a:gd name="connsiteY252" fmla="*/ 491011 h 498212"/>
                        <a:gd name="connsiteX253" fmla="*/ 256082 w 442855"/>
                        <a:gd name="connsiteY253" fmla="*/ 489661 h 498212"/>
                        <a:gd name="connsiteX254" fmla="*/ 255182 w 442855"/>
                        <a:gd name="connsiteY254" fmla="*/ 489211 h 498212"/>
                        <a:gd name="connsiteX255" fmla="*/ 255182 w 442855"/>
                        <a:gd name="connsiteY255" fmla="*/ 487861 h 498212"/>
                        <a:gd name="connsiteX256" fmla="*/ 255632 w 442855"/>
                        <a:gd name="connsiteY256" fmla="*/ 485161 h 498212"/>
                        <a:gd name="connsiteX257" fmla="*/ 256082 w 442855"/>
                        <a:gd name="connsiteY257" fmla="*/ 483360 h 498212"/>
                        <a:gd name="connsiteX258" fmla="*/ 255632 w 442855"/>
                        <a:gd name="connsiteY258" fmla="*/ 483360 h 498212"/>
                        <a:gd name="connsiteX259" fmla="*/ 256082 w 442855"/>
                        <a:gd name="connsiteY259" fmla="*/ 482911 h 498212"/>
                        <a:gd name="connsiteX260" fmla="*/ 257432 w 442855"/>
                        <a:gd name="connsiteY260" fmla="*/ 482010 h 498212"/>
                        <a:gd name="connsiteX261" fmla="*/ 260132 w 442855"/>
                        <a:gd name="connsiteY261" fmla="*/ 480660 h 498212"/>
                        <a:gd name="connsiteX262" fmla="*/ 262833 w 442855"/>
                        <a:gd name="connsiteY262" fmla="*/ 477510 h 498212"/>
                        <a:gd name="connsiteX263" fmla="*/ 265083 w 442855"/>
                        <a:gd name="connsiteY263" fmla="*/ 475709 h 498212"/>
                        <a:gd name="connsiteX264" fmla="*/ 267333 w 442855"/>
                        <a:gd name="connsiteY264" fmla="*/ 473909 h 498212"/>
                        <a:gd name="connsiteX265" fmla="*/ 268684 w 442855"/>
                        <a:gd name="connsiteY265" fmla="*/ 470759 h 498212"/>
                        <a:gd name="connsiteX266" fmla="*/ 270034 w 442855"/>
                        <a:gd name="connsiteY266" fmla="*/ 462658 h 498212"/>
                        <a:gd name="connsiteX267" fmla="*/ 272284 w 442855"/>
                        <a:gd name="connsiteY267" fmla="*/ 461758 h 498212"/>
                        <a:gd name="connsiteX268" fmla="*/ 274984 w 442855"/>
                        <a:gd name="connsiteY268" fmla="*/ 460408 h 498212"/>
                        <a:gd name="connsiteX269" fmla="*/ 276785 w 442855"/>
                        <a:gd name="connsiteY269" fmla="*/ 459057 h 498212"/>
                        <a:gd name="connsiteX270" fmla="*/ 278135 w 442855"/>
                        <a:gd name="connsiteY270" fmla="*/ 457707 h 498212"/>
                        <a:gd name="connsiteX271" fmla="*/ 279485 w 442855"/>
                        <a:gd name="connsiteY271" fmla="*/ 456807 h 498212"/>
                        <a:gd name="connsiteX272" fmla="*/ 280835 w 442855"/>
                        <a:gd name="connsiteY272" fmla="*/ 456357 h 498212"/>
                        <a:gd name="connsiteX273" fmla="*/ 282185 w 442855"/>
                        <a:gd name="connsiteY273" fmla="*/ 455457 h 498212"/>
                        <a:gd name="connsiteX274" fmla="*/ 283535 w 442855"/>
                        <a:gd name="connsiteY274" fmla="*/ 454107 h 498212"/>
                        <a:gd name="connsiteX275" fmla="*/ 284435 w 442855"/>
                        <a:gd name="connsiteY275" fmla="*/ 452306 h 498212"/>
                        <a:gd name="connsiteX276" fmla="*/ 284886 w 442855"/>
                        <a:gd name="connsiteY276" fmla="*/ 450056 h 498212"/>
                        <a:gd name="connsiteX277" fmla="*/ 284886 w 442855"/>
                        <a:gd name="connsiteY277" fmla="*/ 447806 h 498212"/>
                        <a:gd name="connsiteX278" fmla="*/ 284435 w 442855"/>
                        <a:gd name="connsiteY278" fmla="*/ 445556 h 498212"/>
                        <a:gd name="connsiteX279" fmla="*/ 284435 w 442855"/>
                        <a:gd name="connsiteY279" fmla="*/ 435655 h 498212"/>
                        <a:gd name="connsiteX280" fmla="*/ 283986 w 442855"/>
                        <a:gd name="connsiteY280" fmla="*/ 433404 h 498212"/>
                        <a:gd name="connsiteX281" fmla="*/ 284435 w 442855"/>
                        <a:gd name="connsiteY281" fmla="*/ 431154 h 498212"/>
                        <a:gd name="connsiteX282" fmla="*/ 285786 w 442855"/>
                        <a:gd name="connsiteY282" fmla="*/ 429354 h 498212"/>
                        <a:gd name="connsiteX283" fmla="*/ 286686 w 442855"/>
                        <a:gd name="connsiteY283" fmla="*/ 427553 h 498212"/>
                        <a:gd name="connsiteX284" fmla="*/ 287136 w 442855"/>
                        <a:gd name="connsiteY284" fmla="*/ 425753 h 498212"/>
                        <a:gd name="connsiteX285" fmla="*/ 287586 w 442855"/>
                        <a:gd name="connsiteY285" fmla="*/ 424403 h 498212"/>
                        <a:gd name="connsiteX286" fmla="*/ 288486 w 442855"/>
                        <a:gd name="connsiteY286" fmla="*/ 423053 h 498212"/>
                        <a:gd name="connsiteX287" fmla="*/ 289386 w 442855"/>
                        <a:gd name="connsiteY287" fmla="*/ 422153 h 498212"/>
                        <a:gd name="connsiteX288" fmla="*/ 290286 w 442855"/>
                        <a:gd name="connsiteY288" fmla="*/ 421703 h 498212"/>
                        <a:gd name="connsiteX289" fmla="*/ 290736 w 442855"/>
                        <a:gd name="connsiteY289" fmla="*/ 420803 h 498212"/>
                        <a:gd name="connsiteX290" fmla="*/ 291186 w 442855"/>
                        <a:gd name="connsiteY290" fmla="*/ 419903 h 498212"/>
                        <a:gd name="connsiteX291" fmla="*/ 292086 w 442855"/>
                        <a:gd name="connsiteY291" fmla="*/ 418552 h 498212"/>
                        <a:gd name="connsiteX292" fmla="*/ 293437 w 442855"/>
                        <a:gd name="connsiteY292" fmla="*/ 416752 h 498212"/>
                        <a:gd name="connsiteX293" fmla="*/ 293887 w 442855"/>
                        <a:gd name="connsiteY293" fmla="*/ 415402 h 498212"/>
                        <a:gd name="connsiteX294" fmla="*/ 293887 w 442855"/>
                        <a:gd name="connsiteY294" fmla="*/ 413152 h 498212"/>
                        <a:gd name="connsiteX295" fmla="*/ 293887 w 442855"/>
                        <a:gd name="connsiteY295" fmla="*/ 410902 h 498212"/>
                        <a:gd name="connsiteX296" fmla="*/ 293437 w 442855"/>
                        <a:gd name="connsiteY296" fmla="*/ 409551 h 498212"/>
                        <a:gd name="connsiteX297" fmla="*/ 292537 w 442855"/>
                        <a:gd name="connsiteY297" fmla="*/ 408201 h 498212"/>
                        <a:gd name="connsiteX298" fmla="*/ 292086 w 442855"/>
                        <a:gd name="connsiteY298" fmla="*/ 406851 h 498212"/>
                        <a:gd name="connsiteX299" fmla="*/ 292086 w 442855"/>
                        <a:gd name="connsiteY299" fmla="*/ 405051 h 498212"/>
                        <a:gd name="connsiteX300" fmla="*/ 291636 w 442855"/>
                        <a:gd name="connsiteY300" fmla="*/ 405051 h 498212"/>
                        <a:gd name="connsiteX301" fmla="*/ 290736 w 442855"/>
                        <a:gd name="connsiteY301" fmla="*/ 405051 h 498212"/>
                        <a:gd name="connsiteX302" fmla="*/ 289836 w 442855"/>
                        <a:gd name="connsiteY302" fmla="*/ 404151 h 498212"/>
                        <a:gd name="connsiteX303" fmla="*/ 288936 w 442855"/>
                        <a:gd name="connsiteY303" fmla="*/ 402350 h 498212"/>
                        <a:gd name="connsiteX304" fmla="*/ 288036 w 442855"/>
                        <a:gd name="connsiteY304" fmla="*/ 401000 h 498212"/>
                        <a:gd name="connsiteX305" fmla="*/ 287136 w 442855"/>
                        <a:gd name="connsiteY305" fmla="*/ 400550 h 498212"/>
                        <a:gd name="connsiteX306" fmla="*/ 286686 w 442855"/>
                        <a:gd name="connsiteY306" fmla="*/ 400100 h 498212"/>
                        <a:gd name="connsiteX307" fmla="*/ 285786 w 442855"/>
                        <a:gd name="connsiteY307" fmla="*/ 399200 h 498212"/>
                        <a:gd name="connsiteX308" fmla="*/ 284435 w 442855"/>
                        <a:gd name="connsiteY308" fmla="*/ 398750 h 498212"/>
                        <a:gd name="connsiteX309" fmla="*/ 283986 w 442855"/>
                        <a:gd name="connsiteY309" fmla="*/ 398300 h 498212"/>
                        <a:gd name="connsiteX310" fmla="*/ 283986 w 442855"/>
                        <a:gd name="connsiteY310" fmla="*/ 397400 h 498212"/>
                        <a:gd name="connsiteX311" fmla="*/ 286236 w 442855"/>
                        <a:gd name="connsiteY311" fmla="*/ 396950 h 498212"/>
                        <a:gd name="connsiteX312" fmla="*/ 290286 w 442855"/>
                        <a:gd name="connsiteY312" fmla="*/ 396950 h 498212"/>
                        <a:gd name="connsiteX313" fmla="*/ 292537 w 442855"/>
                        <a:gd name="connsiteY313" fmla="*/ 396950 h 498212"/>
                        <a:gd name="connsiteX314" fmla="*/ 292987 w 442855"/>
                        <a:gd name="connsiteY314" fmla="*/ 396950 h 498212"/>
                        <a:gd name="connsiteX315" fmla="*/ 292537 w 442855"/>
                        <a:gd name="connsiteY315" fmla="*/ 398750 h 498212"/>
                        <a:gd name="connsiteX316" fmla="*/ 292537 w 442855"/>
                        <a:gd name="connsiteY316" fmla="*/ 399650 h 498212"/>
                        <a:gd name="connsiteX317" fmla="*/ 292987 w 442855"/>
                        <a:gd name="connsiteY317" fmla="*/ 400550 h 498212"/>
                        <a:gd name="connsiteX318" fmla="*/ 293437 w 442855"/>
                        <a:gd name="connsiteY318" fmla="*/ 401900 h 498212"/>
                        <a:gd name="connsiteX319" fmla="*/ 293437 w 442855"/>
                        <a:gd name="connsiteY319" fmla="*/ 403700 h 498212"/>
                        <a:gd name="connsiteX320" fmla="*/ 294337 w 442855"/>
                        <a:gd name="connsiteY320" fmla="*/ 404151 h 498212"/>
                        <a:gd name="connsiteX321" fmla="*/ 294787 w 442855"/>
                        <a:gd name="connsiteY321" fmla="*/ 404151 h 498212"/>
                        <a:gd name="connsiteX322" fmla="*/ 295237 w 442855"/>
                        <a:gd name="connsiteY322" fmla="*/ 405051 h 498212"/>
                        <a:gd name="connsiteX323" fmla="*/ 296137 w 442855"/>
                        <a:gd name="connsiteY323" fmla="*/ 405051 h 498212"/>
                        <a:gd name="connsiteX324" fmla="*/ 296587 w 442855"/>
                        <a:gd name="connsiteY324" fmla="*/ 405501 h 498212"/>
                        <a:gd name="connsiteX325" fmla="*/ 296137 w 442855"/>
                        <a:gd name="connsiteY325" fmla="*/ 406401 h 498212"/>
                        <a:gd name="connsiteX326" fmla="*/ 296137 w 442855"/>
                        <a:gd name="connsiteY326" fmla="*/ 406851 h 498212"/>
                        <a:gd name="connsiteX327" fmla="*/ 297487 w 442855"/>
                        <a:gd name="connsiteY327" fmla="*/ 406851 h 498212"/>
                        <a:gd name="connsiteX328" fmla="*/ 298387 w 442855"/>
                        <a:gd name="connsiteY328" fmla="*/ 405501 h 498212"/>
                        <a:gd name="connsiteX329" fmla="*/ 298837 w 442855"/>
                        <a:gd name="connsiteY329" fmla="*/ 405051 h 498212"/>
                        <a:gd name="connsiteX330" fmla="*/ 299738 w 442855"/>
                        <a:gd name="connsiteY330" fmla="*/ 405051 h 498212"/>
                        <a:gd name="connsiteX331" fmla="*/ 299738 w 442855"/>
                        <a:gd name="connsiteY331" fmla="*/ 405501 h 498212"/>
                        <a:gd name="connsiteX332" fmla="*/ 299287 w 442855"/>
                        <a:gd name="connsiteY332" fmla="*/ 406401 h 498212"/>
                        <a:gd name="connsiteX333" fmla="*/ 298837 w 442855"/>
                        <a:gd name="connsiteY333" fmla="*/ 407301 h 498212"/>
                        <a:gd name="connsiteX334" fmla="*/ 298837 w 442855"/>
                        <a:gd name="connsiteY334" fmla="*/ 408201 h 498212"/>
                        <a:gd name="connsiteX335" fmla="*/ 298387 w 442855"/>
                        <a:gd name="connsiteY335" fmla="*/ 409101 h 498212"/>
                        <a:gd name="connsiteX336" fmla="*/ 296587 w 442855"/>
                        <a:gd name="connsiteY336" fmla="*/ 410902 h 498212"/>
                        <a:gd name="connsiteX337" fmla="*/ 296587 w 442855"/>
                        <a:gd name="connsiteY337" fmla="*/ 411351 h 498212"/>
                        <a:gd name="connsiteX338" fmla="*/ 297037 w 442855"/>
                        <a:gd name="connsiteY338" fmla="*/ 411351 h 498212"/>
                        <a:gd name="connsiteX339" fmla="*/ 298837 w 442855"/>
                        <a:gd name="connsiteY339" fmla="*/ 410451 h 498212"/>
                        <a:gd name="connsiteX340" fmla="*/ 300187 w 442855"/>
                        <a:gd name="connsiteY340" fmla="*/ 410451 h 498212"/>
                        <a:gd name="connsiteX341" fmla="*/ 301088 w 442855"/>
                        <a:gd name="connsiteY341" fmla="*/ 410902 h 498212"/>
                        <a:gd name="connsiteX342" fmla="*/ 301538 w 442855"/>
                        <a:gd name="connsiteY342" fmla="*/ 411351 h 498212"/>
                        <a:gd name="connsiteX343" fmla="*/ 301538 w 442855"/>
                        <a:gd name="connsiteY343" fmla="*/ 411801 h 498212"/>
                        <a:gd name="connsiteX344" fmla="*/ 301538 w 442855"/>
                        <a:gd name="connsiteY344" fmla="*/ 413152 h 498212"/>
                        <a:gd name="connsiteX345" fmla="*/ 301088 w 442855"/>
                        <a:gd name="connsiteY345" fmla="*/ 415402 h 498212"/>
                        <a:gd name="connsiteX346" fmla="*/ 301538 w 442855"/>
                        <a:gd name="connsiteY346" fmla="*/ 415852 h 498212"/>
                        <a:gd name="connsiteX347" fmla="*/ 302888 w 442855"/>
                        <a:gd name="connsiteY347" fmla="*/ 414502 h 498212"/>
                        <a:gd name="connsiteX348" fmla="*/ 304238 w 442855"/>
                        <a:gd name="connsiteY348" fmla="*/ 413602 h 498212"/>
                        <a:gd name="connsiteX349" fmla="*/ 306938 w 442855"/>
                        <a:gd name="connsiteY349" fmla="*/ 412702 h 498212"/>
                        <a:gd name="connsiteX350" fmla="*/ 307388 w 442855"/>
                        <a:gd name="connsiteY350" fmla="*/ 412702 h 498212"/>
                        <a:gd name="connsiteX351" fmla="*/ 308739 w 442855"/>
                        <a:gd name="connsiteY351" fmla="*/ 414952 h 498212"/>
                        <a:gd name="connsiteX352" fmla="*/ 311439 w 442855"/>
                        <a:gd name="connsiteY352" fmla="*/ 416752 h 498212"/>
                        <a:gd name="connsiteX353" fmla="*/ 316390 w 442855"/>
                        <a:gd name="connsiteY353" fmla="*/ 419002 h 498212"/>
                        <a:gd name="connsiteX354" fmla="*/ 319540 w 442855"/>
                        <a:gd name="connsiteY354" fmla="*/ 419452 h 498212"/>
                        <a:gd name="connsiteX355" fmla="*/ 320440 w 442855"/>
                        <a:gd name="connsiteY355" fmla="*/ 418552 h 498212"/>
                        <a:gd name="connsiteX356" fmla="*/ 320890 w 442855"/>
                        <a:gd name="connsiteY356" fmla="*/ 416752 h 498212"/>
                        <a:gd name="connsiteX357" fmla="*/ 320890 w 442855"/>
                        <a:gd name="connsiteY357" fmla="*/ 414502 h 498212"/>
                        <a:gd name="connsiteX358" fmla="*/ 320440 w 442855"/>
                        <a:gd name="connsiteY358" fmla="*/ 412702 h 498212"/>
                        <a:gd name="connsiteX359" fmla="*/ 319090 w 442855"/>
                        <a:gd name="connsiteY359" fmla="*/ 411801 h 498212"/>
                        <a:gd name="connsiteX360" fmla="*/ 318640 w 442855"/>
                        <a:gd name="connsiteY360" fmla="*/ 410902 h 498212"/>
                        <a:gd name="connsiteX361" fmla="*/ 318640 w 442855"/>
                        <a:gd name="connsiteY361" fmla="*/ 409101 h 498212"/>
                        <a:gd name="connsiteX362" fmla="*/ 319540 w 442855"/>
                        <a:gd name="connsiteY362" fmla="*/ 408201 h 498212"/>
                        <a:gd name="connsiteX363" fmla="*/ 320890 w 442855"/>
                        <a:gd name="connsiteY363" fmla="*/ 407751 h 498212"/>
                        <a:gd name="connsiteX364" fmla="*/ 322240 w 442855"/>
                        <a:gd name="connsiteY364" fmla="*/ 407751 h 498212"/>
                        <a:gd name="connsiteX365" fmla="*/ 322240 w 442855"/>
                        <a:gd name="connsiteY365" fmla="*/ 408201 h 498212"/>
                        <a:gd name="connsiteX366" fmla="*/ 321790 w 442855"/>
                        <a:gd name="connsiteY366" fmla="*/ 409101 h 498212"/>
                        <a:gd name="connsiteX367" fmla="*/ 321790 w 442855"/>
                        <a:gd name="connsiteY367" fmla="*/ 409551 h 498212"/>
                        <a:gd name="connsiteX368" fmla="*/ 322690 w 442855"/>
                        <a:gd name="connsiteY368" fmla="*/ 409551 h 498212"/>
                        <a:gd name="connsiteX369" fmla="*/ 323140 w 442855"/>
                        <a:gd name="connsiteY369" fmla="*/ 410001 h 498212"/>
                        <a:gd name="connsiteX370" fmla="*/ 324041 w 442855"/>
                        <a:gd name="connsiteY370" fmla="*/ 410902 h 498212"/>
                        <a:gd name="connsiteX371" fmla="*/ 326291 w 442855"/>
                        <a:gd name="connsiteY371" fmla="*/ 410902 h 498212"/>
                        <a:gd name="connsiteX372" fmla="*/ 327191 w 442855"/>
                        <a:gd name="connsiteY372" fmla="*/ 410451 h 498212"/>
                        <a:gd name="connsiteX373" fmla="*/ 326741 w 442855"/>
                        <a:gd name="connsiteY373" fmla="*/ 410001 h 498212"/>
                        <a:gd name="connsiteX374" fmla="*/ 326741 w 442855"/>
                        <a:gd name="connsiteY374" fmla="*/ 409101 h 498212"/>
                        <a:gd name="connsiteX375" fmla="*/ 327191 w 442855"/>
                        <a:gd name="connsiteY375" fmla="*/ 408201 h 498212"/>
                        <a:gd name="connsiteX376" fmla="*/ 327191 w 442855"/>
                        <a:gd name="connsiteY376" fmla="*/ 407751 h 498212"/>
                        <a:gd name="connsiteX377" fmla="*/ 326291 w 442855"/>
                        <a:gd name="connsiteY377" fmla="*/ 408201 h 498212"/>
                        <a:gd name="connsiteX378" fmla="*/ 326291 w 442855"/>
                        <a:gd name="connsiteY378" fmla="*/ 409101 h 498212"/>
                        <a:gd name="connsiteX379" fmla="*/ 325841 w 442855"/>
                        <a:gd name="connsiteY379" fmla="*/ 409551 h 498212"/>
                        <a:gd name="connsiteX380" fmla="*/ 325391 w 442855"/>
                        <a:gd name="connsiteY380" fmla="*/ 409551 h 498212"/>
                        <a:gd name="connsiteX381" fmla="*/ 324941 w 442855"/>
                        <a:gd name="connsiteY381" fmla="*/ 408651 h 498212"/>
                        <a:gd name="connsiteX382" fmla="*/ 324491 w 442855"/>
                        <a:gd name="connsiteY382" fmla="*/ 407751 h 498212"/>
                        <a:gd name="connsiteX383" fmla="*/ 324041 w 442855"/>
                        <a:gd name="connsiteY383" fmla="*/ 406401 h 498212"/>
                        <a:gd name="connsiteX384" fmla="*/ 322690 w 442855"/>
                        <a:gd name="connsiteY384" fmla="*/ 405951 h 498212"/>
                        <a:gd name="connsiteX385" fmla="*/ 322240 w 442855"/>
                        <a:gd name="connsiteY385" fmla="*/ 405501 h 498212"/>
                        <a:gd name="connsiteX386" fmla="*/ 322240 w 442855"/>
                        <a:gd name="connsiteY386" fmla="*/ 404601 h 498212"/>
                        <a:gd name="connsiteX387" fmla="*/ 321790 w 442855"/>
                        <a:gd name="connsiteY387" fmla="*/ 404151 h 498212"/>
                        <a:gd name="connsiteX388" fmla="*/ 321340 w 442855"/>
                        <a:gd name="connsiteY388" fmla="*/ 404151 h 498212"/>
                        <a:gd name="connsiteX389" fmla="*/ 320440 w 442855"/>
                        <a:gd name="connsiteY389" fmla="*/ 402800 h 498212"/>
                        <a:gd name="connsiteX390" fmla="*/ 319090 w 442855"/>
                        <a:gd name="connsiteY390" fmla="*/ 401900 h 498212"/>
                        <a:gd name="connsiteX391" fmla="*/ 319090 w 442855"/>
                        <a:gd name="connsiteY391" fmla="*/ 401450 h 498212"/>
                        <a:gd name="connsiteX392" fmla="*/ 320440 w 442855"/>
                        <a:gd name="connsiteY392" fmla="*/ 401000 h 498212"/>
                        <a:gd name="connsiteX393" fmla="*/ 320890 w 442855"/>
                        <a:gd name="connsiteY393" fmla="*/ 400550 h 498212"/>
                        <a:gd name="connsiteX394" fmla="*/ 320890 w 442855"/>
                        <a:gd name="connsiteY394" fmla="*/ 399650 h 498212"/>
                        <a:gd name="connsiteX395" fmla="*/ 319990 w 442855"/>
                        <a:gd name="connsiteY395" fmla="*/ 398750 h 498212"/>
                        <a:gd name="connsiteX396" fmla="*/ 319540 w 442855"/>
                        <a:gd name="connsiteY396" fmla="*/ 398750 h 498212"/>
                        <a:gd name="connsiteX397" fmla="*/ 319090 w 442855"/>
                        <a:gd name="connsiteY397" fmla="*/ 399200 h 498212"/>
                        <a:gd name="connsiteX398" fmla="*/ 318640 w 442855"/>
                        <a:gd name="connsiteY398" fmla="*/ 399200 h 498212"/>
                        <a:gd name="connsiteX399" fmla="*/ 318190 w 442855"/>
                        <a:gd name="connsiteY399" fmla="*/ 398750 h 498212"/>
                        <a:gd name="connsiteX400" fmla="*/ 318190 w 442855"/>
                        <a:gd name="connsiteY400" fmla="*/ 397850 h 498212"/>
                        <a:gd name="connsiteX401" fmla="*/ 319540 w 442855"/>
                        <a:gd name="connsiteY401" fmla="*/ 396500 h 498212"/>
                        <a:gd name="connsiteX402" fmla="*/ 319540 w 442855"/>
                        <a:gd name="connsiteY402" fmla="*/ 395150 h 498212"/>
                        <a:gd name="connsiteX403" fmla="*/ 319090 w 442855"/>
                        <a:gd name="connsiteY403" fmla="*/ 394249 h 498212"/>
                        <a:gd name="connsiteX404" fmla="*/ 318190 w 442855"/>
                        <a:gd name="connsiteY404" fmla="*/ 393799 h 498212"/>
                        <a:gd name="connsiteX405" fmla="*/ 316840 w 442855"/>
                        <a:gd name="connsiteY405" fmla="*/ 393799 h 498212"/>
                        <a:gd name="connsiteX406" fmla="*/ 316390 w 442855"/>
                        <a:gd name="connsiteY406" fmla="*/ 393799 h 498212"/>
                        <a:gd name="connsiteX407" fmla="*/ 316390 w 442855"/>
                        <a:gd name="connsiteY407" fmla="*/ 394249 h 498212"/>
                        <a:gd name="connsiteX408" fmla="*/ 316840 w 442855"/>
                        <a:gd name="connsiteY408" fmla="*/ 395599 h 498212"/>
                        <a:gd name="connsiteX409" fmla="*/ 316840 w 442855"/>
                        <a:gd name="connsiteY409" fmla="*/ 395599 h 498212"/>
                        <a:gd name="connsiteX410" fmla="*/ 315039 w 442855"/>
                        <a:gd name="connsiteY410" fmla="*/ 395150 h 498212"/>
                        <a:gd name="connsiteX411" fmla="*/ 314139 w 442855"/>
                        <a:gd name="connsiteY411" fmla="*/ 394249 h 498212"/>
                        <a:gd name="connsiteX412" fmla="*/ 313239 w 442855"/>
                        <a:gd name="connsiteY412" fmla="*/ 393799 h 498212"/>
                        <a:gd name="connsiteX413" fmla="*/ 312339 w 442855"/>
                        <a:gd name="connsiteY413" fmla="*/ 391999 h 498212"/>
                        <a:gd name="connsiteX414" fmla="*/ 312339 w 442855"/>
                        <a:gd name="connsiteY414" fmla="*/ 390649 h 498212"/>
                        <a:gd name="connsiteX415" fmla="*/ 312339 w 442855"/>
                        <a:gd name="connsiteY415" fmla="*/ 388399 h 498212"/>
                        <a:gd name="connsiteX416" fmla="*/ 311889 w 442855"/>
                        <a:gd name="connsiteY416" fmla="*/ 387048 h 498212"/>
                        <a:gd name="connsiteX417" fmla="*/ 311439 w 442855"/>
                        <a:gd name="connsiteY417" fmla="*/ 387048 h 498212"/>
                        <a:gd name="connsiteX418" fmla="*/ 311439 w 442855"/>
                        <a:gd name="connsiteY418" fmla="*/ 387948 h 498212"/>
                        <a:gd name="connsiteX419" fmla="*/ 310989 w 442855"/>
                        <a:gd name="connsiteY419" fmla="*/ 388399 h 498212"/>
                        <a:gd name="connsiteX420" fmla="*/ 310089 w 442855"/>
                        <a:gd name="connsiteY420" fmla="*/ 388399 h 498212"/>
                        <a:gd name="connsiteX421" fmla="*/ 309639 w 442855"/>
                        <a:gd name="connsiteY421" fmla="*/ 387948 h 498212"/>
                        <a:gd name="connsiteX422" fmla="*/ 309639 w 442855"/>
                        <a:gd name="connsiteY422" fmla="*/ 387048 h 498212"/>
                        <a:gd name="connsiteX423" fmla="*/ 309189 w 442855"/>
                        <a:gd name="connsiteY423" fmla="*/ 386148 h 498212"/>
                        <a:gd name="connsiteX424" fmla="*/ 308289 w 442855"/>
                        <a:gd name="connsiteY424" fmla="*/ 385248 h 498212"/>
                        <a:gd name="connsiteX425" fmla="*/ 307388 w 442855"/>
                        <a:gd name="connsiteY425" fmla="*/ 383898 h 498212"/>
                        <a:gd name="connsiteX426" fmla="*/ 306938 w 442855"/>
                        <a:gd name="connsiteY426" fmla="*/ 383448 h 498212"/>
                        <a:gd name="connsiteX427" fmla="*/ 306938 w 442855"/>
                        <a:gd name="connsiteY427" fmla="*/ 382998 h 498212"/>
                        <a:gd name="connsiteX428" fmla="*/ 306488 w 442855"/>
                        <a:gd name="connsiteY428" fmla="*/ 382098 h 498212"/>
                        <a:gd name="connsiteX429" fmla="*/ 305588 w 442855"/>
                        <a:gd name="connsiteY429" fmla="*/ 381198 h 498212"/>
                        <a:gd name="connsiteX430" fmla="*/ 305138 w 442855"/>
                        <a:gd name="connsiteY430" fmla="*/ 379848 h 498212"/>
                        <a:gd name="connsiteX431" fmla="*/ 304688 w 442855"/>
                        <a:gd name="connsiteY431" fmla="*/ 379398 h 498212"/>
                        <a:gd name="connsiteX432" fmla="*/ 303338 w 442855"/>
                        <a:gd name="connsiteY432" fmla="*/ 378047 h 498212"/>
                        <a:gd name="connsiteX433" fmla="*/ 302888 w 442855"/>
                        <a:gd name="connsiteY433" fmla="*/ 377147 h 498212"/>
                        <a:gd name="connsiteX434" fmla="*/ 302438 w 442855"/>
                        <a:gd name="connsiteY434" fmla="*/ 376697 h 498212"/>
                        <a:gd name="connsiteX435" fmla="*/ 301088 w 442855"/>
                        <a:gd name="connsiteY435" fmla="*/ 376697 h 498212"/>
                        <a:gd name="connsiteX436" fmla="*/ 299287 w 442855"/>
                        <a:gd name="connsiteY436" fmla="*/ 376697 h 498212"/>
                        <a:gd name="connsiteX437" fmla="*/ 296587 w 442855"/>
                        <a:gd name="connsiteY437" fmla="*/ 377147 h 498212"/>
                        <a:gd name="connsiteX438" fmla="*/ 295237 w 442855"/>
                        <a:gd name="connsiteY438" fmla="*/ 376697 h 498212"/>
                        <a:gd name="connsiteX439" fmla="*/ 295237 w 442855"/>
                        <a:gd name="connsiteY439" fmla="*/ 375797 h 498212"/>
                        <a:gd name="connsiteX440" fmla="*/ 295237 w 442855"/>
                        <a:gd name="connsiteY440" fmla="*/ 375347 h 498212"/>
                        <a:gd name="connsiteX441" fmla="*/ 294787 w 442855"/>
                        <a:gd name="connsiteY441" fmla="*/ 375347 h 498212"/>
                        <a:gd name="connsiteX442" fmla="*/ 294337 w 442855"/>
                        <a:gd name="connsiteY442" fmla="*/ 375797 h 498212"/>
                        <a:gd name="connsiteX443" fmla="*/ 294337 w 442855"/>
                        <a:gd name="connsiteY443" fmla="*/ 376247 h 498212"/>
                        <a:gd name="connsiteX444" fmla="*/ 293437 w 442855"/>
                        <a:gd name="connsiteY444" fmla="*/ 376697 h 498212"/>
                        <a:gd name="connsiteX445" fmla="*/ 292086 w 442855"/>
                        <a:gd name="connsiteY445" fmla="*/ 376697 h 498212"/>
                        <a:gd name="connsiteX446" fmla="*/ 288936 w 442855"/>
                        <a:gd name="connsiteY446" fmla="*/ 376247 h 498212"/>
                        <a:gd name="connsiteX447" fmla="*/ 288036 w 442855"/>
                        <a:gd name="connsiteY447" fmla="*/ 376247 h 498212"/>
                        <a:gd name="connsiteX448" fmla="*/ 286236 w 442855"/>
                        <a:gd name="connsiteY448" fmla="*/ 377147 h 498212"/>
                        <a:gd name="connsiteX449" fmla="*/ 285786 w 442855"/>
                        <a:gd name="connsiteY449" fmla="*/ 376697 h 498212"/>
                        <a:gd name="connsiteX450" fmla="*/ 286686 w 442855"/>
                        <a:gd name="connsiteY450" fmla="*/ 376247 h 498212"/>
                        <a:gd name="connsiteX451" fmla="*/ 286686 w 442855"/>
                        <a:gd name="connsiteY451" fmla="*/ 375797 h 498212"/>
                        <a:gd name="connsiteX452" fmla="*/ 286236 w 442855"/>
                        <a:gd name="connsiteY452" fmla="*/ 375797 h 498212"/>
                        <a:gd name="connsiteX453" fmla="*/ 286236 w 442855"/>
                        <a:gd name="connsiteY453" fmla="*/ 375347 h 498212"/>
                        <a:gd name="connsiteX454" fmla="*/ 285786 w 442855"/>
                        <a:gd name="connsiteY454" fmla="*/ 374897 h 498212"/>
                        <a:gd name="connsiteX455" fmla="*/ 288036 w 442855"/>
                        <a:gd name="connsiteY455" fmla="*/ 373997 h 498212"/>
                        <a:gd name="connsiteX456" fmla="*/ 288036 w 442855"/>
                        <a:gd name="connsiteY456" fmla="*/ 373547 h 498212"/>
                        <a:gd name="connsiteX457" fmla="*/ 286686 w 442855"/>
                        <a:gd name="connsiteY457" fmla="*/ 372647 h 498212"/>
                        <a:gd name="connsiteX458" fmla="*/ 286236 w 442855"/>
                        <a:gd name="connsiteY458" fmla="*/ 372647 h 498212"/>
                        <a:gd name="connsiteX459" fmla="*/ 285786 w 442855"/>
                        <a:gd name="connsiteY459" fmla="*/ 373547 h 498212"/>
                        <a:gd name="connsiteX460" fmla="*/ 285336 w 442855"/>
                        <a:gd name="connsiteY460" fmla="*/ 373997 h 498212"/>
                        <a:gd name="connsiteX461" fmla="*/ 284435 w 442855"/>
                        <a:gd name="connsiteY461" fmla="*/ 373997 h 498212"/>
                        <a:gd name="connsiteX462" fmla="*/ 283986 w 442855"/>
                        <a:gd name="connsiteY462" fmla="*/ 374447 h 498212"/>
                        <a:gd name="connsiteX463" fmla="*/ 283535 w 442855"/>
                        <a:gd name="connsiteY463" fmla="*/ 374447 h 498212"/>
                        <a:gd name="connsiteX464" fmla="*/ 283535 w 442855"/>
                        <a:gd name="connsiteY464" fmla="*/ 373997 h 498212"/>
                        <a:gd name="connsiteX465" fmla="*/ 283535 w 442855"/>
                        <a:gd name="connsiteY465" fmla="*/ 373097 h 498212"/>
                        <a:gd name="connsiteX466" fmla="*/ 282635 w 442855"/>
                        <a:gd name="connsiteY466" fmla="*/ 372647 h 498212"/>
                        <a:gd name="connsiteX467" fmla="*/ 278585 w 442855"/>
                        <a:gd name="connsiteY467" fmla="*/ 372197 h 498212"/>
                        <a:gd name="connsiteX468" fmla="*/ 276335 w 442855"/>
                        <a:gd name="connsiteY468" fmla="*/ 372197 h 498212"/>
                        <a:gd name="connsiteX469" fmla="*/ 274534 w 442855"/>
                        <a:gd name="connsiteY469" fmla="*/ 372197 h 498212"/>
                        <a:gd name="connsiteX470" fmla="*/ 271834 w 442855"/>
                        <a:gd name="connsiteY470" fmla="*/ 371296 h 498212"/>
                        <a:gd name="connsiteX471" fmla="*/ 270934 w 442855"/>
                        <a:gd name="connsiteY471" fmla="*/ 370396 h 498212"/>
                        <a:gd name="connsiteX472" fmla="*/ 265533 w 442855"/>
                        <a:gd name="connsiteY472" fmla="*/ 370846 h 498212"/>
                        <a:gd name="connsiteX473" fmla="*/ 264633 w 442855"/>
                        <a:gd name="connsiteY473" fmla="*/ 370846 h 498212"/>
                        <a:gd name="connsiteX474" fmla="*/ 264183 w 442855"/>
                        <a:gd name="connsiteY474" fmla="*/ 370846 h 498212"/>
                        <a:gd name="connsiteX475" fmla="*/ 262833 w 442855"/>
                        <a:gd name="connsiteY475" fmla="*/ 369946 h 498212"/>
                        <a:gd name="connsiteX476" fmla="*/ 259232 w 442855"/>
                        <a:gd name="connsiteY476" fmla="*/ 370396 h 498212"/>
                        <a:gd name="connsiteX477" fmla="*/ 256532 w 442855"/>
                        <a:gd name="connsiteY477" fmla="*/ 370396 h 498212"/>
                        <a:gd name="connsiteX478" fmla="*/ 247531 w 442855"/>
                        <a:gd name="connsiteY478" fmla="*/ 368596 h 498212"/>
                        <a:gd name="connsiteX479" fmla="*/ 245281 w 442855"/>
                        <a:gd name="connsiteY479" fmla="*/ 367696 h 498212"/>
                        <a:gd name="connsiteX480" fmla="*/ 244831 w 442855"/>
                        <a:gd name="connsiteY480" fmla="*/ 367246 h 498212"/>
                        <a:gd name="connsiteX481" fmla="*/ 243480 w 442855"/>
                        <a:gd name="connsiteY481" fmla="*/ 366796 h 498212"/>
                        <a:gd name="connsiteX482" fmla="*/ 239430 w 442855"/>
                        <a:gd name="connsiteY482" fmla="*/ 366346 h 498212"/>
                        <a:gd name="connsiteX483" fmla="*/ 238980 w 442855"/>
                        <a:gd name="connsiteY483" fmla="*/ 366346 h 498212"/>
                        <a:gd name="connsiteX484" fmla="*/ 238530 w 442855"/>
                        <a:gd name="connsiteY484" fmla="*/ 365446 h 498212"/>
                        <a:gd name="connsiteX485" fmla="*/ 237630 w 442855"/>
                        <a:gd name="connsiteY485" fmla="*/ 364996 h 498212"/>
                        <a:gd name="connsiteX486" fmla="*/ 235379 w 442855"/>
                        <a:gd name="connsiteY486" fmla="*/ 364996 h 498212"/>
                        <a:gd name="connsiteX487" fmla="*/ 234029 w 442855"/>
                        <a:gd name="connsiteY487" fmla="*/ 364545 h 498212"/>
                        <a:gd name="connsiteX488" fmla="*/ 233579 w 442855"/>
                        <a:gd name="connsiteY488" fmla="*/ 363646 h 498212"/>
                        <a:gd name="connsiteX489" fmla="*/ 233579 w 442855"/>
                        <a:gd name="connsiteY489" fmla="*/ 362295 h 498212"/>
                        <a:gd name="connsiteX490" fmla="*/ 234029 w 442855"/>
                        <a:gd name="connsiteY490" fmla="*/ 360945 h 498212"/>
                        <a:gd name="connsiteX491" fmla="*/ 234029 w 442855"/>
                        <a:gd name="connsiteY491" fmla="*/ 360045 h 498212"/>
                        <a:gd name="connsiteX492" fmla="*/ 233579 w 442855"/>
                        <a:gd name="connsiteY492" fmla="*/ 359145 h 498212"/>
                        <a:gd name="connsiteX493" fmla="*/ 232679 w 442855"/>
                        <a:gd name="connsiteY493" fmla="*/ 358245 h 498212"/>
                        <a:gd name="connsiteX494" fmla="*/ 231329 w 442855"/>
                        <a:gd name="connsiteY494" fmla="*/ 358245 h 498212"/>
                        <a:gd name="connsiteX495" fmla="*/ 229079 w 442855"/>
                        <a:gd name="connsiteY495" fmla="*/ 359145 h 498212"/>
                        <a:gd name="connsiteX496" fmla="*/ 227278 w 442855"/>
                        <a:gd name="connsiteY496" fmla="*/ 359595 h 498212"/>
                        <a:gd name="connsiteX497" fmla="*/ 226828 w 442855"/>
                        <a:gd name="connsiteY497" fmla="*/ 360045 h 498212"/>
                        <a:gd name="connsiteX498" fmla="*/ 226378 w 442855"/>
                        <a:gd name="connsiteY498" fmla="*/ 360495 h 498212"/>
                        <a:gd name="connsiteX499" fmla="*/ 225928 w 442855"/>
                        <a:gd name="connsiteY499" fmla="*/ 360495 h 498212"/>
                        <a:gd name="connsiteX500" fmla="*/ 224578 w 442855"/>
                        <a:gd name="connsiteY500" fmla="*/ 358695 h 498212"/>
                        <a:gd name="connsiteX501" fmla="*/ 224578 w 442855"/>
                        <a:gd name="connsiteY501" fmla="*/ 357795 h 498212"/>
                        <a:gd name="connsiteX502" fmla="*/ 225028 w 442855"/>
                        <a:gd name="connsiteY502" fmla="*/ 356895 h 498212"/>
                        <a:gd name="connsiteX503" fmla="*/ 226828 w 442855"/>
                        <a:gd name="connsiteY503" fmla="*/ 354644 h 498212"/>
                        <a:gd name="connsiteX504" fmla="*/ 227278 w 442855"/>
                        <a:gd name="connsiteY504" fmla="*/ 353294 h 498212"/>
                        <a:gd name="connsiteX505" fmla="*/ 226828 w 442855"/>
                        <a:gd name="connsiteY505" fmla="*/ 352394 h 498212"/>
                        <a:gd name="connsiteX506" fmla="*/ 226378 w 442855"/>
                        <a:gd name="connsiteY506" fmla="*/ 352394 h 498212"/>
                        <a:gd name="connsiteX507" fmla="*/ 225928 w 442855"/>
                        <a:gd name="connsiteY507" fmla="*/ 353294 h 498212"/>
                        <a:gd name="connsiteX508" fmla="*/ 225478 w 442855"/>
                        <a:gd name="connsiteY508" fmla="*/ 353744 h 498212"/>
                        <a:gd name="connsiteX509" fmla="*/ 225028 w 442855"/>
                        <a:gd name="connsiteY509" fmla="*/ 353744 h 498212"/>
                        <a:gd name="connsiteX510" fmla="*/ 224578 w 442855"/>
                        <a:gd name="connsiteY510" fmla="*/ 352844 h 498212"/>
                        <a:gd name="connsiteX511" fmla="*/ 224578 w 442855"/>
                        <a:gd name="connsiteY511" fmla="*/ 350594 h 498212"/>
                        <a:gd name="connsiteX512" fmla="*/ 225028 w 442855"/>
                        <a:gd name="connsiteY512" fmla="*/ 349694 h 498212"/>
                        <a:gd name="connsiteX513" fmla="*/ 225928 w 442855"/>
                        <a:gd name="connsiteY513" fmla="*/ 349244 h 498212"/>
                        <a:gd name="connsiteX514" fmla="*/ 227728 w 442855"/>
                        <a:gd name="connsiteY514" fmla="*/ 349244 h 498212"/>
                        <a:gd name="connsiteX515" fmla="*/ 228178 w 442855"/>
                        <a:gd name="connsiteY515" fmla="*/ 348794 h 498212"/>
                        <a:gd name="connsiteX516" fmla="*/ 228629 w 442855"/>
                        <a:gd name="connsiteY516" fmla="*/ 347894 h 498212"/>
                        <a:gd name="connsiteX517" fmla="*/ 228178 w 442855"/>
                        <a:gd name="connsiteY517" fmla="*/ 346993 h 498212"/>
                        <a:gd name="connsiteX518" fmla="*/ 227278 w 442855"/>
                        <a:gd name="connsiteY518" fmla="*/ 346093 h 498212"/>
                        <a:gd name="connsiteX519" fmla="*/ 225928 w 442855"/>
                        <a:gd name="connsiteY519" fmla="*/ 345643 h 498212"/>
                        <a:gd name="connsiteX520" fmla="*/ 224578 w 442855"/>
                        <a:gd name="connsiteY520" fmla="*/ 345643 h 498212"/>
                        <a:gd name="connsiteX521" fmla="*/ 223678 w 442855"/>
                        <a:gd name="connsiteY521" fmla="*/ 346093 h 498212"/>
                        <a:gd name="connsiteX522" fmla="*/ 223228 w 442855"/>
                        <a:gd name="connsiteY522" fmla="*/ 346543 h 498212"/>
                        <a:gd name="connsiteX523" fmla="*/ 222778 w 442855"/>
                        <a:gd name="connsiteY523" fmla="*/ 346543 h 498212"/>
                        <a:gd name="connsiteX524" fmla="*/ 222328 w 442855"/>
                        <a:gd name="connsiteY524" fmla="*/ 345643 h 498212"/>
                        <a:gd name="connsiteX525" fmla="*/ 220528 w 442855"/>
                        <a:gd name="connsiteY525" fmla="*/ 344743 h 498212"/>
                        <a:gd name="connsiteX526" fmla="*/ 220077 w 442855"/>
                        <a:gd name="connsiteY526" fmla="*/ 343843 h 498212"/>
                        <a:gd name="connsiteX527" fmla="*/ 220077 w 442855"/>
                        <a:gd name="connsiteY527" fmla="*/ 342943 h 498212"/>
                        <a:gd name="connsiteX528" fmla="*/ 221428 w 442855"/>
                        <a:gd name="connsiteY528" fmla="*/ 340243 h 498212"/>
                        <a:gd name="connsiteX529" fmla="*/ 221428 w 442855"/>
                        <a:gd name="connsiteY529" fmla="*/ 339342 h 498212"/>
                        <a:gd name="connsiteX530" fmla="*/ 221878 w 442855"/>
                        <a:gd name="connsiteY530" fmla="*/ 337992 h 498212"/>
                        <a:gd name="connsiteX531" fmla="*/ 223228 w 442855"/>
                        <a:gd name="connsiteY531" fmla="*/ 335742 h 498212"/>
                        <a:gd name="connsiteX532" fmla="*/ 223678 w 442855"/>
                        <a:gd name="connsiteY532" fmla="*/ 333942 h 498212"/>
                        <a:gd name="connsiteX533" fmla="*/ 223228 w 442855"/>
                        <a:gd name="connsiteY533" fmla="*/ 333042 h 498212"/>
                        <a:gd name="connsiteX534" fmla="*/ 222778 w 442855"/>
                        <a:gd name="connsiteY534" fmla="*/ 332592 h 498212"/>
                        <a:gd name="connsiteX535" fmla="*/ 222328 w 442855"/>
                        <a:gd name="connsiteY535" fmla="*/ 332592 h 498212"/>
                        <a:gd name="connsiteX536" fmla="*/ 221878 w 442855"/>
                        <a:gd name="connsiteY536" fmla="*/ 332142 h 498212"/>
                        <a:gd name="connsiteX537" fmla="*/ 221428 w 442855"/>
                        <a:gd name="connsiteY537" fmla="*/ 330791 h 498212"/>
                        <a:gd name="connsiteX538" fmla="*/ 220077 w 442855"/>
                        <a:gd name="connsiteY538" fmla="*/ 329891 h 498212"/>
                        <a:gd name="connsiteX539" fmla="*/ 218277 w 442855"/>
                        <a:gd name="connsiteY539" fmla="*/ 328991 h 498212"/>
                        <a:gd name="connsiteX540" fmla="*/ 216477 w 442855"/>
                        <a:gd name="connsiteY540" fmla="*/ 327641 h 498212"/>
                        <a:gd name="connsiteX541" fmla="*/ 215577 w 442855"/>
                        <a:gd name="connsiteY541" fmla="*/ 323590 h 498212"/>
                        <a:gd name="connsiteX542" fmla="*/ 215127 w 442855"/>
                        <a:gd name="connsiteY542" fmla="*/ 322240 h 498212"/>
                        <a:gd name="connsiteX543" fmla="*/ 215577 w 442855"/>
                        <a:gd name="connsiteY543" fmla="*/ 321340 h 498212"/>
                        <a:gd name="connsiteX544" fmla="*/ 216027 w 442855"/>
                        <a:gd name="connsiteY544" fmla="*/ 320440 h 498212"/>
                        <a:gd name="connsiteX545" fmla="*/ 216027 w 442855"/>
                        <a:gd name="connsiteY545" fmla="*/ 319990 h 498212"/>
                        <a:gd name="connsiteX546" fmla="*/ 216477 w 442855"/>
                        <a:gd name="connsiteY546" fmla="*/ 319090 h 498212"/>
                        <a:gd name="connsiteX547" fmla="*/ 217377 w 442855"/>
                        <a:gd name="connsiteY547" fmla="*/ 317740 h 498212"/>
                        <a:gd name="connsiteX548" fmla="*/ 217377 w 442855"/>
                        <a:gd name="connsiteY548" fmla="*/ 316840 h 498212"/>
                        <a:gd name="connsiteX549" fmla="*/ 217377 w 442855"/>
                        <a:gd name="connsiteY549" fmla="*/ 315939 h 498212"/>
                        <a:gd name="connsiteX550" fmla="*/ 218277 w 442855"/>
                        <a:gd name="connsiteY550" fmla="*/ 314589 h 498212"/>
                        <a:gd name="connsiteX551" fmla="*/ 218727 w 442855"/>
                        <a:gd name="connsiteY551" fmla="*/ 313689 h 498212"/>
                        <a:gd name="connsiteX552" fmla="*/ 218727 w 442855"/>
                        <a:gd name="connsiteY552" fmla="*/ 312789 h 498212"/>
                        <a:gd name="connsiteX553" fmla="*/ 216477 w 442855"/>
                        <a:gd name="connsiteY553" fmla="*/ 312339 h 498212"/>
                        <a:gd name="connsiteX554" fmla="*/ 211977 w 442855"/>
                        <a:gd name="connsiteY554" fmla="*/ 312339 h 498212"/>
                        <a:gd name="connsiteX555" fmla="*/ 208376 w 442855"/>
                        <a:gd name="connsiteY555" fmla="*/ 312789 h 498212"/>
                        <a:gd name="connsiteX556" fmla="*/ 205676 w 442855"/>
                        <a:gd name="connsiteY556" fmla="*/ 313239 h 498212"/>
                        <a:gd name="connsiteX557" fmla="*/ 202525 w 442855"/>
                        <a:gd name="connsiteY557" fmla="*/ 313239 h 498212"/>
                        <a:gd name="connsiteX558" fmla="*/ 198925 w 442855"/>
                        <a:gd name="connsiteY558" fmla="*/ 312339 h 498212"/>
                        <a:gd name="connsiteX559" fmla="*/ 196225 w 442855"/>
                        <a:gd name="connsiteY559" fmla="*/ 310539 h 498212"/>
                        <a:gd name="connsiteX560" fmla="*/ 193974 w 442855"/>
                        <a:gd name="connsiteY560" fmla="*/ 307839 h 498212"/>
                        <a:gd name="connsiteX561" fmla="*/ 192174 w 442855"/>
                        <a:gd name="connsiteY561" fmla="*/ 305138 h 498212"/>
                        <a:gd name="connsiteX562" fmla="*/ 190824 w 442855"/>
                        <a:gd name="connsiteY562" fmla="*/ 301988 h 498212"/>
                        <a:gd name="connsiteX563" fmla="*/ 190374 w 442855"/>
                        <a:gd name="connsiteY563" fmla="*/ 299287 h 498212"/>
                        <a:gd name="connsiteX564" fmla="*/ 190374 w 442855"/>
                        <a:gd name="connsiteY564" fmla="*/ 298837 h 498212"/>
                        <a:gd name="connsiteX565" fmla="*/ 189924 w 442855"/>
                        <a:gd name="connsiteY565" fmla="*/ 298387 h 498212"/>
                        <a:gd name="connsiteX566" fmla="*/ 189474 w 442855"/>
                        <a:gd name="connsiteY566" fmla="*/ 297037 h 498212"/>
                        <a:gd name="connsiteX567" fmla="*/ 189024 w 442855"/>
                        <a:gd name="connsiteY567" fmla="*/ 294337 h 498212"/>
                        <a:gd name="connsiteX568" fmla="*/ 188574 w 442855"/>
                        <a:gd name="connsiteY568" fmla="*/ 292087 h 498212"/>
                        <a:gd name="connsiteX569" fmla="*/ 188123 w 442855"/>
                        <a:gd name="connsiteY569" fmla="*/ 291186 h 498212"/>
                        <a:gd name="connsiteX570" fmla="*/ 187673 w 442855"/>
                        <a:gd name="connsiteY570" fmla="*/ 290736 h 498212"/>
                        <a:gd name="connsiteX571" fmla="*/ 186773 w 442855"/>
                        <a:gd name="connsiteY571" fmla="*/ 288936 h 498212"/>
                        <a:gd name="connsiteX572" fmla="*/ 186323 w 442855"/>
                        <a:gd name="connsiteY572" fmla="*/ 288036 h 498212"/>
                        <a:gd name="connsiteX573" fmla="*/ 186323 w 442855"/>
                        <a:gd name="connsiteY573" fmla="*/ 287586 h 498212"/>
                        <a:gd name="connsiteX574" fmla="*/ 185423 w 442855"/>
                        <a:gd name="connsiteY574" fmla="*/ 286686 h 498212"/>
                        <a:gd name="connsiteX575" fmla="*/ 184973 w 442855"/>
                        <a:gd name="connsiteY575" fmla="*/ 286686 h 498212"/>
                        <a:gd name="connsiteX576" fmla="*/ 182273 w 442855"/>
                        <a:gd name="connsiteY576" fmla="*/ 287136 h 498212"/>
                        <a:gd name="connsiteX577" fmla="*/ 181373 w 442855"/>
                        <a:gd name="connsiteY577" fmla="*/ 286236 h 498212"/>
                        <a:gd name="connsiteX578" fmla="*/ 180923 w 442855"/>
                        <a:gd name="connsiteY578" fmla="*/ 285786 h 498212"/>
                        <a:gd name="connsiteX579" fmla="*/ 180023 w 442855"/>
                        <a:gd name="connsiteY579" fmla="*/ 285336 h 498212"/>
                        <a:gd name="connsiteX580" fmla="*/ 178672 w 442855"/>
                        <a:gd name="connsiteY580" fmla="*/ 285786 h 498212"/>
                        <a:gd name="connsiteX581" fmla="*/ 177322 w 442855"/>
                        <a:gd name="connsiteY581" fmla="*/ 286686 h 498212"/>
                        <a:gd name="connsiteX582" fmla="*/ 175972 w 442855"/>
                        <a:gd name="connsiteY582" fmla="*/ 286686 h 498212"/>
                        <a:gd name="connsiteX583" fmla="*/ 173272 w 442855"/>
                        <a:gd name="connsiteY583" fmla="*/ 286236 h 498212"/>
                        <a:gd name="connsiteX584" fmla="*/ 171471 w 442855"/>
                        <a:gd name="connsiteY584" fmla="*/ 286686 h 498212"/>
                        <a:gd name="connsiteX585" fmla="*/ 168321 w 442855"/>
                        <a:gd name="connsiteY585" fmla="*/ 286686 h 498212"/>
                        <a:gd name="connsiteX586" fmla="*/ 166521 w 442855"/>
                        <a:gd name="connsiteY586" fmla="*/ 285786 h 498212"/>
                        <a:gd name="connsiteX587" fmla="*/ 164271 w 442855"/>
                        <a:gd name="connsiteY587" fmla="*/ 284436 h 498212"/>
                        <a:gd name="connsiteX588" fmla="*/ 162920 w 442855"/>
                        <a:gd name="connsiteY588" fmla="*/ 283986 h 498212"/>
                        <a:gd name="connsiteX589" fmla="*/ 161570 w 442855"/>
                        <a:gd name="connsiteY589" fmla="*/ 283986 h 498212"/>
                        <a:gd name="connsiteX590" fmla="*/ 160670 w 442855"/>
                        <a:gd name="connsiteY590" fmla="*/ 283535 h 498212"/>
                        <a:gd name="connsiteX591" fmla="*/ 160220 w 442855"/>
                        <a:gd name="connsiteY591" fmla="*/ 282635 h 498212"/>
                        <a:gd name="connsiteX592" fmla="*/ 159770 w 442855"/>
                        <a:gd name="connsiteY592" fmla="*/ 282635 h 498212"/>
                        <a:gd name="connsiteX593" fmla="*/ 157970 w 442855"/>
                        <a:gd name="connsiteY593" fmla="*/ 281735 h 498212"/>
                        <a:gd name="connsiteX594" fmla="*/ 156169 w 442855"/>
                        <a:gd name="connsiteY594" fmla="*/ 281285 h 498212"/>
                        <a:gd name="connsiteX595" fmla="*/ 151669 w 442855"/>
                        <a:gd name="connsiteY595" fmla="*/ 279935 h 498212"/>
                        <a:gd name="connsiteX596" fmla="*/ 150319 w 442855"/>
                        <a:gd name="connsiteY596" fmla="*/ 278585 h 498212"/>
                        <a:gd name="connsiteX597" fmla="*/ 149419 w 442855"/>
                        <a:gd name="connsiteY597" fmla="*/ 278585 h 498212"/>
                        <a:gd name="connsiteX598" fmla="*/ 148068 w 442855"/>
                        <a:gd name="connsiteY598" fmla="*/ 278585 h 498212"/>
                        <a:gd name="connsiteX599" fmla="*/ 147168 w 442855"/>
                        <a:gd name="connsiteY599" fmla="*/ 279035 h 498212"/>
                        <a:gd name="connsiteX600" fmla="*/ 146268 w 442855"/>
                        <a:gd name="connsiteY600" fmla="*/ 279035 h 498212"/>
                        <a:gd name="connsiteX601" fmla="*/ 145368 w 442855"/>
                        <a:gd name="connsiteY601" fmla="*/ 278585 h 498212"/>
                        <a:gd name="connsiteX602" fmla="*/ 144918 w 442855"/>
                        <a:gd name="connsiteY602" fmla="*/ 279035 h 498212"/>
                        <a:gd name="connsiteX603" fmla="*/ 145368 w 442855"/>
                        <a:gd name="connsiteY603" fmla="*/ 279935 h 498212"/>
                        <a:gd name="connsiteX604" fmla="*/ 145368 w 442855"/>
                        <a:gd name="connsiteY604" fmla="*/ 280835 h 498212"/>
                        <a:gd name="connsiteX605" fmla="*/ 145818 w 442855"/>
                        <a:gd name="connsiteY605" fmla="*/ 282635 h 498212"/>
                        <a:gd name="connsiteX606" fmla="*/ 147618 w 442855"/>
                        <a:gd name="connsiteY606" fmla="*/ 283986 h 498212"/>
                        <a:gd name="connsiteX607" fmla="*/ 148519 w 442855"/>
                        <a:gd name="connsiteY607" fmla="*/ 285336 h 498212"/>
                        <a:gd name="connsiteX608" fmla="*/ 148519 w 442855"/>
                        <a:gd name="connsiteY608" fmla="*/ 286686 h 498212"/>
                        <a:gd name="connsiteX609" fmla="*/ 148068 w 442855"/>
                        <a:gd name="connsiteY609" fmla="*/ 288486 h 498212"/>
                        <a:gd name="connsiteX610" fmla="*/ 146268 w 442855"/>
                        <a:gd name="connsiteY610" fmla="*/ 291186 h 498212"/>
                        <a:gd name="connsiteX611" fmla="*/ 145818 w 442855"/>
                        <a:gd name="connsiteY611" fmla="*/ 291186 h 498212"/>
                        <a:gd name="connsiteX612" fmla="*/ 144018 w 442855"/>
                        <a:gd name="connsiteY612" fmla="*/ 291637 h 498212"/>
                        <a:gd name="connsiteX613" fmla="*/ 143118 w 442855"/>
                        <a:gd name="connsiteY613" fmla="*/ 292536 h 498212"/>
                        <a:gd name="connsiteX614" fmla="*/ 142668 w 442855"/>
                        <a:gd name="connsiteY614" fmla="*/ 292536 h 498212"/>
                        <a:gd name="connsiteX615" fmla="*/ 142218 w 442855"/>
                        <a:gd name="connsiteY615" fmla="*/ 292087 h 498212"/>
                        <a:gd name="connsiteX616" fmla="*/ 141768 w 442855"/>
                        <a:gd name="connsiteY616" fmla="*/ 292536 h 498212"/>
                        <a:gd name="connsiteX617" fmla="*/ 140868 w 442855"/>
                        <a:gd name="connsiteY617" fmla="*/ 293437 h 498212"/>
                        <a:gd name="connsiteX618" fmla="*/ 140417 w 442855"/>
                        <a:gd name="connsiteY618" fmla="*/ 294337 h 498212"/>
                        <a:gd name="connsiteX619" fmla="*/ 140417 w 442855"/>
                        <a:gd name="connsiteY619" fmla="*/ 294787 h 498212"/>
                        <a:gd name="connsiteX620" fmla="*/ 139968 w 442855"/>
                        <a:gd name="connsiteY620" fmla="*/ 295237 h 498212"/>
                        <a:gd name="connsiteX621" fmla="*/ 139067 w 442855"/>
                        <a:gd name="connsiteY621" fmla="*/ 296137 h 498212"/>
                        <a:gd name="connsiteX622" fmla="*/ 138617 w 442855"/>
                        <a:gd name="connsiteY622" fmla="*/ 296137 h 498212"/>
                        <a:gd name="connsiteX623" fmla="*/ 138617 w 442855"/>
                        <a:gd name="connsiteY623" fmla="*/ 295237 h 498212"/>
                        <a:gd name="connsiteX624" fmla="*/ 138167 w 442855"/>
                        <a:gd name="connsiteY624" fmla="*/ 294787 h 498212"/>
                        <a:gd name="connsiteX625" fmla="*/ 138617 w 442855"/>
                        <a:gd name="connsiteY625" fmla="*/ 293437 h 498212"/>
                        <a:gd name="connsiteX626" fmla="*/ 142218 w 442855"/>
                        <a:gd name="connsiteY626" fmla="*/ 289386 h 498212"/>
                        <a:gd name="connsiteX627" fmla="*/ 143568 w 442855"/>
                        <a:gd name="connsiteY627" fmla="*/ 287586 h 498212"/>
                        <a:gd name="connsiteX628" fmla="*/ 144018 w 442855"/>
                        <a:gd name="connsiteY628" fmla="*/ 286686 h 498212"/>
                        <a:gd name="connsiteX629" fmla="*/ 144018 w 442855"/>
                        <a:gd name="connsiteY629" fmla="*/ 285336 h 498212"/>
                        <a:gd name="connsiteX630" fmla="*/ 143568 w 442855"/>
                        <a:gd name="connsiteY630" fmla="*/ 283986 h 498212"/>
                        <a:gd name="connsiteX631" fmla="*/ 142668 w 442855"/>
                        <a:gd name="connsiteY631" fmla="*/ 283085 h 498212"/>
                        <a:gd name="connsiteX632" fmla="*/ 141318 w 442855"/>
                        <a:gd name="connsiteY632" fmla="*/ 283085 h 498212"/>
                        <a:gd name="connsiteX633" fmla="*/ 140417 w 442855"/>
                        <a:gd name="connsiteY633" fmla="*/ 283535 h 498212"/>
                        <a:gd name="connsiteX634" fmla="*/ 139517 w 442855"/>
                        <a:gd name="connsiteY634" fmla="*/ 284886 h 498212"/>
                        <a:gd name="connsiteX635" fmla="*/ 139517 w 442855"/>
                        <a:gd name="connsiteY635" fmla="*/ 285786 h 498212"/>
                        <a:gd name="connsiteX636" fmla="*/ 139517 w 442855"/>
                        <a:gd name="connsiteY636" fmla="*/ 288036 h 498212"/>
                        <a:gd name="connsiteX637" fmla="*/ 139517 w 442855"/>
                        <a:gd name="connsiteY637" fmla="*/ 288936 h 498212"/>
                        <a:gd name="connsiteX638" fmla="*/ 139067 w 442855"/>
                        <a:gd name="connsiteY638" fmla="*/ 289386 h 498212"/>
                        <a:gd name="connsiteX639" fmla="*/ 138167 w 442855"/>
                        <a:gd name="connsiteY639" fmla="*/ 289836 h 498212"/>
                        <a:gd name="connsiteX640" fmla="*/ 137717 w 442855"/>
                        <a:gd name="connsiteY640" fmla="*/ 290736 h 498212"/>
                        <a:gd name="connsiteX641" fmla="*/ 137717 w 442855"/>
                        <a:gd name="connsiteY641" fmla="*/ 292536 h 498212"/>
                        <a:gd name="connsiteX642" fmla="*/ 137267 w 442855"/>
                        <a:gd name="connsiteY642" fmla="*/ 293437 h 498212"/>
                        <a:gd name="connsiteX643" fmla="*/ 136817 w 442855"/>
                        <a:gd name="connsiteY643" fmla="*/ 293437 h 498212"/>
                        <a:gd name="connsiteX644" fmla="*/ 136367 w 442855"/>
                        <a:gd name="connsiteY644" fmla="*/ 294337 h 498212"/>
                        <a:gd name="connsiteX645" fmla="*/ 135917 w 442855"/>
                        <a:gd name="connsiteY645" fmla="*/ 296137 h 498212"/>
                        <a:gd name="connsiteX646" fmla="*/ 135467 w 442855"/>
                        <a:gd name="connsiteY646" fmla="*/ 297037 h 498212"/>
                        <a:gd name="connsiteX647" fmla="*/ 134567 w 442855"/>
                        <a:gd name="connsiteY647" fmla="*/ 297487 h 498212"/>
                        <a:gd name="connsiteX648" fmla="*/ 132317 w 442855"/>
                        <a:gd name="connsiteY648" fmla="*/ 298387 h 498212"/>
                        <a:gd name="connsiteX649" fmla="*/ 131416 w 442855"/>
                        <a:gd name="connsiteY649" fmla="*/ 298387 h 498212"/>
                        <a:gd name="connsiteX650" fmla="*/ 131866 w 442855"/>
                        <a:gd name="connsiteY650" fmla="*/ 297487 h 498212"/>
                        <a:gd name="connsiteX651" fmla="*/ 132317 w 442855"/>
                        <a:gd name="connsiteY651" fmla="*/ 297037 h 498212"/>
                        <a:gd name="connsiteX652" fmla="*/ 132767 w 442855"/>
                        <a:gd name="connsiteY652" fmla="*/ 297037 h 498212"/>
                        <a:gd name="connsiteX653" fmla="*/ 134117 w 442855"/>
                        <a:gd name="connsiteY653" fmla="*/ 292987 h 498212"/>
                        <a:gd name="connsiteX654" fmla="*/ 135467 w 442855"/>
                        <a:gd name="connsiteY654" fmla="*/ 290736 h 498212"/>
                        <a:gd name="connsiteX655" fmla="*/ 135017 w 442855"/>
                        <a:gd name="connsiteY655" fmla="*/ 290286 h 498212"/>
                        <a:gd name="connsiteX656" fmla="*/ 128266 w 442855"/>
                        <a:gd name="connsiteY656" fmla="*/ 292987 h 498212"/>
                        <a:gd name="connsiteX657" fmla="*/ 126016 w 442855"/>
                        <a:gd name="connsiteY657" fmla="*/ 294337 h 498212"/>
                        <a:gd name="connsiteX658" fmla="*/ 125566 w 442855"/>
                        <a:gd name="connsiteY658" fmla="*/ 295237 h 498212"/>
                        <a:gd name="connsiteX659" fmla="*/ 125566 w 442855"/>
                        <a:gd name="connsiteY659" fmla="*/ 296137 h 498212"/>
                        <a:gd name="connsiteX660" fmla="*/ 126016 w 442855"/>
                        <a:gd name="connsiteY660" fmla="*/ 297487 h 498212"/>
                        <a:gd name="connsiteX661" fmla="*/ 126016 w 442855"/>
                        <a:gd name="connsiteY661" fmla="*/ 298387 h 498212"/>
                        <a:gd name="connsiteX662" fmla="*/ 125566 w 442855"/>
                        <a:gd name="connsiteY662" fmla="*/ 299287 h 498212"/>
                        <a:gd name="connsiteX663" fmla="*/ 124666 w 442855"/>
                        <a:gd name="connsiteY663" fmla="*/ 301538 h 498212"/>
                        <a:gd name="connsiteX664" fmla="*/ 124216 w 442855"/>
                        <a:gd name="connsiteY664" fmla="*/ 302888 h 498212"/>
                        <a:gd name="connsiteX665" fmla="*/ 123765 w 442855"/>
                        <a:gd name="connsiteY665" fmla="*/ 304238 h 498212"/>
                        <a:gd name="connsiteX666" fmla="*/ 121965 w 442855"/>
                        <a:gd name="connsiteY666" fmla="*/ 305138 h 498212"/>
                        <a:gd name="connsiteX667" fmla="*/ 121515 w 442855"/>
                        <a:gd name="connsiteY667" fmla="*/ 305138 h 498212"/>
                        <a:gd name="connsiteX668" fmla="*/ 119265 w 442855"/>
                        <a:gd name="connsiteY668" fmla="*/ 307839 h 498212"/>
                        <a:gd name="connsiteX669" fmla="*/ 118815 w 442855"/>
                        <a:gd name="connsiteY669" fmla="*/ 308288 h 498212"/>
                        <a:gd name="connsiteX670" fmla="*/ 114764 w 442855"/>
                        <a:gd name="connsiteY670" fmla="*/ 307839 h 498212"/>
                        <a:gd name="connsiteX671" fmla="*/ 112064 w 442855"/>
                        <a:gd name="connsiteY671" fmla="*/ 308288 h 498212"/>
                        <a:gd name="connsiteX672" fmla="*/ 110264 w 442855"/>
                        <a:gd name="connsiteY672" fmla="*/ 307839 h 498212"/>
                        <a:gd name="connsiteX673" fmla="*/ 109364 w 442855"/>
                        <a:gd name="connsiteY673" fmla="*/ 306038 h 498212"/>
                        <a:gd name="connsiteX674" fmla="*/ 108464 w 442855"/>
                        <a:gd name="connsiteY674" fmla="*/ 304688 h 498212"/>
                        <a:gd name="connsiteX675" fmla="*/ 103513 w 442855"/>
                        <a:gd name="connsiteY675" fmla="*/ 305138 h 498212"/>
                        <a:gd name="connsiteX676" fmla="*/ 97212 w 442855"/>
                        <a:gd name="connsiteY676" fmla="*/ 304688 h 498212"/>
                        <a:gd name="connsiteX677" fmla="*/ 94512 w 442855"/>
                        <a:gd name="connsiteY677" fmla="*/ 305138 h 498212"/>
                        <a:gd name="connsiteX678" fmla="*/ 93612 w 442855"/>
                        <a:gd name="connsiteY678" fmla="*/ 304238 h 498212"/>
                        <a:gd name="connsiteX679" fmla="*/ 92712 w 442855"/>
                        <a:gd name="connsiteY679" fmla="*/ 301988 h 498212"/>
                        <a:gd name="connsiteX680" fmla="*/ 90911 w 442855"/>
                        <a:gd name="connsiteY680" fmla="*/ 301538 h 498212"/>
                        <a:gd name="connsiteX681" fmla="*/ 88211 w 442855"/>
                        <a:gd name="connsiteY681" fmla="*/ 301988 h 498212"/>
                        <a:gd name="connsiteX682" fmla="*/ 84611 w 442855"/>
                        <a:gd name="connsiteY682" fmla="*/ 304688 h 498212"/>
                        <a:gd name="connsiteX683" fmla="*/ 81010 w 442855"/>
                        <a:gd name="connsiteY683" fmla="*/ 306038 h 498212"/>
                        <a:gd name="connsiteX684" fmla="*/ 78310 w 442855"/>
                        <a:gd name="connsiteY684" fmla="*/ 306038 h 498212"/>
                        <a:gd name="connsiteX685" fmla="*/ 75609 w 442855"/>
                        <a:gd name="connsiteY685" fmla="*/ 304688 h 498212"/>
                        <a:gd name="connsiteX686" fmla="*/ 71109 w 442855"/>
                        <a:gd name="connsiteY686" fmla="*/ 301538 h 498212"/>
                        <a:gd name="connsiteX687" fmla="*/ 67959 w 442855"/>
                        <a:gd name="connsiteY687" fmla="*/ 298387 h 498212"/>
                        <a:gd name="connsiteX688" fmla="*/ 64358 w 442855"/>
                        <a:gd name="connsiteY688" fmla="*/ 297037 h 498212"/>
                        <a:gd name="connsiteX689" fmla="*/ 61658 w 442855"/>
                        <a:gd name="connsiteY689" fmla="*/ 297487 h 498212"/>
                        <a:gd name="connsiteX690" fmla="*/ 60758 w 442855"/>
                        <a:gd name="connsiteY690" fmla="*/ 299287 h 498212"/>
                        <a:gd name="connsiteX691" fmla="*/ 59407 w 442855"/>
                        <a:gd name="connsiteY691" fmla="*/ 299287 h 498212"/>
                        <a:gd name="connsiteX692" fmla="*/ 58507 w 442855"/>
                        <a:gd name="connsiteY692" fmla="*/ 296587 h 498212"/>
                        <a:gd name="connsiteX693" fmla="*/ 57607 w 442855"/>
                        <a:gd name="connsiteY693" fmla="*/ 294337 h 498212"/>
                        <a:gd name="connsiteX694" fmla="*/ 55807 w 442855"/>
                        <a:gd name="connsiteY694" fmla="*/ 293437 h 498212"/>
                        <a:gd name="connsiteX695" fmla="*/ 52657 w 442855"/>
                        <a:gd name="connsiteY695" fmla="*/ 291186 h 498212"/>
                        <a:gd name="connsiteX696" fmla="*/ 50406 w 442855"/>
                        <a:gd name="connsiteY696" fmla="*/ 289836 h 498212"/>
                        <a:gd name="connsiteX697" fmla="*/ 46806 w 442855"/>
                        <a:gd name="connsiteY697" fmla="*/ 288486 h 498212"/>
                        <a:gd name="connsiteX698" fmla="*/ 45456 w 442855"/>
                        <a:gd name="connsiteY698" fmla="*/ 288036 h 498212"/>
                        <a:gd name="connsiteX699" fmla="*/ 43205 w 442855"/>
                        <a:gd name="connsiteY699" fmla="*/ 288036 h 498212"/>
                        <a:gd name="connsiteX700" fmla="*/ 40955 w 442855"/>
                        <a:gd name="connsiteY700" fmla="*/ 288036 h 498212"/>
                        <a:gd name="connsiteX701" fmla="*/ 38255 w 442855"/>
                        <a:gd name="connsiteY701" fmla="*/ 288486 h 498212"/>
                        <a:gd name="connsiteX702" fmla="*/ 38255 w 442855"/>
                        <a:gd name="connsiteY702" fmla="*/ 288486 h 498212"/>
                        <a:gd name="connsiteX703" fmla="*/ 38255 w 442855"/>
                        <a:gd name="connsiteY703" fmla="*/ 288486 h 498212"/>
                        <a:gd name="connsiteX704" fmla="*/ 38255 w 442855"/>
                        <a:gd name="connsiteY704" fmla="*/ 288486 h 498212"/>
                        <a:gd name="connsiteX705" fmla="*/ 36455 w 442855"/>
                        <a:gd name="connsiteY705" fmla="*/ 290286 h 498212"/>
                        <a:gd name="connsiteX706" fmla="*/ 34204 w 442855"/>
                        <a:gd name="connsiteY706" fmla="*/ 291186 h 498212"/>
                        <a:gd name="connsiteX707" fmla="*/ 31054 w 442855"/>
                        <a:gd name="connsiteY707" fmla="*/ 291637 h 498212"/>
                        <a:gd name="connsiteX708" fmla="*/ 28804 w 442855"/>
                        <a:gd name="connsiteY708" fmla="*/ 290736 h 498212"/>
                        <a:gd name="connsiteX709" fmla="*/ 27903 w 442855"/>
                        <a:gd name="connsiteY709" fmla="*/ 288936 h 498212"/>
                        <a:gd name="connsiteX710" fmla="*/ 23403 w 442855"/>
                        <a:gd name="connsiteY710" fmla="*/ 287136 h 498212"/>
                        <a:gd name="connsiteX711" fmla="*/ 15752 w 442855"/>
                        <a:gd name="connsiteY711" fmla="*/ 285786 h 498212"/>
                        <a:gd name="connsiteX712" fmla="*/ 11251 w 442855"/>
                        <a:gd name="connsiteY712" fmla="*/ 284436 h 498212"/>
                        <a:gd name="connsiteX713" fmla="*/ 9901 w 442855"/>
                        <a:gd name="connsiteY713" fmla="*/ 283535 h 498212"/>
                        <a:gd name="connsiteX714" fmla="*/ 9451 w 442855"/>
                        <a:gd name="connsiteY714" fmla="*/ 282635 h 498212"/>
                        <a:gd name="connsiteX715" fmla="*/ 9451 w 442855"/>
                        <a:gd name="connsiteY715" fmla="*/ 280835 h 498212"/>
                        <a:gd name="connsiteX716" fmla="*/ 9451 w 442855"/>
                        <a:gd name="connsiteY716" fmla="*/ 280835 h 498212"/>
                        <a:gd name="connsiteX717" fmla="*/ 7651 w 442855"/>
                        <a:gd name="connsiteY717" fmla="*/ 276335 h 498212"/>
                        <a:gd name="connsiteX718" fmla="*/ 6751 w 442855"/>
                        <a:gd name="connsiteY718" fmla="*/ 272734 h 498212"/>
                        <a:gd name="connsiteX719" fmla="*/ 6301 w 442855"/>
                        <a:gd name="connsiteY719" fmla="*/ 268234 h 498212"/>
                        <a:gd name="connsiteX720" fmla="*/ 6301 w 442855"/>
                        <a:gd name="connsiteY720" fmla="*/ 266883 h 498212"/>
                        <a:gd name="connsiteX721" fmla="*/ 5851 w 442855"/>
                        <a:gd name="connsiteY721" fmla="*/ 266433 h 498212"/>
                        <a:gd name="connsiteX722" fmla="*/ 4501 w 442855"/>
                        <a:gd name="connsiteY722" fmla="*/ 265533 h 498212"/>
                        <a:gd name="connsiteX723" fmla="*/ 0 w 442855"/>
                        <a:gd name="connsiteY723" fmla="*/ 265083 h 498212"/>
                        <a:gd name="connsiteX724" fmla="*/ 0 w 442855"/>
                        <a:gd name="connsiteY724" fmla="*/ 251132 h 498212"/>
                        <a:gd name="connsiteX725" fmla="*/ 0 w 442855"/>
                        <a:gd name="connsiteY725" fmla="*/ 236730 h 498212"/>
                        <a:gd name="connsiteX726" fmla="*/ 0 w 442855"/>
                        <a:gd name="connsiteY726" fmla="*/ 222328 h 498212"/>
                        <a:gd name="connsiteX727" fmla="*/ 0 w 442855"/>
                        <a:gd name="connsiteY727" fmla="*/ 207926 h 498212"/>
                        <a:gd name="connsiteX728" fmla="*/ 0 w 442855"/>
                        <a:gd name="connsiteY728" fmla="*/ 193524 h 498212"/>
                        <a:gd name="connsiteX729" fmla="*/ 0 w 442855"/>
                        <a:gd name="connsiteY729" fmla="*/ 178672 h 498212"/>
                        <a:gd name="connsiteX730" fmla="*/ 0 w 442855"/>
                        <a:gd name="connsiteY730" fmla="*/ 163820 h 498212"/>
                        <a:gd name="connsiteX731" fmla="*/ 0 w 442855"/>
                        <a:gd name="connsiteY731" fmla="*/ 148969 h 498212"/>
                        <a:gd name="connsiteX732" fmla="*/ 8101 w 442855"/>
                        <a:gd name="connsiteY732" fmla="*/ 140868 h 498212"/>
                        <a:gd name="connsiteX733" fmla="*/ 16202 w 442855"/>
                        <a:gd name="connsiteY733" fmla="*/ 132767 h 498212"/>
                        <a:gd name="connsiteX734" fmla="*/ 24303 w 442855"/>
                        <a:gd name="connsiteY734" fmla="*/ 124666 h 498212"/>
                        <a:gd name="connsiteX735" fmla="*/ 32404 w 442855"/>
                        <a:gd name="connsiteY735" fmla="*/ 116565 h 498212"/>
                        <a:gd name="connsiteX736" fmla="*/ 37805 w 442855"/>
                        <a:gd name="connsiteY736" fmla="*/ 109814 h 498212"/>
                        <a:gd name="connsiteX737" fmla="*/ 43205 w 442855"/>
                        <a:gd name="connsiteY737" fmla="*/ 103063 h 498212"/>
                        <a:gd name="connsiteX738" fmla="*/ 48606 w 442855"/>
                        <a:gd name="connsiteY738" fmla="*/ 96312 h 498212"/>
                        <a:gd name="connsiteX739" fmla="*/ 54007 w 442855"/>
                        <a:gd name="connsiteY739" fmla="*/ 89561 h 498212"/>
                        <a:gd name="connsiteX740" fmla="*/ 60308 w 442855"/>
                        <a:gd name="connsiteY740" fmla="*/ 81910 h 498212"/>
                        <a:gd name="connsiteX741" fmla="*/ 66608 w 442855"/>
                        <a:gd name="connsiteY741" fmla="*/ 74259 h 498212"/>
                        <a:gd name="connsiteX742" fmla="*/ 72909 w 442855"/>
                        <a:gd name="connsiteY742" fmla="*/ 66608 h 498212"/>
                        <a:gd name="connsiteX743" fmla="*/ 79210 w 442855"/>
                        <a:gd name="connsiteY743" fmla="*/ 58957 h 498212"/>
                        <a:gd name="connsiteX744" fmla="*/ 86411 w 442855"/>
                        <a:gd name="connsiteY744" fmla="*/ 50406 h 498212"/>
                        <a:gd name="connsiteX745" fmla="*/ 93612 w 442855"/>
                        <a:gd name="connsiteY745" fmla="*/ 41855 h 498212"/>
                        <a:gd name="connsiteX746" fmla="*/ 100813 w 442855"/>
                        <a:gd name="connsiteY746" fmla="*/ 33304 h 498212"/>
                        <a:gd name="connsiteX747" fmla="*/ 108014 w 442855"/>
                        <a:gd name="connsiteY747" fmla="*/ 24753 h 498212"/>
                        <a:gd name="connsiteX748" fmla="*/ 113414 w 442855"/>
                        <a:gd name="connsiteY748" fmla="*/ 18452 h 498212"/>
                        <a:gd name="connsiteX749" fmla="*/ 118815 w 442855"/>
                        <a:gd name="connsiteY749" fmla="*/ 12151 h 498212"/>
                        <a:gd name="connsiteX750" fmla="*/ 124216 w 442855"/>
                        <a:gd name="connsiteY750" fmla="*/ 5851 h 498212"/>
                        <a:gd name="connsiteX751" fmla="*/ 129616 w 442855"/>
                        <a:gd name="connsiteY751" fmla="*/ 0 h 498212"/>
                        <a:gd name="connsiteX752" fmla="*/ 132317 w 442855"/>
                        <a:gd name="connsiteY752" fmla="*/ 1350 h 498212"/>
                        <a:gd name="connsiteX753" fmla="*/ 135467 w 442855"/>
                        <a:gd name="connsiteY753" fmla="*/ 4951 h 498212"/>
                        <a:gd name="connsiteX754" fmla="*/ 140417 w 442855"/>
                        <a:gd name="connsiteY754" fmla="*/ 9451 h 498212"/>
                        <a:gd name="connsiteX755" fmla="*/ 144018 w 442855"/>
                        <a:gd name="connsiteY755" fmla="*/ 12151 h 498212"/>
                        <a:gd name="connsiteX756" fmla="*/ 148068 w 442855"/>
                        <a:gd name="connsiteY756" fmla="*/ 14852 h 498212"/>
                        <a:gd name="connsiteX757" fmla="*/ 152119 w 442855"/>
                        <a:gd name="connsiteY757" fmla="*/ 19802 h 498212"/>
                        <a:gd name="connsiteX758" fmla="*/ 158870 w 442855"/>
                        <a:gd name="connsiteY758" fmla="*/ 30604 h 498212"/>
                        <a:gd name="connsiteX759" fmla="*/ 160670 w 442855"/>
                        <a:gd name="connsiteY759" fmla="*/ 31954 h 498212"/>
                        <a:gd name="connsiteX760" fmla="*/ 164721 w 442855"/>
                        <a:gd name="connsiteY760" fmla="*/ 33754 h 498212"/>
                        <a:gd name="connsiteX761" fmla="*/ 172371 w 442855"/>
                        <a:gd name="connsiteY761" fmla="*/ 36005 h 498212"/>
                        <a:gd name="connsiteX762" fmla="*/ 184073 w 442855"/>
                        <a:gd name="connsiteY762" fmla="*/ 41405 h 498212"/>
                        <a:gd name="connsiteX763" fmla="*/ 189024 w 442855"/>
                        <a:gd name="connsiteY763" fmla="*/ 43655 h 498212"/>
                        <a:gd name="connsiteX764" fmla="*/ 192174 w 442855"/>
                        <a:gd name="connsiteY764" fmla="*/ 44556 h 498212"/>
                        <a:gd name="connsiteX765" fmla="*/ 195324 w 442855"/>
                        <a:gd name="connsiteY765" fmla="*/ 45906 h 498212"/>
                        <a:gd name="connsiteX766" fmla="*/ 198475 w 442855"/>
                        <a:gd name="connsiteY766" fmla="*/ 48156 h 498212"/>
                        <a:gd name="connsiteX767" fmla="*/ 201175 w 442855"/>
                        <a:gd name="connsiteY767" fmla="*/ 50406 h 498212"/>
                        <a:gd name="connsiteX768" fmla="*/ 202975 w 442855"/>
                        <a:gd name="connsiteY768" fmla="*/ 52657 h 498212"/>
                        <a:gd name="connsiteX769" fmla="*/ 204326 w 442855"/>
                        <a:gd name="connsiteY769" fmla="*/ 54457 h 498212"/>
                        <a:gd name="connsiteX770" fmla="*/ 207026 w 442855"/>
                        <a:gd name="connsiteY770" fmla="*/ 56257 h 498212"/>
                        <a:gd name="connsiteX771" fmla="*/ 208376 w 442855"/>
                        <a:gd name="connsiteY771" fmla="*/ 57607 h 498212"/>
                        <a:gd name="connsiteX772" fmla="*/ 208376 w 442855"/>
                        <a:gd name="connsiteY772" fmla="*/ 59407 h 498212"/>
                        <a:gd name="connsiteX773" fmla="*/ 205226 w 442855"/>
                        <a:gd name="connsiteY773" fmla="*/ 67058 h 498212"/>
                        <a:gd name="connsiteX774" fmla="*/ 205226 w 442855"/>
                        <a:gd name="connsiteY774" fmla="*/ 67508 h 498212"/>
                        <a:gd name="connsiteX775" fmla="*/ 208376 w 442855"/>
                        <a:gd name="connsiteY775" fmla="*/ 62108 h 498212"/>
                        <a:gd name="connsiteX776" fmla="*/ 210176 w 442855"/>
                        <a:gd name="connsiteY776" fmla="*/ 60758 h 498212"/>
                        <a:gd name="connsiteX777" fmla="*/ 211526 w 442855"/>
                        <a:gd name="connsiteY777" fmla="*/ 59857 h 498212"/>
                        <a:gd name="connsiteX778" fmla="*/ 214677 w 442855"/>
                        <a:gd name="connsiteY778" fmla="*/ 59857 h 498212"/>
                        <a:gd name="connsiteX779" fmla="*/ 219177 w 442855"/>
                        <a:gd name="connsiteY779" fmla="*/ 60758 h 498212"/>
                        <a:gd name="connsiteX780" fmla="*/ 223228 w 442855"/>
                        <a:gd name="connsiteY780" fmla="*/ 60758 h 498212"/>
                        <a:gd name="connsiteX781" fmla="*/ 226828 w 442855"/>
                        <a:gd name="connsiteY781" fmla="*/ 59857 h 498212"/>
                        <a:gd name="connsiteX782" fmla="*/ 229529 w 442855"/>
                        <a:gd name="connsiteY782" fmla="*/ 59407 h 498212"/>
                        <a:gd name="connsiteX783" fmla="*/ 231779 w 442855"/>
                        <a:gd name="connsiteY783" fmla="*/ 59407 h 498212"/>
                        <a:gd name="connsiteX784" fmla="*/ 233579 w 442855"/>
                        <a:gd name="connsiteY784" fmla="*/ 58957 h 498212"/>
                        <a:gd name="connsiteX785" fmla="*/ 234479 w 442855"/>
                        <a:gd name="connsiteY785" fmla="*/ 58507 h 498212"/>
                        <a:gd name="connsiteX786" fmla="*/ 235829 w 442855"/>
                        <a:gd name="connsiteY786" fmla="*/ 58507 h 498212"/>
                        <a:gd name="connsiteX787" fmla="*/ 240780 w 442855"/>
                        <a:gd name="connsiteY787" fmla="*/ 60308 h 498212"/>
                        <a:gd name="connsiteX788" fmla="*/ 243030 w 442855"/>
                        <a:gd name="connsiteY788" fmla="*/ 60308 h 498212"/>
                        <a:gd name="connsiteX789" fmla="*/ 250681 w 442855"/>
                        <a:gd name="connsiteY789" fmla="*/ 62108 h 498212"/>
                        <a:gd name="connsiteX790" fmla="*/ 255632 w 442855"/>
                        <a:gd name="connsiteY790" fmla="*/ 61658 h 498212"/>
                        <a:gd name="connsiteX791" fmla="*/ 256532 w 442855"/>
                        <a:gd name="connsiteY791" fmla="*/ 62108 h 498212"/>
                        <a:gd name="connsiteX792" fmla="*/ 258332 w 442855"/>
                        <a:gd name="connsiteY792" fmla="*/ 64358 h 498212"/>
                        <a:gd name="connsiteX793" fmla="*/ 259682 w 442855"/>
                        <a:gd name="connsiteY793" fmla="*/ 64358 h 498212"/>
                        <a:gd name="connsiteX794" fmla="*/ 261933 w 442855"/>
                        <a:gd name="connsiteY794" fmla="*/ 63908 h 498212"/>
                        <a:gd name="connsiteX795" fmla="*/ 264183 w 442855"/>
                        <a:gd name="connsiteY795" fmla="*/ 64358 h 498212"/>
                        <a:gd name="connsiteX796" fmla="*/ 268234 w 442855"/>
                        <a:gd name="connsiteY796" fmla="*/ 67508 h 498212"/>
                        <a:gd name="connsiteX797" fmla="*/ 270034 w 442855"/>
                        <a:gd name="connsiteY797" fmla="*/ 70209 h 498212"/>
                        <a:gd name="connsiteX798" fmla="*/ 271834 w 442855"/>
                        <a:gd name="connsiteY798" fmla="*/ 75609 h 498212"/>
                        <a:gd name="connsiteX799" fmla="*/ 271834 w 442855"/>
                        <a:gd name="connsiteY799" fmla="*/ 76960 h 498212"/>
                        <a:gd name="connsiteX800" fmla="*/ 268684 w 442855"/>
                        <a:gd name="connsiteY800" fmla="*/ 89111 h 498212"/>
                        <a:gd name="connsiteX801" fmla="*/ 267783 w 442855"/>
                        <a:gd name="connsiteY801" fmla="*/ 93612 h 498212"/>
                        <a:gd name="connsiteX802" fmla="*/ 267783 w 442855"/>
                        <a:gd name="connsiteY802" fmla="*/ 97662 h 498212"/>
                        <a:gd name="connsiteX803" fmla="*/ 268234 w 442855"/>
                        <a:gd name="connsiteY803" fmla="*/ 99912 h 498212"/>
                        <a:gd name="connsiteX804" fmla="*/ 270934 w 442855"/>
                        <a:gd name="connsiteY804" fmla="*/ 103963 h 498212"/>
                        <a:gd name="connsiteX805" fmla="*/ 271384 w 442855"/>
                        <a:gd name="connsiteY805" fmla="*/ 104863 h 498212"/>
                        <a:gd name="connsiteX806" fmla="*/ 273184 w 442855"/>
                        <a:gd name="connsiteY806" fmla="*/ 110714 h 498212"/>
                        <a:gd name="connsiteX807" fmla="*/ 273634 w 442855"/>
                        <a:gd name="connsiteY807" fmla="*/ 112964 h 498212"/>
                        <a:gd name="connsiteX808" fmla="*/ 273634 w 442855"/>
                        <a:gd name="connsiteY808" fmla="*/ 115664 h 498212"/>
                        <a:gd name="connsiteX809" fmla="*/ 272734 w 442855"/>
                        <a:gd name="connsiteY809" fmla="*/ 120165 h 498212"/>
                        <a:gd name="connsiteX810" fmla="*/ 272734 w 442855"/>
                        <a:gd name="connsiteY810" fmla="*/ 123765 h 498212"/>
                        <a:gd name="connsiteX811" fmla="*/ 273634 w 442855"/>
                        <a:gd name="connsiteY811" fmla="*/ 129166 h 498212"/>
                        <a:gd name="connsiteX812" fmla="*/ 273184 w 442855"/>
                        <a:gd name="connsiteY812" fmla="*/ 132767 h 498212"/>
                        <a:gd name="connsiteX813" fmla="*/ 271834 w 442855"/>
                        <a:gd name="connsiteY813" fmla="*/ 134567 h 498212"/>
                        <a:gd name="connsiteX814" fmla="*/ 270934 w 442855"/>
                        <a:gd name="connsiteY814" fmla="*/ 136367 h 498212"/>
                        <a:gd name="connsiteX815" fmla="*/ 270484 w 442855"/>
                        <a:gd name="connsiteY815" fmla="*/ 139517 h 498212"/>
                        <a:gd name="connsiteX816" fmla="*/ 270484 w 442855"/>
                        <a:gd name="connsiteY816" fmla="*/ 140868 h 498212"/>
                        <a:gd name="connsiteX817" fmla="*/ 270934 w 442855"/>
                        <a:gd name="connsiteY817" fmla="*/ 143118 h 498212"/>
                        <a:gd name="connsiteX818" fmla="*/ 272284 w 442855"/>
                        <a:gd name="connsiteY818" fmla="*/ 144468 h 498212"/>
                        <a:gd name="connsiteX819" fmla="*/ 274084 w 442855"/>
                        <a:gd name="connsiteY819" fmla="*/ 145818 h 498212"/>
                        <a:gd name="connsiteX820" fmla="*/ 275884 w 442855"/>
                        <a:gd name="connsiteY820" fmla="*/ 148069 h 498212"/>
                        <a:gd name="connsiteX821" fmla="*/ 279485 w 442855"/>
                        <a:gd name="connsiteY821" fmla="*/ 153469 h 498212"/>
                        <a:gd name="connsiteX822" fmla="*/ 282185 w 442855"/>
                        <a:gd name="connsiteY822" fmla="*/ 156620 h 498212"/>
                        <a:gd name="connsiteX823" fmla="*/ 285336 w 442855"/>
                        <a:gd name="connsiteY823" fmla="*/ 161120 h 498212"/>
                        <a:gd name="connsiteX824" fmla="*/ 285786 w 442855"/>
                        <a:gd name="connsiteY824" fmla="*/ 163370 h 498212"/>
                        <a:gd name="connsiteX825" fmla="*/ 284886 w 442855"/>
                        <a:gd name="connsiteY825" fmla="*/ 164721 h 498212"/>
                        <a:gd name="connsiteX826" fmla="*/ 283986 w 442855"/>
                        <a:gd name="connsiteY826" fmla="*/ 165621 h 498212"/>
                        <a:gd name="connsiteX827" fmla="*/ 281735 w 442855"/>
                        <a:gd name="connsiteY827" fmla="*/ 166971 h 498212"/>
                        <a:gd name="connsiteX828" fmla="*/ 280835 w 442855"/>
                        <a:gd name="connsiteY828" fmla="*/ 167871 h 498212"/>
                        <a:gd name="connsiteX829" fmla="*/ 281285 w 442855"/>
                        <a:gd name="connsiteY829" fmla="*/ 168321 h 498212"/>
                        <a:gd name="connsiteX830" fmla="*/ 284886 w 442855"/>
                        <a:gd name="connsiteY830" fmla="*/ 167421 h 498212"/>
                        <a:gd name="connsiteX831" fmla="*/ 287136 w 442855"/>
                        <a:gd name="connsiteY831" fmla="*/ 167421 h 498212"/>
                        <a:gd name="connsiteX832" fmla="*/ 288936 w 442855"/>
                        <a:gd name="connsiteY832" fmla="*/ 168321 h 498212"/>
                        <a:gd name="connsiteX833" fmla="*/ 290286 w 442855"/>
                        <a:gd name="connsiteY833" fmla="*/ 170571 h 498212"/>
                        <a:gd name="connsiteX834" fmla="*/ 292537 w 442855"/>
                        <a:gd name="connsiteY834" fmla="*/ 172372 h 498212"/>
                        <a:gd name="connsiteX835" fmla="*/ 295687 w 442855"/>
                        <a:gd name="connsiteY835" fmla="*/ 173722 h 498212"/>
                        <a:gd name="connsiteX836" fmla="*/ 298837 w 442855"/>
                        <a:gd name="connsiteY836" fmla="*/ 176422 h 498212"/>
                        <a:gd name="connsiteX837" fmla="*/ 304238 w 442855"/>
                        <a:gd name="connsiteY837" fmla="*/ 182273 h 498212"/>
                        <a:gd name="connsiteX838" fmla="*/ 305138 w 442855"/>
                        <a:gd name="connsiteY838" fmla="*/ 183623 h 498212"/>
                        <a:gd name="connsiteX839" fmla="*/ 306488 w 442855"/>
                        <a:gd name="connsiteY839" fmla="*/ 186773 h 498212"/>
                        <a:gd name="connsiteX840" fmla="*/ 308289 w 442855"/>
                        <a:gd name="connsiteY840" fmla="*/ 191724 h 498212"/>
                        <a:gd name="connsiteX841" fmla="*/ 309189 w 442855"/>
                        <a:gd name="connsiteY841" fmla="*/ 194874 h 498212"/>
                        <a:gd name="connsiteX842" fmla="*/ 309189 w 442855"/>
                        <a:gd name="connsiteY842" fmla="*/ 196225 h 498212"/>
                        <a:gd name="connsiteX843" fmla="*/ 308289 w 442855"/>
                        <a:gd name="connsiteY843" fmla="*/ 197575 h 498212"/>
                        <a:gd name="connsiteX844" fmla="*/ 304688 w 442855"/>
                        <a:gd name="connsiteY844" fmla="*/ 200275 h 498212"/>
                        <a:gd name="connsiteX845" fmla="*/ 301088 w 442855"/>
                        <a:gd name="connsiteY845" fmla="*/ 204776 h 498212"/>
                        <a:gd name="connsiteX846" fmla="*/ 302438 w 442855"/>
                        <a:gd name="connsiteY846" fmla="*/ 204326 h 498212"/>
                        <a:gd name="connsiteX847" fmla="*/ 305138 w 442855"/>
                        <a:gd name="connsiteY847" fmla="*/ 202525 h 498212"/>
                        <a:gd name="connsiteX848" fmla="*/ 309189 w 442855"/>
                        <a:gd name="connsiteY848" fmla="*/ 198475 h 498212"/>
                        <a:gd name="connsiteX849" fmla="*/ 311439 w 442855"/>
                        <a:gd name="connsiteY849" fmla="*/ 197575 h 498212"/>
                        <a:gd name="connsiteX850" fmla="*/ 313689 w 442855"/>
                        <a:gd name="connsiteY850" fmla="*/ 198025 h 498212"/>
                        <a:gd name="connsiteX851" fmla="*/ 317290 w 442855"/>
                        <a:gd name="connsiteY851" fmla="*/ 199375 h 498212"/>
                        <a:gd name="connsiteX852" fmla="*/ 320440 w 442855"/>
                        <a:gd name="connsiteY852" fmla="*/ 201175 h 498212"/>
                        <a:gd name="connsiteX853" fmla="*/ 323140 w 442855"/>
                        <a:gd name="connsiteY853" fmla="*/ 203425 h 498212"/>
                        <a:gd name="connsiteX854" fmla="*/ 327191 w 442855"/>
                        <a:gd name="connsiteY854" fmla="*/ 208826 h 498212"/>
                        <a:gd name="connsiteX855" fmla="*/ 332141 w 442855"/>
                        <a:gd name="connsiteY855" fmla="*/ 216027 h 498212"/>
                        <a:gd name="connsiteX856" fmla="*/ 332141 w 442855"/>
                        <a:gd name="connsiteY856" fmla="*/ 214227 h 498212"/>
                        <a:gd name="connsiteX857" fmla="*/ 329891 w 442855"/>
                        <a:gd name="connsiteY857" fmla="*/ 211526 h 498212"/>
                        <a:gd name="connsiteX858" fmla="*/ 328091 w 442855"/>
                        <a:gd name="connsiteY858" fmla="*/ 209276 h 498212"/>
                        <a:gd name="connsiteX859" fmla="*/ 327641 w 442855"/>
                        <a:gd name="connsiteY859" fmla="*/ 208376 h 498212"/>
                        <a:gd name="connsiteX860" fmla="*/ 327641 w 442855"/>
                        <a:gd name="connsiteY860" fmla="*/ 207026 h 498212"/>
                        <a:gd name="connsiteX861" fmla="*/ 328091 w 442855"/>
                        <a:gd name="connsiteY861" fmla="*/ 204776 h 498212"/>
                        <a:gd name="connsiteX862" fmla="*/ 328991 w 442855"/>
                        <a:gd name="connsiteY862" fmla="*/ 201625 h 498212"/>
                        <a:gd name="connsiteX863" fmla="*/ 329891 w 442855"/>
                        <a:gd name="connsiteY863" fmla="*/ 199375 h 498212"/>
                        <a:gd name="connsiteX864" fmla="*/ 331241 w 442855"/>
                        <a:gd name="connsiteY864" fmla="*/ 198025 h 498212"/>
                        <a:gd name="connsiteX865" fmla="*/ 332141 w 442855"/>
                        <a:gd name="connsiteY865" fmla="*/ 196675 h 498212"/>
                        <a:gd name="connsiteX866" fmla="*/ 332592 w 442855"/>
                        <a:gd name="connsiteY866" fmla="*/ 195324 h 498212"/>
                        <a:gd name="connsiteX867" fmla="*/ 332592 w 442855"/>
                        <a:gd name="connsiteY867" fmla="*/ 194874 h 498212"/>
                        <a:gd name="connsiteX868" fmla="*/ 332592 w 442855"/>
                        <a:gd name="connsiteY868" fmla="*/ 205676 h 498212"/>
                        <a:gd name="connsiteX869" fmla="*/ 332592 w 442855"/>
                        <a:gd name="connsiteY869" fmla="*/ 214227 h 498212"/>
                        <a:gd name="connsiteX870" fmla="*/ 151669 w 442855"/>
                        <a:gd name="connsiteY870" fmla="*/ 288036 h 498212"/>
                        <a:gd name="connsiteX871" fmla="*/ 151219 w 442855"/>
                        <a:gd name="connsiteY871" fmla="*/ 288036 h 498212"/>
                        <a:gd name="connsiteX872" fmla="*/ 150769 w 442855"/>
                        <a:gd name="connsiteY872" fmla="*/ 287136 h 498212"/>
                        <a:gd name="connsiteX873" fmla="*/ 150319 w 442855"/>
                        <a:gd name="connsiteY873" fmla="*/ 284886 h 498212"/>
                        <a:gd name="connsiteX874" fmla="*/ 150769 w 442855"/>
                        <a:gd name="connsiteY874" fmla="*/ 283986 h 498212"/>
                        <a:gd name="connsiteX875" fmla="*/ 152119 w 442855"/>
                        <a:gd name="connsiteY875" fmla="*/ 283535 h 498212"/>
                        <a:gd name="connsiteX876" fmla="*/ 153919 w 442855"/>
                        <a:gd name="connsiteY876" fmla="*/ 283085 h 498212"/>
                        <a:gd name="connsiteX877" fmla="*/ 156169 w 442855"/>
                        <a:gd name="connsiteY877" fmla="*/ 283085 h 498212"/>
                        <a:gd name="connsiteX878" fmla="*/ 157070 w 442855"/>
                        <a:gd name="connsiteY878" fmla="*/ 283535 h 498212"/>
                        <a:gd name="connsiteX879" fmla="*/ 157070 w 442855"/>
                        <a:gd name="connsiteY879" fmla="*/ 284436 h 498212"/>
                        <a:gd name="connsiteX880" fmla="*/ 156620 w 442855"/>
                        <a:gd name="connsiteY880" fmla="*/ 284886 h 498212"/>
                        <a:gd name="connsiteX881" fmla="*/ 156169 w 442855"/>
                        <a:gd name="connsiteY881" fmla="*/ 285336 h 498212"/>
                        <a:gd name="connsiteX882" fmla="*/ 156169 w 442855"/>
                        <a:gd name="connsiteY882" fmla="*/ 285786 h 498212"/>
                        <a:gd name="connsiteX883" fmla="*/ 155269 w 442855"/>
                        <a:gd name="connsiteY883" fmla="*/ 286236 h 498212"/>
                        <a:gd name="connsiteX884" fmla="*/ 153469 w 442855"/>
                        <a:gd name="connsiteY884" fmla="*/ 286236 h 498212"/>
                        <a:gd name="connsiteX885" fmla="*/ 152119 w 442855"/>
                        <a:gd name="connsiteY885" fmla="*/ 286686 h 498212"/>
                        <a:gd name="connsiteX886" fmla="*/ 151669 w 442855"/>
                        <a:gd name="connsiteY886" fmla="*/ 288036 h 498212"/>
                        <a:gd name="connsiteX887" fmla="*/ 160220 w 442855"/>
                        <a:gd name="connsiteY887" fmla="*/ 286686 h 498212"/>
                        <a:gd name="connsiteX888" fmla="*/ 158870 w 442855"/>
                        <a:gd name="connsiteY888" fmla="*/ 286686 h 498212"/>
                        <a:gd name="connsiteX889" fmla="*/ 157970 w 442855"/>
                        <a:gd name="connsiteY889" fmla="*/ 286686 h 498212"/>
                        <a:gd name="connsiteX890" fmla="*/ 157520 w 442855"/>
                        <a:gd name="connsiteY890" fmla="*/ 286236 h 498212"/>
                        <a:gd name="connsiteX891" fmla="*/ 157970 w 442855"/>
                        <a:gd name="connsiteY891" fmla="*/ 285786 h 498212"/>
                        <a:gd name="connsiteX892" fmla="*/ 157970 w 442855"/>
                        <a:gd name="connsiteY892" fmla="*/ 285336 h 498212"/>
                        <a:gd name="connsiteX893" fmla="*/ 157520 w 442855"/>
                        <a:gd name="connsiteY893" fmla="*/ 284436 h 498212"/>
                        <a:gd name="connsiteX894" fmla="*/ 157520 w 442855"/>
                        <a:gd name="connsiteY894" fmla="*/ 283986 h 498212"/>
                        <a:gd name="connsiteX895" fmla="*/ 157970 w 442855"/>
                        <a:gd name="connsiteY895" fmla="*/ 283986 h 498212"/>
                        <a:gd name="connsiteX896" fmla="*/ 158420 w 442855"/>
                        <a:gd name="connsiteY896" fmla="*/ 283986 h 498212"/>
                        <a:gd name="connsiteX897" fmla="*/ 159320 w 442855"/>
                        <a:gd name="connsiteY897" fmla="*/ 284436 h 498212"/>
                        <a:gd name="connsiteX898" fmla="*/ 160220 w 442855"/>
                        <a:gd name="connsiteY898" fmla="*/ 285786 h 498212"/>
                        <a:gd name="connsiteX899" fmla="*/ 160220 w 442855"/>
                        <a:gd name="connsiteY899" fmla="*/ 286686 h 498212"/>
                        <a:gd name="connsiteX900" fmla="*/ 201625 w 442855"/>
                        <a:gd name="connsiteY900" fmla="*/ 319090 h 498212"/>
                        <a:gd name="connsiteX901" fmla="*/ 197575 w 442855"/>
                        <a:gd name="connsiteY901" fmla="*/ 319540 h 498212"/>
                        <a:gd name="connsiteX902" fmla="*/ 195774 w 442855"/>
                        <a:gd name="connsiteY902" fmla="*/ 319090 h 498212"/>
                        <a:gd name="connsiteX903" fmla="*/ 195774 w 442855"/>
                        <a:gd name="connsiteY903" fmla="*/ 318640 h 498212"/>
                        <a:gd name="connsiteX904" fmla="*/ 196225 w 442855"/>
                        <a:gd name="connsiteY904" fmla="*/ 318190 h 498212"/>
                        <a:gd name="connsiteX905" fmla="*/ 197125 w 442855"/>
                        <a:gd name="connsiteY905" fmla="*/ 317290 h 498212"/>
                        <a:gd name="connsiteX906" fmla="*/ 198475 w 442855"/>
                        <a:gd name="connsiteY906" fmla="*/ 316840 h 498212"/>
                        <a:gd name="connsiteX907" fmla="*/ 199825 w 442855"/>
                        <a:gd name="connsiteY907" fmla="*/ 316840 h 498212"/>
                        <a:gd name="connsiteX908" fmla="*/ 202525 w 442855"/>
                        <a:gd name="connsiteY908" fmla="*/ 317740 h 498212"/>
                        <a:gd name="connsiteX909" fmla="*/ 203425 w 442855"/>
                        <a:gd name="connsiteY909" fmla="*/ 318640 h 498212"/>
                        <a:gd name="connsiteX910" fmla="*/ 203425 w 442855"/>
                        <a:gd name="connsiteY910" fmla="*/ 319090 h 498212"/>
                        <a:gd name="connsiteX911" fmla="*/ 201625 w 442855"/>
                        <a:gd name="connsiteY911" fmla="*/ 319090 h 498212"/>
                        <a:gd name="connsiteX912" fmla="*/ 241230 w 442855"/>
                        <a:gd name="connsiteY912" fmla="*/ 367696 h 498212"/>
                        <a:gd name="connsiteX913" fmla="*/ 240780 w 442855"/>
                        <a:gd name="connsiteY913" fmla="*/ 368146 h 498212"/>
                        <a:gd name="connsiteX914" fmla="*/ 240330 w 442855"/>
                        <a:gd name="connsiteY914" fmla="*/ 367696 h 498212"/>
                        <a:gd name="connsiteX915" fmla="*/ 239880 w 442855"/>
                        <a:gd name="connsiteY915" fmla="*/ 368146 h 498212"/>
                        <a:gd name="connsiteX916" fmla="*/ 239430 w 442855"/>
                        <a:gd name="connsiteY916" fmla="*/ 369046 h 498212"/>
                        <a:gd name="connsiteX917" fmla="*/ 238980 w 442855"/>
                        <a:gd name="connsiteY917" fmla="*/ 369496 h 498212"/>
                        <a:gd name="connsiteX918" fmla="*/ 238530 w 442855"/>
                        <a:gd name="connsiteY918" fmla="*/ 369496 h 498212"/>
                        <a:gd name="connsiteX919" fmla="*/ 237630 w 442855"/>
                        <a:gd name="connsiteY919" fmla="*/ 369046 h 498212"/>
                        <a:gd name="connsiteX920" fmla="*/ 236280 w 442855"/>
                        <a:gd name="connsiteY920" fmla="*/ 366796 h 498212"/>
                        <a:gd name="connsiteX921" fmla="*/ 235379 w 442855"/>
                        <a:gd name="connsiteY921" fmla="*/ 364996 h 498212"/>
                        <a:gd name="connsiteX922" fmla="*/ 234929 w 442855"/>
                        <a:gd name="connsiteY922" fmla="*/ 363646 h 498212"/>
                        <a:gd name="connsiteX923" fmla="*/ 235829 w 442855"/>
                        <a:gd name="connsiteY923" fmla="*/ 362745 h 498212"/>
                        <a:gd name="connsiteX924" fmla="*/ 237630 w 442855"/>
                        <a:gd name="connsiteY924" fmla="*/ 362745 h 498212"/>
                        <a:gd name="connsiteX925" fmla="*/ 239430 w 442855"/>
                        <a:gd name="connsiteY925" fmla="*/ 363195 h 498212"/>
                        <a:gd name="connsiteX926" fmla="*/ 240780 w 442855"/>
                        <a:gd name="connsiteY926" fmla="*/ 364096 h 498212"/>
                        <a:gd name="connsiteX927" fmla="*/ 241230 w 442855"/>
                        <a:gd name="connsiteY927" fmla="*/ 365446 h 498212"/>
                        <a:gd name="connsiteX928" fmla="*/ 241230 w 442855"/>
                        <a:gd name="connsiteY928" fmla="*/ 367696 h 498212"/>
                        <a:gd name="connsiteX929" fmla="*/ 251131 w 442855"/>
                        <a:gd name="connsiteY929" fmla="*/ 376697 h 498212"/>
                        <a:gd name="connsiteX930" fmla="*/ 249781 w 442855"/>
                        <a:gd name="connsiteY930" fmla="*/ 377147 h 498212"/>
                        <a:gd name="connsiteX931" fmla="*/ 248431 w 442855"/>
                        <a:gd name="connsiteY931" fmla="*/ 376697 h 498212"/>
                        <a:gd name="connsiteX932" fmla="*/ 247981 w 442855"/>
                        <a:gd name="connsiteY932" fmla="*/ 375797 h 498212"/>
                        <a:gd name="connsiteX933" fmla="*/ 248431 w 442855"/>
                        <a:gd name="connsiteY933" fmla="*/ 374897 h 498212"/>
                        <a:gd name="connsiteX934" fmla="*/ 248881 w 442855"/>
                        <a:gd name="connsiteY934" fmla="*/ 373997 h 498212"/>
                        <a:gd name="connsiteX935" fmla="*/ 249781 w 442855"/>
                        <a:gd name="connsiteY935" fmla="*/ 373097 h 498212"/>
                        <a:gd name="connsiteX936" fmla="*/ 250681 w 442855"/>
                        <a:gd name="connsiteY936" fmla="*/ 373097 h 498212"/>
                        <a:gd name="connsiteX937" fmla="*/ 251581 w 442855"/>
                        <a:gd name="connsiteY937" fmla="*/ 373547 h 498212"/>
                        <a:gd name="connsiteX938" fmla="*/ 252032 w 442855"/>
                        <a:gd name="connsiteY938" fmla="*/ 373997 h 498212"/>
                        <a:gd name="connsiteX939" fmla="*/ 252032 w 442855"/>
                        <a:gd name="connsiteY939" fmla="*/ 374447 h 498212"/>
                        <a:gd name="connsiteX940" fmla="*/ 251131 w 442855"/>
                        <a:gd name="connsiteY940" fmla="*/ 376697 h 498212"/>
                        <a:gd name="connsiteX941" fmla="*/ 261933 w 442855"/>
                        <a:gd name="connsiteY941" fmla="*/ 373547 h 498212"/>
                        <a:gd name="connsiteX942" fmla="*/ 261483 w 442855"/>
                        <a:gd name="connsiteY942" fmla="*/ 374897 h 498212"/>
                        <a:gd name="connsiteX943" fmla="*/ 261483 w 442855"/>
                        <a:gd name="connsiteY943" fmla="*/ 375797 h 498212"/>
                        <a:gd name="connsiteX944" fmla="*/ 261933 w 442855"/>
                        <a:gd name="connsiteY944" fmla="*/ 376247 h 498212"/>
                        <a:gd name="connsiteX945" fmla="*/ 262383 w 442855"/>
                        <a:gd name="connsiteY945" fmla="*/ 376697 h 498212"/>
                        <a:gd name="connsiteX946" fmla="*/ 262383 w 442855"/>
                        <a:gd name="connsiteY946" fmla="*/ 377597 h 498212"/>
                        <a:gd name="connsiteX947" fmla="*/ 262833 w 442855"/>
                        <a:gd name="connsiteY947" fmla="*/ 377597 h 498212"/>
                        <a:gd name="connsiteX948" fmla="*/ 263733 w 442855"/>
                        <a:gd name="connsiteY948" fmla="*/ 377147 h 498212"/>
                        <a:gd name="connsiteX949" fmla="*/ 264183 w 442855"/>
                        <a:gd name="connsiteY949" fmla="*/ 377147 h 498212"/>
                        <a:gd name="connsiteX950" fmla="*/ 264633 w 442855"/>
                        <a:gd name="connsiteY950" fmla="*/ 377597 h 498212"/>
                        <a:gd name="connsiteX951" fmla="*/ 265083 w 442855"/>
                        <a:gd name="connsiteY951" fmla="*/ 377597 h 498212"/>
                        <a:gd name="connsiteX952" fmla="*/ 265533 w 442855"/>
                        <a:gd name="connsiteY952" fmla="*/ 377147 h 498212"/>
                        <a:gd name="connsiteX953" fmla="*/ 265983 w 442855"/>
                        <a:gd name="connsiteY953" fmla="*/ 377597 h 498212"/>
                        <a:gd name="connsiteX954" fmla="*/ 266433 w 442855"/>
                        <a:gd name="connsiteY954" fmla="*/ 378497 h 498212"/>
                        <a:gd name="connsiteX955" fmla="*/ 266883 w 442855"/>
                        <a:gd name="connsiteY955" fmla="*/ 378497 h 498212"/>
                        <a:gd name="connsiteX956" fmla="*/ 267333 w 442855"/>
                        <a:gd name="connsiteY956" fmla="*/ 377597 h 498212"/>
                        <a:gd name="connsiteX957" fmla="*/ 267333 w 442855"/>
                        <a:gd name="connsiteY957" fmla="*/ 377147 h 498212"/>
                        <a:gd name="connsiteX958" fmla="*/ 266433 w 442855"/>
                        <a:gd name="connsiteY958" fmla="*/ 376697 h 498212"/>
                        <a:gd name="connsiteX959" fmla="*/ 266433 w 442855"/>
                        <a:gd name="connsiteY959" fmla="*/ 376247 h 498212"/>
                        <a:gd name="connsiteX960" fmla="*/ 265983 w 442855"/>
                        <a:gd name="connsiteY960" fmla="*/ 375347 h 498212"/>
                        <a:gd name="connsiteX961" fmla="*/ 266433 w 442855"/>
                        <a:gd name="connsiteY961" fmla="*/ 374897 h 498212"/>
                        <a:gd name="connsiteX962" fmla="*/ 267333 w 442855"/>
                        <a:gd name="connsiteY962" fmla="*/ 373997 h 498212"/>
                        <a:gd name="connsiteX963" fmla="*/ 267783 w 442855"/>
                        <a:gd name="connsiteY963" fmla="*/ 373997 h 498212"/>
                        <a:gd name="connsiteX964" fmla="*/ 268234 w 442855"/>
                        <a:gd name="connsiteY964" fmla="*/ 374447 h 498212"/>
                        <a:gd name="connsiteX965" fmla="*/ 268684 w 442855"/>
                        <a:gd name="connsiteY965" fmla="*/ 374447 h 498212"/>
                        <a:gd name="connsiteX966" fmla="*/ 269134 w 442855"/>
                        <a:gd name="connsiteY966" fmla="*/ 373997 h 498212"/>
                        <a:gd name="connsiteX967" fmla="*/ 270034 w 442855"/>
                        <a:gd name="connsiteY967" fmla="*/ 373547 h 498212"/>
                        <a:gd name="connsiteX968" fmla="*/ 271384 w 442855"/>
                        <a:gd name="connsiteY968" fmla="*/ 373097 h 498212"/>
                        <a:gd name="connsiteX969" fmla="*/ 272284 w 442855"/>
                        <a:gd name="connsiteY969" fmla="*/ 373547 h 498212"/>
                        <a:gd name="connsiteX970" fmla="*/ 272284 w 442855"/>
                        <a:gd name="connsiteY970" fmla="*/ 374447 h 498212"/>
                        <a:gd name="connsiteX971" fmla="*/ 272734 w 442855"/>
                        <a:gd name="connsiteY971" fmla="*/ 374897 h 498212"/>
                        <a:gd name="connsiteX972" fmla="*/ 273634 w 442855"/>
                        <a:gd name="connsiteY972" fmla="*/ 374447 h 498212"/>
                        <a:gd name="connsiteX973" fmla="*/ 274084 w 442855"/>
                        <a:gd name="connsiteY973" fmla="*/ 374897 h 498212"/>
                        <a:gd name="connsiteX974" fmla="*/ 274534 w 442855"/>
                        <a:gd name="connsiteY974" fmla="*/ 376697 h 498212"/>
                        <a:gd name="connsiteX975" fmla="*/ 275434 w 442855"/>
                        <a:gd name="connsiteY975" fmla="*/ 376697 h 498212"/>
                        <a:gd name="connsiteX976" fmla="*/ 276335 w 442855"/>
                        <a:gd name="connsiteY976" fmla="*/ 375347 h 498212"/>
                        <a:gd name="connsiteX977" fmla="*/ 277235 w 442855"/>
                        <a:gd name="connsiteY977" fmla="*/ 374447 h 498212"/>
                        <a:gd name="connsiteX978" fmla="*/ 278585 w 442855"/>
                        <a:gd name="connsiteY978" fmla="*/ 373997 h 498212"/>
                        <a:gd name="connsiteX979" fmla="*/ 279485 w 442855"/>
                        <a:gd name="connsiteY979" fmla="*/ 373997 h 498212"/>
                        <a:gd name="connsiteX980" fmla="*/ 279935 w 442855"/>
                        <a:gd name="connsiteY980" fmla="*/ 374447 h 498212"/>
                        <a:gd name="connsiteX981" fmla="*/ 280385 w 442855"/>
                        <a:gd name="connsiteY981" fmla="*/ 375347 h 498212"/>
                        <a:gd name="connsiteX982" fmla="*/ 280385 w 442855"/>
                        <a:gd name="connsiteY982" fmla="*/ 376247 h 498212"/>
                        <a:gd name="connsiteX983" fmla="*/ 280835 w 442855"/>
                        <a:gd name="connsiteY983" fmla="*/ 376697 h 498212"/>
                        <a:gd name="connsiteX984" fmla="*/ 281735 w 442855"/>
                        <a:gd name="connsiteY984" fmla="*/ 376697 h 498212"/>
                        <a:gd name="connsiteX985" fmla="*/ 282185 w 442855"/>
                        <a:gd name="connsiteY985" fmla="*/ 377597 h 498212"/>
                        <a:gd name="connsiteX986" fmla="*/ 281735 w 442855"/>
                        <a:gd name="connsiteY986" fmla="*/ 378947 h 498212"/>
                        <a:gd name="connsiteX987" fmla="*/ 281735 w 442855"/>
                        <a:gd name="connsiteY987" fmla="*/ 379848 h 498212"/>
                        <a:gd name="connsiteX988" fmla="*/ 282635 w 442855"/>
                        <a:gd name="connsiteY988" fmla="*/ 381198 h 498212"/>
                        <a:gd name="connsiteX989" fmla="*/ 282635 w 442855"/>
                        <a:gd name="connsiteY989" fmla="*/ 381198 h 498212"/>
                        <a:gd name="connsiteX990" fmla="*/ 283535 w 442855"/>
                        <a:gd name="connsiteY990" fmla="*/ 378947 h 498212"/>
                        <a:gd name="connsiteX991" fmla="*/ 283986 w 442855"/>
                        <a:gd name="connsiteY991" fmla="*/ 377597 h 498212"/>
                        <a:gd name="connsiteX992" fmla="*/ 284886 w 442855"/>
                        <a:gd name="connsiteY992" fmla="*/ 376697 h 498212"/>
                        <a:gd name="connsiteX993" fmla="*/ 285336 w 442855"/>
                        <a:gd name="connsiteY993" fmla="*/ 376697 h 498212"/>
                        <a:gd name="connsiteX994" fmla="*/ 285336 w 442855"/>
                        <a:gd name="connsiteY994" fmla="*/ 377597 h 498212"/>
                        <a:gd name="connsiteX995" fmla="*/ 285336 w 442855"/>
                        <a:gd name="connsiteY995" fmla="*/ 378497 h 498212"/>
                        <a:gd name="connsiteX996" fmla="*/ 284886 w 442855"/>
                        <a:gd name="connsiteY996" fmla="*/ 379398 h 498212"/>
                        <a:gd name="connsiteX997" fmla="*/ 285336 w 442855"/>
                        <a:gd name="connsiteY997" fmla="*/ 379848 h 498212"/>
                        <a:gd name="connsiteX998" fmla="*/ 287136 w 442855"/>
                        <a:gd name="connsiteY998" fmla="*/ 379848 h 498212"/>
                        <a:gd name="connsiteX999" fmla="*/ 287136 w 442855"/>
                        <a:gd name="connsiteY999" fmla="*/ 380297 h 498212"/>
                        <a:gd name="connsiteX1000" fmla="*/ 285336 w 442855"/>
                        <a:gd name="connsiteY1000" fmla="*/ 384348 h 498212"/>
                        <a:gd name="connsiteX1001" fmla="*/ 283986 w 442855"/>
                        <a:gd name="connsiteY1001" fmla="*/ 386148 h 498212"/>
                        <a:gd name="connsiteX1002" fmla="*/ 283085 w 442855"/>
                        <a:gd name="connsiteY1002" fmla="*/ 386598 h 498212"/>
                        <a:gd name="connsiteX1003" fmla="*/ 281735 w 442855"/>
                        <a:gd name="connsiteY1003" fmla="*/ 387048 h 498212"/>
                        <a:gd name="connsiteX1004" fmla="*/ 280835 w 442855"/>
                        <a:gd name="connsiteY1004" fmla="*/ 386598 h 498212"/>
                        <a:gd name="connsiteX1005" fmla="*/ 279935 w 442855"/>
                        <a:gd name="connsiteY1005" fmla="*/ 386148 h 498212"/>
                        <a:gd name="connsiteX1006" fmla="*/ 279485 w 442855"/>
                        <a:gd name="connsiteY1006" fmla="*/ 386148 h 498212"/>
                        <a:gd name="connsiteX1007" fmla="*/ 279485 w 442855"/>
                        <a:gd name="connsiteY1007" fmla="*/ 385698 h 498212"/>
                        <a:gd name="connsiteX1008" fmla="*/ 280835 w 442855"/>
                        <a:gd name="connsiteY1008" fmla="*/ 384798 h 498212"/>
                        <a:gd name="connsiteX1009" fmla="*/ 281285 w 442855"/>
                        <a:gd name="connsiteY1009" fmla="*/ 384798 h 498212"/>
                        <a:gd name="connsiteX1010" fmla="*/ 282185 w 442855"/>
                        <a:gd name="connsiteY1010" fmla="*/ 384348 h 498212"/>
                        <a:gd name="connsiteX1011" fmla="*/ 284435 w 442855"/>
                        <a:gd name="connsiteY1011" fmla="*/ 382098 h 498212"/>
                        <a:gd name="connsiteX1012" fmla="*/ 284435 w 442855"/>
                        <a:gd name="connsiteY1012" fmla="*/ 382098 h 498212"/>
                        <a:gd name="connsiteX1013" fmla="*/ 283085 w 442855"/>
                        <a:gd name="connsiteY1013" fmla="*/ 382098 h 498212"/>
                        <a:gd name="connsiteX1014" fmla="*/ 278585 w 442855"/>
                        <a:gd name="connsiteY1014" fmla="*/ 385698 h 498212"/>
                        <a:gd name="connsiteX1015" fmla="*/ 278135 w 442855"/>
                        <a:gd name="connsiteY1015" fmla="*/ 385698 h 498212"/>
                        <a:gd name="connsiteX1016" fmla="*/ 277685 w 442855"/>
                        <a:gd name="connsiteY1016" fmla="*/ 385248 h 498212"/>
                        <a:gd name="connsiteX1017" fmla="*/ 277235 w 442855"/>
                        <a:gd name="connsiteY1017" fmla="*/ 384798 h 498212"/>
                        <a:gd name="connsiteX1018" fmla="*/ 274534 w 442855"/>
                        <a:gd name="connsiteY1018" fmla="*/ 383898 h 498212"/>
                        <a:gd name="connsiteX1019" fmla="*/ 273634 w 442855"/>
                        <a:gd name="connsiteY1019" fmla="*/ 382998 h 498212"/>
                        <a:gd name="connsiteX1020" fmla="*/ 272284 w 442855"/>
                        <a:gd name="connsiteY1020" fmla="*/ 382098 h 498212"/>
                        <a:gd name="connsiteX1021" fmla="*/ 270484 w 442855"/>
                        <a:gd name="connsiteY1021" fmla="*/ 381648 h 498212"/>
                        <a:gd name="connsiteX1022" fmla="*/ 268234 w 442855"/>
                        <a:gd name="connsiteY1022" fmla="*/ 380748 h 498212"/>
                        <a:gd name="connsiteX1023" fmla="*/ 265983 w 442855"/>
                        <a:gd name="connsiteY1023" fmla="*/ 379398 h 498212"/>
                        <a:gd name="connsiteX1024" fmla="*/ 263733 w 442855"/>
                        <a:gd name="connsiteY1024" fmla="*/ 378497 h 498212"/>
                        <a:gd name="connsiteX1025" fmla="*/ 259682 w 442855"/>
                        <a:gd name="connsiteY1025" fmla="*/ 378047 h 498212"/>
                        <a:gd name="connsiteX1026" fmla="*/ 259232 w 442855"/>
                        <a:gd name="connsiteY1026" fmla="*/ 377147 h 498212"/>
                        <a:gd name="connsiteX1027" fmla="*/ 255182 w 442855"/>
                        <a:gd name="connsiteY1027" fmla="*/ 375797 h 498212"/>
                        <a:gd name="connsiteX1028" fmla="*/ 253832 w 442855"/>
                        <a:gd name="connsiteY1028" fmla="*/ 374897 h 498212"/>
                        <a:gd name="connsiteX1029" fmla="*/ 253832 w 442855"/>
                        <a:gd name="connsiteY1029" fmla="*/ 373997 h 498212"/>
                        <a:gd name="connsiteX1030" fmla="*/ 254282 w 442855"/>
                        <a:gd name="connsiteY1030" fmla="*/ 373097 h 498212"/>
                        <a:gd name="connsiteX1031" fmla="*/ 254732 w 442855"/>
                        <a:gd name="connsiteY1031" fmla="*/ 372647 h 498212"/>
                        <a:gd name="connsiteX1032" fmla="*/ 255182 w 442855"/>
                        <a:gd name="connsiteY1032" fmla="*/ 372647 h 498212"/>
                        <a:gd name="connsiteX1033" fmla="*/ 255632 w 442855"/>
                        <a:gd name="connsiteY1033" fmla="*/ 373547 h 498212"/>
                        <a:gd name="connsiteX1034" fmla="*/ 256082 w 442855"/>
                        <a:gd name="connsiteY1034" fmla="*/ 373547 h 498212"/>
                        <a:gd name="connsiteX1035" fmla="*/ 256532 w 442855"/>
                        <a:gd name="connsiteY1035" fmla="*/ 373097 h 498212"/>
                        <a:gd name="connsiteX1036" fmla="*/ 257432 w 442855"/>
                        <a:gd name="connsiteY1036" fmla="*/ 373097 h 498212"/>
                        <a:gd name="connsiteX1037" fmla="*/ 258332 w 442855"/>
                        <a:gd name="connsiteY1037" fmla="*/ 373547 h 498212"/>
                        <a:gd name="connsiteX1038" fmla="*/ 258782 w 442855"/>
                        <a:gd name="connsiteY1038" fmla="*/ 373547 h 498212"/>
                        <a:gd name="connsiteX1039" fmla="*/ 259232 w 442855"/>
                        <a:gd name="connsiteY1039" fmla="*/ 373097 h 498212"/>
                        <a:gd name="connsiteX1040" fmla="*/ 260132 w 442855"/>
                        <a:gd name="connsiteY1040" fmla="*/ 372647 h 498212"/>
                        <a:gd name="connsiteX1041" fmla="*/ 261483 w 442855"/>
                        <a:gd name="connsiteY1041" fmla="*/ 372197 h 498212"/>
                        <a:gd name="connsiteX1042" fmla="*/ 261933 w 442855"/>
                        <a:gd name="connsiteY1042" fmla="*/ 373547 h 498212"/>
                        <a:gd name="connsiteX1043" fmla="*/ 283986 w 442855"/>
                        <a:gd name="connsiteY1043" fmla="*/ 388849 h 498212"/>
                        <a:gd name="connsiteX1044" fmla="*/ 283535 w 442855"/>
                        <a:gd name="connsiteY1044" fmla="*/ 388849 h 498212"/>
                        <a:gd name="connsiteX1045" fmla="*/ 283085 w 442855"/>
                        <a:gd name="connsiteY1045" fmla="*/ 388399 h 498212"/>
                        <a:gd name="connsiteX1046" fmla="*/ 283085 w 442855"/>
                        <a:gd name="connsiteY1046" fmla="*/ 387948 h 498212"/>
                        <a:gd name="connsiteX1047" fmla="*/ 283085 w 442855"/>
                        <a:gd name="connsiteY1047" fmla="*/ 387499 h 498212"/>
                        <a:gd name="connsiteX1048" fmla="*/ 284886 w 442855"/>
                        <a:gd name="connsiteY1048" fmla="*/ 386598 h 498212"/>
                        <a:gd name="connsiteX1049" fmla="*/ 285336 w 442855"/>
                        <a:gd name="connsiteY1049" fmla="*/ 386598 h 498212"/>
                        <a:gd name="connsiteX1050" fmla="*/ 284886 w 442855"/>
                        <a:gd name="connsiteY1050" fmla="*/ 387499 h 498212"/>
                        <a:gd name="connsiteX1051" fmla="*/ 283986 w 442855"/>
                        <a:gd name="connsiteY1051" fmla="*/ 388849 h 498212"/>
                        <a:gd name="connsiteX1052" fmla="*/ 318190 w 442855"/>
                        <a:gd name="connsiteY1052" fmla="*/ 408651 h 498212"/>
                        <a:gd name="connsiteX1053" fmla="*/ 318190 w 442855"/>
                        <a:gd name="connsiteY1053" fmla="*/ 408651 h 498212"/>
                        <a:gd name="connsiteX1054" fmla="*/ 317290 w 442855"/>
                        <a:gd name="connsiteY1054" fmla="*/ 408201 h 498212"/>
                        <a:gd name="connsiteX1055" fmla="*/ 316840 w 442855"/>
                        <a:gd name="connsiteY1055" fmla="*/ 407751 h 498212"/>
                        <a:gd name="connsiteX1056" fmla="*/ 316840 w 442855"/>
                        <a:gd name="connsiteY1056" fmla="*/ 407301 h 498212"/>
                        <a:gd name="connsiteX1057" fmla="*/ 317290 w 442855"/>
                        <a:gd name="connsiteY1057" fmla="*/ 407301 h 498212"/>
                        <a:gd name="connsiteX1058" fmla="*/ 318190 w 442855"/>
                        <a:gd name="connsiteY1058" fmla="*/ 407301 h 498212"/>
                        <a:gd name="connsiteX1059" fmla="*/ 318640 w 442855"/>
                        <a:gd name="connsiteY1059" fmla="*/ 407751 h 498212"/>
                        <a:gd name="connsiteX1060" fmla="*/ 318190 w 442855"/>
                        <a:gd name="connsiteY1060" fmla="*/ 408651 h 498212"/>
                        <a:gd name="connsiteX1061" fmla="*/ 399200 w 442855"/>
                        <a:gd name="connsiteY1061" fmla="*/ 428004 h 498212"/>
                        <a:gd name="connsiteX1062" fmla="*/ 397850 w 442855"/>
                        <a:gd name="connsiteY1062" fmla="*/ 428904 h 498212"/>
                        <a:gd name="connsiteX1063" fmla="*/ 396950 w 442855"/>
                        <a:gd name="connsiteY1063" fmla="*/ 428904 h 498212"/>
                        <a:gd name="connsiteX1064" fmla="*/ 396500 w 442855"/>
                        <a:gd name="connsiteY1064" fmla="*/ 428904 h 498212"/>
                        <a:gd name="connsiteX1065" fmla="*/ 396500 w 442855"/>
                        <a:gd name="connsiteY1065" fmla="*/ 428454 h 498212"/>
                        <a:gd name="connsiteX1066" fmla="*/ 396500 w 442855"/>
                        <a:gd name="connsiteY1066" fmla="*/ 428004 h 498212"/>
                        <a:gd name="connsiteX1067" fmla="*/ 396050 w 442855"/>
                        <a:gd name="connsiteY1067" fmla="*/ 427553 h 498212"/>
                        <a:gd name="connsiteX1068" fmla="*/ 396050 w 442855"/>
                        <a:gd name="connsiteY1068" fmla="*/ 427103 h 498212"/>
                        <a:gd name="connsiteX1069" fmla="*/ 396950 w 442855"/>
                        <a:gd name="connsiteY1069" fmla="*/ 426203 h 498212"/>
                        <a:gd name="connsiteX1070" fmla="*/ 397400 w 442855"/>
                        <a:gd name="connsiteY1070" fmla="*/ 425303 h 498212"/>
                        <a:gd name="connsiteX1071" fmla="*/ 399650 w 442855"/>
                        <a:gd name="connsiteY1071" fmla="*/ 424853 h 498212"/>
                        <a:gd name="connsiteX1072" fmla="*/ 400550 w 442855"/>
                        <a:gd name="connsiteY1072" fmla="*/ 424853 h 498212"/>
                        <a:gd name="connsiteX1073" fmla="*/ 401450 w 442855"/>
                        <a:gd name="connsiteY1073" fmla="*/ 424853 h 498212"/>
                        <a:gd name="connsiteX1074" fmla="*/ 401450 w 442855"/>
                        <a:gd name="connsiteY1074" fmla="*/ 425303 h 498212"/>
                        <a:gd name="connsiteX1075" fmla="*/ 399650 w 442855"/>
                        <a:gd name="connsiteY1075" fmla="*/ 426203 h 498212"/>
                        <a:gd name="connsiteX1076" fmla="*/ 399200 w 442855"/>
                        <a:gd name="connsiteY1076" fmla="*/ 427103 h 498212"/>
                        <a:gd name="connsiteX1077" fmla="*/ 399200 w 442855"/>
                        <a:gd name="connsiteY1077" fmla="*/ 428004 h 498212"/>
                        <a:gd name="connsiteX1078" fmla="*/ 392449 w 442855"/>
                        <a:gd name="connsiteY1078" fmla="*/ 428454 h 498212"/>
                        <a:gd name="connsiteX1079" fmla="*/ 391549 w 442855"/>
                        <a:gd name="connsiteY1079" fmla="*/ 428904 h 498212"/>
                        <a:gd name="connsiteX1080" fmla="*/ 390199 w 442855"/>
                        <a:gd name="connsiteY1080" fmla="*/ 428904 h 498212"/>
                        <a:gd name="connsiteX1081" fmla="*/ 389749 w 442855"/>
                        <a:gd name="connsiteY1081" fmla="*/ 428454 h 498212"/>
                        <a:gd name="connsiteX1082" fmla="*/ 389749 w 442855"/>
                        <a:gd name="connsiteY1082" fmla="*/ 428004 h 498212"/>
                        <a:gd name="connsiteX1083" fmla="*/ 390649 w 442855"/>
                        <a:gd name="connsiteY1083" fmla="*/ 427553 h 498212"/>
                        <a:gd name="connsiteX1084" fmla="*/ 393349 w 442855"/>
                        <a:gd name="connsiteY1084" fmla="*/ 426653 h 498212"/>
                        <a:gd name="connsiteX1085" fmla="*/ 393349 w 442855"/>
                        <a:gd name="connsiteY1085" fmla="*/ 427103 h 498212"/>
                        <a:gd name="connsiteX1086" fmla="*/ 392449 w 442855"/>
                        <a:gd name="connsiteY1086" fmla="*/ 428454 h 498212"/>
                        <a:gd name="connsiteX1087" fmla="*/ 265983 w 442855"/>
                        <a:gd name="connsiteY1087" fmla="*/ 497762 h 498212"/>
                        <a:gd name="connsiteX1088" fmla="*/ 265083 w 442855"/>
                        <a:gd name="connsiteY1088" fmla="*/ 498212 h 498212"/>
                        <a:gd name="connsiteX1089" fmla="*/ 265083 w 442855"/>
                        <a:gd name="connsiteY1089" fmla="*/ 497762 h 498212"/>
                        <a:gd name="connsiteX1090" fmla="*/ 265533 w 442855"/>
                        <a:gd name="connsiteY1090" fmla="*/ 496412 h 498212"/>
                        <a:gd name="connsiteX1091" fmla="*/ 265983 w 442855"/>
                        <a:gd name="connsiteY1091" fmla="*/ 495962 h 498212"/>
                        <a:gd name="connsiteX1092" fmla="*/ 266433 w 442855"/>
                        <a:gd name="connsiteY1092" fmla="*/ 496412 h 498212"/>
                        <a:gd name="connsiteX1093" fmla="*/ 266883 w 442855"/>
                        <a:gd name="connsiteY1093" fmla="*/ 497762 h 498212"/>
                        <a:gd name="connsiteX1094" fmla="*/ 265983 w 442855"/>
                        <a:gd name="connsiteY1094" fmla="*/ 497762 h 498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Lst>
                      <a:rect l="l" t="t" r="r" b="b"/>
                      <a:pathLst>
                        <a:path w="442855" h="498212">
                          <a:moveTo>
                            <a:pt x="332141" y="216027"/>
                          </a:moveTo>
                          <a:lnTo>
                            <a:pt x="332141" y="221878"/>
                          </a:lnTo>
                          <a:lnTo>
                            <a:pt x="332141" y="229979"/>
                          </a:lnTo>
                          <a:lnTo>
                            <a:pt x="332141" y="238080"/>
                          </a:lnTo>
                          <a:lnTo>
                            <a:pt x="332141" y="246181"/>
                          </a:lnTo>
                          <a:lnTo>
                            <a:pt x="332141" y="254282"/>
                          </a:lnTo>
                          <a:lnTo>
                            <a:pt x="332141" y="262383"/>
                          </a:lnTo>
                          <a:lnTo>
                            <a:pt x="332141" y="270034"/>
                          </a:lnTo>
                          <a:lnTo>
                            <a:pt x="332141" y="277685"/>
                          </a:lnTo>
                          <a:lnTo>
                            <a:pt x="332141" y="285336"/>
                          </a:lnTo>
                          <a:lnTo>
                            <a:pt x="332141" y="292987"/>
                          </a:lnTo>
                          <a:lnTo>
                            <a:pt x="332141" y="300638"/>
                          </a:lnTo>
                          <a:lnTo>
                            <a:pt x="332141" y="308288"/>
                          </a:lnTo>
                          <a:lnTo>
                            <a:pt x="332141" y="315939"/>
                          </a:lnTo>
                          <a:lnTo>
                            <a:pt x="332141" y="324941"/>
                          </a:lnTo>
                          <a:lnTo>
                            <a:pt x="332141" y="324941"/>
                          </a:lnTo>
                          <a:lnTo>
                            <a:pt x="331241" y="327191"/>
                          </a:lnTo>
                          <a:lnTo>
                            <a:pt x="331691" y="329441"/>
                          </a:lnTo>
                          <a:lnTo>
                            <a:pt x="333042" y="332142"/>
                          </a:lnTo>
                          <a:lnTo>
                            <a:pt x="333942" y="334842"/>
                          </a:lnTo>
                          <a:lnTo>
                            <a:pt x="333942" y="337542"/>
                          </a:lnTo>
                          <a:lnTo>
                            <a:pt x="335292" y="341143"/>
                          </a:lnTo>
                          <a:lnTo>
                            <a:pt x="339342" y="346993"/>
                          </a:lnTo>
                          <a:lnTo>
                            <a:pt x="342493" y="353744"/>
                          </a:lnTo>
                          <a:lnTo>
                            <a:pt x="344743" y="357345"/>
                          </a:lnTo>
                          <a:lnTo>
                            <a:pt x="347443" y="360045"/>
                          </a:lnTo>
                          <a:lnTo>
                            <a:pt x="354194" y="362745"/>
                          </a:lnTo>
                          <a:lnTo>
                            <a:pt x="370846" y="366346"/>
                          </a:lnTo>
                          <a:lnTo>
                            <a:pt x="377597" y="369946"/>
                          </a:lnTo>
                          <a:lnTo>
                            <a:pt x="377597" y="369946"/>
                          </a:lnTo>
                          <a:lnTo>
                            <a:pt x="379397" y="372647"/>
                          </a:lnTo>
                          <a:lnTo>
                            <a:pt x="379397" y="373097"/>
                          </a:lnTo>
                          <a:lnTo>
                            <a:pt x="379847" y="373997"/>
                          </a:lnTo>
                          <a:lnTo>
                            <a:pt x="380748" y="374897"/>
                          </a:lnTo>
                          <a:lnTo>
                            <a:pt x="383448" y="377147"/>
                          </a:lnTo>
                          <a:lnTo>
                            <a:pt x="384798" y="378047"/>
                          </a:lnTo>
                          <a:lnTo>
                            <a:pt x="386148" y="378497"/>
                          </a:lnTo>
                          <a:lnTo>
                            <a:pt x="387048" y="378497"/>
                          </a:lnTo>
                          <a:lnTo>
                            <a:pt x="387498" y="378047"/>
                          </a:lnTo>
                          <a:lnTo>
                            <a:pt x="387948" y="376247"/>
                          </a:lnTo>
                          <a:lnTo>
                            <a:pt x="388399" y="375797"/>
                          </a:lnTo>
                          <a:lnTo>
                            <a:pt x="388849" y="375797"/>
                          </a:lnTo>
                          <a:lnTo>
                            <a:pt x="389749" y="376247"/>
                          </a:lnTo>
                          <a:lnTo>
                            <a:pt x="391099" y="378947"/>
                          </a:lnTo>
                          <a:lnTo>
                            <a:pt x="392899" y="383448"/>
                          </a:lnTo>
                          <a:lnTo>
                            <a:pt x="395149" y="386598"/>
                          </a:lnTo>
                          <a:lnTo>
                            <a:pt x="398300" y="387948"/>
                          </a:lnTo>
                          <a:lnTo>
                            <a:pt x="401450" y="388399"/>
                          </a:lnTo>
                          <a:lnTo>
                            <a:pt x="404601" y="387948"/>
                          </a:lnTo>
                          <a:lnTo>
                            <a:pt x="407301" y="388399"/>
                          </a:lnTo>
                          <a:lnTo>
                            <a:pt x="409551" y="390199"/>
                          </a:lnTo>
                          <a:lnTo>
                            <a:pt x="415402" y="389299"/>
                          </a:lnTo>
                          <a:lnTo>
                            <a:pt x="425303" y="385698"/>
                          </a:lnTo>
                          <a:lnTo>
                            <a:pt x="431604" y="383898"/>
                          </a:lnTo>
                          <a:lnTo>
                            <a:pt x="434754" y="383448"/>
                          </a:lnTo>
                          <a:lnTo>
                            <a:pt x="437905" y="383898"/>
                          </a:lnTo>
                          <a:lnTo>
                            <a:pt x="441955" y="385698"/>
                          </a:lnTo>
                          <a:lnTo>
                            <a:pt x="441505" y="387499"/>
                          </a:lnTo>
                          <a:lnTo>
                            <a:pt x="440605" y="391099"/>
                          </a:lnTo>
                          <a:lnTo>
                            <a:pt x="440155" y="393349"/>
                          </a:lnTo>
                          <a:lnTo>
                            <a:pt x="441505" y="394699"/>
                          </a:lnTo>
                          <a:lnTo>
                            <a:pt x="442855" y="396500"/>
                          </a:lnTo>
                          <a:lnTo>
                            <a:pt x="442405" y="396950"/>
                          </a:lnTo>
                          <a:lnTo>
                            <a:pt x="434754" y="402800"/>
                          </a:lnTo>
                          <a:lnTo>
                            <a:pt x="433404" y="402800"/>
                          </a:lnTo>
                          <a:lnTo>
                            <a:pt x="431604" y="402800"/>
                          </a:lnTo>
                          <a:lnTo>
                            <a:pt x="428453" y="403700"/>
                          </a:lnTo>
                          <a:lnTo>
                            <a:pt x="424403" y="405951"/>
                          </a:lnTo>
                          <a:lnTo>
                            <a:pt x="419902" y="409551"/>
                          </a:lnTo>
                          <a:lnTo>
                            <a:pt x="411801" y="417652"/>
                          </a:lnTo>
                          <a:lnTo>
                            <a:pt x="411801" y="417652"/>
                          </a:lnTo>
                          <a:lnTo>
                            <a:pt x="411801" y="417652"/>
                          </a:lnTo>
                          <a:lnTo>
                            <a:pt x="411351" y="417652"/>
                          </a:lnTo>
                          <a:lnTo>
                            <a:pt x="409101" y="419903"/>
                          </a:lnTo>
                          <a:lnTo>
                            <a:pt x="406851" y="421253"/>
                          </a:lnTo>
                          <a:lnTo>
                            <a:pt x="401000" y="423503"/>
                          </a:lnTo>
                          <a:lnTo>
                            <a:pt x="399650" y="424403"/>
                          </a:lnTo>
                          <a:lnTo>
                            <a:pt x="397850" y="424853"/>
                          </a:lnTo>
                          <a:lnTo>
                            <a:pt x="395599" y="424853"/>
                          </a:lnTo>
                          <a:lnTo>
                            <a:pt x="393349" y="425303"/>
                          </a:lnTo>
                          <a:lnTo>
                            <a:pt x="391099" y="426203"/>
                          </a:lnTo>
                          <a:lnTo>
                            <a:pt x="386598" y="429354"/>
                          </a:lnTo>
                          <a:lnTo>
                            <a:pt x="385698" y="429354"/>
                          </a:lnTo>
                          <a:lnTo>
                            <a:pt x="385248" y="428904"/>
                          </a:lnTo>
                          <a:lnTo>
                            <a:pt x="385248" y="428454"/>
                          </a:lnTo>
                          <a:lnTo>
                            <a:pt x="386148" y="427553"/>
                          </a:lnTo>
                          <a:lnTo>
                            <a:pt x="388849" y="425753"/>
                          </a:lnTo>
                          <a:lnTo>
                            <a:pt x="388399" y="425303"/>
                          </a:lnTo>
                          <a:lnTo>
                            <a:pt x="386598" y="427103"/>
                          </a:lnTo>
                          <a:lnTo>
                            <a:pt x="385248" y="428004"/>
                          </a:lnTo>
                          <a:lnTo>
                            <a:pt x="384798" y="428004"/>
                          </a:lnTo>
                          <a:lnTo>
                            <a:pt x="385248" y="426653"/>
                          </a:lnTo>
                          <a:lnTo>
                            <a:pt x="384348" y="426203"/>
                          </a:lnTo>
                          <a:lnTo>
                            <a:pt x="382548" y="427103"/>
                          </a:lnTo>
                          <a:lnTo>
                            <a:pt x="381198" y="427103"/>
                          </a:lnTo>
                          <a:lnTo>
                            <a:pt x="380748" y="426653"/>
                          </a:lnTo>
                          <a:lnTo>
                            <a:pt x="380298" y="426653"/>
                          </a:lnTo>
                          <a:lnTo>
                            <a:pt x="379847" y="427103"/>
                          </a:lnTo>
                          <a:lnTo>
                            <a:pt x="378947" y="427103"/>
                          </a:lnTo>
                          <a:lnTo>
                            <a:pt x="377597" y="427553"/>
                          </a:lnTo>
                          <a:lnTo>
                            <a:pt x="374447" y="428454"/>
                          </a:lnTo>
                          <a:lnTo>
                            <a:pt x="373547" y="429354"/>
                          </a:lnTo>
                          <a:lnTo>
                            <a:pt x="373547" y="429804"/>
                          </a:lnTo>
                          <a:lnTo>
                            <a:pt x="376697" y="428454"/>
                          </a:lnTo>
                          <a:lnTo>
                            <a:pt x="378047" y="428004"/>
                          </a:lnTo>
                          <a:lnTo>
                            <a:pt x="378947" y="428004"/>
                          </a:lnTo>
                          <a:lnTo>
                            <a:pt x="379397" y="428454"/>
                          </a:lnTo>
                          <a:lnTo>
                            <a:pt x="378947" y="429354"/>
                          </a:lnTo>
                          <a:lnTo>
                            <a:pt x="378947" y="429804"/>
                          </a:lnTo>
                          <a:lnTo>
                            <a:pt x="379847" y="429804"/>
                          </a:lnTo>
                          <a:lnTo>
                            <a:pt x="380298" y="429804"/>
                          </a:lnTo>
                          <a:lnTo>
                            <a:pt x="380298" y="429804"/>
                          </a:lnTo>
                          <a:lnTo>
                            <a:pt x="379847" y="429804"/>
                          </a:lnTo>
                          <a:lnTo>
                            <a:pt x="379847" y="429354"/>
                          </a:lnTo>
                          <a:lnTo>
                            <a:pt x="380298" y="428904"/>
                          </a:lnTo>
                          <a:lnTo>
                            <a:pt x="383448" y="428004"/>
                          </a:lnTo>
                          <a:lnTo>
                            <a:pt x="384348" y="428904"/>
                          </a:lnTo>
                          <a:lnTo>
                            <a:pt x="383448" y="430704"/>
                          </a:lnTo>
                          <a:lnTo>
                            <a:pt x="383898" y="431604"/>
                          </a:lnTo>
                          <a:lnTo>
                            <a:pt x="385248" y="431604"/>
                          </a:lnTo>
                          <a:lnTo>
                            <a:pt x="386598" y="431154"/>
                          </a:lnTo>
                          <a:lnTo>
                            <a:pt x="388399" y="430254"/>
                          </a:lnTo>
                          <a:lnTo>
                            <a:pt x="388849" y="430254"/>
                          </a:lnTo>
                          <a:lnTo>
                            <a:pt x="388399" y="431154"/>
                          </a:lnTo>
                          <a:lnTo>
                            <a:pt x="387498" y="432054"/>
                          </a:lnTo>
                          <a:lnTo>
                            <a:pt x="385698" y="433404"/>
                          </a:lnTo>
                          <a:lnTo>
                            <a:pt x="385248" y="434304"/>
                          </a:lnTo>
                          <a:lnTo>
                            <a:pt x="385248" y="434754"/>
                          </a:lnTo>
                          <a:lnTo>
                            <a:pt x="385698" y="434304"/>
                          </a:lnTo>
                          <a:lnTo>
                            <a:pt x="387948" y="433854"/>
                          </a:lnTo>
                          <a:lnTo>
                            <a:pt x="388849" y="433854"/>
                          </a:lnTo>
                          <a:lnTo>
                            <a:pt x="388849" y="434304"/>
                          </a:lnTo>
                          <a:lnTo>
                            <a:pt x="387498" y="434754"/>
                          </a:lnTo>
                          <a:lnTo>
                            <a:pt x="384798" y="436105"/>
                          </a:lnTo>
                          <a:lnTo>
                            <a:pt x="382548" y="436555"/>
                          </a:lnTo>
                          <a:lnTo>
                            <a:pt x="381198" y="436105"/>
                          </a:lnTo>
                          <a:lnTo>
                            <a:pt x="380748" y="435204"/>
                          </a:lnTo>
                          <a:lnTo>
                            <a:pt x="381648" y="434304"/>
                          </a:lnTo>
                          <a:lnTo>
                            <a:pt x="381648" y="433854"/>
                          </a:lnTo>
                          <a:lnTo>
                            <a:pt x="379847" y="434754"/>
                          </a:lnTo>
                          <a:lnTo>
                            <a:pt x="379397" y="434754"/>
                          </a:lnTo>
                          <a:lnTo>
                            <a:pt x="378947" y="433854"/>
                          </a:lnTo>
                          <a:lnTo>
                            <a:pt x="378947" y="433854"/>
                          </a:lnTo>
                          <a:lnTo>
                            <a:pt x="379847" y="433854"/>
                          </a:lnTo>
                          <a:lnTo>
                            <a:pt x="380298" y="433404"/>
                          </a:lnTo>
                          <a:lnTo>
                            <a:pt x="378947" y="433404"/>
                          </a:lnTo>
                          <a:lnTo>
                            <a:pt x="376697" y="433854"/>
                          </a:lnTo>
                          <a:lnTo>
                            <a:pt x="374897" y="433404"/>
                          </a:lnTo>
                          <a:lnTo>
                            <a:pt x="373997" y="432504"/>
                          </a:lnTo>
                          <a:lnTo>
                            <a:pt x="373547" y="432054"/>
                          </a:lnTo>
                          <a:lnTo>
                            <a:pt x="373997" y="432054"/>
                          </a:lnTo>
                          <a:lnTo>
                            <a:pt x="373997" y="431604"/>
                          </a:lnTo>
                          <a:lnTo>
                            <a:pt x="373097" y="431604"/>
                          </a:lnTo>
                          <a:lnTo>
                            <a:pt x="370846" y="431604"/>
                          </a:lnTo>
                          <a:lnTo>
                            <a:pt x="370396" y="432054"/>
                          </a:lnTo>
                          <a:lnTo>
                            <a:pt x="369946" y="432954"/>
                          </a:lnTo>
                          <a:lnTo>
                            <a:pt x="367696" y="432954"/>
                          </a:lnTo>
                          <a:lnTo>
                            <a:pt x="366796" y="433404"/>
                          </a:lnTo>
                          <a:lnTo>
                            <a:pt x="364095" y="433854"/>
                          </a:lnTo>
                          <a:lnTo>
                            <a:pt x="360045" y="434304"/>
                          </a:lnTo>
                          <a:lnTo>
                            <a:pt x="356895" y="434754"/>
                          </a:lnTo>
                          <a:lnTo>
                            <a:pt x="354644" y="435655"/>
                          </a:lnTo>
                          <a:lnTo>
                            <a:pt x="352844" y="436105"/>
                          </a:lnTo>
                          <a:lnTo>
                            <a:pt x="351494" y="436105"/>
                          </a:lnTo>
                          <a:lnTo>
                            <a:pt x="349694" y="436555"/>
                          </a:lnTo>
                          <a:lnTo>
                            <a:pt x="346993" y="437455"/>
                          </a:lnTo>
                          <a:lnTo>
                            <a:pt x="342943" y="437905"/>
                          </a:lnTo>
                          <a:lnTo>
                            <a:pt x="341593" y="438355"/>
                          </a:lnTo>
                          <a:lnTo>
                            <a:pt x="339342" y="440155"/>
                          </a:lnTo>
                          <a:lnTo>
                            <a:pt x="336642" y="442855"/>
                          </a:lnTo>
                          <a:lnTo>
                            <a:pt x="334842" y="444206"/>
                          </a:lnTo>
                          <a:lnTo>
                            <a:pt x="333942" y="444206"/>
                          </a:lnTo>
                          <a:lnTo>
                            <a:pt x="333042" y="444656"/>
                          </a:lnTo>
                          <a:lnTo>
                            <a:pt x="332592" y="445556"/>
                          </a:lnTo>
                          <a:lnTo>
                            <a:pt x="331241" y="446456"/>
                          </a:lnTo>
                          <a:lnTo>
                            <a:pt x="330791" y="447356"/>
                          </a:lnTo>
                          <a:lnTo>
                            <a:pt x="330341" y="448256"/>
                          </a:lnTo>
                          <a:lnTo>
                            <a:pt x="329441" y="450056"/>
                          </a:lnTo>
                          <a:lnTo>
                            <a:pt x="326741" y="454107"/>
                          </a:lnTo>
                          <a:lnTo>
                            <a:pt x="326741" y="454557"/>
                          </a:lnTo>
                          <a:lnTo>
                            <a:pt x="327641" y="455907"/>
                          </a:lnTo>
                          <a:lnTo>
                            <a:pt x="329441" y="456357"/>
                          </a:lnTo>
                          <a:lnTo>
                            <a:pt x="331691" y="457257"/>
                          </a:lnTo>
                          <a:lnTo>
                            <a:pt x="334392" y="457257"/>
                          </a:lnTo>
                          <a:lnTo>
                            <a:pt x="335742" y="457707"/>
                          </a:lnTo>
                          <a:lnTo>
                            <a:pt x="336642" y="457257"/>
                          </a:lnTo>
                          <a:lnTo>
                            <a:pt x="338442" y="456357"/>
                          </a:lnTo>
                          <a:lnTo>
                            <a:pt x="341593" y="455007"/>
                          </a:lnTo>
                          <a:lnTo>
                            <a:pt x="341593" y="455007"/>
                          </a:lnTo>
                          <a:lnTo>
                            <a:pt x="341593" y="459957"/>
                          </a:lnTo>
                          <a:lnTo>
                            <a:pt x="341593" y="460408"/>
                          </a:lnTo>
                          <a:lnTo>
                            <a:pt x="342043" y="461308"/>
                          </a:lnTo>
                          <a:lnTo>
                            <a:pt x="342043" y="461758"/>
                          </a:lnTo>
                          <a:lnTo>
                            <a:pt x="342043" y="462208"/>
                          </a:lnTo>
                          <a:lnTo>
                            <a:pt x="342493" y="463108"/>
                          </a:lnTo>
                          <a:lnTo>
                            <a:pt x="343843" y="464458"/>
                          </a:lnTo>
                          <a:lnTo>
                            <a:pt x="344293" y="465358"/>
                          </a:lnTo>
                          <a:lnTo>
                            <a:pt x="343843" y="465808"/>
                          </a:lnTo>
                          <a:lnTo>
                            <a:pt x="341143" y="467159"/>
                          </a:lnTo>
                          <a:lnTo>
                            <a:pt x="339792" y="467159"/>
                          </a:lnTo>
                          <a:lnTo>
                            <a:pt x="338442" y="466708"/>
                          </a:lnTo>
                          <a:lnTo>
                            <a:pt x="336642" y="466708"/>
                          </a:lnTo>
                          <a:lnTo>
                            <a:pt x="333942" y="466708"/>
                          </a:lnTo>
                          <a:lnTo>
                            <a:pt x="329441" y="467609"/>
                          </a:lnTo>
                          <a:lnTo>
                            <a:pt x="328091" y="467609"/>
                          </a:lnTo>
                          <a:lnTo>
                            <a:pt x="327191" y="467159"/>
                          </a:lnTo>
                          <a:lnTo>
                            <a:pt x="326291" y="467159"/>
                          </a:lnTo>
                          <a:lnTo>
                            <a:pt x="322690" y="468058"/>
                          </a:lnTo>
                          <a:lnTo>
                            <a:pt x="319090" y="468509"/>
                          </a:lnTo>
                          <a:lnTo>
                            <a:pt x="316390" y="469409"/>
                          </a:lnTo>
                          <a:lnTo>
                            <a:pt x="315039" y="470309"/>
                          </a:lnTo>
                          <a:lnTo>
                            <a:pt x="314139" y="471209"/>
                          </a:lnTo>
                          <a:lnTo>
                            <a:pt x="313239" y="472109"/>
                          </a:lnTo>
                          <a:lnTo>
                            <a:pt x="312789" y="472109"/>
                          </a:lnTo>
                          <a:lnTo>
                            <a:pt x="311439" y="473909"/>
                          </a:lnTo>
                          <a:lnTo>
                            <a:pt x="311439" y="474359"/>
                          </a:lnTo>
                          <a:lnTo>
                            <a:pt x="313239" y="474359"/>
                          </a:lnTo>
                          <a:lnTo>
                            <a:pt x="314589" y="474809"/>
                          </a:lnTo>
                          <a:lnTo>
                            <a:pt x="318640" y="475260"/>
                          </a:lnTo>
                          <a:lnTo>
                            <a:pt x="319540" y="475709"/>
                          </a:lnTo>
                          <a:lnTo>
                            <a:pt x="319090" y="475709"/>
                          </a:lnTo>
                          <a:lnTo>
                            <a:pt x="312789" y="474809"/>
                          </a:lnTo>
                          <a:lnTo>
                            <a:pt x="310989" y="474809"/>
                          </a:lnTo>
                          <a:lnTo>
                            <a:pt x="307838" y="474359"/>
                          </a:lnTo>
                          <a:lnTo>
                            <a:pt x="303338" y="473009"/>
                          </a:lnTo>
                          <a:lnTo>
                            <a:pt x="298837" y="472559"/>
                          </a:lnTo>
                          <a:lnTo>
                            <a:pt x="294337" y="473009"/>
                          </a:lnTo>
                          <a:lnTo>
                            <a:pt x="291186" y="473909"/>
                          </a:lnTo>
                          <a:lnTo>
                            <a:pt x="289386" y="474809"/>
                          </a:lnTo>
                          <a:lnTo>
                            <a:pt x="284435" y="478860"/>
                          </a:lnTo>
                          <a:lnTo>
                            <a:pt x="282635" y="481110"/>
                          </a:lnTo>
                          <a:lnTo>
                            <a:pt x="281735" y="483360"/>
                          </a:lnTo>
                          <a:lnTo>
                            <a:pt x="281285" y="484261"/>
                          </a:lnTo>
                          <a:lnTo>
                            <a:pt x="280835" y="484261"/>
                          </a:lnTo>
                          <a:lnTo>
                            <a:pt x="280835" y="483810"/>
                          </a:lnTo>
                          <a:lnTo>
                            <a:pt x="281285" y="482911"/>
                          </a:lnTo>
                          <a:lnTo>
                            <a:pt x="281285" y="482911"/>
                          </a:lnTo>
                          <a:lnTo>
                            <a:pt x="279935" y="483810"/>
                          </a:lnTo>
                          <a:lnTo>
                            <a:pt x="279935" y="484261"/>
                          </a:lnTo>
                          <a:lnTo>
                            <a:pt x="277685" y="484711"/>
                          </a:lnTo>
                          <a:lnTo>
                            <a:pt x="275434" y="485611"/>
                          </a:lnTo>
                          <a:lnTo>
                            <a:pt x="272284" y="487411"/>
                          </a:lnTo>
                          <a:lnTo>
                            <a:pt x="270034" y="488761"/>
                          </a:lnTo>
                          <a:lnTo>
                            <a:pt x="269134" y="490111"/>
                          </a:lnTo>
                          <a:lnTo>
                            <a:pt x="268684" y="491461"/>
                          </a:lnTo>
                          <a:lnTo>
                            <a:pt x="268684" y="493262"/>
                          </a:lnTo>
                          <a:lnTo>
                            <a:pt x="268234" y="493712"/>
                          </a:lnTo>
                          <a:lnTo>
                            <a:pt x="266883" y="491912"/>
                          </a:lnTo>
                          <a:lnTo>
                            <a:pt x="265983" y="491011"/>
                          </a:lnTo>
                          <a:lnTo>
                            <a:pt x="265083" y="490561"/>
                          </a:lnTo>
                          <a:lnTo>
                            <a:pt x="264183" y="490561"/>
                          </a:lnTo>
                          <a:lnTo>
                            <a:pt x="261033" y="491461"/>
                          </a:lnTo>
                          <a:lnTo>
                            <a:pt x="258782" y="491011"/>
                          </a:lnTo>
                          <a:lnTo>
                            <a:pt x="256082" y="489661"/>
                          </a:lnTo>
                          <a:lnTo>
                            <a:pt x="255182" y="489211"/>
                          </a:lnTo>
                          <a:lnTo>
                            <a:pt x="255182" y="487861"/>
                          </a:lnTo>
                          <a:lnTo>
                            <a:pt x="255632" y="485161"/>
                          </a:lnTo>
                          <a:lnTo>
                            <a:pt x="256082" y="483360"/>
                          </a:lnTo>
                          <a:lnTo>
                            <a:pt x="255632" y="483360"/>
                          </a:lnTo>
                          <a:lnTo>
                            <a:pt x="256082" y="482911"/>
                          </a:lnTo>
                          <a:lnTo>
                            <a:pt x="257432" y="482010"/>
                          </a:lnTo>
                          <a:lnTo>
                            <a:pt x="260132" y="480660"/>
                          </a:lnTo>
                          <a:lnTo>
                            <a:pt x="262833" y="477510"/>
                          </a:lnTo>
                          <a:lnTo>
                            <a:pt x="265083" y="475709"/>
                          </a:lnTo>
                          <a:lnTo>
                            <a:pt x="267333" y="473909"/>
                          </a:lnTo>
                          <a:lnTo>
                            <a:pt x="268684" y="470759"/>
                          </a:lnTo>
                          <a:lnTo>
                            <a:pt x="270034" y="462658"/>
                          </a:lnTo>
                          <a:lnTo>
                            <a:pt x="272284" y="461758"/>
                          </a:lnTo>
                          <a:lnTo>
                            <a:pt x="274984" y="460408"/>
                          </a:lnTo>
                          <a:lnTo>
                            <a:pt x="276785" y="459057"/>
                          </a:lnTo>
                          <a:lnTo>
                            <a:pt x="278135" y="457707"/>
                          </a:lnTo>
                          <a:lnTo>
                            <a:pt x="279485" y="456807"/>
                          </a:lnTo>
                          <a:lnTo>
                            <a:pt x="280835" y="456357"/>
                          </a:lnTo>
                          <a:lnTo>
                            <a:pt x="282185" y="455457"/>
                          </a:lnTo>
                          <a:lnTo>
                            <a:pt x="283535" y="454107"/>
                          </a:lnTo>
                          <a:lnTo>
                            <a:pt x="284435" y="452306"/>
                          </a:lnTo>
                          <a:lnTo>
                            <a:pt x="284886" y="450056"/>
                          </a:lnTo>
                          <a:lnTo>
                            <a:pt x="284886" y="447806"/>
                          </a:lnTo>
                          <a:lnTo>
                            <a:pt x="284435" y="445556"/>
                          </a:lnTo>
                          <a:lnTo>
                            <a:pt x="284435" y="435655"/>
                          </a:lnTo>
                          <a:lnTo>
                            <a:pt x="283986" y="433404"/>
                          </a:lnTo>
                          <a:lnTo>
                            <a:pt x="284435" y="431154"/>
                          </a:lnTo>
                          <a:lnTo>
                            <a:pt x="285786" y="429354"/>
                          </a:lnTo>
                          <a:lnTo>
                            <a:pt x="286686" y="427553"/>
                          </a:lnTo>
                          <a:lnTo>
                            <a:pt x="287136" y="425753"/>
                          </a:lnTo>
                          <a:lnTo>
                            <a:pt x="287586" y="424403"/>
                          </a:lnTo>
                          <a:lnTo>
                            <a:pt x="288486" y="423053"/>
                          </a:lnTo>
                          <a:lnTo>
                            <a:pt x="289386" y="422153"/>
                          </a:lnTo>
                          <a:lnTo>
                            <a:pt x="290286" y="421703"/>
                          </a:lnTo>
                          <a:lnTo>
                            <a:pt x="290736" y="420803"/>
                          </a:lnTo>
                          <a:lnTo>
                            <a:pt x="291186" y="419903"/>
                          </a:lnTo>
                          <a:lnTo>
                            <a:pt x="292086" y="418552"/>
                          </a:lnTo>
                          <a:lnTo>
                            <a:pt x="293437" y="416752"/>
                          </a:lnTo>
                          <a:lnTo>
                            <a:pt x="293887" y="415402"/>
                          </a:lnTo>
                          <a:lnTo>
                            <a:pt x="293887" y="413152"/>
                          </a:lnTo>
                          <a:lnTo>
                            <a:pt x="293887" y="410902"/>
                          </a:lnTo>
                          <a:lnTo>
                            <a:pt x="293437" y="409551"/>
                          </a:lnTo>
                          <a:lnTo>
                            <a:pt x="292537" y="408201"/>
                          </a:lnTo>
                          <a:lnTo>
                            <a:pt x="292086" y="406851"/>
                          </a:lnTo>
                          <a:lnTo>
                            <a:pt x="292086" y="405051"/>
                          </a:lnTo>
                          <a:lnTo>
                            <a:pt x="291636" y="405051"/>
                          </a:lnTo>
                          <a:lnTo>
                            <a:pt x="290736" y="405051"/>
                          </a:lnTo>
                          <a:lnTo>
                            <a:pt x="289836" y="404151"/>
                          </a:lnTo>
                          <a:lnTo>
                            <a:pt x="288936" y="402350"/>
                          </a:lnTo>
                          <a:lnTo>
                            <a:pt x="288036" y="401000"/>
                          </a:lnTo>
                          <a:lnTo>
                            <a:pt x="287136" y="400550"/>
                          </a:lnTo>
                          <a:lnTo>
                            <a:pt x="286686" y="400100"/>
                          </a:lnTo>
                          <a:lnTo>
                            <a:pt x="285786" y="399200"/>
                          </a:lnTo>
                          <a:lnTo>
                            <a:pt x="284435" y="398750"/>
                          </a:lnTo>
                          <a:lnTo>
                            <a:pt x="283986" y="398300"/>
                          </a:lnTo>
                          <a:lnTo>
                            <a:pt x="283986" y="397400"/>
                          </a:lnTo>
                          <a:lnTo>
                            <a:pt x="286236" y="396950"/>
                          </a:lnTo>
                          <a:lnTo>
                            <a:pt x="290286" y="396950"/>
                          </a:lnTo>
                          <a:lnTo>
                            <a:pt x="292537" y="396950"/>
                          </a:lnTo>
                          <a:lnTo>
                            <a:pt x="292987" y="396950"/>
                          </a:lnTo>
                          <a:lnTo>
                            <a:pt x="292537" y="398750"/>
                          </a:lnTo>
                          <a:lnTo>
                            <a:pt x="292537" y="399650"/>
                          </a:lnTo>
                          <a:lnTo>
                            <a:pt x="292987" y="400550"/>
                          </a:lnTo>
                          <a:lnTo>
                            <a:pt x="293437" y="401900"/>
                          </a:lnTo>
                          <a:lnTo>
                            <a:pt x="293437" y="403700"/>
                          </a:lnTo>
                          <a:lnTo>
                            <a:pt x="294337" y="404151"/>
                          </a:lnTo>
                          <a:lnTo>
                            <a:pt x="294787" y="404151"/>
                          </a:lnTo>
                          <a:lnTo>
                            <a:pt x="295237" y="405051"/>
                          </a:lnTo>
                          <a:lnTo>
                            <a:pt x="296137" y="405051"/>
                          </a:lnTo>
                          <a:lnTo>
                            <a:pt x="296587" y="405501"/>
                          </a:lnTo>
                          <a:lnTo>
                            <a:pt x="296137" y="406401"/>
                          </a:lnTo>
                          <a:lnTo>
                            <a:pt x="296137" y="406851"/>
                          </a:lnTo>
                          <a:lnTo>
                            <a:pt x="297487" y="406851"/>
                          </a:lnTo>
                          <a:lnTo>
                            <a:pt x="298387" y="405501"/>
                          </a:lnTo>
                          <a:lnTo>
                            <a:pt x="298837" y="405051"/>
                          </a:lnTo>
                          <a:lnTo>
                            <a:pt x="299738" y="405051"/>
                          </a:lnTo>
                          <a:lnTo>
                            <a:pt x="299738" y="405501"/>
                          </a:lnTo>
                          <a:lnTo>
                            <a:pt x="299287" y="406401"/>
                          </a:lnTo>
                          <a:lnTo>
                            <a:pt x="298837" y="407301"/>
                          </a:lnTo>
                          <a:lnTo>
                            <a:pt x="298837" y="408201"/>
                          </a:lnTo>
                          <a:lnTo>
                            <a:pt x="298387" y="409101"/>
                          </a:lnTo>
                          <a:lnTo>
                            <a:pt x="296587" y="410902"/>
                          </a:lnTo>
                          <a:lnTo>
                            <a:pt x="296587" y="411351"/>
                          </a:lnTo>
                          <a:lnTo>
                            <a:pt x="297037" y="411351"/>
                          </a:lnTo>
                          <a:lnTo>
                            <a:pt x="298837" y="410451"/>
                          </a:lnTo>
                          <a:lnTo>
                            <a:pt x="300187" y="410451"/>
                          </a:lnTo>
                          <a:lnTo>
                            <a:pt x="301088" y="410902"/>
                          </a:lnTo>
                          <a:lnTo>
                            <a:pt x="301538" y="411351"/>
                          </a:lnTo>
                          <a:lnTo>
                            <a:pt x="301538" y="411801"/>
                          </a:lnTo>
                          <a:lnTo>
                            <a:pt x="301538" y="413152"/>
                          </a:lnTo>
                          <a:lnTo>
                            <a:pt x="301088" y="415402"/>
                          </a:lnTo>
                          <a:lnTo>
                            <a:pt x="301538" y="415852"/>
                          </a:lnTo>
                          <a:lnTo>
                            <a:pt x="302888" y="414502"/>
                          </a:lnTo>
                          <a:lnTo>
                            <a:pt x="304238" y="413602"/>
                          </a:lnTo>
                          <a:lnTo>
                            <a:pt x="306938" y="412702"/>
                          </a:lnTo>
                          <a:lnTo>
                            <a:pt x="307388" y="412702"/>
                          </a:lnTo>
                          <a:lnTo>
                            <a:pt x="308739" y="414952"/>
                          </a:lnTo>
                          <a:lnTo>
                            <a:pt x="311439" y="416752"/>
                          </a:lnTo>
                          <a:lnTo>
                            <a:pt x="316390" y="419002"/>
                          </a:lnTo>
                          <a:lnTo>
                            <a:pt x="319540" y="419452"/>
                          </a:lnTo>
                          <a:lnTo>
                            <a:pt x="320440" y="418552"/>
                          </a:lnTo>
                          <a:lnTo>
                            <a:pt x="320890" y="416752"/>
                          </a:lnTo>
                          <a:lnTo>
                            <a:pt x="320890" y="414502"/>
                          </a:lnTo>
                          <a:lnTo>
                            <a:pt x="320440" y="412702"/>
                          </a:lnTo>
                          <a:lnTo>
                            <a:pt x="319090" y="411801"/>
                          </a:lnTo>
                          <a:lnTo>
                            <a:pt x="318640" y="410902"/>
                          </a:lnTo>
                          <a:lnTo>
                            <a:pt x="318640" y="409101"/>
                          </a:lnTo>
                          <a:lnTo>
                            <a:pt x="319540" y="408201"/>
                          </a:lnTo>
                          <a:lnTo>
                            <a:pt x="320890" y="407751"/>
                          </a:lnTo>
                          <a:lnTo>
                            <a:pt x="322240" y="407751"/>
                          </a:lnTo>
                          <a:lnTo>
                            <a:pt x="322240" y="408201"/>
                          </a:lnTo>
                          <a:lnTo>
                            <a:pt x="321790" y="409101"/>
                          </a:lnTo>
                          <a:lnTo>
                            <a:pt x="321790" y="409551"/>
                          </a:lnTo>
                          <a:lnTo>
                            <a:pt x="322690" y="409551"/>
                          </a:lnTo>
                          <a:lnTo>
                            <a:pt x="323140" y="410001"/>
                          </a:lnTo>
                          <a:lnTo>
                            <a:pt x="324041" y="410902"/>
                          </a:lnTo>
                          <a:lnTo>
                            <a:pt x="326291" y="410902"/>
                          </a:lnTo>
                          <a:lnTo>
                            <a:pt x="327191" y="410451"/>
                          </a:lnTo>
                          <a:lnTo>
                            <a:pt x="326741" y="410001"/>
                          </a:lnTo>
                          <a:lnTo>
                            <a:pt x="326741" y="409101"/>
                          </a:lnTo>
                          <a:lnTo>
                            <a:pt x="327191" y="408201"/>
                          </a:lnTo>
                          <a:lnTo>
                            <a:pt x="327191" y="407751"/>
                          </a:lnTo>
                          <a:lnTo>
                            <a:pt x="326291" y="408201"/>
                          </a:lnTo>
                          <a:lnTo>
                            <a:pt x="326291" y="409101"/>
                          </a:lnTo>
                          <a:lnTo>
                            <a:pt x="325841" y="409551"/>
                          </a:lnTo>
                          <a:lnTo>
                            <a:pt x="325391" y="409551"/>
                          </a:lnTo>
                          <a:lnTo>
                            <a:pt x="324941" y="408651"/>
                          </a:lnTo>
                          <a:lnTo>
                            <a:pt x="324491" y="407751"/>
                          </a:lnTo>
                          <a:lnTo>
                            <a:pt x="324041" y="406401"/>
                          </a:lnTo>
                          <a:lnTo>
                            <a:pt x="322690" y="405951"/>
                          </a:lnTo>
                          <a:lnTo>
                            <a:pt x="322240" y="405501"/>
                          </a:lnTo>
                          <a:lnTo>
                            <a:pt x="322240" y="404601"/>
                          </a:lnTo>
                          <a:lnTo>
                            <a:pt x="321790" y="404151"/>
                          </a:lnTo>
                          <a:lnTo>
                            <a:pt x="321340" y="404151"/>
                          </a:lnTo>
                          <a:lnTo>
                            <a:pt x="320440" y="402800"/>
                          </a:lnTo>
                          <a:lnTo>
                            <a:pt x="319090" y="401900"/>
                          </a:lnTo>
                          <a:lnTo>
                            <a:pt x="319090" y="401450"/>
                          </a:lnTo>
                          <a:lnTo>
                            <a:pt x="320440" y="401000"/>
                          </a:lnTo>
                          <a:lnTo>
                            <a:pt x="320890" y="400550"/>
                          </a:lnTo>
                          <a:lnTo>
                            <a:pt x="320890" y="399650"/>
                          </a:lnTo>
                          <a:lnTo>
                            <a:pt x="319990" y="398750"/>
                          </a:lnTo>
                          <a:lnTo>
                            <a:pt x="319540" y="398750"/>
                          </a:lnTo>
                          <a:lnTo>
                            <a:pt x="319090" y="399200"/>
                          </a:lnTo>
                          <a:lnTo>
                            <a:pt x="318640" y="399200"/>
                          </a:lnTo>
                          <a:lnTo>
                            <a:pt x="318190" y="398750"/>
                          </a:lnTo>
                          <a:lnTo>
                            <a:pt x="318190" y="397850"/>
                          </a:lnTo>
                          <a:lnTo>
                            <a:pt x="319540" y="396500"/>
                          </a:lnTo>
                          <a:lnTo>
                            <a:pt x="319540" y="395150"/>
                          </a:lnTo>
                          <a:lnTo>
                            <a:pt x="319090" y="394249"/>
                          </a:lnTo>
                          <a:lnTo>
                            <a:pt x="318190" y="393799"/>
                          </a:lnTo>
                          <a:lnTo>
                            <a:pt x="316840" y="393799"/>
                          </a:lnTo>
                          <a:lnTo>
                            <a:pt x="316390" y="393799"/>
                          </a:lnTo>
                          <a:lnTo>
                            <a:pt x="316390" y="394249"/>
                          </a:lnTo>
                          <a:lnTo>
                            <a:pt x="316840" y="395599"/>
                          </a:lnTo>
                          <a:lnTo>
                            <a:pt x="316840" y="395599"/>
                          </a:lnTo>
                          <a:lnTo>
                            <a:pt x="315039" y="395150"/>
                          </a:lnTo>
                          <a:lnTo>
                            <a:pt x="314139" y="394249"/>
                          </a:lnTo>
                          <a:lnTo>
                            <a:pt x="313239" y="393799"/>
                          </a:lnTo>
                          <a:lnTo>
                            <a:pt x="312339" y="391999"/>
                          </a:lnTo>
                          <a:lnTo>
                            <a:pt x="312339" y="390649"/>
                          </a:lnTo>
                          <a:lnTo>
                            <a:pt x="312339" y="388399"/>
                          </a:lnTo>
                          <a:lnTo>
                            <a:pt x="311889" y="387048"/>
                          </a:lnTo>
                          <a:lnTo>
                            <a:pt x="311439" y="387048"/>
                          </a:lnTo>
                          <a:lnTo>
                            <a:pt x="311439" y="387948"/>
                          </a:lnTo>
                          <a:lnTo>
                            <a:pt x="310989" y="388399"/>
                          </a:lnTo>
                          <a:lnTo>
                            <a:pt x="310089" y="388399"/>
                          </a:lnTo>
                          <a:lnTo>
                            <a:pt x="309639" y="387948"/>
                          </a:lnTo>
                          <a:lnTo>
                            <a:pt x="309639" y="387048"/>
                          </a:lnTo>
                          <a:lnTo>
                            <a:pt x="309189" y="386148"/>
                          </a:lnTo>
                          <a:lnTo>
                            <a:pt x="308289" y="385248"/>
                          </a:lnTo>
                          <a:lnTo>
                            <a:pt x="307388" y="383898"/>
                          </a:lnTo>
                          <a:lnTo>
                            <a:pt x="306938" y="383448"/>
                          </a:lnTo>
                          <a:lnTo>
                            <a:pt x="306938" y="382998"/>
                          </a:lnTo>
                          <a:lnTo>
                            <a:pt x="306488" y="382098"/>
                          </a:lnTo>
                          <a:lnTo>
                            <a:pt x="305588" y="381198"/>
                          </a:lnTo>
                          <a:lnTo>
                            <a:pt x="305138" y="379848"/>
                          </a:lnTo>
                          <a:lnTo>
                            <a:pt x="304688" y="379398"/>
                          </a:lnTo>
                          <a:lnTo>
                            <a:pt x="303338" y="378047"/>
                          </a:lnTo>
                          <a:lnTo>
                            <a:pt x="302888" y="377147"/>
                          </a:lnTo>
                          <a:lnTo>
                            <a:pt x="302438" y="376697"/>
                          </a:lnTo>
                          <a:lnTo>
                            <a:pt x="301088" y="376697"/>
                          </a:lnTo>
                          <a:lnTo>
                            <a:pt x="299287" y="376697"/>
                          </a:lnTo>
                          <a:lnTo>
                            <a:pt x="296587" y="377147"/>
                          </a:lnTo>
                          <a:lnTo>
                            <a:pt x="295237" y="376697"/>
                          </a:lnTo>
                          <a:lnTo>
                            <a:pt x="295237" y="375797"/>
                          </a:lnTo>
                          <a:lnTo>
                            <a:pt x="295237" y="375347"/>
                          </a:lnTo>
                          <a:lnTo>
                            <a:pt x="294787" y="375347"/>
                          </a:lnTo>
                          <a:lnTo>
                            <a:pt x="294337" y="375797"/>
                          </a:lnTo>
                          <a:lnTo>
                            <a:pt x="294337" y="376247"/>
                          </a:lnTo>
                          <a:lnTo>
                            <a:pt x="293437" y="376697"/>
                          </a:lnTo>
                          <a:lnTo>
                            <a:pt x="292086" y="376697"/>
                          </a:lnTo>
                          <a:lnTo>
                            <a:pt x="288936" y="376247"/>
                          </a:lnTo>
                          <a:lnTo>
                            <a:pt x="288036" y="376247"/>
                          </a:lnTo>
                          <a:lnTo>
                            <a:pt x="286236" y="377147"/>
                          </a:lnTo>
                          <a:lnTo>
                            <a:pt x="285786" y="376697"/>
                          </a:lnTo>
                          <a:lnTo>
                            <a:pt x="286686" y="376247"/>
                          </a:lnTo>
                          <a:lnTo>
                            <a:pt x="286686" y="375797"/>
                          </a:lnTo>
                          <a:lnTo>
                            <a:pt x="286236" y="375797"/>
                          </a:lnTo>
                          <a:lnTo>
                            <a:pt x="286236" y="375347"/>
                          </a:lnTo>
                          <a:lnTo>
                            <a:pt x="285786" y="374897"/>
                          </a:lnTo>
                          <a:lnTo>
                            <a:pt x="288036" y="373997"/>
                          </a:lnTo>
                          <a:lnTo>
                            <a:pt x="288036" y="373547"/>
                          </a:lnTo>
                          <a:lnTo>
                            <a:pt x="286686" y="372647"/>
                          </a:lnTo>
                          <a:lnTo>
                            <a:pt x="286236" y="372647"/>
                          </a:lnTo>
                          <a:lnTo>
                            <a:pt x="285786" y="373547"/>
                          </a:lnTo>
                          <a:lnTo>
                            <a:pt x="285336" y="373997"/>
                          </a:lnTo>
                          <a:lnTo>
                            <a:pt x="284435" y="373997"/>
                          </a:lnTo>
                          <a:lnTo>
                            <a:pt x="283986" y="374447"/>
                          </a:lnTo>
                          <a:lnTo>
                            <a:pt x="283535" y="374447"/>
                          </a:lnTo>
                          <a:lnTo>
                            <a:pt x="283535" y="373997"/>
                          </a:lnTo>
                          <a:lnTo>
                            <a:pt x="283535" y="373097"/>
                          </a:lnTo>
                          <a:lnTo>
                            <a:pt x="282635" y="372647"/>
                          </a:lnTo>
                          <a:lnTo>
                            <a:pt x="278585" y="372197"/>
                          </a:lnTo>
                          <a:lnTo>
                            <a:pt x="276335" y="372197"/>
                          </a:lnTo>
                          <a:lnTo>
                            <a:pt x="274534" y="372197"/>
                          </a:lnTo>
                          <a:lnTo>
                            <a:pt x="271834" y="371296"/>
                          </a:lnTo>
                          <a:lnTo>
                            <a:pt x="270934" y="370396"/>
                          </a:lnTo>
                          <a:lnTo>
                            <a:pt x="265533" y="370846"/>
                          </a:lnTo>
                          <a:lnTo>
                            <a:pt x="264633" y="370846"/>
                          </a:lnTo>
                          <a:lnTo>
                            <a:pt x="264183" y="370846"/>
                          </a:lnTo>
                          <a:lnTo>
                            <a:pt x="262833" y="369946"/>
                          </a:lnTo>
                          <a:lnTo>
                            <a:pt x="259232" y="370396"/>
                          </a:lnTo>
                          <a:lnTo>
                            <a:pt x="256532" y="370396"/>
                          </a:lnTo>
                          <a:lnTo>
                            <a:pt x="247531" y="368596"/>
                          </a:lnTo>
                          <a:lnTo>
                            <a:pt x="245281" y="367696"/>
                          </a:lnTo>
                          <a:lnTo>
                            <a:pt x="244831" y="367246"/>
                          </a:lnTo>
                          <a:lnTo>
                            <a:pt x="243480" y="366796"/>
                          </a:lnTo>
                          <a:lnTo>
                            <a:pt x="239430" y="366346"/>
                          </a:lnTo>
                          <a:lnTo>
                            <a:pt x="238980" y="366346"/>
                          </a:lnTo>
                          <a:lnTo>
                            <a:pt x="238530" y="365446"/>
                          </a:lnTo>
                          <a:lnTo>
                            <a:pt x="237630" y="364996"/>
                          </a:lnTo>
                          <a:lnTo>
                            <a:pt x="235379" y="364996"/>
                          </a:lnTo>
                          <a:lnTo>
                            <a:pt x="234029" y="364545"/>
                          </a:lnTo>
                          <a:lnTo>
                            <a:pt x="233579" y="363646"/>
                          </a:lnTo>
                          <a:lnTo>
                            <a:pt x="233579" y="362295"/>
                          </a:lnTo>
                          <a:lnTo>
                            <a:pt x="234029" y="360945"/>
                          </a:lnTo>
                          <a:lnTo>
                            <a:pt x="234029" y="360045"/>
                          </a:lnTo>
                          <a:lnTo>
                            <a:pt x="233579" y="359145"/>
                          </a:lnTo>
                          <a:lnTo>
                            <a:pt x="232679" y="358245"/>
                          </a:lnTo>
                          <a:lnTo>
                            <a:pt x="231329" y="358245"/>
                          </a:lnTo>
                          <a:lnTo>
                            <a:pt x="229079" y="359145"/>
                          </a:lnTo>
                          <a:lnTo>
                            <a:pt x="227278" y="359595"/>
                          </a:lnTo>
                          <a:lnTo>
                            <a:pt x="226828" y="360045"/>
                          </a:lnTo>
                          <a:lnTo>
                            <a:pt x="226378" y="360495"/>
                          </a:lnTo>
                          <a:lnTo>
                            <a:pt x="225928" y="360495"/>
                          </a:lnTo>
                          <a:lnTo>
                            <a:pt x="224578" y="358695"/>
                          </a:lnTo>
                          <a:lnTo>
                            <a:pt x="224578" y="357795"/>
                          </a:lnTo>
                          <a:lnTo>
                            <a:pt x="225028" y="356895"/>
                          </a:lnTo>
                          <a:lnTo>
                            <a:pt x="226828" y="354644"/>
                          </a:lnTo>
                          <a:lnTo>
                            <a:pt x="227278" y="353294"/>
                          </a:lnTo>
                          <a:lnTo>
                            <a:pt x="226828" y="352394"/>
                          </a:lnTo>
                          <a:lnTo>
                            <a:pt x="226378" y="352394"/>
                          </a:lnTo>
                          <a:lnTo>
                            <a:pt x="225928" y="353294"/>
                          </a:lnTo>
                          <a:lnTo>
                            <a:pt x="225478" y="353744"/>
                          </a:lnTo>
                          <a:lnTo>
                            <a:pt x="225028" y="353744"/>
                          </a:lnTo>
                          <a:lnTo>
                            <a:pt x="224578" y="352844"/>
                          </a:lnTo>
                          <a:lnTo>
                            <a:pt x="224578" y="350594"/>
                          </a:lnTo>
                          <a:lnTo>
                            <a:pt x="225028" y="349694"/>
                          </a:lnTo>
                          <a:lnTo>
                            <a:pt x="225928" y="349244"/>
                          </a:lnTo>
                          <a:lnTo>
                            <a:pt x="227728" y="349244"/>
                          </a:lnTo>
                          <a:lnTo>
                            <a:pt x="228178" y="348794"/>
                          </a:lnTo>
                          <a:lnTo>
                            <a:pt x="228629" y="347894"/>
                          </a:lnTo>
                          <a:lnTo>
                            <a:pt x="228178" y="346993"/>
                          </a:lnTo>
                          <a:lnTo>
                            <a:pt x="227278" y="346093"/>
                          </a:lnTo>
                          <a:lnTo>
                            <a:pt x="225928" y="345643"/>
                          </a:lnTo>
                          <a:lnTo>
                            <a:pt x="224578" y="345643"/>
                          </a:lnTo>
                          <a:lnTo>
                            <a:pt x="223678" y="346093"/>
                          </a:lnTo>
                          <a:lnTo>
                            <a:pt x="223228" y="346543"/>
                          </a:lnTo>
                          <a:lnTo>
                            <a:pt x="222778" y="346543"/>
                          </a:lnTo>
                          <a:lnTo>
                            <a:pt x="222328" y="345643"/>
                          </a:lnTo>
                          <a:lnTo>
                            <a:pt x="220528" y="344743"/>
                          </a:lnTo>
                          <a:lnTo>
                            <a:pt x="220077" y="343843"/>
                          </a:lnTo>
                          <a:lnTo>
                            <a:pt x="220077" y="342943"/>
                          </a:lnTo>
                          <a:lnTo>
                            <a:pt x="221428" y="340243"/>
                          </a:lnTo>
                          <a:lnTo>
                            <a:pt x="221428" y="339342"/>
                          </a:lnTo>
                          <a:lnTo>
                            <a:pt x="221878" y="337992"/>
                          </a:lnTo>
                          <a:lnTo>
                            <a:pt x="223228" y="335742"/>
                          </a:lnTo>
                          <a:lnTo>
                            <a:pt x="223678" y="333942"/>
                          </a:lnTo>
                          <a:lnTo>
                            <a:pt x="223228" y="333042"/>
                          </a:lnTo>
                          <a:lnTo>
                            <a:pt x="222778" y="332592"/>
                          </a:lnTo>
                          <a:lnTo>
                            <a:pt x="222328" y="332592"/>
                          </a:lnTo>
                          <a:lnTo>
                            <a:pt x="221878" y="332142"/>
                          </a:lnTo>
                          <a:lnTo>
                            <a:pt x="221428" y="330791"/>
                          </a:lnTo>
                          <a:lnTo>
                            <a:pt x="220077" y="329891"/>
                          </a:lnTo>
                          <a:lnTo>
                            <a:pt x="218277" y="328991"/>
                          </a:lnTo>
                          <a:lnTo>
                            <a:pt x="216477" y="327641"/>
                          </a:lnTo>
                          <a:lnTo>
                            <a:pt x="215577" y="323590"/>
                          </a:lnTo>
                          <a:lnTo>
                            <a:pt x="215127" y="322240"/>
                          </a:lnTo>
                          <a:lnTo>
                            <a:pt x="215577" y="321340"/>
                          </a:lnTo>
                          <a:lnTo>
                            <a:pt x="216027" y="320440"/>
                          </a:lnTo>
                          <a:lnTo>
                            <a:pt x="216027" y="319990"/>
                          </a:lnTo>
                          <a:lnTo>
                            <a:pt x="216477" y="319090"/>
                          </a:lnTo>
                          <a:lnTo>
                            <a:pt x="217377" y="317740"/>
                          </a:lnTo>
                          <a:lnTo>
                            <a:pt x="217377" y="316840"/>
                          </a:lnTo>
                          <a:lnTo>
                            <a:pt x="217377" y="315939"/>
                          </a:lnTo>
                          <a:lnTo>
                            <a:pt x="218277" y="314589"/>
                          </a:lnTo>
                          <a:lnTo>
                            <a:pt x="218727" y="313689"/>
                          </a:lnTo>
                          <a:lnTo>
                            <a:pt x="218727" y="312789"/>
                          </a:lnTo>
                          <a:lnTo>
                            <a:pt x="216477" y="312339"/>
                          </a:lnTo>
                          <a:lnTo>
                            <a:pt x="211977" y="312339"/>
                          </a:lnTo>
                          <a:lnTo>
                            <a:pt x="208376" y="312789"/>
                          </a:lnTo>
                          <a:lnTo>
                            <a:pt x="205676" y="313239"/>
                          </a:lnTo>
                          <a:lnTo>
                            <a:pt x="202525" y="313239"/>
                          </a:lnTo>
                          <a:lnTo>
                            <a:pt x="198925" y="312339"/>
                          </a:lnTo>
                          <a:lnTo>
                            <a:pt x="196225" y="310539"/>
                          </a:lnTo>
                          <a:lnTo>
                            <a:pt x="193974" y="307839"/>
                          </a:lnTo>
                          <a:lnTo>
                            <a:pt x="192174" y="305138"/>
                          </a:lnTo>
                          <a:lnTo>
                            <a:pt x="190824" y="301988"/>
                          </a:lnTo>
                          <a:lnTo>
                            <a:pt x="190374" y="299287"/>
                          </a:lnTo>
                          <a:lnTo>
                            <a:pt x="190374" y="298837"/>
                          </a:lnTo>
                          <a:lnTo>
                            <a:pt x="189924" y="298387"/>
                          </a:lnTo>
                          <a:lnTo>
                            <a:pt x="189474" y="297037"/>
                          </a:lnTo>
                          <a:lnTo>
                            <a:pt x="189024" y="294337"/>
                          </a:lnTo>
                          <a:lnTo>
                            <a:pt x="188574" y="292087"/>
                          </a:lnTo>
                          <a:lnTo>
                            <a:pt x="188123" y="291186"/>
                          </a:lnTo>
                          <a:lnTo>
                            <a:pt x="187673" y="290736"/>
                          </a:lnTo>
                          <a:lnTo>
                            <a:pt x="186773" y="288936"/>
                          </a:lnTo>
                          <a:lnTo>
                            <a:pt x="186323" y="288036"/>
                          </a:lnTo>
                          <a:lnTo>
                            <a:pt x="186323" y="287586"/>
                          </a:lnTo>
                          <a:lnTo>
                            <a:pt x="185423" y="286686"/>
                          </a:lnTo>
                          <a:lnTo>
                            <a:pt x="184973" y="286686"/>
                          </a:lnTo>
                          <a:lnTo>
                            <a:pt x="182273" y="287136"/>
                          </a:lnTo>
                          <a:lnTo>
                            <a:pt x="181373" y="286236"/>
                          </a:lnTo>
                          <a:lnTo>
                            <a:pt x="180923" y="285786"/>
                          </a:lnTo>
                          <a:lnTo>
                            <a:pt x="180023" y="285336"/>
                          </a:lnTo>
                          <a:lnTo>
                            <a:pt x="178672" y="285786"/>
                          </a:lnTo>
                          <a:lnTo>
                            <a:pt x="177322" y="286686"/>
                          </a:lnTo>
                          <a:lnTo>
                            <a:pt x="175972" y="286686"/>
                          </a:lnTo>
                          <a:lnTo>
                            <a:pt x="173272" y="286236"/>
                          </a:lnTo>
                          <a:lnTo>
                            <a:pt x="171471" y="286686"/>
                          </a:lnTo>
                          <a:lnTo>
                            <a:pt x="168321" y="286686"/>
                          </a:lnTo>
                          <a:lnTo>
                            <a:pt x="166521" y="285786"/>
                          </a:lnTo>
                          <a:lnTo>
                            <a:pt x="164271" y="284436"/>
                          </a:lnTo>
                          <a:lnTo>
                            <a:pt x="162920" y="283986"/>
                          </a:lnTo>
                          <a:lnTo>
                            <a:pt x="161570" y="283986"/>
                          </a:lnTo>
                          <a:lnTo>
                            <a:pt x="160670" y="283535"/>
                          </a:lnTo>
                          <a:lnTo>
                            <a:pt x="160220" y="282635"/>
                          </a:lnTo>
                          <a:lnTo>
                            <a:pt x="159770" y="282635"/>
                          </a:lnTo>
                          <a:lnTo>
                            <a:pt x="157970" y="281735"/>
                          </a:lnTo>
                          <a:lnTo>
                            <a:pt x="156169" y="281285"/>
                          </a:lnTo>
                          <a:lnTo>
                            <a:pt x="151669" y="279935"/>
                          </a:lnTo>
                          <a:lnTo>
                            <a:pt x="150319" y="278585"/>
                          </a:lnTo>
                          <a:lnTo>
                            <a:pt x="149419" y="278585"/>
                          </a:lnTo>
                          <a:lnTo>
                            <a:pt x="148068" y="278585"/>
                          </a:lnTo>
                          <a:lnTo>
                            <a:pt x="147168" y="279035"/>
                          </a:lnTo>
                          <a:lnTo>
                            <a:pt x="146268" y="279035"/>
                          </a:lnTo>
                          <a:lnTo>
                            <a:pt x="145368" y="278585"/>
                          </a:lnTo>
                          <a:lnTo>
                            <a:pt x="144918" y="279035"/>
                          </a:lnTo>
                          <a:lnTo>
                            <a:pt x="145368" y="279935"/>
                          </a:lnTo>
                          <a:lnTo>
                            <a:pt x="145368" y="280835"/>
                          </a:lnTo>
                          <a:lnTo>
                            <a:pt x="145818" y="282635"/>
                          </a:lnTo>
                          <a:lnTo>
                            <a:pt x="147618" y="283986"/>
                          </a:lnTo>
                          <a:lnTo>
                            <a:pt x="148519" y="285336"/>
                          </a:lnTo>
                          <a:lnTo>
                            <a:pt x="148519" y="286686"/>
                          </a:lnTo>
                          <a:lnTo>
                            <a:pt x="148068" y="288486"/>
                          </a:lnTo>
                          <a:lnTo>
                            <a:pt x="146268" y="291186"/>
                          </a:lnTo>
                          <a:lnTo>
                            <a:pt x="145818" y="291186"/>
                          </a:lnTo>
                          <a:lnTo>
                            <a:pt x="144018" y="291637"/>
                          </a:lnTo>
                          <a:lnTo>
                            <a:pt x="143118" y="292536"/>
                          </a:lnTo>
                          <a:lnTo>
                            <a:pt x="142668" y="292536"/>
                          </a:lnTo>
                          <a:lnTo>
                            <a:pt x="142218" y="292087"/>
                          </a:lnTo>
                          <a:lnTo>
                            <a:pt x="141768" y="292536"/>
                          </a:lnTo>
                          <a:lnTo>
                            <a:pt x="140868" y="293437"/>
                          </a:lnTo>
                          <a:lnTo>
                            <a:pt x="140417" y="294337"/>
                          </a:lnTo>
                          <a:lnTo>
                            <a:pt x="140417" y="294787"/>
                          </a:lnTo>
                          <a:lnTo>
                            <a:pt x="139968" y="295237"/>
                          </a:lnTo>
                          <a:lnTo>
                            <a:pt x="139067" y="296137"/>
                          </a:lnTo>
                          <a:lnTo>
                            <a:pt x="138617" y="296137"/>
                          </a:lnTo>
                          <a:lnTo>
                            <a:pt x="138617" y="295237"/>
                          </a:lnTo>
                          <a:lnTo>
                            <a:pt x="138167" y="294787"/>
                          </a:lnTo>
                          <a:lnTo>
                            <a:pt x="138617" y="293437"/>
                          </a:lnTo>
                          <a:lnTo>
                            <a:pt x="142218" y="289386"/>
                          </a:lnTo>
                          <a:lnTo>
                            <a:pt x="143568" y="287586"/>
                          </a:lnTo>
                          <a:lnTo>
                            <a:pt x="144018" y="286686"/>
                          </a:lnTo>
                          <a:lnTo>
                            <a:pt x="144018" y="285336"/>
                          </a:lnTo>
                          <a:lnTo>
                            <a:pt x="143568" y="283986"/>
                          </a:lnTo>
                          <a:lnTo>
                            <a:pt x="142668" y="283085"/>
                          </a:lnTo>
                          <a:lnTo>
                            <a:pt x="141318" y="283085"/>
                          </a:lnTo>
                          <a:lnTo>
                            <a:pt x="140417" y="283535"/>
                          </a:lnTo>
                          <a:lnTo>
                            <a:pt x="139517" y="284886"/>
                          </a:lnTo>
                          <a:lnTo>
                            <a:pt x="139517" y="285786"/>
                          </a:lnTo>
                          <a:lnTo>
                            <a:pt x="139517" y="288036"/>
                          </a:lnTo>
                          <a:lnTo>
                            <a:pt x="139517" y="288936"/>
                          </a:lnTo>
                          <a:lnTo>
                            <a:pt x="139067" y="289386"/>
                          </a:lnTo>
                          <a:lnTo>
                            <a:pt x="138167" y="289836"/>
                          </a:lnTo>
                          <a:lnTo>
                            <a:pt x="137717" y="290736"/>
                          </a:lnTo>
                          <a:lnTo>
                            <a:pt x="137717" y="292536"/>
                          </a:lnTo>
                          <a:lnTo>
                            <a:pt x="137267" y="293437"/>
                          </a:lnTo>
                          <a:lnTo>
                            <a:pt x="136817" y="293437"/>
                          </a:lnTo>
                          <a:lnTo>
                            <a:pt x="136367" y="294337"/>
                          </a:lnTo>
                          <a:lnTo>
                            <a:pt x="135917" y="296137"/>
                          </a:lnTo>
                          <a:lnTo>
                            <a:pt x="135467" y="297037"/>
                          </a:lnTo>
                          <a:lnTo>
                            <a:pt x="134567" y="297487"/>
                          </a:lnTo>
                          <a:lnTo>
                            <a:pt x="132317" y="298387"/>
                          </a:lnTo>
                          <a:lnTo>
                            <a:pt x="131416" y="298387"/>
                          </a:lnTo>
                          <a:lnTo>
                            <a:pt x="131866" y="297487"/>
                          </a:lnTo>
                          <a:lnTo>
                            <a:pt x="132317" y="297037"/>
                          </a:lnTo>
                          <a:lnTo>
                            <a:pt x="132767" y="297037"/>
                          </a:lnTo>
                          <a:lnTo>
                            <a:pt x="134117" y="292987"/>
                          </a:lnTo>
                          <a:lnTo>
                            <a:pt x="135467" y="290736"/>
                          </a:lnTo>
                          <a:lnTo>
                            <a:pt x="135017" y="290286"/>
                          </a:lnTo>
                          <a:lnTo>
                            <a:pt x="128266" y="292987"/>
                          </a:lnTo>
                          <a:lnTo>
                            <a:pt x="126016" y="294337"/>
                          </a:lnTo>
                          <a:lnTo>
                            <a:pt x="125566" y="295237"/>
                          </a:lnTo>
                          <a:lnTo>
                            <a:pt x="125566" y="296137"/>
                          </a:lnTo>
                          <a:lnTo>
                            <a:pt x="126016" y="297487"/>
                          </a:lnTo>
                          <a:lnTo>
                            <a:pt x="126016" y="298387"/>
                          </a:lnTo>
                          <a:lnTo>
                            <a:pt x="125566" y="299287"/>
                          </a:lnTo>
                          <a:lnTo>
                            <a:pt x="124666" y="301538"/>
                          </a:lnTo>
                          <a:lnTo>
                            <a:pt x="124216" y="302888"/>
                          </a:lnTo>
                          <a:lnTo>
                            <a:pt x="123765" y="304238"/>
                          </a:lnTo>
                          <a:lnTo>
                            <a:pt x="121965" y="305138"/>
                          </a:lnTo>
                          <a:lnTo>
                            <a:pt x="121515" y="305138"/>
                          </a:lnTo>
                          <a:lnTo>
                            <a:pt x="119265" y="307839"/>
                          </a:lnTo>
                          <a:lnTo>
                            <a:pt x="118815" y="308288"/>
                          </a:lnTo>
                          <a:lnTo>
                            <a:pt x="114764" y="307839"/>
                          </a:lnTo>
                          <a:lnTo>
                            <a:pt x="112064" y="308288"/>
                          </a:lnTo>
                          <a:lnTo>
                            <a:pt x="110264" y="307839"/>
                          </a:lnTo>
                          <a:lnTo>
                            <a:pt x="109364" y="306038"/>
                          </a:lnTo>
                          <a:lnTo>
                            <a:pt x="108464" y="304688"/>
                          </a:lnTo>
                          <a:lnTo>
                            <a:pt x="103513" y="305138"/>
                          </a:lnTo>
                          <a:lnTo>
                            <a:pt x="97212" y="304688"/>
                          </a:lnTo>
                          <a:lnTo>
                            <a:pt x="94512" y="305138"/>
                          </a:lnTo>
                          <a:lnTo>
                            <a:pt x="93612" y="304238"/>
                          </a:lnTo>
                          <a:lnTo>
                            <a:pt x="92712" y="301988"/>
                          </a:lnTo>
                          <a:lnTo>
                            <a:pt x="90911" y="301538"/>
                          </a:lnTo>
                          <a:lnTo>
                            <a:pt x="88211" y="301988"/>
                          </a:lnTo>
                          <a:lnTo>
                            <a:pt x="84611" y="304688"/>
                          </a:lnTo>
                          <a:lnTo>
                            <a:pt x="81010" y="306038"/>
                          </a:lnTo>
                          <a:lnTo>
                            <a:pt x="78310" y="306038"/>
                          </a:lnTo>
                          <a:lnTo>
                            <a:pt x="75609" y="304688"/>
                          </a:lnTo>
                          <a:lnTo>
                            <a:pt x="71109" y="301538"/>
                          </a:lnTo>
                          <a:lnTo>
                            <a:pt x="67959" y="298387"/>
                          </a:lnTo>
                          <a:lnTo>
                            <a:pt x="64358" y="297037"/>
                          </a:lnTo>
                          <a:lnTo>
                            <a:pt x="61658" y="297487"/>
                          </a:lnTo>
                          <a:lnTo>
                            <a:pt x="60758" y="299287"/>
                          </a:lnTo>
                          <a:lnTo>
                            <a:pt x="59407" y="299287"/>
                          </a:lnTo>
                          <a:lnTo>
                            <a:pt x="58507" y="296587"/>
                          </a:lnTo>
                          <a:lnTo>
                            <a:pt x="57607" y="294337"/>
                          </a:lnTo>
                          <a:lnTo>
                            <a:pt x="55807" y="293437"/>
                          </a:lnTo>
                          <a:lnTo>
                            <a:pt x="52657" y="291186"/>
                          </a:lnTo>
                          <a:lnTo>
                            <a:pt x="50406" y="289836"/>
                          </a:lnTo>
                          <a:lnTo>
                            <a:pt x="46806" y="288486"/>
                          </a:lnTo>
                          <a:lnTo>
                            <a:pt x="45456" y="288036"/>
                          </a:lnTo>
                          <a:lnTo>
                            <a:pt x="43205" y="288036"/>
                          </a:lnTo>
                          <a:lnTo>
                            <a:pt x="40955" y="288036"/>
                          </a:lnTo>
                          <a:lnTo>
                            <a:pt x="38255" y="288486"/>
                          </a:lnTo>
                          <a:lnTo>
                            <a:pt x="38255" y="288486"/>
                          </a:lnTo>
                          <a:lnTo>
                            <a:pt x="38255" y="288486"/>
                          </a:lnTo>
                          <a:lnTo>
                            <a:pt x="38255" y="288486"/>
                          </a:lnTo>
                          <a:lnTo>
                            <a:pt x="36455" y="290286"/>
                          </a:lnTo>
                          <a:lnTo>
                            <a:pt x="34204" y="291186"/>
                          </a:lnTo>
                          <a:lnTo>
                            <a:pt x="31054" y="291637"/>
                          </a:lnTo>
                          <a:lnTo>
                            <a:pt x="28804" y="290736"/>
                          </a:lnTo>
                          <a:lnTo>
                            <a:pt x="27903" y="288936"/>
                          </a:lnTo>
                          <a:lnTo>
                            <a:pt x="23403" y="287136"/>
                          </a:lnTo>
                          <a:lnTo>
                            <a:pt x="15752" y="285786"/>
                          </a:lnTo>
                          <a:lnTo>
                            <a:pt x="11251" y="284436"/>
                          </a:lnTo>
                          <a:lnTo>
                            <a:pt x="9901" y="283535"/>
                          </a:lnTo>
                          <a:lnTo>
                            <a:pt x="9451" y="282635"/>
                          </a:lnTo>
                          <a:lnTo>
                            <a:pt x="9451" y="280835"/>
                          </a:lnTo>
                          <a:lnTo>
                            <a:pt x="9451" y="280835"/>
                          </a:lnTo>
                          <a:lnTo>
                            <a:pt x="7651" y="276335"/>
                          </a:lnTo>
                          <a:lnTo>
                            <a:pt x="6751" y="272734"/>
                          </a:lnTo>
                          <a:lnTo>
                            <a:pt x="6301" y="268234"/>
                          </a:lnTo>
                          <a:lnTo>
                            <a:pt x="6301" y="266883"/>
                          </a:lnTo>
                          <a:lnTo>
                            <a:pt x="5851" y="266433"/>
                          </a:lnTo>
                          <a:lnTo>
                            <a:pt x="4501" y="265533"/>
                          </a:lnTo>
                          <a:lnTo>
                            <a:pt x="0" y="265083"/>
                          </a:lnTo>
                          <a:lnTo>
                            <a:pt x="0" y="251132"/>
                          </a:lnTo>
                          <a:lnTo>
                            <a:pt x="0" y="236730"/>
                          </a:lnTo>
                          <a:lnTo>
                            <a:pt x="0" y="222328"/>
                          </a:lnTo>
                          <a:lnTo>
                            <a:pt x="0" y="207926"/>
                          </a:lnTo>
                          <a:lnTo>
                            <a:pt x="0" y="193524"/>
                          </a:lnTo>
                          <a:lnTo>
                            <a:pt x="0" y="178672"/>
                          </a:lnTo>
                          <a:lnTo>
                            <a:pt x="0" y="163820"/>
                          </a:lnTo>
                          <a:lnTo>
                            <a:pt x="0" y="148969"/>
                          </a:lnTo>
                          <a:lnTo>
                            <a:pt x="8101" y="140868"/>
                          </a:lnTo>
                          <a:lnTo>
                            <a:pt x="16202" y="132767"/>
                          </a:lnTo>
                          <a:lnTo>
                            <a:pt x="24303" y="124666"/>
                          </a:lnTo>
                          <a:lnTo>
                            <a:pt x="32404" y="116565"/>
                          </a:lnTo>
                          <a:lnTo>
                            <a:pt x="37805" y="109814"/>
                          </a:lnTo>
                          <a:lnTo>
                            <a:pt x="43205" y="103063"/>
                          </a:lnTo>
                          <a:lnTo>
                            <a:pt x="48606" y="96312"/>
                          </a:lnTo>
                          <a:lnTo>
                            <a:pt x="54007" y="89561"/>
                          </a:lnTo>
                          <a:lnTo>
                            <a:pt x="60308" y="81910"/>
                          </a:lnTo>
                          <a:lnTo>
                            <a:pt x="66608" y="74259"/>
                          </a:lnTo>
                          <a:lnTo>
                            <a:pt x="72909" y="66608"/>
                          </a:lnTo>
                          <a:lnTo>
                            <a:pt x="79210" y="58957"/>
                          </a:lnTo>
                          <a:lnTo>
                            <a:pt x="86411" y="50406"/>
                          </a:lnTo>
                          <a:lnTo>
                            <a:pt x="93612" y="41855"/>
                          </a:lnTo>
                          <a:lnTo>
                            <a:pt x="100813" y="33304"/>
                          </a:lnTo>
                          <a:lnTo>
                            <a:pt x="108014" y="24753"/>
                          </a:lnTo>
                          <a:lnTo>
                            <a:pt x="113414" y="18452"/>
                          </a:lnTo>
                          <a:lnTo>
                            <a:pt x="118815" y="12151"/>
                          </a:lnTo>
                          <a:lnTo>
                            <a:pt x="124216" y="5851"/>
                          </a:lnTo>
                          <a:lnTo>
                            <a:pt x="129616" y="0"/>
                          </a:lnTo>
                          <a:lnTo>
                            <a:pt x="132317" y="1350"/>
                          </a:lnTo>
                          <a:lnTo>
                            <a:pt x="135467" y="4951"/>
                          </a:lnTo>
                          <a:lnTo>
                            <a:pt x="140417" y="9451"/>
                          </a:lnTo>
                          <a:lnTo>
                            <a:pt x="144018" y="12151"/>
                          </a:lnTo>
                          <a:lnTo>
                            <a:pt x="148068" y="14852"/>
                          </a:lnTo>
                          <a:lnTo>
                            <a:pt x="152119" y="19802"/>
                          </a:lnTo>
                          <a:lnTo>
                            <a:pt x="158870" y="30604"/>
                          </a:lnTo>
                          <a:lnTo>
                            <a:pt x="160670" y="31954"/>
                          </a:lnTo>
                          <a:lnTo>
                            <a:pt x="164721" y="33754"/>
                          </a:lnTo>
                          <a:lnTo>
                            <a:pt x="172371" y="36005"/>
                          </a:lnTo>
                          <a:lnTo>
                            <a:pt x="184073" y="41405"/>
                          </a:lnTo>
                          <a:lnTo>
                            <a:pt x="189024" y="43655"/>
                          </a:lnTo>
                          <a:lnTo>
                            <a:pt x="192174" y="44556"/>
                          </a:lnTo>
                          <a:lnTo>
                            <a:pt x="195324" y="45906"/>
                          </a:lnTo>
                          <a:lnTo>
                            <a:pt x="198475" y="48156"/>
                          </a:lnTo>
                          <a:lnTo>
                            <a:pt x="201175" y="50406"/>
                          </a:lnTo>
                          <a:lnTo>
                            <a:pt x="202975" y="52657"/>
                          </a:lnTo>
                          <a:lnTo>
                            <a:pt x="204326" y="54457"/>
                          </a:lnTo>
                          <a:lnTo>
                            <a:pt x="207026" y="56257"/>
                          </a:lnTo>
                          <a:lnTo>
                            <a:pt x="208376" y="57607"/>
                          </a:lnTo>
                          <a:lnTo>
                            <a:pt x="208376" y="59407"/>
                          </a:lnTo>
                          <a:lnTo>
                            <a:pt x="205226" y="67058"/>
                          </a:lnTo>
                          <a:lnTo>
                            <a:pt x="205226" y="67508"/>
                          </a:lnTo>
                          <a:lnTo>
                            <a:pt x="208376" y="62108"/>
                          </a:lnTo>
                          <a:lnTo>
                            <a:pt x="210176" y="60758"/>
                          </a:lnTo>
                          <a:lnTo>
                            <a:pt x="211526" y="59857"/>
                          </a:lnTo>
                          <a:lnTo>
                            <a:pt x="214677" y="59857"/>
                          </a:lnTo>
                          <a:lnTo>
                            <a:pt x="219177" y="60758"/>
                          </a:lnTo>
                          <a:lnTo>
                            <a:pt x="223228" y="60758"/>
                          </a:lnTo>
                          <a:lnTo>
                            <a:pt x="226828" y="59857"/>
                          </a:lnTo>
                          <a:lnTo>
                            <a:pt x="229529" y="59407"/>
                          </a:lnTo>
                          <a:lnTo>
                            <a:pt x="231779" y="59407"/>
                          </a:lnTo>
                          <a:lnTo>
                            <a:pt x="233579" y="58957"/>
                          </a:lnTo>
                          <a:lnTo>
                            <a:pt x="234479" y="58507"/>
                          </a:lnTo>
                          <a:lnTo>
                            <a:pt x="235829" y="58507"/>
                          </a:lnTo>
                          <a:lnTo>
                            <a:pt x="240780" y="60308"/>
                          </a:lnTo>
                          <a:lnTo>
                            <a:pt x="243030" y="60308"/>
                          </a:lnTo>
                          <a:lnTo>
                            <a:pt x="250681" y="62108"/>
                          </a:lnTo>
                          <a:lnTo>
                            <a:pt x="255632" y="61658"/>
                          </a:lnTo>
                          <a:lnTo>
                            <a:pt x="256532" y="62108"/>
                          </a:lnTo>
                          <a:lnTo>
                            <a:pt x="258332" y="64358"/>
                          </a:lnTo>
                          <a:lnTo>
                            <a:pt x="259682" y="64358"/>
                          </a:lnTo>
                          <a:lnTo>
                            <a:pt x="261933" y="63908"/>
                          </a:lnTo>
                          <a:lnTo>
                            <a:pt x="264183" y="64358"/>
                          </a:lnTo>
                          <a:lnTo>
                            <a:pt x="268234" y="67508"/>
                          </a:lnTo>
                          <a:lnTo>
                            <a:pt x="270034" y="70209"/>
                          </a:lnTo>
                          <a:lnTo>
                            <a:pt x="271834" y="75609"/>
                          </a:lnTo>
                          <a:lnTo>
                            <a:pt x="271834" y="76960"/>
                          </a:lnTo>
                          <a:lnTo>
                            <a:pt x="268684" y="89111"/>
                          </a:lnTo>
                          <a:lnTo>
                            <a:pt x="267783" y="93612"/>
                          </a:lnTo>
                          <a:lnTo>
                            <a:pt x="267783" y="97662"/>
                          </a:lnTo>
                          <a:lnTo>
                            <a:pt x="268234" y="99912"/>
                          </a:lnTo>
                          <a:lnTo>
                            <a:pt x="270934" y="103963"/>
                          </a:lnTo>
                          <a:lnTo>
                            <a:pt x="271384" y="104863"/>
                          </a:lnTo>
                          <a:lnTo>
                            <a:pt x="273184" y="110714"/>
                          </a:lnTo>
                          <a:lnTo>
                            <a:pt x="273634" y="112964"/>
                          </a:lnTo>
                          <a:lnTo>
                            <a:pt x="273634" y="115664"/>
                          </a:lnTo>
                          <a:lnTo>
                            <a:pt x="272734" y="120165"/>
                          </a:lnTo>
                          <a:lnTo>
                            <a:pt x="272734" y="123765"/>
                          </a:lnTo>
                          <a:lnTo>
                            <a:pt x="273634" y="129166"/>
                          </a:lnTo>
                          <a:lnTo>
                            <a:pt x="273184" y="132767"/>
                          </a:lnTo>
                          <a:lnTo>
                            <a:pt x="271834" y="134567"/>
                          </a:lnTo>
                          <a:lnTo>
                            <a:pt x="270934" y="136367"/>
                          </a:lnTo>
                          <a:lnTo>
                            <a:pt x="270484" y="139517"/>
                          </a:lnTo>
                          <a:lnTo>
                            <a:pt x="270484" y="140868"/>
                          </a:lnTo>
                          <a:lnTo>
                            <a:pt x="270934" y="143118"/>
                          </a:lnTo>
                          <a:lnTo>
                            <a:pt x="272284" y="144468"/>
                          </a:lnTo>
                          <a:lnTo>
                            <a:pt x="274084" y="145818"/>
                          </a:lnTo>
                          <a:lnTo>
                            <a:pt x="275884" y="148069"/>
                          </a:lnTo>
                          <a:lnTo>
                            <a:pt x="279485" y="153469"/>
                          </a:lnTo>
                          <a:lnTo>
                            <a:pt x="282185" y="156620"/>
                          </a:lnTo>
                          <a:lnTo>
                            <a:pt x="285336" y="161120"/>
                          </a:lnTo>
                          <a:lnTo>
                            <a:pt x="285786" y="163370"/>
                          </a:lnTo>
                          <a:lnTo>
                            <a:pt x="284886" y="164721"/>
                          </a:lnTo>
                          <a:lnTo>
                            <a:pt x="283986" y="165621"/>
                          </a:lnTo>
                          <a:lnTo>
                            <a:pt x="281735" y="166971"/>
                          </a:lnTo>
                          <a:lnTo>
                            <a:pt x="280835" y="167871"/>
                          </a:lnTo>
                          <a:lnTo>
                            <a:pt x="281285" y="168321"/>
                          </a:lnTo>
                          <a:lnTo>
                            <a:pt x="284886" y="167421"/>
                          </a:lnTo>
                          <a:lnTo>
                            <a:pt x="287136" y="167421"/>
                          </a:lnTo>
                          <a:lnTo>
                            <a:pt x="288936" y="168321"/>
                          </a:lnTo>
                          <a:lnTo>
                            <a:pt x="290286" y="170571"/>
                          </a:lnTo>
                          <a:lnTo>
                            <a:pt x="292537" y="172372"/>
                          </a:lnTo>
                          <a:lnTo>
                            <a:pt x="295687" y="173722"/>
                          </a:lnTo>
                          <a:lnTo>
                            <a:pt x="298837" y="176422"/>
                          </a:lnTo>
                          <a:lnTo>
                            <a:pt x="304238" y="182273"/>
                          </a:lnTo>
                          <a:lnTo>
                            <a:pt x="305138" y="183623"/>
                          </a:lnTo>
                          <a:lnTo>
                            <a:pt x="306488" y="186773"/>
                          </a:lnTo>
                          <a:lnTo>
                            <a:pt x="308289" y="191724"/>
                          </a:lnTo>
                          <a:lnTo>
                            <a:pt x="309189" y="194874"/>
                          </a:lnTo>
                          <a:lnTo>
                            <a:pt x="309189" y="196225"/>
                          </a:lnTo>
                          <a:lnTo>
                            <a:pt x="308289" y="197575"/>
                          </a:lnTo>
                          <a:lnTo>
                            <a:pt x="304688" y="200275"/>
                          </a:lnTo>
                          <a:lnTo>
                            <a:pt x="301088" y="204776"/>
                          </a:lnTo>
                          <a:lnTo>
                            <a:pt x="302438" y="204326"/>
                          </a:lnTo>
                          <a:lnTo>
                            <a:pt x="305138" y="202525"/>
                          </a:lnTo>
                          <a:lnTo>
                            <a:pt x="309189" y="198475"/>
                          </a:lnTo>
                          <a:lnTo>
                            <a:pt x="311439" y="197575"/>
                          </a:lnTo>
                          <a:lnTo>
                            <a:pt x="313689" y="198025"/>
                          </a:lnTo>
                          <a:lnTo>
                            <a:pt x="317290" y="199375"/>
                          </a:lnTo>
                          <a:lnTo>
                            <a:pt x="320440" y="201175"/>
                          </a:lnTo>
                          <a:lnTo>
                            <a:pt x="323140" y="203425"/>
                          </a:lnTo>
                          <a:lnTo>
                            <a:pt x="327191" y="208826"/>
                          </a:lnTo>
                          <a:lnTo>
                            <a:pt x="332141" y="216027"/>
                          </a:lnTo>
                          <a:close/>
                          <a:moveTo>
                            <a:pt x="332141" y="214227"/>
                          </a:moveTo>
                          <a:lnTo>
                            <a:pt x="329891" y="211526"/>
                          </a:lnTo>
                          <a:lnTo>
                            <a:pt x="328091" y="209276"/>
                          </a:lnTo>
                          <a:lnTo>
                            <a:pt x="327641" y="208376"/>
                          </a:lnTo>
                          <a:lnTo>
                            <a:pt x="327641" y="207026"/>
                          </a:lnTo>
                          <a:lnTo>
                            <a:pt x="328091" y="204776"/>
                          </a:lnTo>
                          <a:lnTo>
                            <a:pt x="328991" y="201625"/>
                          </a:lnTo>
                          <a:lnTo>
                            <a:pt x="329891" y="199375"/>
                          </a:lnTo>
                          <a:lnTo>
                            <a:pt x="331241" y="198025"/>
                          </a:lnTo>
                          <a:lnTo>
                            <a:pt x="332141" y="196675"/>
                          </a:lnTo>
                          <a:lnTo>
                            <a:pt x="332592" y="195324"/>
                          </a:lnTo>
                          <a:lnTo>
                            <a:pt x="332592" y="194874"/>
                          </a:lnTo>
                          <a:lnTo>
                            <a:pt x="332592" y="205676"/>
                          </a:lnTo>
                          <a:lnTo>
                            <a:pt x="332592" y="214227"/>
                          </a:lnTo>
                          <a:close/>
                          <a:moveTo>
                            <a:pt x="151669" y="288036"/>
                          </a:moveTo>
                          <a:lnTo>
                            <a:pt x="151219" y="288036"/>
                          </a:lnTo>
                          <a:lnTo>
                            <a:pt x="150769" y="287136"/>
                          </a:lnTo>
                          <a:lnTo>
                            <a:pt x="150319" y="284886"/>
                          </a:lnTo>
                          <a:lnTo>
                            <a:pt x="150769" y="283986"/>
                          </a:lnTo>
                          <a:lnTo>
                            <a:pt x="152119" y="283535"/>
                          </a:lnTo>
                          <a:lnTo>
                            <a:pt x="153919" y="283085"/>
                          </a:lnTo>
                          <a:lnTo>
                            <a:pt x="156169" y="283085"/>
                          </a:lnTo>
                          <a:lnTo>
                            <a:pt x="157070" y="283535"/>
                          </a:lnTo>
                          <a:lnTo>
                            <a:pt x="157070" y="284436"/>
                          </a:lnTo>
                          <a:lnTo>
                            <a:pt x="156620" y="284886"/>
                          </a:lnTo>
                          <a:lnTo>
                            <a:pt x="156169" y="285336"/>
                          </a:lnTo>
                          <a:lnTo>
                            <a:pt x="156169" y="285786"/>
                          </a:lnTo>
                          <a:lnTo>
                            <a:pt x="155269" y="286236"/>
                          </a:lnTo>
                          <a:lnTo>
                            <a:pt x="153469" y="286236"/>
                          </a:lnTo>
                          <a:lnTo>
                            <a:pt x="152119" y="286686"/>
                          </a:lnTo>
                          <a:lnTo>
                            <a:pt x="151669" y="288036"/>
                          </a:lnTo>
                          <a:close/>
                          <a:moveTo>
                            <a:pt x="160220" y="286686"/>
                          </a:moveTo>
                          <a:lnTo>
                            <a:pt x="158870" y="286686"/>
                          </a:lnTo>
                          <a:lnTo>
                            <a:pt x="157970" y="286686"/>
                          </a:lnTo>
                          <a:lnTo>
                            <a:pt x="157520" y="286236"/>
                          </a:lnTo>
                          <a:lnTo>
                            <a:pt x="157970" y="285786"/>
                          </a:lnTo>
                          <a:lnTo>
                            <a:pt x="157970" y="285336"/>
                          </a:lnTo>
                          <a:lnTo>
                            <a:pt x="157520" y="284436"/>
                          </a:lnTo>
                          <a:lnTo>
                            <a:pt x="157520" y="283986"/>
                          </a:lnTo>
                          <a:lnTo>
                            <a:pt x="157970" y="283986"/>
                          </a:lnTo>
                          <a:lnTo>
                            <a:pt x="158420" y="283986"/>
                          </a:lnTo>
                          <a:lnTo>
                            <a:pt x="159320" y="284436"/>
                          </a:lnTo>
                          <a:lnTo>
                            <a:pt x="160220" y="285786"/>
                          </a:lnTo>
                          <a:lnTo>
                            <a:pt x="160220" y="286686"/>
                          </a:lnTo>
                          <a:close/>
                          <a:moveTo>
                            <a:pt x="201625" y="319090"/>
                          </a:moveTo>
                          <a:lnTo>
                            <a:pt x="197575" y="319540"/>
                          </a:lnTo>
                          <a:lnTo>
                            <a:pt x="195774" y="319090"/>
                          </a:lnTo>
                          <a:lnTo>
                            <a:pt x="195774" y="318640"/>
                          </a:lnTo>
                          <a:lnTo>
                            <a:pt x="196225" y="318190"/>
                          </a:lnTo>
                          <a:lnTo>
                            <a:pt x="197125" y="317290"/>
                          </a:lnTo>
                          <a:lnTo>
                            <a:pt x="198475" y="316840"/>
                          </a:lnTo>
                          <a:lnTo>
                            <a:pt x="199825" y="316840"/>
                          </a:lnTo>
                          <a:lnTo>
                            <a:pt x="202525" y="317740"/>
                          </a:lnTo>
                          <a:lnTo>
                            <a:pt x="203425" y="318640"/>
                          </a:lnTo>
                          <a:lnTo>
                            <a:pt x="203425" y="319090"/>
                          </a:lnTo>
                          <a:lnTo>
                            <a:pt x="201625" y="319090"/>
                          </a:lnTo>
                          <a:close/>
                          <a:moveTo>
                            <a:pt x="241230" y="367696"/>
                          </a:moveTo>
                          <a:lnTo>
                            <a:pt x="240780" y="368146"/>
                          </a:lnTo>
                          <a:lnTo>
                            <a:pt x="240330" y="367696"/>
                          </a:lnTo>
                          <a:lnTo>
                            <a:pt x="239880" y="368146"/>
                          </a:lnTo>
                          <a:lnTo>
                            <a:pt x="239430" y="369046"/>
                          </a:lnTo>
                          <a:lnTo>
                            <a:pt x="238980" y="369496"/>
                          </a:lnTo>
                          <a:lnTo>
                            <a:pt x="238530" y="369496"/>
                          </a:lnTo>
                          <a:lnTo>
                            <a:pt x="237630" y="369046"/>
                          </a:lnTo>
                          <a:lnTo>
                            <a:pt x="236280" y="366796"/>
                          </a:lnTo>
                          <a:lnTo>
                            <a:pt x="235379" y="364996"/>
                          </a:lnTo>
                          <a:lnTo>
                            <a:pt x="234929" y="363646"/>
                          </a:lnTo>
                          <a:lnTo>
                            <a:pt x="235829" y="362745"/>
                          </a:lnTo>
                          <a:lnTo>
                            <a:pt x="237630" y="362745"/>
                          </a:lnTo>
                          <a:lnTo>
                            <a:pt x="239430" y="363195"/>
                          </a:lnTo>
                          <a:lnTo>
                            <a:pt x="240780" y="364096"/>
                          </a:lnTo>
                          <a:lnTo>
                            <a:pt x="241230" y="365446"/>
                          </a:lnTo>
                          <a:lnTo>
                            <a:pt x="241230" y="367696"/>
                          </a:lnTo>
                          <a:close/>
                          <a:moveTo>
                            <a:pt x="251131" y="376697"/>
                          </a:moveTo>
                          <a:lnTo>
                            <a:pt x="249781" y="377147"/>
                          </a:lnTo>
                          <a:lnTo>
                            <a:pt x="248431" y="376697"/>
                          </a:lnTo>
                          <a:lnTo>
                            <a:pt x="247981" y="375797"/>
                          </a:lnTo>
                          <a:lnTo>
                            <a:pt x="248431" y="374897"/>
                          </a:lnTo>
                          <a:lnTo>
                            <a:pt x="248881" y="373997"/>
                          </a:lnTo>
                          <a:lnTo>
                            <a:pt x="249781" y="373097"/>
                          </a:lnTo>
                          <a:lnTo>
                            <a:pt x="250681" y="373097"/>
                          </a:lnTo>
                          <a:lnTo>
                            <a:pt x="251581" y="373547"/>
                          </a:lnTo>
                          <a:lnTo>
                            <a:pt x="252032" y="373997"/>
                          </a:lnTo>
                          <a:lnTo>
                            <a:pt x="252032" y="374447"/>
                          </a:lnTo>
                          <a:lnTo>
                            <a:pt x="251131" y="376697"/>
                          </a:lnTo>
                          <a:close/>
                          <a:moveTo>
                            <a:pt x="261933" y="373547"/>
                          </a:moveTo>
                          <a:lnTo>
                            <a:pt x="261483" y="374897"/>
                          </a:lnTo>
                          <a:lnTo>
                            <a:pt x="261483" y="375797"/>
                          </a:lnTo>
                          <a:lnTo>
                            <a:pt x="261933" y="376247"/>
                          </a:lnTo>
                          <a:lnTo>
                            <a:pt x="262383" y="376697"/>
                          </a:lnTo>
                          <a:lnTo>
                            <a:pt x="262383" y="377597"/>
                          </a:lnTo>
                          <a:lnTo>
                            <a:pt x="262833" y="377597"/>
                          </a:lnTo>
                          <a:lnTo>
                            <a:pt x="263733" y="377147"/>
                          </a:lnTo>
                          <a:lnTo>
                            <a:pt x="264183" y="377147"/>
                          </a:lnTo>
                          <a:lnTo>
                            <a:pt x="264633" y="377597"/>
                          </a:lnTo>
                          <a:lnTo>
                            <a:pt x="265083" y="377597"/>
                          </a:lnTo>
                          <a:lnTo>
                            <a:pt x="265533" y="377147"/>
                          </a:lnTo>
                          <a:lnTo>
                            <a:pt x="265983" y="377597"/>
                          </a:lnTo>
                          <a:lnTo>
                            <a:pt x="266433" y="378497"/>
                          </a:lnTo>
                          <a:lnTo>
                            <a:pt x="266883" y="378497"/>
                          </a:lnTo>
                          <a:lnTo>
                            <a:pt x="267333" y="377597"/>
                          </a:lnTo>
                          <a:lnTo>
                            <a:pt x="267333" y="377147"/>
                          </a:lnTo>
                          <a:lnTo>
                            <a:pt x="266433" y="376697"/>
                          </a:lnTo>
                          <a:lnTo>
                            <a:pt x="266433" y="376247"/>
                          </a:lnTo>
                          <a:lnTo>
                            <a:pt x="265983" y="375347"/>
                          </a:lnTo>
                          <a:lnTo>
                            <a:pt x="266433" y="374897"/>
                          </a:lnTo>
                          <a:lnTo>
                            <a:pt x="267333" y="373997"/>
                          </a:lnTo>
                          <a:lnTo>
                            <a:pt x="267783" y="373997"/>
                          </a:lnTo>
                          <a:lnTo>
                            <a:pt x="268234" y="374447"/>
                          </a:lnTo>
                          <a:lnTo>
                            <a:pt x="268684" y="374447"/>
                          </a:lnTo>
                          <a:lnTo>
                            <a:pt x="269134" y="373997"/>
                          </a:lnTo>
                          <a:lnTo>
                            <a:pt x="270034" y="373547"/>
                          </a:lnTo>
                          <a:lnTo>
                            <a:pt x="271384" y="373097"/>
                          </a:lnTo>
                          <a:lnTo>
                            <a:pt x="272284" y="373547"/>
                          </a:lnTo>
                          <a:lnTo>
                            <a:pt x="272284" y="374447"/>
                          </a:lnTo>
                          <a:lnTo>
                            <a:pt x="272734" y="374897"/>
                          </a:lnTo>
                          <a:lnTo>
                            <a:pt x="273634" y="374447"/>
                          </a:lnTo>
                          <a:lnTo>
                            <a:pt x="274084" y="374897"/>
                          </a:lnTo>
                          <a:lnTo>
                            <a:pt x="274534" y="376697"/>
                          </a:lnTo>
                          <a:lnTo>
                            <a:pt x="275434" y="376697"/>
                          </a:lnTo>
                          <a:lnTo>
                            <a:pt x="276335" y="375347"/>
                          </a:lnTo>
                          <a:lnTo>
                            <a:pt x="277235" y="374447"/>
                          </a:lnTo>
                          <a:lnTo>
                            <a:pt x="278585" y="373997"/>
                          </a:lnTo>
                          <a:lnTo>
                            <a:pt x="279485" y="373997"/>
                          </a:lnTo>
                          <a:lnTo>
                            <a:pt x="279935" y="374447"/>
                          </a:lnTo>
                          <a:lnTo>
                            <a:pt x="280385" y="375347"/>
                          </a:lnTo>
                          <a:lnTo>
                            <a:pt x="280385" y="376247"/>
                          </a:lnTo>
                          <a:lnTo>
                            <a:pt x="280835" y="376697"/>
                          </a:lnTo>
                          <a:lnTo>
                            <a:pt x="281735" y="376697"/>
                          </a:lnTo>
                          <a:lnTo>
                            <a:pt x="282185" y="377597"/>
                          </a:lnTo>
                          <a:lnTo>
                            <a:pt x="281735" y="378947"/>
                          </a:lnTo>
                          <a:lnTo>
                            <a:pt x="281735" y="379848"/>
                          </a:lnTo>
                          <a:lnTo>
                            <a:pt x="282635" y="381198"/>
                          </a:lnTo>
                          <a:lnTo>
                            <a:pt x="282635" y="381198"/>
                          </a:lnTo>
                          <a:lnTo>
                            <a:pt x="283535" y="378947"/>
                          </a:lnTo>
                          <a:lnTo>
                            <a:pt x="283986" y="377597"/>
                          </a:lnTo>
                          <a:lnTo>
                            <a:pt x="284886" y="376697"/>
                          </a:lnTo>
                          <a:lnTo>
                            <a:pt x="285336" y="376697"/>
                          </a:lnTo>
                          <a:lnTo>
                            <a:pt x="285336" y="377597"/>
                          </a:lnTo>
                          <a:lnTo>
                            <a:pt x="285336" y="378497"/>
                          </a:lnTo>
                          <a:lnTo>
                            <a:pt x="284886" y="379398"/>
                          </a:lnTo>
                          <a:lnTo>
                            <a:pt x="285336" y="379848"/>
                          </a:lnTo>
                          <a:lnTo>
                            <a:pt x="287136" y="379848"/>
                          </a:lnTo>
                          <a:lnTo>
                            <a:pt x="287136" y="380297"/>
                          </a:lnTo>
                          <a:lnTo>
                            <a:pt x="285336" y="384348"/>
                          </a:lnTo>
                          <a:lnTo>
                            <a:pt x="283986" y="386148"/>
                          </a:lnTo>
                          <a:lnTo>
                            <a:pt x="283085" y="386598"/>
                          </a:lnTo>
                          <a:lnTo>
                            <a:pt x="281735" y="387048"/>
                          </a:lnTo>
                          <a:lnTo>
                            <a:pt x="280835" y="386598"/>
                          </a:lnTo>
                          <a:lnTo>
                            <a:pt x="279935" y="386148"/>
                          </a:lnTo>
                          <a:lnTo>
                            <a:pt x="279485" y="386148"/>
                          </a:lnTo>
                          <a:lnTo>
                            <a:pt x="279485" y="385698"/>
                          </a:lnTo>
                          <a:lnTo>
                            <a:pt x="280835" y="384798"/>
                          </a:lnTo>
                          <a:lnTo>
                            <a:pt x="281285" y="384798"/>
                          </a:lnTo>
                          <a:lnTo>
                            <a:pt x="282185" y="384348"/>
                          </a:lnTo>
                          <a:lnTo>
                            <a:pt x="284435" y="382098"/>
                          </a:lnTo>
                          <a:lnTo>
                            <a:pt x="284435" y="382098"/>
                          </a:lnTo>
                          <a:lnTo>
                            <a:pt x="283085" y="382098"/>
                          </a:lnTo>
                          <a:lnTo>
                            <a:pt x="278585" y="385698"/>
                          </a:lnTo>
                          <a:lnTo>
                            <a:pt x="278135" y="385698"/>
                          </a:lnTo>
                          <a:lnTo>
                            <a:pt x="277685" y="385248"/>
                          </a:lnTo>
                          <a:lnTo>
                            <a:pt x="277235" y="384798"/>
                          </a:lnTo>
                          <a:lnTo>
                            <a:pt x="274534" y="383898"/>
                          </a:lnTo>
                          <a:lnTo>
                            <a:pt x="273634" y="382998"/>
                          </a:lnTo>
                          <a:lnTo>
                            <a:pt x="272284" y="382098"/>
                          </a:lnTo>
                          <a:lnTo>
                            <a:pt x="270484" y="381648"/>
                          </a:lnTo>
                          <a:lnTo>
                            <a:pt x="268234" y="380748"/>
                          </a:lnTo>
                          <a:lnTo>
                            <a:pt x="265983" y="379398"/>
                          </a:lnTo>
                          <a:lnTo>
                            <a:pt x="263733" y="378497"/>
                          </a:lnTo>
                          <a:lnTo>
                            <a:pt x="259682" y="378047"/>
                          </a:lnTo>
                          <a:lnTo>
                            <a:pt x="259232" y="377147"/>
                          </a:lnTo>
                          <a:lnTo>
                            <a:pt x="255182" y="375797"/>
                          </a:lnTo>
                          <a:lnTo>
                            <a:pt x="253832" y="374897"/>
                          </a:lnTo>
                          <a:lnTo>
                            <a:pt x="253832" y="373997"/>
                          </a:lnTo>
                          <a:lnTo>
                            <a:pt x="254282" y="373097"/>
                          </a:lnTo>
                          <a:lnTo>
                            <a:pt x="254732" y="372647"/>
                          </a:lnTo>
                          <a:lnTo>
                            <a:pt x="255182" y="372647"/>
                          </a:lnTo>
                          <a:lnTo>
                            <a:pt x="255632" y="373547"/>
                          </a:lnTo>
                          <a:lnTo>
                            <a:pt x="256082" y="373547"/>
                          </a:lnTo>
                          <a:lnTo>
                            <a:pt x="256532" y="373097"/>
                          </a:lnTo>
                          <a:lnTo>
                            <a:pt x="257432" y="373097"/>
                          </a:lnTo>
                          <a:lnTo>
                            <a:pt x="258332" y="373547"/>
                          </a:lnTo>
                          <a:lnTo>
                            <a:pt x="258782" y="373547"/>
                          </a:lnTo>
                          <a:lnTo>
                            <a:pt x="259232" y="373097"/>
                          </a:lnTo>
                          <a:lnTo>
                            <a:pt x="260132" y="372647"/>
                          </a:lnTo>
                          <a:lnTo>
                            <a:pt x="261483" y="372197"/>
                          </a:lnTo>
                          <a:lnTo>
                            <a:pt x="261933" y="373547"/>
                          </a:lnTo>
                          <a:close/>
                          <a:moveTo>
                            <a:pt x="283986" y="388849"/>
                          </a:moveTo>
                          <a:lnTo>
                            <a:pt x="283535" y="388849"/>
                          </a:lnTo>
                          <a:lnTo>
                            <a:pt x="283085" y="388399"/>
                          </a:lnTo>
                          <a:lnTo>
                            <a:pt x="283085" y="387948"/>
                          </a:lnTo>
                          <a:lnTo>
                            <a:pt x="283085" y="387499"/>
                          </a:lnTo>
                          <a:lnTo>
                            <a:pt x="284886" y="386598"/>
                          </a:lnTo>
                          <a:lnTo>
                            <a:pt x="285336" y="386598"/>
                          </a:lnTo>
                          <a:lnTo>
                            <a:pt x="284886" y="387499"/>
                          </a:lnTo>
                          <a:lnTo>
                            <a:pt x="283986" y="388849"/>
                          </a:lnTo>
                          <a:close/>
                          <a:moveTo>
                            <a:pt x="318190" y="408651"/>
                          </a:moveTo>
                          <a:lnTo>
                            <a:pt x="318190" y="408651"/>
                          </a:lnTo>
                          <a:lnTo>
                            <a:pt x="317290" y="408201"/>
                          </a:lnTo>
                          <a:lnTo>
                            <a:pt x="316840" y="407751"/>
                          </a:lnTo>
                          <a:lnTo>
                            <a:pt x="316840" y="407301"/>
                          </a:lnTo>
                          <a:lnTo>
                            <a:pt x="317290" y="407301"/>
                          </a:lnTo>
                          <a:lnTo>
                            <a:pt x="318190" y="407301"/>
                          </a:lnTo>
                          <a:lnTo>
                            <a:pt x="318640" y="407751"/>
                          </a:lnTo>
                          <a:lnTo>
                            <a:pt x="318190" y="408651"/>
                          </a:lnTo>
                          <a:close/>
                          <a:moveTo>
                            <a:pt x="399200" y="428004"/>
                          </a:moveTo>
                          <a:lnTo>
                            <a:pt x="397850" y="428904"/>
                          </a:lnTo>
                          <a:lnTo>
                            <a:pt x="396950" y="428904"/>
                          </a:lnTo>
                          <a:lnTo>
                            <a:pt x="396500" y="428904"/>
                          </a:lnTo>
                          <a:lnTo>
                            <a:pt x="396500" y="428454"/>
                          </a:lnTo>
                          <a:lnTo>
                            <a:pt x="396500" y="428004"/>
                          </a:lnTo>
                          <a:lnTo>
                            <a:pt x="396050" y="427553"/>
                          </a:lnTo>
                          <a:lnTo>
                            <a:pt x="396050" y="427103"/>
                          </a:lnTo>
                          <a:lnTo>
                            <a:pt x="396950" y="426203"/>
                          </a:lnTo>
                          <a:lnTo>
                            <a:pt x="397400" y="425303"/>
                          </a:lnTo>
                          <a:lnTo>
                            <a:pt x="399650" y="424853"/>
                          </a:lnTo>
                          <a:lnTo>
                            <a:pt x="400550" y="424853"/>
                          </a:lnTo>
                          <a:lnTo>
                            <a:pt x="401450" y="424853"/>
                          </a:lnTo>
                          <a:lnTo>
                            <a:pt x="401450" y="425303"/>
                          </a:lnTo>
                          <a:lnTo>
                            <a:pt x="399650" y="426203"/>
                          </a:lnTo>
                          <a:lnTo>
                            <a:pt x="399200" y="427103"/>
                          </a:lnTo>
                          <a:lnTo>
                            <a:pt x="399200" y="428004"/>
                          </a:lnTo>
                          <a:close/>
                          <a:moveTo>
                            <a:pt x="392449" y="428454"/>
                          </a:moveTo>
                          <a:lnTo>
                            <a:pt x="391549" y="428904"/>
                          </a:lnTo>
                          <a:lnTo>
                            <a:pt x="390199" y="428904"/>
                          </a:lnTo>
                          <a:lnTo>
                            <a:pt x="389749" y="428454"/>
                          </a:lnTo>
                          <a:lnTo>
                            <a:pt x="389749" y="428004"/>
                          </a:lnTo>
                          <a:lnTo>
                            <a:pt x="390649" y="427553"/>
                          </a:lnTo>
                          <a:lnTo>
                            <a:pt x="393349" y="426653"/>
                          </a:lnTo>
                          <a:lnTo>
                            <a:pt x="393349" y="427103"/>
                          </a:lnTo>
                          <a:lnTo>
                            <a:pt x="392449" y="428454"/>
                          </a:lnTo>
                          <a:close/>
                          <a:moveTo>
                            <a:pt x="265983" y="497762"/>
                          </a:moveTo>
                          <a:lnTo>
                            <a:pt x="265083" y="498212"/>
                          </a:lnTo>
                          <a:lnTo>
                            <a:pt x="265083" y="497762"/>
                          </a:lnTo>
                          <a:lnTo>
                            <a:pt x="265533" y="496412"/>
                          </a:lnTo>
                          <a:lnTo>
                            <a:pt x="265983" y="495962"/>
                          </a:lnTo>
                          <a:lnTo>
                            <a:pt x="266433" y="496412"/>
                          </a:lnTo>
                          <a:lnTo>
                            <a:pt x="266883" y="497762"/>
                          </a:lnTo>
                          <a:lnTo>
                            <a:pt x="265983" y="497762"/>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6" name="Freeform: Shape 1985">
                      <a:extLst>
                        <a:ext uri="{FF2B5EF4-FFF2-40B4-BE49-F238E27FC236}">
                          <a16:creationId xmlns:a16="http://schemas.microsoft.com/office/drawing/2014/main" id="{0A4025F0-889C-773D-73BD-DCCA8E2C3D0C}"/>
                        </a:ext>
                      </a:extLst>
                    </p:cNvPr>
                    <p:cNvSpPr/>
                    <p:nvPr/>
                  </p:nvSpPr>
                  <p:spPr>
                    <a:xfrm>
                      <a:off x="2345693" y="2495562"/>
                      <a:ext cx="49956" cy="34654"/>
                    </a:xfrm>
                    <a:custGeom>
                      <a:avLst/>
                      <a:gdLst>
                        <a:gd name="connsiteX0" fmla="*/ 12152 w 49956"/>
                        <a:gd name="connsiteY0" fmla="*/ 19352 h 34654"/>
                        <a:gd name="connsiteX1" fmla="*/ 12602 w 49956"/>
                        <a:gd name="connsiteY1" fmla="*/ 19803 h 34654"/>
                        <a:gd name="connsiteX2" fmla="*/ 13502 w 49956"/>
                        <a:gd name="connsiteY2" fmla="*/ 18902 h 34654"/>
                        <a:gd name="connsiteX3" fmla="*/ 14852 w 49956"/>
                        <a:gd name="connsiteY3" fmla="*/ 16202 h 34654"/>
                        <a:gd name="connsiteX4" fmla="*/ 18002 w 49956"/>
                        <a:gd name="connsiteY4" fmla="*/ 16652 h 34654"/>
                        <a:gd name="connsiteX5" fmla="*/ 19802 w 49956"/>
                        <a:gd name="connsiteY5" fmla="*/ 18002 h 34654"/>
                        <a:gd name="connsiteX6" fmla="*/ 20702 w 49956"/>
                        <a:gd name="connsiteY6" fmla="*/ 17552 h 34654"/>
                        <a:gd name="connsiteX7" fmla="*/ 21603 w 49956"/>
                        <a:gd name="connsiteY7" fmla="*/ 17552 h 34654"/>
                        <a:gd name="connsiteX8" fmla="*/ 23403 w 49956"/>
                        <a:gd name="connsiteY8" fmla="*/ 18902 h 34654"/>
                        <a:gd name="connsiteX9" fmla="*/ 26553 w 49956"/>
                        <a:gd name="connsiteY9" fmla="*/ 20253 h 34654"/>
                        <a:gd name="connsiteX10" fmla="*/ 30154 w 49956"/>
                        <a:gd name="connsiteY10" fmla="*/ 20253 h 34654"/>
                        <a:gd name="connsiteX11" fmla="*/ 35554 w 49956"/>
                        <a:gd name="connsiteY11" fmla="*/ 19352 h 34654"/>
                        <a:gd name="connsiteX12" fmla="*/ 36005 w 49956"/>
                        <a:gd name="connsiteY12" fmla="*/ 18902 h 34654"/>
                        <a:gd name="connsiteX13" fmla="*/ 41405 w 49956"/>
                        <a:gd name="connsiteY13" fmla="*/ 18452 h 34654"/>
                        <a:gd name="connsiteX14" fmla="*/ 46806 w 49956"/>
                        <a:gd name="connsiteY14" fmla="*/ 18002 h 34654"/>
                        <a:gd name="connsiteX15" fmla="*/ 48606 w 49956"/>
                        <a:gd name="connsiteY15" fmla="*/ 18452 h 34654"/>
                        <a:gd name="connsiteX16" fmla="*/ 49506 w 49956"/>
                        <a:gd name="connsiteY16" fmla="*/ 18902 h 34654"/>
                        <a:gd name="connsiteX17" fmla="*/ 49956 w 49956"/>
                        <a:gd name="connsiteY17" fmla="*/ 19803 h 34654"/>
                        <a:gd name="connsiteX18" fmla="*/ 46806 w 49956"/>
                        <a:gd name="connsiteY18" fmla="*/ 22053 h 34654"/>
                        <a:gd name="connsiteX19" fmla="*/ 43656 w 49956"/>
                        <a:gd name="connsiteY19" fmla="*/ 24303 h 34654"/>
                        <a:gd name="connsiteX20" fmla="*/ 39155 w 49956"/>
                        <a:gd name="connsiteY20" fmla="*/ 26553 h 34654"/>
                        <a:gd name="connsiteX21" fmla="*/ 38705 w 49956"/>
                        <a:gd name="connsiteY21" fmla="*/ 27904 h 34654"/>
                        <a:gd name="connsiteX22" fmla="*/ 39155 w 49956"/>
                        <a:gd name="connsiteY22" fmla="*/ 30154 h 34654"/>
                        <a:gd name="connsiteX23" fmla="*/ 39155 w 49956"/>
                        <a:gd name="connsiteY23" fmla="*/ 32404 h 34654"/>
                        <a:gd name="connsiteX24" fmla="*/ 40055 w 49956"/>
                        <a:gd name="connsiteY24" fmla="*/ 32404 h 34654"/>
                        <a:gd name="connsiteX25" fmla="*/ 40505 w 49956"/>
                        <a:gd name="connsiteY25" fmla="*/ 33304 h 34654"/>
                        <a:gd name="connsiteX26" fmla="*/ 39155 w 49956"/>
                        <a:gd name="connsiteY26" fmla="*/ 34204 h 34654"/>
                        <a:gd name="connsiteX27" fmla="*/ 34654 w 49956"/>
                        <a:gd name="connsiteY27" fmla="*/ 34654 h 34654"/>
                        <a:gd name="connsiteX28" fmla="*/ 33304 w 49956"/>
                        <a:gd name="connsiteY28" fmla="*/ 34654 h 34654"/>
                        <a:gd name="connsiteX29" fmla="*/ 31954 w 49956"/>
                        <a:gd name="connsiteY29" fmla="*/ 33754 h 34654"/>
                        <a:gd name="connsiteX30" fmla="*/ 31504 w 49956"/>
                        <a:gd name="connsiteY30" fmla="*/ 31504 h 34654"/>
                        <a:gd name="connsiteX31" fmla="*/ 29704 w 49956"/>
                        <a:gd name="connsiteY31" fmla="*/ 31954 h 34654"/>
                        <a:gd name="connsiteX32" fmla="*/ 29254 w 49956"/>
                        <a:gd name="connsiteY32" fmla="*/ 31504 h 34654"/>
                        <a:gd name="connsiteX33" fmla="*/ 31954 w 49956"/>
                        <a:gd name="connsiteY33" fmla="*/ 29704 h 34654"/>
                        <a:gd name="connsiteX34" fmla="*/ 30604 w 49956"/>
                        <a:gd name="connsiteY34" fmla="*/ 27453 h 34654"/>
                        <a:gd name="connsiteX35" fmla="*/ 29254 w 49956"/>
                        <a:gd name="connsiteY35" fmla="*/ 27453 h 34654"/>
                        <a:gd name="connsiteX36" fmla="*/ 28353 w 49956"/>
                        <a:gd name="connsiteY36" fmla="*/ 26553 h 34654"/>
                        <a:gd name="connsiteX37" fmla="*/ 28353 w 49956"/>
                        <a:gd name="connsiteY37" fmla="*/ 25203 h 34654"/>
                        <a:gd name="connsiteX38" fmla="*/ 29704 w 49956"/>
                        <a:gd name="connsiteY38" fmla="*/ 24303 h 34654"/>
                        <a:gd name="connsiteX39" fmla="*/ 30154 w 49956"/>
                        <a:gd name="connsiteY39" fmla="*/ 23403 h 34654"/>
                        <a:gd name="connsiteX40" fmla="*/ 28353 w 49956"/>
                        <a:gd name="connsiteY40" fmla="*/ 23853 h 34654"/>
                        <a:gd name="connsiteX41" fmla="*/ 27003 w 49956"/>
                        <a:gd name="connsiteY41" fmla="*/ 25203 h 34654"/>
                        <a:gd name="connsiteX42" fmla="*/ 25203 w 49956"/>
                        <a:gd name="connsiteY42" fmla="*/ 25653 h 34654"/>
                        <a:gd name="connsiteX43" fmla="*/ 23403 w 49956"/>
                        <a:gd name="connsiteY43" fmla="*/ 26553 h 34654"/>
                        <a:gd name="connsiteX44" fmla="*/ 26103 w 49956"/>
                        <a:gd name="connsiteY44" fmla="*/ 27003 h 34654"/>
                        <a:gd name="connsiteX45" fmla="*/ 24753 w 49956"/>
                        <a:gd name="connsiteY45" fmla="*/ 27904 h 34654"/>
                        <a:gd name="connsiteX46" fmla="*/ 23403 w 49956"/>
                        <a:gd name="connsiteY46" fmla="*/ 27904 h 34654"/>
                        <a:gd name="connsiteX47" fmla="*/ 17102 w 49956"/>
                        <a:gd name="connsiteY47" fmla="*/ 26103 h 34654"/>
                        <a:gd name="connsiteX48" fmla="*/ 15752 w 49956"/>
                        <a:gd name="connsiteY48" fmla="*/ 25653 h 34654"/>
                        <a:gd name="connsiteX49" fmla="*/ 13952 w 49956"/>
                        <a:gd name="connsiteY49" fmla="*/ 23853 h 34654"/>
                        <a:gd name="connsiteX50" fmla="*/ 12602 w 49956"/>
                        <a:gd name="connsiteY50" fmla="*/ 21603 h 34654"/>
                        <a:gd name="connsiteX51" fmla="*/ 13502 w 49956"/>
                        <a:gd name="connsiteY51" fmla="*/ 21603 h 34654"/>
                        <a:gd name="connsiteX52" fmla="*/ 13952 w 49956"/>
                        <a:gd name="connsiteY52" fmla="*/ 21153 h 34654"/>
                        <a:gd name="connsiteX53" fmla="*/ 13952 w 49956"/>
                        <a:gd name="connsiteY53" fmla="*/ 20702 h 34654"/>
                        <a:gd name="connsiteX54" fmla="*/ 11701 w 49956"/>
                        <a:gd name="connsiteY54" fmla="*/ 20253 h 34654"/>
                        <a:gd name="connsiteX55" fmla="*/ 8101 w 49956"/>
                        <a:gd name="connsiteY55" fmla="*/ 20253 h 34654"/>
                        <a:gd name="connsiteX56" fmla="*/ 6301 w 49956"/>
                        <a:gd name="connsiteY56" fmla="*/ 19803 h 34654"/>
                        <a:gd name="connsiteX57" fmla="*/ 6301 w 49956"/>
                        <a:gd name="connsiteY57" fmla="*/ 15752 h 34654"/>
                        <a:gd name="connsiteX58" fmla="*/ 5851 w 49956"/>
                        <a:gd name="connsiteY58" fmla="*/ 14402 h 34654"/>
                        <a:gd name="connsiteX59" fmla="*/ 3600 w 49956"/>
                        <a:gd name="connsiteY59" fmla="*/ 13502 h 34654"/>
                        <a:gd name="connsiteX60" fmla="*/ 450 w 49956"/>
                        <a:gd name="connsiteY60" fmla="*/ 13052 h 34654"/>
                        <a:gd name="connsiteX61" fmla="*/ 0 w 49956"/>
                        <a:gd name="connsiteY61" fmla="*/ 11251 h 34654"/>
                        <a:gd name="connsiteX62" fmla="*/ 900 w 49956"/>
                        <a:gd name="connsiteY62" fmla="*/ 9001 h 34654"/>
                        <a:gd name="connsiteX63" fmla="*/ 2700 w 49956"/>
                        <a:gd name="connsiteY63" fmla="*/ 6751 h 34654"/>
                        <a:gd name="connsiteX64" fmla="*/ 4050 w 49956"/>
                        <a:gd name="connsiteY64" fmla="*/ 4951 h 34654"/>
                        <a:gd name="connsiteX65" fmla="*/ 5401 w 49956"/>
                        <a:gd name="connsiteY65" fmla="*/ 3150 h 34654"/>
                        <a:gd name="connsiteX66" fmla="*/ 9001 w 49956"/>
                        <a:gd name="connsiteY66" fmla="*/ 0 h 34654"/>
                        <a:gd name="connsiteX67" fmla="*/ 9001 w 49956"/>
                        <a:gd name="connsiteY67" fmla="*/ 2250 h 34654"/>
                        <a:gd name="connsiteX68" fmla="*/ 9451 w 49956"/>
                        <a:gd name="connsiteY68" fmla="*/ 4501 h 34654"/>
                        <a:gd name="connsiteX69" fmla="*/ 7201 w 49956"/>
                        <a:gd name="connsiteY69" fmla="*/ 8551 h 34654"/>
                        <a:gd name="connsiteX70" fmla="*/ 11251 w 49956"/>
                        <a:gd name="connsiteY70" fmla="*/ 12602 h 34654"/>
                        <a:gd name="connsiteX71" fmla="*/ 11701 w 49956"/>
                        <a:gd name="connsiteY71" fmla="*/ 13502 h 34654"/>
                        <a:gd name="connsiteX72" fmla="*/ 12152 w 49956"/>
                        <a:gd name="connsiteY72" fmla="*/ 14852 h 34654"/>
                        <a:gd name="connsiteX73" fmla="*/ 11701 w 49956"/>
                        <a:gd name="connsiteY73" fmla="*/ 15752 h 34654"/>
                        <a:gd name="connsiteX74" fmla="*/ 11251 w 49956"/>
                        <a:gd name="connsiteY74" fmla="*/ 16652 h 34654"/>
                        <a:gd name="connsiteX75" fmla="*/ 12602 w 49956"/>
                        <a:gd name="connsiteY75" fmla="*/ 17102 h 34654"/>
                        <a:gd name="connsiteX76" fmla="*/ 12152 w 49956"/>
                        <a:gd name="connsiteY76" fmla="*/ 19352 h 346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49956" h="34654">
                          <a:moveTo>
                            <a:pt x="12152" y="19352"/>
                          </a:moveTo>
                          <a:lnTo>
                            <a:pt x="12602" y="19803"/>
                          </a:lnTo>
                          <a:lnTo>
                            <a:pt x="13502" y="18902"/>
                          </a:lnTo>
                          <a:lnTo>
                            <a:pt x="14852" y="16202"/>
                          </a:lnTo>
                          <a:lnTo>
                            <a:pt x="18002" y="16652"/>
                          </a:lnTo>
                          <a:lnTo>
                            <a:pt x="19802" y="18002"/>
                          </a:lnTo>
                          <a:lnTo>
                            <a:pt x="20702" y="17552"/>
                          </a:lnTo>
                          <a:lnTo>
                            <a:pt x="21603" y="17552"/>
                          </a:lnTo>
                          <a:lnTo>
                            <a:pt x="23403" y="18902"/>
                          </a:lnTo>
                          <a:lnTo>
                            <a:pt x="26553" y="20253"/>
                          </a:lnTo>
                          <a:lnTo>
                            <a:pt x="30154" y="20253"/>
                          </a:lnTo>
                          <a:lnTo>
                            <a:pt x="35554" y="19352"/>
                          </a:lnTo>
                          <a:lnTo>
                            <a:pt x="36005" y="18902"/>
                          </a:lnTo>
                          <a:lnTo>
                            <a:pt x="41405" y="18452"/>
                          </a:lnTo>
                          <a:lnTo>
                            <a:pt x="46806" y="18002"/>
                          </a:lnTo>
                          <a:lnTo>
                            <a:pt x="48606" y="18452"/>
                          </a:lnTo>
                          <a:lnTo>
                            <a:pt x="49506" y="18902"/>
                          </a:lnTo>
                          <a:lnTo>
                            <a:pt x="49956" y="19803"/>
                          </a:lnTo>
                          <a:lnTo>
                            <a:pt x="46806" y="22053"/>
                          </a:lnTo>
                          <a:lnTo>
                            <a:pt x="43656" y="24303"/>
                          </a:lnTo>
                          <a:lnTo>
                            <a:pt x="39155" y="26553"/>
                          </a:lnTo>
                          <a:lnTo>
                            <a:pt x="38705" y="27904"/>
                          </a:lnTo>
                          <a:lnTo>
                            <a:pt x="39155" y="30154"/>
                          </a:lnTo>
                          <a:lnTo>
                            <a:pt x="39155" y="32404"/>
                          </a:lnTo>
                          <a:lnTo>
                            <a:pt x="40055" y="32404"/>
                          </a:lnTo>
                          <a:lnTo>
                            <a:pt x="40505" y="33304"/>
                          </a:lnTo>
                          <a:lnTo>
                            <a:pt x="39155" y="34204"/>
                          </a:lnTo>
                          <a:lnTo>
                            <a:pt x="34654" y="34654"/>
                          </a:lnTo>
                          <a:lnTo>
                            <a:pt x="33304" y="34654"/>
                          </a:lnTo>
                          <a:lnTo>
                            <a:pt x="31954" y="33754"/>
                          </a:lnTo>
                          <a:lnTo>
                            <a:pt x="31504" y="31504"/>
                          </a:lnTo>
                          <a:lnTo>
                            <a:pt x="29704" y="31954"/>
                          </a:lnTo>
                          <a:lnTo>
                            <a:pt x="29254" y="31504"/>
                          </a:lnTo>
                          <a:lnTo>
                            <a:pt x="31954" y="29704"/>
                          </a:lnTo>
                          <a:lnTo>
                            <a:pt x="30604" y="27453"/>
                          </a:lnTo>
                          <a:lnTo>
                            <a:pt x="29254" y="27453"/>
                          </a:lnTo>
                          <a:lnTo>
                            <a:pt x="28353" y="26553"/>
                          </a:lnTo>
                          <a:lnTo>
                            <a:pt x="28353" y="25203"/>
                          </a:lnTo>
                          <a:lnTo>
                            <a:pt x="29704" y="24303"/>
                          </a:lnTo>
                          <a:lnTo>
                            <a:pt x="30154" y="23403"/>
                          </a:lnTo>
                          <a:lnTo>
                            <a:pt x="28353" y="23853"/>
                          </a:lnTo>
                          <a:lnTo>
                            <a:pt x="27003" y="25203"/>
                          </a:lnTo>
                          <a:lnTo>
                            <a:pt x="25203" y="25653"/>
                          </a:lnTo>
                          <a:lnTo>
                            <a:pt x="23403" y="26553"/>
                          </a:lnTo>
                          <a:lnTo>
                            <a:pt x="26103" y="27003"/>
                          </a:lnTo>
                          <a:lnTo>
                            <a:pt x="24753" y="27904"/>
                          </a:lnTo>
                          <a:lnTo>
                            <a:pt x="23403" y="27904"/>
                          </a:lnTo>
                          <a:lnTo>
                            <a:pt x="17102" y="26103"/>
                          </a:lnTo>
                          <a:lnTo>
                            <a:pt x="15752" y="25653"/>
                          </a:lnTo>
                          <a:lnTo>
                            <a:pt x="13952" y="23853"/>
                          </a:lnTo>
                          <a:lnTo>
                            <a:pt x="12602" y="21603"/>
                          </a:lnTo>
                          <a:lnTo>
                            <a:pt x="13502" y="21603"/>
                          </a:lnTo>
                          <a:lnTo>
                            <a:pt x="13952" y="21153"/>
                          </a:lnTo>
                          <a:lnTo>
                            <a:pt x="13952" y="20702"/>
                          </a:lnTo>
                          <a:lnTo>
                            <a:pt x="11701" y="20253"/>
                          </a:lnTo>
                          <a:lnTo>
                            <a:pt x="8101" y="20253"/>
                          </a:lnTo>
                          <a:lnTo>
                            <a:pt x="6301" y="19803"/>
                          </a:lnTo>
                          <a:lnTo>
                            <a:pt x="6301" y="15752"/>
                          </a:lnTo>
                          <a:lnTo>
                            <a:pt x="5851" y="14402"/>
                          </a:lnTo>
                          <a:lnTo>
                            <a:pt x="3600" y="13502"/>
                          </a:lnTo>
                          <a:lnTo>
                            <a:pt x="450" y="13052"/>
                          </a:lnTo>
                          <a:lnTo>
                            <a:pt x="0" y="11251"/>
                          </a:lnTo>
                          <a:lnTo>
                            <a:pt x="900" y="9001"/>
                          </a:lnTo>
                          <a:lnTo>
                            <a:pt x="2700" y="6751"/>
                          </a:lnTo>
                          <a:lnTo>
                            <a:pt x="4050" y="4951"/>
                          </a:lnTo>
                          <a:lnTo>
                            <a:pt x="5401" y="3150"/>
                          </a:lnTo>
                          <a:lnTo>
                            <a:pt x="9001" y="0"/>
                          </a:lnTo>
                          <a:lnTo>
                            <a:pt x="9001" y="2250"/>
                          </a:lnTo>
                          <a:lnTo>
                            <a:pt x="9451" y="4501"/>
                          </a:lnTo>
                          <a:lnTo>
                            <a:pt x="7201" y="8551"/>
                          </a:lnTo>
                          <a:lnTo>
                            <a:pt x="11251" y="12602"/>
                          </a:lnTo>
                          <a:lnTo>
                            <a:pt x="11701" y="13502"/>
                          </a:lnTo>
                          <a:lnTo>
                            <a:pt x="12152" y="14852"/>
                          </a:lnTo>
                          <a:lnTo>
                            <a:pt x="11701" y="15752"/>
                          </a:lnTo>
                          <a:lnTo>
                            <a:pt x="11251" y="16652"/>
                          </a:lnTo>
                          <a:lnTo>
                            <a:pt x="12602" y="17102"/>
                          </a:lnTo>
                          <a:lnTo>
                            <a:pt x="12152" y="19352"/>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7" name="Freeform: Shape 1986">
                      <a:extLst>
                        <a:ext uri="{FF2B5EF4-FFF2-40B4-BE49-F238E27FC236}">
                          <a16:creationId xmlns:a16="http://schemas.microsoft.com/office/drawing/2014/main" id="{517F018A-055A-386E-03BB-BE661569B4C7}"/>
                        </a:ext>
                      </a:extLst>
                    </p:cNvPr>
                    <p:cNvSpPr/>
                    <p:nvPr/>
                  </p:nvSpPr>
                  <p:spPr>
                    <a:xfrm>
                      <a:off x="2020752" y="1918589"/>
                      <a:ext cx="479309" cy="639980"/>
                    </a:xfrm>
                    <a:custGeom>
                      <a:avLst/>
                      <a:gdLst>
                        <a:gd name="connsiteX0" fmla="*/ 319990 w 479309"/>
                        <a:gd name="connsiteY0" fmla="*/ 99913 h 639980"/>
                        <a:gd name="connsiteX1" fmla="*/ 315489 w 479309"/>
                        <a:gd name="connsiteY1" fmla="*/ 101713 h 639980"/>
                        <a:gd name="connsiteX2" fmla="*/ 315039 w 479309"/>
                        <a:gd name="connsiteY2" fmla="*/ 102163 h 639980"/>
                        <a:gd name="connsiteX3" fmla="*/ 315039 w 479309"/>
                        <a:gd name="connsiteY3" fmla="*/ 102613 h 639980"/>
                        <a:gd name="connsiteX4" fmla="*/ 316390 w 479309"/>
                        <a:gd name="connsiteY4" fmla="*/ 104413 h 639980"/>
                        <a:gd name="connsiteX5" fmla="*/ 319540 w 479309"/>
                        <a:gd name="connsiteY5" fmla="*/ 105763 h 639980"/>
                        <a:gd name="connsiteX6" fmla="*/ 319990 w 479309"/>
                        <a:gd name="connsiteY6" fmla="*/ 106663 h 639980"/>
                        <a:gd name="connsiteX7" fmla="*/ 319540 w 479309"/>
                        <a:gd name="connsiteY7" fmla="*/ 108014 h 639980"/>
                        <a:gd name="connsiteX8" fmla="*/ 318190 w 479309"/>
                        <a:gd name="connsiteY8" fmla="*/ 108914 h 639980"/>
                        <a:gd name="connsiteX9" fmla="*/ 316840 w 479309"/>
                        <a:gd name="connsiteY9" fmla="*/ 110264 h 639980"/>
                        <a:gd name="connsiteX10" fmla="*/ 314589 w 479309"/>
                        <a:gd name="connsiteY10" fmla="*/ 110714 h 639980"/>
                        <a:gd name="connsiteX11" fmla="*/ 314589 w 479309"/>
                        <a:gd name="connsiteY11" fmla="*/ 111164 h 639980"/>
                        <a:gd name="connsiteX12" fmla="*/ 315039 w 479309"/>
                        <a:gd name="connsiteY12" fmla="*/ 112514 h 639980"/>
                        <a:gd name="connsiteX13" fmla="*/ 315940 w 479309"/>
                        <a:gd name="connsiteY13" fmla="*/ 113414 h 639980"/>
                        <a:gd name="connsiteX14" fmla="*/ 319090 w 479309"/>
                        <a:gd name="connsiteY14" fmla="*/ 115214 h 639980"/>
                        <a:gd name="connsiteX15" fmla="*/ 319540 w 479309"/>
                        <a:gd name="connsiteY15" fmla="*/ 115665 h 639980"/>
                        <a:gd name="connsiteX16" fmla="*/ 319540 w 479309"/>
                        <a:gd name="connsiteY16" fmla="*/ 116115 h 639980"/>
                        <a:gd name="connsiteX17" fmla="*/ 319540 w 479309"/>
                        <a:gd name="connsiteY17" fmla="*/ 117015 h 639980"/>
                        <a:gd name="connsiteX18" fmla="*/ 317290 w 479309"/>
                        <a:gd name="connsiteY18" fmla="*/ 118815 h 639980"/>
                        <a:gd name="connsiteX19" fmla="*/ 316840 w 479309"/>
                        <a:gd name="connsiteY19" fmla="*/ 121065 h 639980"/>
                        <a:gd name="connsiteX20" fmla="*/ 316390 w 479309"/>
                        <a:gd name="connsiteY20" fmla="*/ 132767 h 639980"/>
                        <a:gd name="connsiteX21" fmla="*/ 317290 w 479309"/>
                        <a:gd name="connsiteY21" fmla="*/ 135017 h 639980"/>
                        <a:gd name="connsiteX22" fmla="*/ 318640 w 479309"/>
                        <a:gd name="connsiteY22" fmla="*/ 135917 h 639980"/>
                        <a:gd name="connsiteX23" fmla="*/ 324490 w 479309"/>
                        <a:gd name="connsiteY23" fmla="*/ 133217 h 639980"/>
                        <a:gd name="connsiteX24" fmla="*/ 325841 w 479309"/>
                        <a:gd name="connsiteY24" fmla="*/ 133667 h 639980"/>
                        <a:gd name="connsiteX25" fmla="*/ 325841 w 479309"/>
                        <a:gd name="connsiteY25" fmla="*/ 135467 h 639980"/>
                        <a:gd name="connsiteX26" fmla="*/ 324941 w 479309"/>
                        <a:gd name="connsiteY26" fmla="*/ 136367 h 639980"/>
                        <a:gd name="connsiteX27" fmla="*/ 323140 w 479309"/>
                        <a:gd name="connsiteY27" fmla="*/ 138617 h 639980"/>
                        <a:gd name="connsiteX28" fmla="*/ 322690 w 479309"/>
                        <a:gd name="connsiteY28" fmla="*/ 140418 h 639980"/>
                        <a:gd name="connsiteX29" fmla="*/ 322690 w 479309"/>
                        <a:gd name="connsiteY29" fmla="*/ 145818 h 639980"/>
                        <a:gd name="connsiteX30" fmla="*/ 323140 w 479309"/>
                        <a:gd name="connsiteY30" fmla="*/ 148069 h 639980"/>
                        <a:gd name="connsiteX31" fmla="*/ 323591 w 479309"/>
                        <a:gd name="connsiteY31" fmla="*/ 150319 h 639980"/>
                        <a:gd name="connsiteX32" fmla="*/ 324490 w 479309"/>
                        <a:gd name="connsiteY32" fmla="*/ 151219 h 639980"/>
                        <a:gd name="connsiteX33" fmla="*/ 326741 w 479309"/>
                        <a:gd name="connsiteY33" fmla="*/ 153019 h 639980"/>
                        <a:gd name="connsiteX34" fmla="*/ 326741 w 479309"/>
                        <a:gd name="connsiteY34" fmla="*/ 153919 h 639980"/>
                        <a:gd name="connsiteX35" fmla="*/ 325841 w 479309"/>
                        <a:gd name="connsiteY35" fmla="*/ 154819 h 639980"/>
                        <a:gd name="connsiteX36" fmla="*/ 324941 w 479309"/>
                        <a:gd name="connsiteY36" fmla="*/ 154819 h 639980"/>
                        <a:gd name="connsiteX37" fmla="*/ 316840 w 479309"/>
                        <a:gd name="connsiteY37" fmla="*/ 152569 h 639980"/>
                        <a:gd name="connsiteX38" fmla="*/ 316390 w 479309"/>
                        <a:gd name="connsiteY38" fmla="*/ 153019 h 639980"/>
                        <a:gd name="connsiteX39" fmla="*/ 315940 w 479309"/>
                        <a:gd name="connsiteY39" fmla="*/ 153919 h 639980"/>
                        <a:gd name="connsiteX40" fmla="*/ 315489 w 479309"/>
                        <a:gd name="connsiteY40" fmla="*/ 155269 h 639980"/>
                        <a:gd name="connsiteX41" fmla="*/ 315489 w 479309"/>
                        <a:gd name="connsiteY41" fmla="*/ 156620 h 639980"/>
                        <a:gd name="connsiteX42" fmla="*/ 316390 w 479309"/>
                        <a:gd name="connsiteY42" fmla="*/ 157520 h 639980"/>
                        <a:gd name="connsiteX43" fmla="*/ 320440 w 479309"/>
                        <a:gd name="connsiteY43" fmla="*/ 158420 h 639980"/>
                        <a:gd name="connsiteX44" fmla="*/ 327191 w 479309"/>
                        <a:gd name="connsiteY44" fmla="*/ 160220 h 639980"/>
                        <a:gd name="connsiteX45" fmla="*/ 328541 w 479309"/>
                        <a:gd name="connsiteY45" fmla="*/ 163371 h 639980"/>
                        <a:gd name="connsiteX46" fmla="*/ 329441 w 479309"/>
                        <a:gd name="connsiteY46" fmla="*/ 164271 h 639980"/>
                        <a:gd name="connsiteX47" fmla="*/ 330341 w 479309"/>
                        <a:gd name="connsiteY47" fmla="*/ 164271 h 639980"/>
                        <a:gd name="connsiteX48" fmla="*/ 333942 w 479309"/>
                        <a:gd name="connsiteY48" fmla="*/ 162470 h 639980"/>
                        <a:gd name="connsiteX49" fmla="*/ 339343 w 479309"/>
                        <a:gd name="connsiteY49" fmla="*/ 160220 h 639980"/>
                        <a:gd name="connsiteX50" fmla="*/ 340693 w 479309"/>
                        <a:gd name="connsiteY50" fmla="*/ 160670 h 639980"/>
                        <a:gd name="connsiteX51" fmla="*/ 342493 w 479309"/>
                        <a:gd name="connsiteY51" fmla="*/ 161570 h 639980"/>
                        <a:gd name="connsiteX52" fmla="*/ 343843 w 479309"/>
                        <a:gd name="connsiteY52" fmla="*/ 162920 h 639980"/>
                        <a:gd name="connsiteX53" fmla="*/ 344293 w 479309"/>
                        <a:gd name="connsiteY53" fmla="*/ 164271 h 639980"/>
                        <a:gd name="connsiteX54" fmla="*/ 344293 w 479309"/>
                        <a:gd name="connsiteY54" fmla="*/ 165171 h 639980"/>
                        <a:gd name="connsiteX55" fmla="*/ 344293 w 479309"/>
                        <a:gd name="connsiteY55" fmla="*/ 165621 h 639980"/>
                        <a:gd name="connsiteX56" fmla="*/ 343393 w 479309"/>
                        <a:gd name="connsiteY56" fmla="*/ 166071 h 639980"/>
                        <a:gd name="connsiteX57" fmla="*/ 334842 w 479309"/>
                        <a:gd name="connsiteY57" fmla="*/ 167871 h 639980"/>
                        <a:gd name="connsiteX58" fmla="*/ 333042 w 479309"/>
                        <a:gd name="connsiteY58" fmla="*/ 168771 h 639980"/>
                        <a:gd name="connsiteX59" fmla="*/ 332141 w 479309"/>
                        <a:gd name="connsiteY59" fmla="*/ 169671 h 639980"/>
                        <a:gd name="connsiteX60" fmla="*/ 331692 w 479309"/>
                        <a:gd name="connsiteY60" fmla="*/ 170571 h 639980"/>
                        <a:gd name="connsiteX61" fmla="*/ 331692 w 479309"/>
                        <a:gd name="connsiteY61" fmla="*/ 171471 h 639980"/>
                        <a:gd name="connsiteX62" fmla="*/ 332141 w 479309"/>
                        <a:gd name="connsiteY62" fmla="*/ 173272 h 639980"/>
                        <a:gd name="connsiteX63" fmla="*/ 332592 w 479309"/>
                        <a:gd name="connsiteY63" fmla="*/ 173722 h 639980"/>
                        <a:gd name="connsiteX64" fmla="*/ 335742 w 479309"/>
                        <a:gd name="connsiteY64" fmla="*/ 173272 h 639980"/>
                        <a:gd name="connsiteX65" fmla="*/ 336642 w 479309"/>
                        <a:gd name="connsiteY65" fmla="*/ 175522 h 639980"/>
                        <a:gd name="connsiteX66" fmla="*/ 336642 w 479309"/>
                        <a:gd name="connsiteY66" fmla="*/ 176422 h 639980"/>
                        <a:gd name="connsiteX67" fmla="*/ 336192 w 479309"/>
                        <a:gd name="connsiteY67" fmla="*/ 177322 h 639980"/>
                        <a:gd name="connsiteX68" fmla="*/ 332592 w 479309"/>
                        <a:gd name="connsiteY68" fmla="*/ 179573 h 639980"/>
                        <a:gd name="connsiteX69" fmla="*/ 330791 w 479309"/>
                        <a:gd name="connsiteY69" fmla="*/ 181373 h 639980"/>
                        <a:gd name="connsiteX70" fmla="*/ 324941 w 479309"/>
                        <a:gd name="connsiteY70" fmla="*/ 189024 h 639980"/>
                        <a:gd name="connsiteX71" fmla="*/ 324490 w 479309"/>
                        <a:gd name="connsiteY71" fmla="*/ 189924 h 639980"/>
                        <a:gd name="connsiteX72" fmla="*/ 324490 w 479309"/>
                        <a:gd name="connsiteY72" fmla="*/ 190824 h 639980"/>
                        <a:gd name="connsiteX73" fmla="*/ 324941 w 479309"/>
                        <a:gd name="connsiteY73" fmla="*/ 191724 h 639980"/>
                        <a:gd name="connsiteX74" fmla="*/ 328541 w 479309"/>
                        <a:gd name="connsiteY74" fmla="*/ 194874 h 639980"/>
                        <a:gd name="connsiteX75" fmla="*/ 330341 w 479309"/>
                        <a:gd name="connsiteY75" fmla="*/ 200725 h 639980"/>
                        <a:gd name="connsiteX76" fmla="*/ 331692 w 479309"/>
                        <a:gd name="connsiteY76" fmla="*/ 203426 h 639980"/>
                        <a:gd name="connsiteX77" fmla="*/ 332592 w 479309"/>
                        <a:gd name="connsiteY77" fmla="*/ 204326 h 639980"/>
                        <a:gd name="connsiteX78" fmla="*/ 333942 w 479309"/>
                        <a:gd name="connsiteY78" fmla="*/ 203426 h 639980"/>
                        <a:gd name="connsiteX79" fmla="*/ 334392 w 479309"/>
                        <a:gd name="connsiteY79" fmla="*/ 203426 h 639980"/>
                        <a:gd name="connsiteX80" fmla="*/ 335292 w 479309"/>
                        <a:gd name="connsiteY80" fmla="*/ 204326 h 639980"/>
                        <a:gd name="connsiteX81" fmla="*/ 336192 w 479309"/>
                        <a:gd name="connsiteY81" fmla="*/ 206576 h 639980"/>
                        <a:gd name="connsiteX82" fmla="*/ 336642 w 479309"/>
                        <a:gd name="connsiteY82" fmla="*/ 207476 h 639980"/>
                        <a:gd name="connsiteX83" fmla="*/ 337542 w 479309"/>
                        <a:gd name="connsiteY83" fmla="*/ 207926 h 639980"/>
                        <a:gd name="connsiteX84" fmla="*/ 339343 w 479309"/>
                        <a:gd name="connsiteY84" fmla="*/ 208376 h 639980"/>
                        <a:gd name="connsiteX85" fmla="*/ 341593 w 479309"/>
                        <a:gd name="connsiteY85" fmla="*/ 207026 h 639980"/>
                        <a:gd name="connsiteX86" fmla="*/ 342043 w 479309"/>
                        <a:gd name="connsiteY86" fmla="*/ 207026 h 639980"/>
                        <a:gd name="connsiteX87" fmla="*/ 342043 w 479309"/>
                        <a:gd name="connsiteY87" fmla="*/ 208376 h 639980"/>
                        <a:gd name="connsiteX88" fmla="*/ 341593 w 479309"/>
                        <a:gd name="connsiteY88" fmla="*/ 209276 h 639980"/>
                        <a:gd name="connsiteX89" fmla="*/ 338892 w 479309"/>
                        <a:gd name="connsiteY89" fmla="*/ 212877 h 639980"/>
                        <a:gd name="connsiteX90" fmla="*/ 338442 w 479309"/>
                        <a:gd name="connsiteY90" fmla="*/ 213777 h 639980"/>
                        <a:gd name="connsiteX91" fmla="*/ 338442 w 479309"/>
                        <a:gd name="connsiteY91" fmla="*/ 215127 h 639980"/>
                        <a:gd name="connsiteX92" fmla="*/ 338892 w 479309"/>
                        <a:gd name="connsiteY92" fmla="*/ 219628 h 639980"/>
                        <a:gd name="connsiteX93" fmla="*/ 337542 w 479309"/>
                        <a:gd name="connsiteY93" fmla="*/ 222778 h 639980"/>
                        <a:gd name="connsiteX94" fmla="*/ 337542 w 479309"/>
                        <a:gd name="connsiteY94" fmla="*/ 224128 h 639980"/>
                        <a:gd name="connsiteX95" fmla="*/ 338442 w 479309"/>
                        <a:gd name="connsiteY95" fmla="*/ 225478 h 639980"/>
                        <a:gd name="connsiteX96" fmla="*/ 338442 w 479309"/>
                        <a:gd name="connsiteY96" fmla="*/ 225928 h 639980"/>
                        <a:gd name="connsiteX97" fmla="*/ 337542 w 479309"/>
                        <a:gd name="connsiteY97" fmla="*/ 229529 h 639980"/>
                        <a:gd name="connsiteX98" fmla="*/ 336642 w 479309"/>
                        <a:gd name="connsiteY98" fmla="*/ 231329 h 639980"/>
                        <a:gd name="connsiteX99" fmla="*/ 335742 w 479309"/>
                        <a:gd name="connsiteY99" fmla="*/ 233579 h 639980"/>
                        <a:gd name="connsiteX100" fmla="*/ 335292 w 479309"/>
                        <a:gd name="connsiteY100" fmla="*/ 238980 h 639980"/>
                        <a:gd name="connsiteX101" fmla="*/ 334392 w 479309"/>
                        <a:gd name="connsiteY101" fmla="*/ 239880 h 639980"/>
                        <a:gd name="connsiteX102" fmla="*/ 333042 w 479309"/>
                        <a:gd name="connsiteY102" fmla="*/ 241680 h 639980"/>
                        <a:gd name="connsiteX103" fmla="*/ 332592 w 479309"/>
                        <a:gd name="connsiteY103" fmla="*/ 243030 h 639980"/>
                        <a:gd name="connsiteX104" fmla="*/ 331241 w 479309"/>
                        <a:gd name="connsiteY104" fmla="*/ 244831 h 639980"/>
                        <a:gd name="connsiteX105" fmla="*/ 330791 w 479309"/>
                        <a:gd name="connsiteY105" fmla="*/ 246181 h 639980"/>
                        <a:gd name="connsiteX106" fmla="*/ 330791 w 479309"/>
                        <a:gd name="connsiteY106" fmla="*/ 246631 h 639980"/>
                        <a:gd name="connsiteX107" fmla="*/ 333942 w 479309"/>
                        <a:gd name="connsiteY107" fmla="*/ 252932 h 639980"/>
                        <a:gd name="connsiteX108" fmla="*/ 334392 w 479309"/>
                        <a:gd name="connsiteY108" fmla="*/ 254732 h 639980"/>
                        <a:gd name="connsiteX109" fmla="*/ 333942 w 479309"/>
                        <a:gd name="connsiteY109" fmla="*/ 256082 h 639980"/>
                        <a:gd name="connsiteX110" fmla="*/ 331692 w 479309"/>
                        <a:gd name="connsiteY110" fmla="*/ 256532 h 639980"/>
                        <a:gd name="connsiteX111" fmla="*/ 329891 w 479309"/>
                        <a:gd name="connsiteY111" fmla="*/ 257882 h 639980"/>
                        <a:gd name="connsiteX112" fmla="*/ 330341 w 479309"/>
                        <a:gd name="connsiteY112" fmla="*/ 260133 h 639980"/>
                        <a:gd name="connsiteX113" fmla="*/ 330341 w 479309"/>
                        <a:gd name="connsiteY113" fmla="*/ 261483 h 639980"/>
                        <a:gd name="connsiteX114" fmla="*/ 330341 w 479309"/>
                        <a:gd name="connsiteY114" fmla="*/ 261933 h 639980"/>
                        <a:gd name="connsiteX115" fmla="*/ 330791 w 479309"/>
                        <a:gd name="connsiteY115" fmla="*/ 262383 h 639980"/>
                        <a:gd name="connsiteX116" fmla="*/ 334392 w 479309"/>
                        <a:gd name="connsiteY116" fmla="*/ 264183 h 639980"/>
                        <a:gd name="connsiteX117" fmla="*/ 334842 w 479309"/>
                        <a:gd name="connsiteY117" fmla="*/ 264633 h 639980"/>
                        <a:gd name="connsiteX118" fmla="*/ 333042 w 479309"/>
                        <a:gd name="connsiteY118" fmla="*/ 267334 h 639980"/>
                        <a:gd name="connsiteX119" fmla="*/ 332592 w 479309"/>
                        <a:gd name="connsiteY119" fmla="*/ 269134 h 639980"/>
                        <a:gd name="connsiteX120" fmla="*/ 333492 w 479309"/>
                        <a:gd name="connsiteY120" fmla="*/ 269134 h 639980"/>
                        <a:gd name="connsiteX121" fmla="*/ 335292 w 479309"/>
                        <a:gd name="connsiteY121" fmla="*/ 269584 h 639980"/>
                        <a:gd name="connsiteX122" fmla="*/ 336192 w 479309"/>
                        <a:gd name="connsiteY122" fmla="*/ 270484 h 639980"/>
                        <a:gd name="connsiteX123" fmla="*/ 341593 w 479309"/>
                        <a:gd name="connsiteY123" fmla="*/ 271834 h 639980"/>
                        <a:gd name="connsiteX124" fmla="*/ 342043 w 479309"/>
                        <a:gd name="connsiteY124" fmla="*/ 273184 h 639980"/>
                        <a:gd name="connsiteX125" fmla="*/ 341593 w 479309"/>
                        <a:gd name="connsiteY125" fmla="*/ 273634 h 639980"/>
                        <a:gd name="connsiteX126" fmla="*/ 339792 w 479309"/>
                        <a:gd name="connsiteY126" fmla="*/ 274534 h 639980"/>
                        <a:gd name="connsiteX127" fmla="*/ 338892 w 479309"/>
                        <a:gd name="connsiteY127" fmla="*/ 275435 h 639980"/>
                        <a:gd name="connsiteX128" fmla="*/ 338892 w 479309"/>
                        <a:gd name="connsiteY128" fmla="*/ 276785 h 639980"/>
                        <a:gd name="connsiteX129" fmla="*/ 338892 w 479309"/>
                        <a:gd name="connsiteY129" fmla="*/ 277685 h 639980"/>
                        <a:gd name="connsiteX130" fmla="*/ 342493 w 479309"/>
                        <a:gd name="connsiteY130" fmla="*/ 283535 h 639980"/>
                        <a:gd name="connsiteX131" fmla="*/ 344743 w 479309"/>
                        <a:gd name="connsiteY131" fmla="*/ 287586 h 639980"/>
                        <a:gd name="connsiteX132" fmla="*/ 345643 w 479309"/>
                        <a:gd name="connsiteY132" fmla="*/ 288936 h 639980"/>
                        <a:gd name="connsiteX133" fmla="*/ 346993 w 479309"/>
                        <a:gd name="connsiteY133" fmla="*/ 289836 h 639980"/>
                        <a:gd name="connsiteX134" fmla="*/ 350144 w 479309"/>
                        <a:gd name="connsiteY134" fmla="*/ 290736 h 639980"/>
                        <a:gd name="connsiteX135" fmla="*/ 350144 w 479309"/>
                        <a:gd name="connsiteY135" fmla="*/ 291637 h 639980"/>
                        <a:gd name="connsiteX136" fmla="*/ 350144 w 479309"/>
                        <a:gd name="connsiteY136" fmla="*/ 293437 h 639980"/>
                        <a:gd name="connsiteX137" fmla="*/ 350144 w 479309"/>
                        <a:gd name="connsiteY137" fmla="*/ 294787 h 639980"/>
                        <a:gd name="connsiteX138" fmla="*/ 351044 w 479309"/>
                        <a:gd name="connsiteY138" fmla="*/ 297037 h 639980"/>
                        <a:gd name="connsiteX139" fmla="*/ 350144 w 479309"/>
                        <a:gd name="connsiteY139" fmla="*/ 298387 h 639980"/>
                        <a:gd name="connsiteX140" fmla="*/ 344293 w 479309"/>
                        <a:gd name="connsiteY140" fmla="*/ 301988 h 639980"/>
                        <a:gd name="connsiteX141" fmla="*/ 342493 w 479309"/>
                        <a:gd name="connsiteY141" fmla="*/ 303338 h 639980"/>
                        <a:gd name="connsiteX142" fmla="*/ 342043 w 479309"/>
                        <a:gd name="connsiteY142" fmla="*/ 304238 h 639980"/>
                        <a:gd name="connsiteX143" fmla="*/ 341593 w 479309"/>
                        <a:gd name="connsiteY143" fmla="*/ 306038 h 639980"/>
                        <a:gd name="connsiteX144" fmla="*/ 342943 w 479309"/>
                        <a:gd name="connsiteY144" fmla="*/ 309639 h 639980"/>
                        <a:gd name="connsiteX145" fmla="*/ 342943 w 479309"/>
                        <a:gd name="connsiteY145" fmla="*/ 310539 h 639980"/>
                        <a:gd name="connsiteX146" fmla="*/ 342493 w 479309"/>
                        <a:gd name="connsiteY146" fmla="*/ 312339 h 639980"/>
                        <a:gd name="connsiteX147" fmla="*/ 340693 w 479309"/>
                        <a:gd name="connsiteY147" fmla="*/ 317740 h 639980"/>
                        <a:gd name="connsiteX148" fmla="*/ 338892 w 479309"/>
                        <a:gd name="connsiteY148" fmla="*/ 322690 h 639980"/>
                        <a:gd name="connsiteX149" fmla="*/ 337992 w 479309"/>
                        <a:gd name="connsiteY149" fmla="*/ 323591 h 639980"/>
                        <a:gd name="connsiteX150" fmla="*/ 337092 w 479309"/>
                        <a:gd name="connsiteY150" fmla="*/ 323591 h 639980"/>
                        <a:gd name="connsiteX151" fmla="*/ 333942 w 479309"/>
                        <a:gd name="connsiteY151" fmla="*/ 322690 h 639980"/>
                        <a:gd name="connsiteX152" fmla="*/ 324941 w 479309"/>
                        <a:gd name="connsiteY152" fmla="*/ 319090 h 639980"/>
                        <a:gd name="connsiteX153" fmla="*/ 315039 w 479309"/>
                        <a:gd name="connsiteY153" fmla="*/ 318640 h 639980"/>
                        <a:gd name="connsiteX154" fmla="*/ 308738 w 479309"/>
                        <a:gd name="connsiteY154" fmla="*/ 319090 h 639980"/>
                        <a:gd name="connsiteX155" fmla="*/ 297037 w 479309"/>
                        <a:gd name="connsiteY155" fmla="*/ 318190 h 639980"/>
                        <a:gd name="connsiteX156" fmla="*/ 295687 w 479309"/>
                        <a:gd name="connsiteY156" fmla="*/ 317290 h 639980"/>
                        <a:gd name="connsiteX157" fmla="*/ 294337 w 479309"/>
                        <a:gd name="connsiteY157" fmla="*/ 315940 h 639980"/>
                        <a:gd name="connsiteX158" fmla="*/ 292987 w 479309"/>
                        <a:gd name="connsiteY158" fmla="*/ 312339 h 639980"/>
                        <a:gd name="connsiteX159" fmla="*/ 292537 w 479309"/>
                        <a:gd name="connsiteY159" fmla="*/ 311889 h 639980"/>
                        <a:gd name="connsiteX160" fmla="*/ 288486 w 479309"/>
                        <a:gd name="connsiteY160" fmla="*/ 310539 h 639980"/>
                        <a:gd name="connsiteX161" fmla="*/ 287136 w 479309"/>
                        <a:gd name="connsiteY161" fmla="*/ 309639 h 639980"/>
                        <a:gd name="connsiteX162" fmla="*/ 285336 w 479309"/>
                        <a:gd name="connsiteY162" fmla="*/ 308289 h 639980"/>
                        <a:gd name="connsiteX163" fmla="*/ 277235 w 479309"/>
                        <a:gd name="connsiteY163" fmla="*/ 299287 h 639980"/>
                        <a:gd name="connsiteX164" fmla="*/ 274984 w 479309"/>
                        <a:gd name="connsiteY164" fmla="*/ 297037 h 639980"/>
                        <a:gd name="connsiteX165" fmla="*/ 274084 w 479309"/>
                        <a:gd name="connsiteY165" fmla="*/ 296587 h 639980"/>
                        <a:gd name="connsiteX166" fmla="*/ 273634 w 479309"/>
                        <a:gd name="connsiteY166" fmla="*/ 297037 h 639980"/>
                        <a:gd name="connsiteX167" fmla="*/ 273634 w 479309"/>
                        <a:gd name="connsiteY167" fmla="*/ 297487 h 639980"/>
                        <a:gd name="connsiteX168" fmla="*/ 274984 w 479309"/>
                        <a:gd name="connsiteY168" fmla="*/ 300638 h 639980"/>
                        <a:gd name="connsiteX169" fmla="*/ 274984 w 479309"/>
                        <a:gd name="connsiteY169" fmla="*/ 301538 h 639980"/>
                        <a:gd name="connsiteX170" fmla="*/ 274534 w 479309"/>
                        <a:gd name="connsiteY170" fmla="*/ 303788 h 639980"/>
                        <a:gd name="connsiteX171" fmla="*/ 275884 w 479309"/>
                        <a:gd name="connsiteY171" fmla="*/ 308739 h 639980"/>
                        <a:gd name="connsiteX172" fmla="*/ 275434 w 479309"/>
                        <a:gd name="connsiteY172" fmla="*/ 310539 h 639980"/>
                        <a:gd name="connsiteX173" fmla="*/ 276785 w 479309"/>
                        <a:gd name="connsiteY173" fmla="*/ 314139 h 639980"/>
                        <a:gd name="connsiteX174" fmla="*/ 276785 w 479309"/>
                        <a:gd name="connsiteY174" fmla="*/ 315940 h 639980"/>
                        <a:gd name="connsiteX175" fmla="*/ 275434 w 479309"/>
                        <a:gd name="connsiteY175" fmla="*/ 317740 h 639980"/>
                        <a:gd name="connsiteX176" fmla="*/ 272284 w 479309"/>
                        <a:gd name="connsiteY176" fmla="*/ 316390 h 639980"/>
                        <a:gd name="connsiteX177" fmla="*/ 265983 w 479309"/>
                        <a:gd name="connsiteY177" fmla="*/ 310539 h 639980"/>
                        <a:gd name="connsiteX178" fmla="*/ 263283 w 479309"/>
                        <a:gd name="connsiteY178" fmla="*/ 306038 h 639980"/>
                        <a:gd name="connsiteX179" fmla="*/ 262383 w 479309"/>
                        <a:gd name="connsiteY179" fmla="*/ 305588 h 639980"/>
                        <a:gd name="connsiteX180" fmla="*/ 261033 w 479309"/>
                        <a:gd name="connsiteY180" fmla="*/ 305588 h 639980"/>
                        <a:gd name="connsiteX181" fmla="*/ 260583 w 479309"/>
                        <a:gd name="connsiteY181" fmla="*/ 306038 h 639980"/>
                        <a:gd name="connsiteX182" fmla="*/ 260132 w 479309"/>
                        <a:gd name="connsiteY182" fmla="*/ 306938 h 639980"/>
                        <a:gd name="connsiteX183" fmla="*/ 260583 w 479309"/>
                        <a:gd name="connsiteY183" fmla="*/ 308739 h 639980"/>
                        <a:gd name="connsiteX184" fmla="*/ 261483 w 479309"/>
                        <a:gd name="connsiteY184" fmla="*/ 310989 h 639980"/>
                        <a:gd name="connsiteX185" fmla="*/ 263283 w 479309"/>
                        <a:gd name="connsiteY185" fmla="*/ 314139 h 639980"/>
                        <a:gd name="connsiteX186" fmla="*/ 265083 w 479309"/>
                        <a:gd name="connsiteY186" fmla="*/ 318640 h 639980"/>
                        <a:gd name="connsiteX187" fmla="*/ 265083 w 479309"/>
                        <a:gd name="connsiteY187" fmla="*/ 319090 h 639980"/>
                        <a:gd name="connsiteX188" fmla="*/ 265983 w 479309"/>
                        <a:gd name="connsiteY188" fmla="*/ 319990 h 639980"/>
                        <a:gd name="connsiteX189" fmla="*/ 265983 w 479309"/>
                        <a:gd name="connsiteY189" fmla="*/ 321340 h 639980"/>
                        <a:gd name="connsiteX190" fmla="*/ 264183 w 479309"/>
                        <a:gd name="connsiteY190" fmla="*/ 322690 h 639980"/>
                        <a:gd name="connsiteX191" fmla="*/ 263283 w 479309"/>
                        <a:gd name="connsiteY191" fmla="*/ 324941 h 639980"/>
                        <a:gd name="connsiteX192" fmla="*/ 262833 w 479309"/>
                        <a:gd name="connsiteY192" fmla="*/ 324941 h 639980"/>
                        <a:gd name="connsiteX193" fmla="*/ 258332 w 479309"/>
                        <a:gd name="connsiteY193" fmla="*/ 323141 h 639980"/>
                        <a:gd name="connsiteX194" fmla="*/ 257432 w 479309"/>
                        <a:gd name="connsiteY194" fmla="*/ 323591 h 639980"/>
                        <a:gd name="connsiteX195" fmla="*/ 256982 w 479309"/>
                        <a:gd name="connsiteY195" fmla="*/ 324041 h 639980"/>
                        <a:gd name="connsiteX196" fmla="*/ 256532 w 479309"/>
                        <a:gd name="connsiteY196" fmla="*/ 325841 h 639980"/>
                        <a:gd name="connsiteX197" fmla="*/ 256532 w 479309"/>
                        <a:gd name="connsiteY197" fmla="*/ 327641 h 639980"/>
                        <a:gd name="connsiteX198" fmla="*/ 256982 w 479309"/>
                        <a:gd name="connsiteY198" fmla="*/ 329891 h 639980"/>
                        <a:gd name="connsiteX199" fmla="*/ 258332 w 479309"/>
                        <a:gd name="connsiteY199" fmla="*/ 333942 h 639980"/>
                        <a:gd name="connsiteX200" fmla="*/ 258332 w 479309"/>
                        <a:gd name="connsiteY200" fmla="*/ 334842 h 639980"/>
                        <a:gd name="connsiteX201" fmla="*/ 258332 w 479309"/>
                        <a:gd name="connsiteY201" fmla="*/ 335292 h 639980"/>
                        <a:gd name="connsiteX202" fmla="*/ 254732 w 479309"/>
                        <a:gd name="connsiteY202" fmla="*/ 338893 h 639980"/>
                        <a:gd name="connsiteX203" fmla="*/ 253832 w 479309"/>
                        <a:gd name="connsiteY203" fmla="*/ 340243 h 639980"/>
                        <a:gd name="connsiteX204" fmla="*/ 253382 w 479309"/>
                        <a:gd name="connsiteY204" fmla="*/ 341593 h 639980"/>
                        <a:gd name="connsiteX205" fmla="*/ 253382 w 479309"/>
                        <a:gd name="connsiteY205" fmla="*/ 342493 h 639980"/>
                        <a:gd name="connsiteX206" fmla="*/ 258332 w 479309"/>
                        <a:gd name="connsiteY206" fmla="*/ 349694 h 639980"/>
                        <a:gd name="connsiteX207" fmla="*/ 259683 w 479309"/>
                        <a:gd name="connsiteY207" fmla="*/ 351044 h 639980"/>
                        <a:gd name="connsiteX208" fmla="*/ 260132 w 479309"/>
                        <a:gd name="connsiteY208" fmla="*/ 353294 h 639980"/>
                        <a:gd name="connsiteX209" fmla="*/ 259683 w 479309"/>
                        <a:gd name="connsiteY209" fmla="*/ 356895 h 639980"/>
                        <a:gd name="connsiteX210" fmla="*/ 259683 w 479309"/>
                        <a:gd name="connsiteY210" fmla="*/ 357795 h 639980"/>
                        <a:gd name="connsiteX211" fmla="*/ 260132 w 479309"/>
                        <a:gd name="connsiteY211" fmla="*/ 358245 h 639980"/>
                        <a:gd name="connsiteX212" fmla="*/ 266433 w 479309"/>
                        <a:gd name="connsiteY212" fmla="*/ 360495 h 639980"/>
                        <a:gd name="connsiteX213" fmla="*/ 267333 w 479309"/>
                        <a:gd name="connsiteY213" fmla="*/ 361845 h 639980"/>
                        <a:gd name="connsiteX214" fmla="*/ 268234 w 479309"/>
                        <a:gd name="connsiteY214" fmla="*/ 364996 h 639980"/>
                        <a:gd name="connsiteX215" fmla="*/ 269134 w 479309"/>
                        <a:gd name="connsiteY215" fmla="*/ 365896 h 639980"/>
                        <a:gd name="connsiteX216" fmla="*/ 270034 w 479309"/>
                        <a:gd name="connsiteY216" fmla="*/ 366346 h 639980"/>
                        <a:gd name="connsiteX217" fmla="*/ 270934 w 479309"/>
                        <a:gd name="connsiteY217" fmla="*/ 367246 h 639980"/>
                        <a:gd name="connsiteX218" fmla="*/ 270934 w 479309"/>
                        <a:gd name="connsiteY218" fmla="*/ 368146 h 639980"/>
                        <a:gd name="connsiteX219" fmla="*/ 270484 w 479309"/>
                        <a:gd name="connsiteY219" fmla="*/ 373097 h 639980"/>
                        <a:gd name="connsiteX220" fmla="*/ 270484 w 479309"/>
                        <a:gd name="connsiteY220" fmla="*/ 377147 h 639980"/>
                        <a:gd name="connsiteX221" fmla="*/ 269134 w 479309"/>
                        <a:gd name="connsiteY221" fmla="*/ 380298 h 639980"/>
                        <a:gd name="connsiteX222" fmla="*/ 268684 w 479309"/>
                        <a:gd name="connsiteY222" fmla="*/ 382548 h 639980"/>
                        <a:gd name="connsiteX223" fmla="*/ 268234 w 479309"/>
                        <a:gd name="connsiteY223" fmla="*/ 385698 h 639980"/>
                        <a:gd name="connsiteX224" fmla="*/ 268234 w 479309"/>
                        <a:gd name="connsiteY224" fmla="*/ 388399 h 639980"/>
                        <a:gd name="connsiteX225" fmla="*/ 269134 w 479309"/>
                        <a:gd name="connsiteY225" fmla="*/ 389749 h 639980"/>
                        <a:gd name="connsiteX226" fmla="*/ 270934 w 479309"/>
                        <a:gd name="connsiteY226" fmla="*/ 390649 h 639980"/>
                        <a:gd name="connsiteX227" fmla="*/ 272284 w 479309"/>
                        <a:gd name="connsiteY227" fmla="*/ 390649 h 639980"/>
                        <a:gd name="connsiteX228" fmla="*/ 273184 w 479309"/>
                        <a:gd name="connsiteY228" fmla="*/ 390649 h 639980"/>
                        <a:gd name="connsiteX229" fmla="*/ 274084 w 479309"/>
                        <a:gd name="connsiteY229" fmla="*/ 391099 h 639980"/>
                        <a:gd name="connsiteX230" fmla="*/ 276785 w 479309"/>
                        <a:gd name="connsiteY230" fmla="*/ 389749 h 639980"/>
                        <a:gd name="connsiteX231" fmla="*/ 277235 w 479309"/>
                        <a:gd name="connsiteY231" fmla="*/ 388849 h 639980"/>
                        <a:gd name="connsiteX232" fmla="*/ 278135 w 479309"/>
                        <a:gd name="connsiteY232" fmla="*/ 382998 h 639980"/>
                        <a:gd name="connsiteX233" fmla="*/ 278585 w 479309"/>
                        <a:gd name="connsiteY233" fmla="*/ 382098 h 639980"/>
                        <a:gd name="connsiteX234" fmla="*/ 280385 w 479309"/>
                        <a:gd name="connsiteY234" fmla="*/ 381198 h 639980"/>
                        <a:gd name="connsiteX235" fmla="*/ 280835 w 479309"/>
                        <a:gd name="connsiteY235" fmla="*/ 379398 h 639980"/>
                        <a:gd name="connsiteX236" fmla="*/ 281285 w 479309"/>
                        <a:gd name="connsiteY236" fmla="*/ 378947 h 639980"/>
                        <a:gd name="connsiteX237" fmla="*/ 282185 w 479309"/>
                        <a:gd name="connsiteY237" fmla="*/ 379398 h 639980"/>
                        <a:gd name="connsiteX238" fmla="*/ 283085 w 479309"/>
                        <a:gd name="connsiteY238" fmla="*/ 379848 h 639980"/>
                        <a:gd name="connsiteX239" fmla="*/ 284436 w 479309"/>
                        <a:gd name="connsiteY239" fmla="*/ 382098 h 639980"/>
                        <a:gd name="connsiteX240" fmla="*/ 284886 w 479309"/>
                        <a:gd name="connsiteY240" fmla="*/ 383448 h 639980"/>
                        <a:gd name="connsiteX241" fmla="*/ 284886 w 479309"/>
                        <a:gd name="connsiteY241" fmla="*/ 384798 h 639980"/>
                        <a:gd name="connsiteX242" fmla="*/ 284436 w 479309"/>
                        <a:gd name="connsiteY242" fmla="*/ 385698 h 639980"/>
                        <a:gd name="connsiteX243" fmla="*/ 283985 w 479309"/>
                        <a:gd name="connsiteY243" fmla="*/ 387048 h 639980"/>
                        <a:gd name="connsiteX244" fmla="*/ 283985 w 479309"/>
                        <a:gd name="connsiteY244" fmla="*/ 389299 h 639980"/>
                        <a:gd name="connsiteX245" fmla="*/ 283085 w 479309"/>
                        <a:gd name="connsiteY245" fmla="*/ 391099 h 639980"/>
                        <a:gd name="connsiteX246" fmla="*/ 283085 w 479309"/>
                        <a:gd name="connsiteY246" fmla="*/ 391999 h 639980"/>
                        <a:gd name="connsiteX247" fmla="*/ 283985 w 479309"/>
                        <a:gd name="connsiteY247" fmla="*/ 400550 h 639980"/>
                        <a:gd name="connsiteX248" fmla="*/ 283985 w 479309"/>
                        <a:gd name="connsiteY248" fmla="*/ 401450 h 639980"/>
                        <a:gd name="connsiteX249" fmla="*/ 282635 w 479309"/>
                        <a:gd name="connsiteY249" fmla="*/ 403251 h 639980"/>
                        <a:gd name="connsiteX250" fmla="*/ 282635 w 479309"/>
                        <a:gd name="connsiteY250" fmla="*/ 405051 h 639980"/>
                        <a:gd name="connsiteX251" fmla="*/ 283085 w 479309"/>
                        <a:gd name="connsiteY251" fmla="*/ 407301 h 639980"/>
                        <a:gd name="connsiteX252" fmla="*/ 283985 w 479309"/>
                        <a:gd name="connsiteY252" fmla="*/ 408651 h 639980"/>
                        <a:gd name="connsiteX253" fmla="*/ 284436 w 479309"/>
                        <a:gd name="connsiteY253" fmla="*/ 409101 h 639980"/>
                        <a:gd name="connsiteX254" fmla="*/ 285336 w 479309"/>
                        <a:gd name="connsiteY254" fmla="*/ 409551 h 639980"/>
                        <a:gd name="connsiteX255" fmla="*/ 285786 w 479309"/>
                        <a:gd name="connsiteY255" fmla="*/ 408201 h 639980"/>
                        <a:gd name="connsiteX256" fmla="*/ 286236 w 479309"/>
                        <a:gd name="connsiteY256" fmla="*/ 404601 h 639980"/>
                        <a:gd name="connsiteX257" fmla="*/ 286686 w 479309"/>
                        <a:gd name="connsiteY257" fmla="*/ 404601 h 639980"/>
                        <a:gd name="connsiteX258" fmla="*/ 289386 w 479309"/>
                        <a:gd name="connsiteY258" fmla="*/ 406851 h 639980"/>
                        <a:gd name="connsiteX259" fmla="*/ 290286 w 479309"/>
                        <a:gd name="connsiteY259" fmla="*/ 407751 h 639980"/>
                        <a:gd name="connsiteX260" fmla="*/ 291636 w 479309"/>
                        <a:gd name="connsiteY260" fmla="*/ 411352 h 639980"/>
                        <a:gd name="connsiteX261" fmla="*/ 292987 w 479309"/>
                        <a:gd name="connsiteY261" fmla="*/ 412252 h 639980"/>
                        <a:gd name="connsiteX262" fmla="*/ 295237 w 479309"/>
                        <a:gd name="connsiteY262" fmla="*/ 413152 h 639980"/>
                        <a:gd name="connsiteX263" fmla="*/ 296587 w 479309"/>
                        <a:gd name="connsiteY263" fmla="*/ 413152 h 639980"/>
                        <a:gd name="connsiteX264" fmla="*/ 297037 w 479309"/>
                        <a:gd name="connsiteY264" fmla="*/ 412702 h 639980"/>
                        <a:gd name="connsiteX265" fmla="*/ 297487 w 479309"/>
                        <a:gd name="connsiteY265" fmla="*/ 411352 h 639980"/>
                        <a:gd name="connsiteX266" fmla="*/ 299287 w 479309"/>
                        <a:gd name="connsiteY266" fmla="*/ 411802 h 639980"/>
                        <a:gd name="connsiteX267" fmla="*/ 300638 w 479309"/>
                        <a:gd name="connsiteY267" fmla="*/ 412702 h 639980"/>
                        <a:gd name="connsiteX268" fmla="*/ 301538 w 479309"/>
                        <a:gd name="connsiteY268" fmla="*/ 412702 h 639980"/>
                        <a:gd name="connsiteX269" fmla="*/ 302438 w 479309"/>
                        <a:gd name="connsiteY269" fmla="*/ 411802 h 639980"/>
                        <a:gd name="connsiteX270" fmla="*/ 304238 w 479309"/>
                        <a:gd name="connsiteY270" fmla="*/ 408201 h 639980"/>
                        <a:gd name="connsiteX271" fmla="*/ 304688 w 479309"/>
                        <a:gd name="connsiteY271" fmla="*/ 407751 h 639980"/>
                        <a:gd name="connsiteX272" fmla="*/ 306038 w 479309"/>
                        <a:gd name="connsiteY272" fmla="*/ 407751 h 639980"/>
                        <a:gd name="connsiteX273" fmla="*/ 308738 w 479309"/>
                        <a:gd name="connsiteY273" fmla="*/ 408201 h 639980"/>
                        <a:gd name="connsiteX274" fmla="*/ 311439 w 479309"/>
                        <a:gd name="connsiteY274" fmla="*/ 409101 h 639980"/>
                        <a:gd name="connsiteX275" fmla="*/ 313689 w 479309"/>
                        <a:gd name="connsiteY275" fmla="*/ 410451 h 639980"/>
                        <a:gd name="connsiteX276" fmla="*/ 315940 w 479309"/>
                        <a:gd name="connsiteY276" fmla="*/ 412252 h 639980"/>
                        <a:gd name="connsiteX277" fmla="*/ 319540 w 479309"/>
                        <a:gd name="connsiteY277" fmla="*/ 417202 h 639980"/>
                        <a:gd name="connsiteX278" fmla="*/ 321790 w 479309"/>
                        <a:gd name="connsiteY278" fmla="*/ 419002 h 639980"/>
                        <a:gd name="connsiteX279" fmla="*/ 322240 w 479309"/>
                        <a:gd name="connsiteY279" fmla="*/ 419903 h 639980"/>
                        <a:gd name="connsiteX280" fmla="*/ 321790 w 479309"/>
                        <a:gd name="connsiteY280" fmla="*/ 421253 h 639980"/>
                        <a:gd name="connsiteX281" fmla="*/ 320440 w 479309"/>
                        <a:gd name="connsiteY281" fmla="*/ 422153 h 639980"/>
                        <a:gd name="connsiteX282" fmla="*/ 320440 w 479309"/>
                        <a:gd name="connsiteY282" fmla="*/ 422603 h 639980"/>
                        <a:gd name="connsiteX283" fmla="*/ 320440 w 479309"/>
                        <a:gd name="connsiteY283" fmla="*/ 423503 h 639980"/>
                        <a:gd name="connsiteX284" fmla="*/ 322690 w 479309"/>
                        <a:gd name="connsiteY284" fmla="*/ 427554 h 639980"/>
                        <a:gd name="connsiteX285" fmla="*/ 324490 w 479309"/>
                        <a:gd name="connsiteY285" fmla="*/ 427104 h 639980"/>
                        <a:gd name="connsiteX286" fmla="*/ 328991 w 479309"/>
                        <a:gd name="connsiteY286" fmla="*/ 423053 h 639980"/>
                        <a:gd name="connsiteX287" fmla="*/ 328991 w 479309"/>
                        <a:gd name="connsiteY287" fmla="*/ 421703 h 639980"/>
                        <a:gd name="connsiteX288" fmla="*/ 328091 w 479309"/>
                        <a:gd name="connsiteY288" fmla="*/ 420353 h 639980"/>
                        <a:gd name="connsiteX289" fmla="*/ 328091 w 479309"/>
                        <a:gd name="connsiteY289" fmla="*/ 419453 h 639980"/>
                        <a:gd name="connsiteX290" fmla="*/ 328541 w 479309"/>
                        <a:gd name="connsiteY290" fmla="*/ 416302 h 639980"/>
                        <a:gd name="connsiteX291" fmla="*/ 329441 w 479309"/>
                        <a:gd name="connsiteY291" fmla="*/ 410902 h 639980"/>
                        <a:gd name="connsiteX292" fmla="*/ 329891 w 479309"/>
                        <a:gd name="connsiteY292" fmla="*/ 410451 h 639980"/>
                        <a:gd name="connsiteX293" fmla="*/ 332141 w 479309"/>
                        <a:gd name="connsiteY293" fmla="*/ 408651 h 639980"/>
                        <a:gd name="connsiteX294" fmla="*/ 332592 w 479309"/>
                        <a:gd name="connsiteY294" fmla="*/ 407301 h 639980"/>
                        <a:gd name="connsiteX295" fmla="*/ 333042 w 479309"/>
                        <a:gd name="connsiteY295" fmla="*/ 400550 h 639980"/>
                        <a:gd name="connsiteX296" fmla="*/ 331241 w 479309"/>
                        <a:gd name="connsiteY296" fmla="*/ 394249 h 639980"/>
                        <a:gd name="connsiteX297" fmla="*/ 331241 w 479309"/>
                        <a:gd name="connsiteY297" fmla="*/ 391549 h 639980"/>
                        <a:gd name="connsiteX298" fmla="*/ 331241 w 479309"/>
                        <a:gd name="connsiteY298" fmla="*/ 384798 h 639980"/>
                        <a:gd name="connsiteX299" fmla="*/ 332141 w 479309"/>
                        <a:gd name="connsiteY299" fmla="*/ 383448 h 639980"/>
                        <a:gd name="connsiteX300" fmla="*/ 334842 w 479309"/>
                        <a:gd name="connsiteY300" fmla="*/ 382548 h 639980"/>
                        <a:gd name="connsiteX301" fmla="*/ 335742 w 479309"/>
                        <a:gd name="connsiteY301" fmla="*/ 382098 h 639980"/>
                        <a:gd name="connsiteX302" fmla="*/ 337092 w 479309"/>
                        <a:gd name="connsiteY302" fmla="*/ 376247 h 639980"/>
                        <a:gd name="connsiteX303" fmla="*/ 337542 w 479309"/>
                        <a:gd name="connsiteY303" fmla="*/ 375797 h 639980"/>
                        <a:gd name="connsiteX304" fmla="*/ 339792 w 479309"/>
                        <a:gd name="connsiteY304" fmla="*/ 374897 h 639980"/>
                        <a:gd name="connsiteX305" fmla="*/ 341593 w 479309"/>
                        <a:gd name="connsiteY305" fmla="*/ 374897 h 639980"/>
                        <a:gd name="connsiteX306" fmla="*/ 342493 w 479309"/>
                        <a:gd name="connsiteY306" fmla="*/ 375347 h 639980"/>
                        <a:gd name="connsiteX307" fmla="*/ 343843 w 479309"/>
                        <a:gd name="connsiteY307" fmla="*/ 377597 h 639980"/>
                        <a:gd name="connsiteX308" fmla="*/ 344743 w 479309"/>
                        <a:gd name="connsiteY308" fmla="*/ 380298 h 639980"/>
                        <a:gd name="connsiteX309" fmla="*/ 344743 w 479309"/>
                        <a:gd name="connsiteY309" fmla="*/ 381198 h 639980"/>
                        <a:gd name="connsiteX310" fmla="*/ 344293 w 479309"/>
                        <a:gd name="connsiteY310" fmla="*/ 385248 h 639980"/>
                        <a:gd name="connsiteX311" fmla="*/ 344293 w 479309"/>
                        <a:gd name="connsiteY311" fmla="*/ 386148 h 639980"/>
                        <a:gd name="connsiteX312" fmla="*/ 344743 w 479309"/>
                        <a:gd name="connsiteY312" fmla="*/ 387048 h 639980"/>
                        <a:gd name="connsiteX313" fmla="*/ 347893 w 479309"/>
                        <a:gd name="connsiteY313" fmla="*/ 390199 h 639980"/>
                        <a:gd name="connsiteX314" fmla="*/ 347443 w 479309"/>
                        <a:gd name="connsiteY314" fmla="*/ 390649 h 639980"/>
                        <a:gd name="connsiteX315" fmla="*/ 345193 w 479309"/>
                        <a:gd name="connsiteY315" fmla="*/ 391549 h 639980"/>
                        <a:gd name="connsiteX316" fmla="*/ 338892 w 479309"/>
                        <a:gd name="connsiteY316" fmla="*/ 392899 h 639980"/>
                        <a:gd name="connsiteX317" fmla="*/ 337092 w 479309"/>
                        <a:gd name="connsiteY317" fmla="*/ 393799 h 639980"/>
                        <a:gd name="connsiteX318" fmla="*/ 335742 w 479309"/>
                        <a:gd name="connsiteY318" fmla="*/ 394699 h 639980"/>
                        <a:gd name="connsiteX319" fmla="*/ 334392 w 479309"/>
                        <a:gd name="connsiteY319" fmla="*/ 396050 h 639980"/>
                        <a:gd name="connsiteX320" fmla="*/ 333492 w 479309"/>
                        <a:gd name="connsiteY320" fmla="*/ 397400 h 639980"/>
                        <a:gd name="connsiteX321" fmla="*/ 333492 w 479309"/>
                        <a:gd name="connsiteY321" fmla="*/ 397850 h 639980"/>
                        <a:gd name="connsiteX322" fmla="*/ 333492 w 479309"/>
                        <a:gd name="connsiteY322" fmla="*/ 398300 h 639980"/>
                        <a:gd name="connsiteX323" fmla="*/ 335742 w 479309"/>
                        <a:gd name="connsiteY323" fmla="*/ 399200 h 639980"/>
                        <a:gd name="connsiteX324" fmla="*/ 335742 w 479309"/>
                        <a:gd name="connsiteY324" fmla="*/ 399650 h 639980"/>
                        <a:gd name="connsiteX325" fmla="*/ 335742 w 479309"/>
                        <a:gd name="connsiteY325" fmla="*/ 401000 h 639980"/>
                        <a:gd name="connsiteX326" fmla="*/ 336642 w 479309"/>
                        <a:gd name="connsiteY326" fmla="*/ 402350 h 639980"/>
                        <a:gd name="connsiteX327" fmla="*/ 339343 w 479309"/>
                        <a:gd name="connsiteY327" fmla="*/ 404151 h 639980"/>
                        <a:gd name="connsiteX328" fmla="*/ 341143 w 479309"/>
                        <a:gd name="connsiteY328" fmla="*/ 409551 h 639980"/>
                        <a:gd name="connsiteX329" fmla="*/ 341593 w 479309"/>
                        <a:gd name="connsiteY329" fmla="*/ 410902 h 639980"/>
                        <a:gd name="connsiteX330" fmla="*/ 341593 w 479309"/>
                        <a:gd name="connsiteY330" fmla="*/ 412252 h 639980"/>
                        <a:gd name="connsiteX331" fmla="*/ 340693 w 479309"/>
                        <a:gd name="connsiteY331" fmla="*/ 412702 h 639980"/>
                        <a:gd name="connsiteX332" fmla="*/ 338892 w 479309"/>
                        <a:gd name="connsiteY332" fmla="*/ 412702 h 639980"/>
                        <a:gd name="connsiteX333" fmla="*/ 338892 w 479309"/>
                        <a:gd name="connsiteY333" fmla="*/ 413152 h 639980"/>
                        <a:gd name="connsiteX334" fmla="*/ 338892 w 479309"/>
                        <a:gd name="connsiteY334" fmla="*/ 414052 h 639980"/>
                        <a:gd name="connsiteX335" fmla="*/ 339343 w 479309"/>
                        <a:gd name="connsiteY335" fmla="*/ 414502 h 639980"/>
                        <a:gd name="connsiteX336" fmla="*/ 342493 w 479309"/>
                        <a:gd name="connsiteY336" fmla="*/ 414952 h 639980"/>
                        <a:gd name="connsiteX337" fmla="*/ 351044 w 479309"/>
                        <a:gd name="connsiteY337" fmla="*/ 414952 h 639980"/>
                        <a:gd name="connsiteX338" fmla="*/ 359595 w 479309"/>
                        <a:gd name="connsiteY338" fmla="*/ 414952 h 639980"/>
                        <a:gd name="connsiteX339" fmla="*/ 368146 w 479309"/>
                        <a:gd name="connsiteY339" fmla="*/ 414952 h 639980"/>
                        <a:gd name="connsiteX340" fmla="*/ 376697 w 479309"/>
                        <a:gd name="connsiteY340" fmla="*/ 414952 h 639980"/>
                        <a:gd name="connsiteX341" fmla="*/ 385248 w 479309"/>
                        <a:gd name="connsiteY341" fmla="*/ 414952 h 639980"/>
                        <a:gd name="connsiteX342" fmla="*/ 393799 w 479309"/>
                        <a:gd name="connsiteY342" fmla="*/ 414952 h 639980"/>
                        <a:gd name="connsiteX343" fmla="*/ 402350 w 479309"/>
                        <a:gd name="connsiteY343" fmla="*/ 414952 h 639980"/>
                        <a:gd name="connsiteX344" fmla="*/ 410901 w 479309"/>
                        <a:gd name="connsiteY344" fmla="*/ 414952 h 639980"/>
                        <a:gd name="connsiteX345" fmla="*/ 419452 w 479309"/>
                        <a:gd name="connsiteY345" fmla="*/ 414952 h 639980"/>
                        <a:gd name="connsiteX346" fmla="*/ 428003 w 479309"/>
                        <a:gd name="connsiteY346" fmla="*/ 414952 h 639980"/>
                        <a:gd name="connsiteX347" fmla="*/ 436555 w 479309"/>
                        <a:gd name="connsiteY347" fmla="*/ 414952 h 639980"/>
                        <a:gd name="connsiteX348" fmla="*/ 445106 w 479309"/>
                        <a:gd name="connsiteY348" fmla="*/ 414952 h 639980"/>
                        <a:gd name="connsiteX349" fmla="*/ 453657 w 479309"/>
                        <a:gd name="connsiteY349" fmla="*/ 414952 h 639980"/>
                        <a:gd name="connsiteX350" fmla="*/ 462208 w 479309"/>
                        <a:gd name="connsiteY350" fmla="*/ 414952 h 639980"/>
                        <a:gd name="connsiteX351" fmla="*/ 470759 w 479309"/>
                        <a:gd name="connsiteY351" fmla="*/ 414952 h 639980"/>
                        <a:gd name="connsiteX352" fmla="*/ 479310 w 479309"/>
                        <a:gd name="connsiteY352" fmla="*/ 414952 h 639980"/>
                        <a:gd name="connsiteX353" fmla="*/ 479310 w 479309"/>
                        <a:gd name="connsiteY353" fmla="*/ 424853 h 639980"/>
                        <a:gd name="connsiteX354" fmla="*/ 479310 w 479309"/>
                        <a:gd name="connsiteY354" fmla="*/ 433854 h 639980"/>
                        <a:gd name="connsiteX355" fmla="*/ 475259 w 479309"/>
                        <a:gd name="connsiteY355" fmla="*/ 432504 h 639980"/>
                        <a:gd name="connsiteX356" fmla="*/ 471659 w 479309"/>
                        <a:gd name="connsiteY356" fmla="*/ 432954 h 639980"/>
                        <a:gd name="connsiteX357" fmla="*/ 464908 w 479309"/>
                        <a:gd name="connsiteY357" fmla="*/ 434304 h 639980"/>
                        <a:gd name="connsiteX358" fmla="*/ 463108 w 479309"/>
                        <a:gd name="connsiteY358" fmla="*/ 435205 h 639980"/>
                        <a:gd name="connsiteX359" fmla="*/ 459507 w 479309"/>
                        <a:gd name="connsiteY359" fmla="*/ 437905 h 639980"/>
                        <a:gd name="connsiteX360" fmla="*/ 458157 w 479309"/>
                        <a:gd name="connsiteY360" fmla="*/ 438355 h 639980"/>
                        <a:gd name="connsiteX361" fmla="*/ 454107 w 479309"/>
                        <a:gd name="connsiteY361" fmla="*/ 438805 h 639980"/>
                        <a:gd name="connsiteX362" fmla="*/ 450506 w 479309"/>
                        <a:gd name="connsiteY362" fmla="*/ 438355 h 639980"/>
                        <a:gd name="connsiteX363" fmla="*/ 449156 w 479309"/>
                        <a:gd name="connsiteY363" fmla="*/ 438805 h 639980"/>
                        <a:gd name="connsiteX364" fmla="*/ 447356 w 479309"/>
                        <a:gd name="connsiteY364" fmla="*/ 440155 h 639980"/>
                        <a:gd name="connsiteX365" fmla="*/ 446906 w 479309"/>
                        <a:gd name="connsiteY365" fmla="*/ 441055 h 639980"/>
                        <a:gd name="connsiteX366" fmla="*/ 446456 w 479309"/>
                        <a:gd name="connsiteY366" fmla="*/ 443305 h 639980"/>
                        <a:gd name="connsiteX367" fmla="*/ 437455 w 479309"/>
                        <a:gd name="connsiteY367" fmla="*/ 453207 h 639980"/>
                        <a:gd name="connsiteX368" fmla="*/ 435204 w 479309"/>
                        <a:gd name="connsiteY368" fmla="*/ 456357 h 639980"/>
                        <a:gd name="connsiteX369" fmla="*/ 430704 w 479309"/>
                        <a:gd name="connsiteY369" fmla="*/ 459958 h 639980"/>
                        <a:gd name="connsiteX370" fmla="*/ 425753 w 479309"/>
                        <a:gd name="connsiteY370" fmla="*/ 466258 h 639980"/>
                        <a:gd name="connsiteX371" fmla="*/ 421253 w 479309"/>
                        <a:gd name="connsiteY371" fmla="*/ 468509 h 639980"/>
                        <a:gd name="connsiteX372" fmla="*/ 419902 w 479309"/>
                        <a:gd name="connsiteY372" fmla="*/ 472109 h 639980"/>
                        <a:gd name="connsiteX373" fmla="*/ 415852 w 479309"/>
                        <a:gd name="connsiteY373" fmla="*/ 474359 h 639980"/>
                        <a:gd name="connsiteX374" fmla="*/ 408201 w 479309"/>
                        <a:gd name="connsiteY374" fmla="*/ 474809 h 639980"/>
                        <a:gd name="connsiteX375" fmla="*/ 404601 w 479309"/>
                        <a:gd name="connsiteY375" fmla="*/ 475260 h 639980"/>
                        <a:gd name="connsiteX376" fmla="*/ 400550 w 479309"/>
                        <a:gd name="connsiteY376" fmla="*/ 474359 h 639980"/>
                        <a:gd name="connsiteX377" fmla="*/ 397400 w 479309"/>
                        <a:gd name="connsiteY377" fmla="*/ 475710 h 639980"/>
                        <a:gd name="connsiteX378" fmla="*/ 392449 w 479309"/>
                        <a:gd name="connsiteY378" fmla="*/ 476160 h 639980"/>
                        <a:gd name="connsiteX379" fmla="*/ 390199 w 479309"/>
                        <a:gd name="connsiteY379" fmla="*/ 475710 h 639980"/>
                        <a:gd name="connsiteX380" fmla="*/ 381198 w 479309"/>
                        <a:gd name="connsiteY380" fmla="*/ 478860 h 639980"/>
                        <a:gd name="connsiteX381" fmla="*/ 378947 w 479309"/>
                        <a:gd name="connsiteY381" fmla="*/ 475710 h 639980"/>
                        <a:gd name="connsiteX382" fmla="*/ 377147 w 479309"/>
                        <a:gd name="connsiteY382" fmla="*/ 474359 h 639980"/>
                        <a:gd name="connsiteX383" fmla="*/ 371746 w 479309"/>
                        <a:gd name="connsiteY383" fmla="*/ 474359 h 639980"/>
                        <a:gd name="connsiteX384" fmla="*/ 367696 w 479309"/>
                        <a:gd name="connsiteY384" fmla="*/ 473009 h 639980"/>
                        <a:gd name="connsiteX385" fmla="*/ 364096 w 479309"/>
                        <a:gd name="connsiteY385" fmla="*/ 472559 h 639980"/>
                        <a:gd name="connsiteX386" fmla="*/ 360495 w 479309"/>
                        <a:gd name="connsiteY386" fmla="*/ 472109 h 639980"/>
                        <a:gd name="connsiteX387" fmla="*/ 358245 w 479309"/>
                        <a:gd name="connsiteY387" fmla="*/ 472109 h 639980"/>
                        <a:gd name="connsiteX388" fmla="*/ 355544 w 479309"/>
                        <a:gd name="connsiteY388" fmla="*/ 472559 h 639980"/>
                        <a:gd name="connsiteX389" fmla="*/ 351494 w 479309"/>
                        <a:gd name="connsiteY389" fmla="*/ 472559 h 639980"/>
                        <a:gd name="connsiteX390" fmla="*/ 349244 w 479309"/>
                        <a:gd name="connsiteY390" fmla="*/ 474359 h 639980"/>
                        <a:gd name="connsiteX391" fmla="*/ 342043 w 479309"/>
                        <a:gd name="connsiteY391" fmla="*/ 475710 h 639980"/>
                        <a:gd name="connsiteX392" fmla="*/ 338892 w 479309"/>
                        <a:gd name="connsiteY392" fmla="*/ 474359 h 639980"/>
                        <a:gd name="connsiteX393" fmla="*/ 336192 w 479309"/>
                        <a:gd name="connsiteY393" fmla="*/ 473909 h 639980"/>
                        <a:gd name="connsiteX394" fmla="*/ 332592 w 479309"/>
                        <a:gd name="connsiteY394" fmla="*/ 474359 h 639980"/>
                        <a:gd name="connsiteX395" fmla="*/ 329441 w 479309"/>
                        <a:gd name="connsiteY395" fmla="*/ 475710 h 639980"/>
                        <a:gd name="connsiteX396" fmla="*/ 322240 w 479309"/>
                        <a:gd name="connsiteY396" fmla="*/ 474359 h 639980"/>
                        <a:gd name="connsiteX397" fmla="*/ 314589 w 479309"/>
                        <a:gd name="connsiteY397" fmla="*/ 475260 h 639980"/>
                        <a:gd name="connsiteX398" fmla="*/ 307839 w 479309"/>
                        <a:gd name="connsiteY398" fmla="*/ 474359 h 639980"/>
                        <a:gd name="connsiteX399" fmla="*/ 306038 w 479309"/>
                        <a:gd name="connsiteY399" fmla="*/ 473459 h 639980"/>
                        <a:gd name="connsiteX400" fmla="*/ 295687 w 479309"/>
                        <a:gd name="connsiteY400" fmla="*/ 475260 h 639980"/>
                        <a:gd name="connsiteX401" fmla="*/ 291636 w 479309"/>
                        <a:gd name="connsiteY401" fmla="*/ 473909 h 639980"/>
                        <a:gd name="connsiteX402" fmla="*/ 288036 w 479309"/>
                        <a:gd name="connsiteY402" fmla="*/ 477060 h 639980"/>
                        <a:gd name="connsiteX403" fmla="*/ 285336 w 479309"/>
                        <a:gd name="connsiteY403" fmla="*/ 476610 h 639980"/>
                        <a:gd name="connsiteX404" fmla="*/ 282635 w 479309"/>
                        <a:gd name="connsiteY404" fmla="*/ 477060 h 639980"/>
                        <a:gd name="connsiteX405" fmla="*/ 281735 w 479309"/>
                        <a:gd name="connsiteY405" fmla="*/ 476610 h 639980"/>
                        <a:gd name="connsiteX406" fmla="*/ 279935 w 479309"/>
                        <a:gd name="connsiteY406" fmla="*/ 477060 h 639980"/>
                        <a:gd name="connsiteX407" fmla="*/ 278585 w 479309"/>
                        <a:gd name="connsiteY407" fmla="*/ 478860 h 639980"/>
                        <a:gd name="connsiteX408" fmla="*/ 277235 w 479309"/>
                        <a:gd name="connsiteY408" fmla="*/ 478860 h 639980"/>
                        <a:gd name="connsiteX409" fmla="*/ 274534 w 479309"/>
                        <a:gd name="connsiteY409" fmla="*/ 482010 h 639980"/>
                        <a:gd name="connsiteX410" fmla="*/ 270484 w 479309"/>
                        <a:gd name="connsiteY410" fmla="*/ 484261 h 639980"/>
                        <a:gd name="connsiteX411" fmla="*/ 264183 w 479309"/>
                        <a:gd name="connsiteY411" fmla="*/ 497312 h 639980"/>
                        <a:gd name="connsiteX412" fmla="*/ 263733 w 479309"/>
                        <a:gd name="connsiteY412" fmla="*/ 502263 h 639980"/>
                        <a:gd name="connsiteX413" fmla="*/ 261483 w 479309"/>
                        <a:gd name="connsiteY413" fmla="*/ 505413 h 639980"/>
                        <a:gd name="connsiteX414" fmla="*/ 259232 w 479309"/>
                        <a:gd name="connsiteY414" fmla="*/ 505863 h 639980"/>
                        <a:gd name="connsiteX415" fmla="*/ 257432 w 479309"/>
                        <a:gd name="connsiteY415" fmla="*/ 505863 h 639980"/>
                        <a:gd name="connsiteX416" fmla="*/ 246631 w 479309"/>
                        <a:gd name="connsiteY416" fmla="*/ 508114 h 639980"/>
                        <a:gd name="connsiteX417" fmla="*/ 241680 w 479309"/>
                        <a:gd name="connsiteY417" fmla="*/ 509914 h 639980"/>
                        <a:gd name="connsiteX418" fmla="*/ 243030 w 479309"/>
                        <a:gd name="connsiteY418" fmla="*/ 511264 h 639980"/>
                        <a:gd name="connsiteX419" fmla="*/ 241680 w 479309"/>
                        <a:gd name="connsiteY419" fmla="*/ 512614 h 639980"/>
                        <a:gd name="connsiteX420" fmla="*/ 238980 w 479309"/>
                        <a:gd name="connsiteY420" fmla="*/ 513064 h 639980"/>
                        <a:gd name="connsiteX421" fmla="*/ 236280 w 479309"/>
                        <a:gd name="connsiteY421" fmla="*/ 514414 h 639980"/>
                        <a:gd name="connsiteX422" fmla="*/ 234479 w 479309"/>
                        <a:gd name="connsiteY422" fmla="*/ 516215 h 639980"/>
                        <a:gd name="connsiteX423" fmla="*/ 233579 w 479309"/>
                        <a:gd name="connsiteY423" fmla="*/ 518465 h 639980"/>
                        <a:gd name="connsiteX424" fmla="*/ 228179 w 479309"/>
                        <a:gd name="connsiteY424" fmla="*/ 522065 h 639980"/>
                        <a:gd name="connsiteX425" fmla="*/ 221878 w 479309"/>
                        <a:gd name="connsiteY425" fmla="*/ 530166 h 639980"/>
                        <a:gd name="connsiteX426" fmla="*/ 218727 w 479309"/>
                        <a:gd name="connsiteY426" fmla="*/ 536017 h 639980"/>
                        <a:gd name="connsiteX427" fmla="*/ 215127 w 479309"/>
                        <a:gd name="connsiteY427" fmla="*/ 540518 h 639980"/>
                        <a:gd name="connsiteX428" fmla="*/ 212427 w 479309"/>
                        <a:gd name="connsiteY428" fmla="*/ 542318 h 639980"/>
                        <a:gd name="connsiteX429" fmla="*/ 210626 w 479309"/>
                        <a:gd name="connsiteY429" fmla="*/ 542768 h 639980"/>
                        <a:gd name="connsiteX430" fmla="*/ 208826 w 479309"/>
                        <a:gd name="connsiteY430" fmla="*/ 542318 h 639980"/>
                        <a:gd name="connsiteX431" fmla="*/ 205676 w 479309"/>
                        <a:gd name="connsiteY431" fmla="*/ 540518 h 639980"/>
                        <a:gd name="connsiteX432" fmla="*/ 203425 w 479309"/>
                        <a:gd name="connsiteY432" fmla="*/ 540518 h 639980"/>
                        <a:gd name="connsiteX433" fmla="*/ 197575 w 479309"/>
                        <a:gd name="connsiteY433" fmla="*/ 537817 h 639980"/>
                        <a:gd name="connsiteX434" fmla="*/ 184073 w 479309"/>
                        <a:gd name="connsiteY434" fmla="*/ 535117 h 639980"/>
                        <a:gd name="connsiteX435" fmla="*/ 186323 w 479309"/>
                        <a:gd name="connsiteY435" fmla="*/ 536017 h 639980"/>
                        <a:gd name="connsiteX436" fmla="*/ 188123 w 479309"/>
                        <a:gd name="connsiteY436" fmla="*/ 537817 h 639980"/>
                        <a:gd name="connsiteX437" fmla="*/ 191724 w 479309"/>
                        <a:gd name="connsiteY437" fmla="*/ 538268 h 639980"/>
                        <a:gd name="connsiteX438" fmla="*/ 195324 w 479309"/>
                        <a:gd name="connsiteY438" fmla="*/ 538268 h 639980"/>
                        <a:gd name="connsiteX439" fmla="*/ 202975 w 479309"/>
                        <a:gd name="connsiteY439" fmla="*/ 541868 h 639980"/>
                        <a:gd name="connsiteX440" fmla="*/ 206576 w 479309"/>
                        <a:gd name="connsiteY440" fmla="*/ 543218 h 639980"/>
                        <a:gd name="connsiteX441" fmla="*/ 208826 w 479309"/>
                        <a:gd name="connsiteY441" fmla="*/ 544118 h 639980"/>
                        <a:gd name="connsiteX442" fmla="*/ 210626 w 479309"/>
                        <a:gd name="connsiteY442" fmla="*/ 546369 h 639980"/>
                        <a:gd name="connsiteX443" fmla="*/ 209276 w 479309"/>
                        <a:gd name="connsiteY443" fmla="*/ 550869 h 639980"/>
                        <a:gd name="connsiteX444" fmla="*/ 207926 w 479309"/>
                        <a:gd name="connsiteY444" fmla="*/ 554469 h 639980"/>
                        <a:gd name="connsiteX445" fmla="*/ 206126 w 479309"/>
                        <a:gd name="connsiteY445" fmla="*/ 557170 h 639980"/>
                        <a:gd name="connsiteX446" fmla="*/ 199825 w 479309"/>
                        <a:gd name="connsiteY446" fmla="*/ 564821 h 639980"/>
                        <a:gd name="connsiteX447" fmla="*/ 196675 w 479309"/>
                        <a:gd name="connsiteY447" fmla="*/ 567521 h 639980"/>
                        <a:gd name="connsiteX448" fmla="*/ 191274 w 479309"/>
                        <a:gd name="connsiteY448" fmla="*/ 576522 h 639980"/>
                        <a:gd name="connsiteX449" fmla="*/ 185423 w 479309"/>
                        <a:gd name="connsiteY449" fmla="*/ 580573 h 639980"/>
                        <a:gd name="connsiteX450" fmla="*/ 182273 w 479309"/>
                        <a:gd name="connsiteY450" fmla="*/ 583273 h 639980"/>
                        <a:gd name="connsiteX451" fmla="*/ 179122 w 479309"/>
                        <a:gd name="connsiteY451" fmla="*/ 587324 h 639980"/>
                        <a:gd name="connsiteX452" fmla="*/ 171471 w 479309"/>
                        <a:gd name="connsiteY452" fmla="*/ 590474 h 639980"/>
                        <a:gd name="connsiteX453" fmla="*/ 168771 w 479309"/>
                        <a:gd name="connsiteY453" fmla="*/ 591374 h 639980"/>
                        <a:gd name="connsiteX454" fmla="*/ 166071 w 479309"/>
                        <a:gd name="connsiteY454" fmla="*/ 590924 h 639980"/>
                        <a:gd name="connsiteX455" fmla="*/ 162920 w 479309"/>
                        <a:gd name="connsiteY455" fmla="*/ 593174 h 639980"/>
                        <a:gd name="connsiteX456" fmla="*/ 159320 w 479309"/>
                        <a:gd name="connsiteY456" fmla="*/ 594525 h 639980"/>
                        <a:gd name="connsiteX457" fmla="*/ 158420 w 479309"/>
                        <a:gd name="connsiteY457" fmla="*/ 596775 h 639980"/>
                        <a:gd name="connsiteX458" fmla="*/ 149419 w 479309"/>
                        <a:gd name="connsiteY458" fmla="*/ 602626 h 639980"/>
                        <a:gd name="connsiteX459" fmla="*/ 145818 w 479309"/>
                        <a:gd name="connsiteY459" fmla="*/ 603526 h 639980"/>
                        <a:gd name="connsiteX460" fmla="*/ 142668 w 479309"/>
                        <a:gd name="connsiteY460" fmla="*/ 605326 h 639980"/>
                        <a:gd name="connsiteX461" fmla="*/ 141768 w 479309"/>
                        <a:gd name="connsiteY461" fmla="*/ 608026 h 639980"/>
                        <a:gd name="connsiteX462" fmla="*/ 139067 w 479309"/>
                        <a:gd name="connsiteY462" fmla="*/ 609826 h 639980"/>
                        <a:gd name="connsiteX463" fmla="*/ 138167 w 479309"/>
                        <a:gd name="connsiteY463" fmla="*/ 611176 h 639980"/>
                        <a:gd name="connsiteX464" fmla="*/ 135917 w 479309"/>
                        <a:gd name="connsiteY464" fmla="*/ 614777 h 639980"/>
                        <a:gd name="connsiteX465" fmla="*/ 131866 w 479309"/>
                        <a:gd name="connsiteY465" fmla="*/ 619728 h 639980"/>
                        <a:gd name="connsiteX466" fmla="*/ 126916 w 479309"/>
                        <a:gd name="connsiteY466" fmla="*/ 620628 h 639980"/>
                        <a:gd name="connsiteX467" fmla="*/ 125116 w 479309"/>
                        <a:gd name="connsiteY467" fmla="*/ 622428 h 639980"/>
                        <a:gd name="connsiteX468" fmla="*/ 122865 w 479309"/>
                        <a:gd name="connsiteY468" fmla="*/ 625128 h 639980"/>
                        <a:gd name="connsiteX469" fmla="*/ 119715 w 479309"/>
                        <a:gd name="connsiteY469" fmla="*/ 626928 h 639980"/>
                        <a:gd name="connsiteX470" fmla="*/ 113864 w 479309"/>
                        <a:gd name="connsiteY470" fmla="*/ 626029 h 639980"/>
                        <a:gd name="connsiteX471" fmla="*/ 115214 w 479309"/>
                        <a:gd name="connsiteY471" fmla="*/ 627379 h 639980"/>
                        <a:gd name="connsiteX472" fmla="*/ 120615 w 479309"/>
                        <a:gd name="connsiteY472" fmla="*/ 629179 h 639980"/>
                        <a:gd name="connsiteX473" fmla="*/ 121065 w 479309"/>
                        <a:gd name="connsiteY473" fmla="*/ 631879 h 639980"/>
                        <a:gd name="connsiteX474" fmla="*/ 118365 w 479309"/>
                        <a:gd name="connsiteY474" fmla="*/ 632329 h 639980"/>
                        <a:gd name="connsiteX475" fmla="*/ 113414 w 479309"/>
                        <a:gd name="connsiteY475" fmla="*/ 635480 h 639980"/>
                        <a:gd name="connsiteX476" fmla="*/ 112064 w 479309"/>
                        <a:gd name="connsiteY476" fmla="*/ 633679 h 639980"/>
                        <a:gd name="connsiteX477" fmla="*/ 110714 w 479309"/>
                        <a:gd name="connsiteY477" fmla="*/ 632329 h 639980"/>
                        <a:gd name="connsiteX478" fmla="*/ 111164 w 479309"/>
                        <a:gd name="connsiteY478" fmla="*/ 630079 h 639980"/>
                        <a:gd name="connsiteX479" fmla="*/ 112064 w 479309"/>
                        <a:gd name="connsiteY479" fmla="*/ 626478 h 639980"/>
                        <a:gd name="connsiteX480" fmla="*/ 112514 w 479309"/>
                        <a:gd name="connsiteY480" fmla="*/ 624678 h 639980"/>
                        <a:gd name="connsiteX481" fmla="*/ 108464 w 479309"/>
                        <a:gd name="connsiteY481" fmla="*/ 622878 h 639980"/>
                        <a:gd name="connsiteX482" fmla="*/ 105313 w 479309"/>
                        <a:gd name="connsiteY482" fmla="*/ 622428 h 639980"/>
                        <a:gd name="connsiteX483" fmla="*/ 102163 w 479309"/>
                        <a:gd name="connsiteY483" fmla="*/ 622878 h 639980"/>
                        <a:gd name="connsiteX484" fmla="*/ 95862 w 479309"/>
                        <a:gd name="connsiteY484" fmla="*/ 624678 h 639980"/>
                        <a:gd name="connsiteX485" fmla="*/ 85961 w 479309"/>
                        <a:gd name="connsiteY485" fmla="*/ 628279 h 639980"/>
                        <a:gd name="connsiteX486" fmla="*/ 80110 w 479309"/>
                        <a:gd name="connsiteY486" fmla="*/ 629179 h 639980"/>
                        <a:gd name="connsiteX487" fmla="*/ 77860 w 479309"/>
                        <a:gd name="connsiteY487" fmla="*/ 627379 h 639980"/>
                        <a:gd name="connsiteX488" fmla="*/ 75159 w 479309"/>
                        <a:gd name="connsiteY488" fmla="*/ 626928 h 639980"/>
                        <a:gd name="connsiteX489" fmla="*/ 72009 w 479309"/>
                        <a:gd name="connsiteY489" fmla="*/ 627379 h 639980"/>
                        <a:gd name="connsiteX490" fmla="*/ 68859 w 479309"/>
                        <a:gd name="connsiteY490" fmla="*/ 626928 h 639980"/>
                        <a:gd name="connsiteX491" fmla="*/ 65708 w 479309"/>
                        <a:gd name="connsiteY491" fmla="*/ 625578 h 639980"/>
                        <a:gd name="connsiteX492" fmla="*/ 63458 w 479309"/>
                        <a:gd name="connsiteY492" fmla="*/ 622428 h 639980"/>
                        <a:gd name="connsiteX493" fmla="*/ 61658 w 479309"/>
                        <a:gd name="connsiteY493" fmla="*/ 617927 h 639980"/>
                        <a:gd name="connsiteX494" fmla="*/ 60308 w 479309"/>
                        <a:gd name="connsiteY494" fmla="*/ 615227 h 639980"/>
                        <a:gd name="connsiteX495" fmla="*/ 59407 w 479309"/>
                        <a:gd name="connsiteY495" fmla="*/ 614777 h 639980"/>
                        <a:gd name="connsiteX496" fmla="*/ 58957 w 479309"/>
                        <a:gd name="connsiteY496" fmla="*/ 614777 h 639980"/>
                        <a:gd name="connsiteX497" fmla="*/ 58507 w 479309"/>
                        <a:gd name="connsiteY497" fmla="*/ 615227 h 639980"/>
                        <a:gd name="connsiteX498" fmla="*/ 58057 w 479309"/>
                        <a:gd name="connsiteY498" fmla="*/ 617027 h 639980"/>
                        <a:gd name="connsiteX499" fmla="*/ 57607 w 479309"/>
                        <a:gd name="connsiteY499" fmla="*/ 617477 h 639980"/>
                        <a:gd name="connsiteX500" fmla="*/ 56707 w 479309"/>
                        <a:gd name="connsiteY500" fmla="*/ 617477 h 639980"/>
                        <a:gd name="connsiteX501" fmla="*/ 55357 w 479309"/>
                        <a:gd name="connsiteY501" fmla="*/ 617027 h 639980"/>
                        <a:gd name="connsiteX502" fmla="*/ 54007 w 479309"/>
                        <a:gd name="connsiteY502" fmla="*/ 616127 h 639980"/>
                        <a:gd name="connsiteX503" fmla="*/ 51306 w 479309"/>
                        <a:gd name="connsiteY503" fmla="*/ 613877 h 639980"/>
                        <a:gd name="connsiteX504" fmla="*/ 50406 w 479309"/>
                        <a:gd name="connsiteY504" fmla="*/ 612977 h 639980"/>
                        <a:gd name="connsiteX505" fmla="*/ 49956 w 479309"/>
                        <a:gd name="connsiteY505" fmla="*/ 612077 h 639980"/>
                        <a:gd name="connsiteX506" fmla="*/ 49956 w 479309"/>
                        <a:gd name="connsiteY506" fmla="*/ 611627 h 639980"/>
                        <a:gd name="connsiteX507" fmla="*/ 48156 w 479309"/>
                        <a:gd name="connsiteY507" fmla="*/ 608926 h 639980"/>
                        <a:gd name="connsiteX508" fmla="*/ 48156 w 479309"/>
                        <a:gd name="connsiteY508" fmla="*/ 608926 h 639980"/>
                        <a:gd name="connsiteX509" fmla="*/ 41405 w 479309"/>
                        <a:gd name="connsiteY509" fmla="*/ 605326 h 639980"/>
                        <a:gd name="connsiteX510" fmla="*/ 41405 w 479309"/>
                        <a:gd name="connsiteY510" fmla="*/ 605326 h 639980"/>
                        <a:gd name="connsiteX511" fmla="*/ 41405 w 479309"/>
                        <a:gd name="connsiteY511" fmla="*/ 605326 h 639980"/>
                        <a:gd name="connsiteX512" fmla="*/ 41405 w 479309"/>
                        <a:gd name="connsiteY512" fmla="*/ 605326 h 639980"/>
                        <a:gd name="connsiteX513" fmla="*/ 24753 w 479309"/>
                        <a:gd name="connsiteY513" fmla="*/ 601725 h 639980"/>
                        <a:gd name="connsiteX514" fmla="*/ 18002 w 479309"/>
                        <a:gd name="connsiteY514" fmla="*/ 599025 h 639980"/>
                        <a:gd name="connsiteX515" fmla="*/ 15302 w 479309"/>
                        <a:gd name="connsiteY515" fmla="*/ 596325 h 639980"/>
                        <a:gd name="connsiteX516" fmla="*/ 13052 w 479309"/>
                        <a:gd name="connsiteY516" fmla="*/ 592724 h 639980"/>
                        <a:gd name="connsiteX517" fmla="*/ 9901 w 479309"/>
                        <a:gd name="connsiteY517" fmla="*/ 585973 h 639980"/>
                        <a:gd name="connsiteX518" fmla="*/ 5851 w 479309"/>
                        <a:gd name="connsiteY518" fmla="*/ 580123 h 639980"/>
                        <a:gd name="connsiteX519" fmla="*/ 4501 w 479309"/>
                        <a:gd name="connsiteY519" fmla="*/ 576522 h 639980"/>
                        <a:gd name="connsiteX520" fmla="*/ 4501 w 479309"/>
                        <a:gd name="connsiteY520" fmla="*/ 573822 h 639980"/>
                        <a:gd name="connsiteX521" fmla="*/ 3600 w 479309"/>
                        <a:gd name="connsiteY521" fmla="*/ 571122 h 639980"/>
                        <a:gd name="connsiteX522" fmla="*/ 2250 w 479309"/>
                        <a:gd name="connsiteY522" fmla="*/ 568421 h 639980"/>
                        <a:gd name="connsiteX523" fmla="*/ 1800 w 479309"/>
                        <a:gd name="connsiteY523" fmla="*/ 566171 h 639980"/>
                        <a:gd name="connsiteX524" fmla="*/ 2700 w 479309"/>
                        <a:gd name="connsiteY524" fmla="*/ 563921 h 639980"/>
                        <a:gd name="connsiteX525" fmla="*/ 2700 w 479309"/>
                        <a:gd name="connsiteY525" fmla="*/ 563921 h 639980"/>
                        <a:gd name="connsiteX526" fmla="*/ 2700 w 479309"/>
                        <a:gd name="connsiteY526" fmla="*/ 554919 h 639980"/>
                        <a:gd name="connsiteX527" fmla="*/ 2700 w 479309"/>
                        <a:gd name="connsiteY527" fmla="*/ 547269 h 639980"/>
                        <a:gd name="connsiteX528" fmla="*/ 2700 w 479309"/>
                        <a:gd name="connsiteY528" fmla="*/ 539618 h 639980"/>
                        <a:gd name="connsiteX529" fmla="*/ 2700 w 479309"/>
                        <a:gd name="connsiteY529" fmla="*/ 531967 h 639980"/>
                        <a:gd name="connsiteX530" fmla="*/ 2700 w 479309"/>
                        <a:gd name="connsiteY530" fmla="*/ 524316 h 639980"/>
                        <a:gd name="connsiteX531" fmla="*/ 2700 w 479309"/>
                        <a:gd name="connsiteY531" fmla="*/ 516665 h 639980"/>
                        <a:gd name="connsiteX532" fmla="*/ 2700 w 479309"/>
                        <a:gd name="connsiteY532" fmla="*/ 507214 h 639980"/>
                        <a:gd name="connsiteX533" fmla="*/ 2700 w 479309"/>
                        <a:gd name="connsiteY533" fmla="*/ 499563 h 639980"/>
                        <a:gd name="connsiteX534" fmla="*/ 2700 w 479309"/>
                        <a:gd name="connsiteY534" fmla="*/ 491462 h 639980"/>
                        <a:gd name="connsiteX535" fmla="*/ 2700 w 479309"/>
                        <a:gd name="connsiteY535" fmla="*/ 483361 h 639980"/>
                        <a:gd name="connsiteX536" fmla="*/ 2700 w 479309"/>
                        <a:gd name="connsiteY536" fmla="*/ 475710 h 639980"/>
                        <a:gd name="connsiteX537" fmla="*/ 2700 w 479309"/>
                        <a:gd name="connsiteY537" fmla="*/ 467609 h 639980"/>
                        <a:gd name="connsiteX538" fmla="*/ 2700 w 479309"/>
                        <a:gd name="connsiteY538" fmla="*/ 459508 h 639980"/>
                        <a:gd name="connsiteX539" fmla="*/ 2700 w 479309"/>
                        <a:gd name="connsiteY539" fmla="*/ 453657 h 639980"/>
                        <a:gd name="connsiteX540" fmla="*/ 4050 w 479309"/>
                        <a:gd name="connsiteY540" fmla="*/ 455007 h 639980"/>
                        <a:gd name="connsiteX541" fmla="*/ 6301 w 479309"/>
                        <a:gd name="connsiteY541" fmla="*/ 458608 h 639980"/>
                        <a:gd name="connsiteX542" fmla="*/ 5401 w 479309"/>
                        <a:gd name="connsiteY542" fmla="*/ 456357 h 639980"/>
                        <a:gd name="connsiteX543" fmla="*/ 4050 w 479309"/>
                        <a:gd name="connsiteY543" fmla="*/ 453657 h 639980"/>
                        <a:gd name="connsiteX544" fmla="*/ 2700 w 479309"/>
                        <a:gd name="connsiteY544" fmla="*/ 451857 h 639980"/>
                        <a:gd name="connsiteX545" fmla="*/ 2700 w 479309"/>
                        <a:gd name="connsiteY545" fmla="*/ 443305 h 639980"/>
                        <a:gd name="connsiteX546" fmla="*/ 2700 w 479309"/>
                        <a:gd name="connsiteY546" fmla="*/ 432504 h 639980"/>
                        <a:gd name="connsiteX547" fmla="*/ 3150 w 479309"/>
                        <a:gd name="connsiteY547" fmla="*/ 431604 h 639980"/>
                        <a:gd name="connsiteX548" fmla="*/ 6301 w 479309"/>
                        <a:gd name="connsiteY548" fmla="*/ 429804 h 639980"/>
                        <a:gd name="connsiteX549" fmla="*/ 7201 w 479309"/>
                        <a:gd name="connsiteY549" fmla="*/ 429804 h 639980"/>
                        <a:gd name="connsiteX550" fmla="*/ 8101 w 479309"/>
                        <a:gd name="connsiteY550" fmla="*/ 432054 h 639980"/>
                        <a:gd name="connsiteX551" fmla="*/ 9001 w 479309"/>
                        <a:gd name="connsiteY551" fmla="*/ 432504 h 639980"/>
                        <a:gd name="connsiteX552" fmla="*/ 10351 w 479309"/>
                        <a:gd name="connsiteY552" fmla="*/ 432954 h 639980"/>
                        <a:gd name="connsiteX553" fmla="*/ 11701 w 479309"/>
                        <a:gd name="connsiteY553" fmla="*/ 433854 h 639980"/>
                        <a:gd name="connsiteX554" fmla="*/ 12602 w 479309"/>
                        <a:gd name="connsiteY554" fmla="*/ 435205 h 639980"/>
                        <a:gd name="connsiteX555" fmla="*/ 13502 w 479309"/>
                        <a:gd name="connsiteY555" fmla="*/ 436555 h 639980"/>
                        <a:gd name="connsiteX556" fmla="*/ 13952 w 479309"/>
                        <a:gd name="connsiteY556" fmla="*/ 437905 h 639980"/>
                        <a:gd name="connsiteX557" fmla="*/ 14852 w 479309"/>
                        <a:gd name="connsiteY557" fmla="*/ 442405 h 639980"/>
                        <a:gd name="connsiteX558" fmla="*/ 15752 w 479309"/>
                        <a:gd name="connsiteY558" fmla="*/ 444206 h 639980"/>
                        <a:gd name="connsiteX559" fmla="*/ 15752 w 479309"/>
                        <a:gd name="connsiteY559" fmla="*/ 441955 h 639980"/>
                        <a:gd name="connsiteX560" fmla="*/ 16652 w 479309"/>
                        <a:gd name="connsiteY560" fmla="*/ 438355 h 639980"/>
                        <a:gd name="connsiteX561" fmla="*/ 17102 w 479309"/>
                        <a:gd name="connsiteY561" fmla="*/ 437005 h 639980"/>
                        <a:gd name="connsiteX562" fmla="*/ 19352 w 479309"/>
                        <a:gd name="connsiteY562" fmla="*/ 434754 h 639980"/>
                        <a:gd name="connsiteX563" fmla="*/ 19352 w 479309"/>
                        <a:gd name="connsiteY563" fmla="*/ 433854 h 639980"/>
                        <a:gd name="connsiteX564" fmla="*/ 18452 w 479309"/>
                        <a:gd name="connsiteY564" fmla="*/ 432504 h 639980"/>
                        <a:gd name="connsiteX565" fmla="*/ 13952 w 479309"/>
                        <a:gd name="connsiteY565" fmla="*/ 426653 h 639980"/>
                        <a:gd name="connsiteX566" fmla="*/ 13952 w 479309"/>
                        <a:gd name="connsiteY566" fmla="*/ 425303 h 639980"/>
                        <a:gd name="connsiteX567" fmla="*/ 15302 w 479309"/>
                        <a:gd name="connsiteY567" fmla="*/ 424403 h 639980"/>
                        <a:gd name="connsiteX568" fmla="*/ 16202 w 479309"/>
                        <a:gd name="connsiteY568" fmla="*/ 422603 h 639980"/>
                        <a:gd name="connsiteX569" fmla="*/ 16652 w 479309"/>
                        <a:gd name="connsiteY569" fmla="*/ 420353 h 639980"/>
                        <a:gd name="connsiteX570" fmla="*/ 17552 w 479309"/>
                        <a:gd name="connsiteY570" fmla="*/ 418552 h 639980"/>
                        <a:gd name="connsiteX571" fmla="*/ 20253 w 479309"/>
                        <a:gd name="connsiteY571" fmla="*/ 416302 h 639980"/>
                        <a:gd name="connsiteX572" fmla="*/ 22503 w 479309"/>
                        <a:gd name="connsiteY572" fmla="*/ 412702 h 639980"/>
                        <a:gd name="connsiteX573" fmla="*/ 23853 w 479309"/>
                        <a:gd name="connsiteY573" fmla="*/ 410001 h 639980"/>
                        <a:gd name="connsiteX574" fmla="*/ 24753 w 479309"/>
                        <a:gd name="connsiteY574" fmla="*/ 408651 h 639980"/>
                        <a:gd name="connsiteX575" fmla="*/ 25653 w 479309"/>
                        <a:gd name="connsiteY575" fmla="*/ 408201 h 639980"/>
                        <a:gd name="connsiteX576" fmla="*/ 24303 w 479309"/>
                        <a:gd name="connsiteY576" fmla="*/ 407301 h 639980"/>
                        <a:gd name="connsiteX577" fmla="*/ 23853 w 479309"/>
                        <a:gd name="connsiteY577" fmla="*/ 406401 h 639980"/>
                        <a:gd name="connsiteX578" fmla="*/ 23853 w 479309"/>
                        <a:gd name="connsiteY578" fmla="*/ 403251 h 639980"/>
                        <a:gd name="connsiteX579" fmla="*/ 23403 w 479309"/>
                        <a:gd name="connsiteY579" fmla="*/ 400100 h 639980"/>
                        <a:gd name="connsiteX580" fmla="*/ 22503 w 479309"/>
                        <a:gd name="connsiteY580" fmla="*/ 398750 h 639980"/>
                        <a:gd name="connsiteX581" fmla="*/ 19802 w 479309"/>
                        <a:gd name="connsiteY581" fmla="*/ 395600 h 639980"/>
                        <a:gd name="connsiteX582" fmla="*/ 19352 w 479309"/>
                        <a:gd name="connsiteY582" fmla="*/ 394699 h 639980"/>
                        <a:gd name="connsiteX583" fmla="*/ 18902 w 479309"/>
                        <a:gd name="connsiteY583" fmla="*/ 391099 h 639980"/>
                        <a:gd name="connsiteX584" fmla="*/ 19352 w 479309"/>
                        <a:gd name="connsiteY584" fmla="*/ 389299 h 639980"/>
                        <a:gd name="connsiteX585" fmla="*/ 20253 w 479309"/>
                        <a:gd name="connsiteY585" fmla="*/ 387949 h 639980"/>
                        <a:gd name="connsiteX586" fmla="*/ 19802 w 479309"/>
                        <a:gd name="connsiteY586" fmla="*/ 386599 h 639980"/>
                        <a:gd name="connsiteX587" fmla="*/ 17552 w 479309"/>
                        <a:gd name="connsiteY587" fmla="*/ 383898 h 639980"/>
                        <a:gd name="connsiteX588" fmla="*/ 16652 w 479309"/>
                        <a:gd name="connsiteY588" fmla="*/ 381648 h 639980"/>
                        <a:gd name="connsiteX589" fmla="*/ 15752 w 479309"/>
                        <a:gd name="connsiteY589" fmla="*/ 375797 h 639980"/>
                        <a:gd name="connsiteX590" fmla="*/ 14852 w 479309"/>
                        <a:gd name="connsiteY590" fmla="*/ 368596 h 639980"/>
                        <a:gd name="connsiteX591" fmla="*/ 13952 w 479309"/>
                        <a:gd name="connsiteY591" fmla="*/ 363196 h 639980"/>
                        <a:gd name="connsiteX592" fmla="*/ 12602 w 479309"/>
                        <a:gd name="connsiteY592" fmla="*/ 359595 h 639980"/>
                        <a:gd name="connsiteX593" fmla="*/ 12152 w 479309"/>
                        <a:gd name="connsiteY593" fmla="*/ 357345 h 639980"/>
                        <a:gd name="connsiteX594" fmla="*/ 12602 w 479309"/>
                        <a:gd name="connsiteY594" fmla="*/ 356445 h 639980"/>
                        <a:gd name="connsiteX595" fmla="*/ 13502 w 479309"/>
                        <a:gd name="connsiteY595" fmla="*/ 353744 h 639980"/>
                        <a:gd name="connsiteX596" fmla="*/ 14402 w 479309"/>
                        <a:gd name="connsiteY596" fmla="*/ 353294 h 639980"/>
                        <a:gd name="connsiteX597" fmla="*/ 15752 w 479309"/>
                        <a:gd name="connsiteY597" fmla="*/ 353294 h 639980"/>
                        <a:gd name="connsiteX598" fmla="*/ 15752 w 479309"/>
                        <a:gd name="connsiteY598" fmla="*/ 352844 h 639980"/>
                        <a:gd name="connsiteX599" fmla="*/ 13952 w 479309"/>
                        <a:gd name="connsiteY599" fmla="*/ 351494 h 639980"/>
                        <a:gd name="connsiteX600" fmla="*/ 13052 w 479309"/>
                        <a:gd name="connsiteY600" fmla="*/ 349694 h 639980"/>
                        <a:gd name="connsiteX601" fmla="*/ 13052 w 479309"/>
                        <a:gd name="connsiteY601" fmla="*/ 348794 h 639980"/>
                        <a:gd name="connsiteX602" fmla="*/ 14852 w 479309"/>
                        <a:gd name="connsiteY602" fmla="*/ 346993 h 639980"/>
                        <a:gd name="connsiteX603" fmla="*/ 14402 w 479309"/>
                        <a:gd name="connsiteY603" fmla="*/ 346093 h 639980"/>
                        <a:gd name="connsiteX604" fmla="*/ 13052 w 479309"/>
                        <a:gd name="connsiteY604" fmla="*/ 345193 h 639980"/>
                        <a:gd name="connsiteX605" fmla="*/ 9451 w 479309"/>
                        <a:gd name="connsiteY605" fmla="*/ 343393 h 639980"/>
                        <a:gd name="connsiteX606" fmla="*/ 10801 w 479309"/>
                        <a:gd name="connsiteY606" fmla="*/ 342943 h 639980"/>
                        <a:gd name="connsiteX607" fmla="*/ 11701 w 479309"/>
                        <a:gd name="connsiteY607" fmla="*/ 341593 h 639980"/>
                        <a:gd name="connsiteX608" fmla="*/ 11701 w 479309"/>
                        <a:gd name="connsiteY608" fmla="*/ 341143 h 639980"/>
                        <a:gd name="connsiteX609" fmla="*/ 10351 w 479309"/>
                        <a:gd name="connsiteY609" fmla="*/ 340693 h 639980"/>
                        <a:gd name="connsiteX610" fmla="*/ 8551 w 479309"/>
                        <a:gd name="connsiteY610" fmla="*/ 339343 h 639980"/>
                        <a:gd name="connsiteX611" fmla="*/ 7201 w 479309"/>
                        <a:gd name="connsiteY611" fmla="*/ 337542 h 639980"/>
                        <a:gd name="connsiteX612" fmla="*/ 5401 w 479309"/>
                        <a:gd name="connsiteY612" fmla="*/ 334842 h 639980"/>
                        <a:gd name="connsiteX613" fmla="*/ 4501 w 479309"/>
                        <a:gd name="connsiteY613" fmla="*/ 332592 h 639980"/>
                        <a:gd name="connsiteX614" fmla="*/ 3600 w 479309"/>
                        <a:gd name="connsiteY614" fmla="*/ 328991 h 639980"/>
                        <a:gd name="connsiteX615" fmla="*/ 1800 w 479309"/>
                        <a:gd name="connsiteY615" fmla="*/ 324941 h 639980"/>
                        <a:gd name="connsiteX616" fmla="*/ 900 w 479309"/>
                        <a:gd name="connsiteY616" fmla="*/ 324041 h 639980"/>
                        <a:gd name="connsiteX617" fmla="*/ 0 w 479309"/>
                        <a:gd name="connsiteY617" fmla="*/ 323591 h 639980"/>
                        <a:gd name="connsiteX618" fmla="*/ 0 w 479309"/>
                        <a:gd name="connsiteY618" fmla="*/ 322690 h 639980"/>
                        <a:gd name="connsiteX619" fmla="*/ 0 w 479309"/>
                        <a:gd name="connsiteY619" fmla="*/ 322240 h 639980"/>
                        <a:gd name="connsiteX620" fmla="*/ 900 w 479309"/>
                        <a:gd name="connsiteY620" fmla="*/ 321340 h 639980"/>
                        <a:gd name="connsiteX621" fmla="*/ 17102 w 479309"/>
                        <a:gd name="connsiteY621" fmla="*/ 314589 h 639980"/>
                        <a:gd name="connsiteX622" fmla="*/ 18452 w 479309"/>
                        <a:gd name="connsiteY622" fmla="*/ 313689 h 639980"/>
                        <a:gd name="connsiteX623" fmla="*/ 26553 w 479309"/>
                        <a:gd name="connsiteY623" fmla="*/ 310089 h 639980"/>
                        <a:gd name="connsiteX624" fmla="*/ 30154 w 479309"/>
                        <a:gd name="connsiteY624" fmla="*/ 307839 h 639980"/>
                        <a:gd name="connsiteX625" fmla="*/ 33754 w 479309"/>
                        <a:gd name="connsiteY625" fmla="*/ 304688 h 639980"/>
                        <a:gd name="connsiteX626" fmla="*/ 38705 w 479309"/>
                        <a:gd name="connsiteY626" fmla="*/ 301538 h 639980"/>
                        <a:gd name="connsiteX627" fmla="*/ 40955 w 479309"/>
                        <a:gd name="connsiteY627" fmla="*/ 299287 h 639980"/>
                        <a:gd name="connsiteX628" fmla="*/ 42305 w 479309"/>
                        <a:gd name="connsiteY628" fmla="*/ 297487 h 639980"/>
                        <a:gd name="connsiteX629" fmla="*/ 50406 w 479309"/>
                        <a:gd name="connsiteY629" fmla="*/ 289386 h 639980"/>
                        <a:gd name="connsiteX630" fmla="*/ 54007 w 479309"/>
                        <a:gd name="connsiteY630" fmla="*/ 285336 h 639980"/>
                        <a:gd name="connsiteX631" fmla="*/ 55807 w 479309"/>
                        <a:gd name="connsiteY631" fmla="*/ 281735 h 639980"/>
                        <a:gd name="connsiteX632" fmla="*/ 58507 w 479309"/>
                        <a:gd name="connsiteY632" fmla="*/ 277685 h 639980"/>
                        <a:gd name="connsiteX633" fmla="*/ 62108 w 479309"/>
                        <a:gd name="connsiteY633" fmla="*/ 272734 h 639980"/>
                        <a:gd name="connsiteX634" fmla="*/ 64358 w 479309"/>
                        <a:gd name="connsiteY634" fmla="*/ 268684 h 639980"/>
                        <a:gd name="connsiteX635" fmla="*/ 65258 w 479309"/>
                        <a:gd name="connsiteY635" fmla="*/ 265083 h 639980"/>
                        <a:gd name="connsiteX636" fmla="*/ 66608 w 479309"/>
                        <a:gd name="connsiteY636" fmla="*/ 258782 h 639980"/>
                        <a:gd name="connsiteX637" fmla="*/ 67058 w 479309"/>
                        <a:gd name="connsiteY637" fmla="*/ 253382 h 639980"/>
                        <a:gd name="connsiteX638" fmla="*/ 67058 w 479309"/>
                        <a:gd name="connsiteY638" fmla="*/ 245281 h 639980"/>
                        <a:gd name="connsiteX639" fmla="*/ 67058 w 479309"/>
                        <a:gd name="connsiteY639" fmla="*/ 238080 h 639980"/>
                        <a:gd name="connsiteX640" fmla="*/ 66158 w 479309"/>
                        <a:gd name="connsiteY640" fmla="*/ 226829 h 639980"/>
                        <a:gd name="connsiteX641" fmla="*/ 65708 w 479309"/>
                        <a:gd name="connsiteY641" fmla="*/ 223228 h 639980"/>
                        <a:gd name="connsiteX642" fmla="*/ 64358 w 479309"/>
                        <a:gd name="connsiteY642" fmla="*/ 219177 h 639980"/>
                        <a:gd name="connsiteX643" fmla="*/ 61658 w 479309"/>
                        <a:gd name="connsiteY643" fmla="*/ 210626 h 639980"/>
                        <a:gd name="connsiteX644" fmla="*/ 61208 w 479309"/>
                        <a:gd name="connsiteY644" fmla="*/ 208376 h 639980"/>
                        <a:gd name="connsiteX645" fmla="*/ 59407 w 479309"/>
                        <a:gd name="connsiteY645" fmla="*/ 204326 h 639980"/>
                        <a:gd name="connsiteX646" fmla="*/ 53557 w 479309"/>
                        <a:gd name="connsiteY646" fmla="*/ 193974 h 639980"/>
                        <a:gd name="connsiteX647" fmla="*/ 46356 w 479309"/>
                        <a:gd name="connsiteY647" fmla="*/ 186773 h 639980"/>
                        <a:gd name="connsiteX648" fmla="*/ 45006 w 479309"/>
                        <a:gd name="connsiteY648" fmla="*/ 184973 h 639980"/>
                        <a:gd name="connsiteX649" fmla="*/ 42305 w 479309"/>
                        <a:gd name="connsiteY649" fmla="*/ 182723 h 639980"/>
                        <a:gd name="connsiteX650" fmla="*/ 38255 w 479309"/>
                        <a:gd name="connsiteY650" fmla="*/ 180473 h 639980"/>
                        <a:gd name="connsiteX651" fmla="*/ 35554 w 479309"/>
                        <a:gd name="connsiteY651" fmla="*/ 178672 h 639980"/>
                        <a:gd name="connsiteX652" fmla="*/ 28353 w 479309"/>
                        <a:gd name="connsiteY652" fmla="*/ 171471 h 639980"/>
                        <a:gd name="connsiteX653" fmla="*/ 26103 w 479309"/>
                        <a:gd name="connsiteY653" fmla="*/ 170571 h 639980"/>
                        <a:gd name="connsiteX654" fmla="*/ 25203 w 479309"/>
                        <a:gd name="connsiteY654" fmla="*/ 168771 h 639980"/>
                        <a:gd name="connsiteX655" fmla="*/ 25203 w 479309"/>
                        <a:gd name="connsiteY655" fmla="*/ 167421 h 639980"/>
                        <a:gd name="connsiteX656" fmla="*/ 25653 w 479309"/>
                        <a:gd name="connsiteY656" fmla="*/ 163821 h 639980"/>
                        <a:gd name="connsiteX657" fmla="*/ 26103 w 479309"/>
                        <a:gd name="connsiteY657" fmla="*/ 161570 h 639980"/>
                        <a:gd name="connsiteX658" fmla="*/ 26553 w 479309"/>
                        <a:gd name="connsiteY658" fmla="*/ 159770 h 639980"/>
                        <a:gd name="connsiteX659" fmla="*/ 27003 w 479309"/>
                        <a:gd name="connsiteY659" fmla="*/ 158420 h 639980"/>
                        <a:gd name="connsiteX660" fmla="*/ 31054 w 479309"/>
                        <a:gd name="connsiteY660" fmla="*/ 153019 h 639980"/>
                        <a:gd name="connsiteX661" fmla="*/ 33304 w 479309"/>
                        <a:gd name="connsiteY661" fmla="*/ 148519 h 639980"/>
                        <a:gd name="connsiteX662" fmla="*/ 34654 w 479309"/>
                        <a:gd name="connsiteY662" fmla="*/ 146268 h 639980"/>
                        <a:gd name="connsiteX663" fmla="*/ 36455 w 479309"/>
                        <a:gd name="connsiteY663" fmla="*/ 144468 h 639980"/>
                        <a:gd name="connsiteX664" fmla="*/ 39605 w 479309"/>
                        <a:gd name="connsiteY664" fmla="*/ 142218 h 639980"/>
                        <a:gd name="connsiteX665" fmla="*/ 41405 w 479309"/>
                        <a:gd name="connsiteY665" fmla="*/ 139068 h 639980"/>
                        <a:gd name="connsiteX666" fmla="*/ 40955 w 479309"/>
                        <a:gd name="connsiteY666" fmla="*/ 137717 h 639980"/>
                        <a:gd name="connsiteX667" fmla="*/ 39605 w 479309"/>
                        <a:gd name="connsiteY667" fmla="*/ 136367 h 639980"/>
                        <a:gd name="connsiteX668" fmla="*/ 39155 w 479309"/>
                        <a:gd name="connsiteY668" fmla="*/ 135017 h 639980"/>
                        <a:gd name="connsiteX669" fmla="*/ 41405 w 479309"/>
                        <a:gd name="connsiteY669" fmla="*/ 131417 h 639980"/>
                        <a:gd name="connsiteX670" fmla="*/ 41855 w 479309"/>
                        <a:gd name="connsiteY670" fmla="*/ 130516 h 639980"/>
                        <a:gd name="connsiteX671" fmla="*/ 41405 w 479309"/>
                        <a:gd name="connsiteY671" fmla="*/ 127366 h 639980"/>
                        <a:gd name="connsiteX672" fmla="*/ 41855 w 479309"/>
                        <a:gd name="connsiteY672" fmla="*/ 126466 h 639980"/>
                        <a:gd name="connsiteX673" fmla="*/ 44556 w 479309"/>
                        <a:gd name="connsiteY673" fmla="*/ 126466 h 639980"/>
                        <a:gd name="connsiteX674" fmla="*/ 48606 w 479309"/>
                        <a:gd name="connsiteY674" fmla="*/ 130966 h 639980"/>
                        <a:gd name="connsiteX675" fmla="*/ 49506 w 479309"/>
                        <a:gd name="connsiteY675" fmla="*/ 130516 h 639980"/>
                        <a:gd name="connsiteX676" fmla="*/ 48156 w 479309"/>
                        <a:gd name="connsiteY676" fmla="*/ 129166 h 639980"/>
                        <a:gd name="connsiteX677" fmla="*/ 46356 w 479309"/>
                        <a:gd name="connsiteY677" fmla="*/ 126016 h 639980"/>
                        <a:gd name="connsiteX678" fmla="*/ 46806 w 479309"/>
                        <a:gd name="connsiteY678" fmla="*/ 124666 h 639980"/>
                        <a:gd name="connsiteX679" fmla="*/ 49956 w 479309"/>
                        <a:gd name="connsiteY679" fmla="*/ 121065 h 639980"/>
                        <a:gd name="connsiteX680" fmla="*/ 49956 w 479309"/>
                        <a:gd name="connsiteY680" fmla="*/ 119715 h 639980"/>
                        <a:gd name="connsiteX681" fmla="*/ 49056 w 479309"/>
                        <a:gd name="connsiteY681" fmla="*/ 117465 h 639980"/>
                        <a:gd name="connsiteX682" fmla="*/ 49056 w 479309"/>
                        <a:gd name="connsiteY682" fmla="*/ 115665 h 639980"/>
                        <a:gd name="connsiteX683" fmla="*/ 50856 w 479309"/>
                        <a:gd name="connsiteY683" fmla="*/ 111614 h 639980"/>
                        <a:gd name="connsiteX684" fmla="*/ 50406 w 479309"/>
                        <a:gd name="connsiteY684" fmla="*/ 110714 h 639980"/>
                        <a:gd name="connsiteX685" fmla="*/ 45456 w 479309"/>
                        <a:gd name="connsiteY685" fmla="*/ 109814 h 639980"/>
                        <a:gd name="connsiteX686" fmla="*/ 44556 w 479309"/>
                        <a:gd name="connsiteY686" fmla="*/ 108464 h 639980"/>
                        <a:gd name="connsiteX687" fmla="*/ 45006 w 479309"/>
                        <a:gd name="connsiteY687" fmla="*/ 108014 h 639980"/>
                        <a:gd name="connsiteX688" fmla="*/ 47256 w 479309"/>
                        <a:gd name="connsiteY688" fmla="*/ 106663 h 639980"/>
                        <a:gd name="connsiteX689" fmla="*/ 47256 w 479309"/>
                        <a:gd name="connsiteY689" fmla="*/ 106213 h 639980"/>
                        <a:gd name="connsiteX690" fmla="*/ 43205 w 479309"/>
                        <a:gd name="connsiteY690" fmla="*/ 96762 h 639980"/>
                        <a:gd name="connsiteX691" fmla="*/ 42305 w 479309"/>
                        <a:gd name="connsiteY691" fmla="*/ 94062 h 639980"/>
                        <a:gd name="connsiteX692" fmla="*/ 44105 w 479309"/>
                        <a:gd name="connsiteY692" fmla="*/ 90461 h 639980"/>
                        <a:gd name="connsiteX693" fmla="*/ 45906 w 479309"/>
                        <a:gd name="connsiteY693" fmla="*/ 89111 h 639980"/>
                        <a:gd name="connsiteX694" fmla="*/ 45456 w 479309"/>
                        <a:gd name="connsiteY694" fmla="*/ 88211 h 639980"/>
                        <a:gd name="connsiteX695" fmla="*/ 42755 w 479309"/>
                        <a:gd name="connsiteY695" fmla="*/ 88211 h 639980"/>
                        <a:gd name="connsiteX696" fmla="*/ 40955 w 479309"/>
                        <a:gd name="connsiteY696" fmla="*/ 87761 h 639980"/>
                        <a:gd name="connsiteX697" fmla="*/ 39155 w 479309"/>
                        <a:gd name="connsiteY697" fmla="*/ 85061 h 639980"/>
                        <a:gd name="connsiteX698" fmla="*/ 39605 w 479309"/>
                        <a:gd name="connsiteY698" fmla="*/ 83260 h 639980"/>
                        <a:gd name="connsiteX699" fmla="*/ 40055 w 479309"/>
                        <a:gd name="connsiteY699" fmla="*/ 82360 h 639980"/>
                        <a:gd name="connsiteX700" fmla="*/ 41405 w 479309"/>
                        <a:gd name="connsiteY700" fmla="*/ 78310 h 639980"/>
                        <a:gd name="connsiteX701" fmla="*/ 42755 w 479309"/>
                        <a:gd name="connsiteY701" fmla="*/ 77410 h 639980"/>
                        <a:gd name="connsiteX702" fmla="*/ 42305 w 479309"/>
                        <a:gd name="connsiteY702" fmla="*/ 76510 h 639980"/>
                        <a:gd name="connsiteX703" fmla="*/ 36455 w 479309"/>
                        <a:gd name="connsiteY703" fmla="*/ 78310 h 639980"/>
                        <a:gd name="connsiteX704" fmla="*/ 33754 w 479309"/>
                        <a:gd name="connsiteY704" fmla="*/ 76960 h 639980"/>
                        <a:gd name="connsiteX705" fmla="*/ 31054 w 479309"/>
                        <a:gd name="connsiteY705" fmla="*/ 77410 h 639980"/>
                        <a:gd name="connsiteX706" fmla="*/ 29704 w 479309"/>
                        <a:gd name="connsiteY706" fmla="*/ 76960 h 639980"/>
                        <a:gd name="connsiteX707" fmla="*/ 30154 w 479309"/>
                        <a:gd name="connsiteY707" fmla="*/ 75610 h 639980"/>
                        <a:gd name="connsiteX708" fmla="*/ 35104 w 479309"/>
                        <a:gd name="connsiteY708" fmla="*/ 68859 h 639980"/>
                        <a:gd name="connsiteX709" fmla="*/ 37355 w 479309"/>
                        <a:gd name="connsiteY709" fmla="*/ 65258 h 639980"/>
                        <a:gd name="connsiteX710" fmla="*/ 38705 w 479309"/>
                        <a:gd name="connsiteY710" fmla="*/ 62108 h 639980"/>
                        <a:gd name="connsiteX711" fmla="*/ 39605 w 479309"/>
                        <a:gd name="connsiteY711" fmla="*/ 59858 h 639980"/>
                        <a:gd name="connsiteX712" fmla="*/ 39605 w 479309"/>
                        <a:gd name="connsiteY712" fmla="*/ 58957 h 639980"/>
                        <a:gd name="connsiteX713" fmla="*/ 39155 w 479309"/>
                        <a:gd name="connsiteY713" fmla="*/ 51756 h 639980"/>
                        <a:gd name="connsiteX714" fmla="*/ 39605 w 479309"/>
                        <a:gd name="connsiteY714" fmla="*/ 49956 h 639980"/>
                        <a:gd name="connsiteX715" fmla="*/ 41405 w 479309"/>
                        <a:gd name="connsiteY715" fmla="*/ 48156 h 639980"/>
                        <a:gd name="connsiteX716" fmla="*/ 44105 w 479309"/>
                        <a:gd name="connsiteY716" fmla="*/ 44556 h 639980"/>
                        <a:gd name="connsiteX717" fmla="*/ 40055 w 479309"/>
                        <a:gd name="connsiteY717" fmla="*/ 41405 h 639980"/>
                        <a:gd name="connsiteX718" fmla="*/ 40505 w 479309"/>
                        <a:gd name="connsiteY718" fmla="*/ 39155 h 639980"/>
                        <a:gd name="connsiteX719" fmla="*/ 38705 w 479309"/>
                        <a:gd name="connsiteY719" fmla="*/ 37805 h 639980"/>
                        <a:gd name="connsiteX720" fmla="*/ 37355 w 479309"/>
                        <a:gd name="connsiteY720" fmla="*/ 36455 h 639980"/>
                        <a:gd name="connsiteX721" fmla="*/ 36005 w 479309"/>
                        <a:gd name="connsiteY721" fmla="*/ 33304 h 639980"/>
                        <a:gd name="connsiteX722" fmla="*/ 34654 w 479309"/>
                        <a:gd name="connsiteY722" fmla="*/ 29254 h 639980"/>
                        <a:gd name="connsiteX723" fmla="*/ 33304 w 479309"/>
                        <a:gd name="connsiteY723" fmla="*/ 21153 h 639980"/>
                        <a:gd name="connsiteX724" fmla="*/ 33304 w 479309"/>
                        <a:gd name="connsiteY724" fmla="*/ 16652 h 639980"/>
                        <a:gd name="connsiteX725" fmla="*/ 33754 w 479309"/>
                        <a:gd name="connsiteY725" fmla="*/ 13502 h 639980"/>
                        <a:gd name="connsiteX726" fmla="*/ 34204 w 479309"/>
                        <a:gd name="connsiteY726" fmla="*/ 11701 h 639980"/>
                        <a:gd name="connsiteX727" fmla="*/ 35104 w 479309"/>
                        <a:gd name="connsiteY727" fmla="*/ 9901 h 639980"/>
                        <a:gd name="connsiteX728" fmla="*/ 38705 w 479309"/>
                        <a:gd name="connsiteY728" fmla="*/ 6751 h 639980"/>
                        <a:gd name="connsiteX729" fmla="*/ 45006 w 479309"/>
                        <a:gd name="connsiteY729" fmla="*/ 1800 h 639980"/>
                        <a:gd name="connsiteX730" fmla="*/ 49956 w 479309"/>
                        <a:gd name="connsiteY730" fmla="*/ 0 h 639980"/>
                        <a:gd name="connsiteX731" fmla="*/ 53557 w 479309"/>
                        <a:gd name="connsiteY731" fmla="*/ 900 h 639980"/>
                        <a:gd name="connsiteX732" fmla="*/ 60308 w 479309"/>
                        <a:gd name="connsiteY732" fmla="*/ 2250 h 639980"/>
                        <a:gd name="connsiteX733" fmla="*/ 65708 w 479309"/>
                        <a:gd name="connsiteY733" fmla="*/ 4951 h 639980"/>
                        <a:gd name="connsiteX734" fmla="*/ 82810 w 479309"/>
                        <a:gd name="connsiteY734" fmla="*/ 11701 h 639980"/>
                        <a:gd name="connsiteX735" fmla="*/ 85961 w 479309"/>
                        <a:gd name="connsiteY735" fmla="*/ 14852 h 639980"/>
                        <a:gd name="connsiteX736" fmla="*/ 83260 w 479309"/>
                        <a:gd name="connsiteY736" fmla="*/ 17552 h 639980"/>
                        <a:gd name="connsiteX737" fmla="*/ 83710 w 479309"/>
                        <a:gd name="connsiteY737" fmla="*/ 18002 h 639980"/>
                        <a:gd name="connsiteX738" fmla="*/ 90011 w 479309"/>
                        <a:gd name="connsiteY738" fmla="*/ 13052 h 639980"/>
                        <a:gd name="connsiteX739" fmla="*/ 91811 w 479309"/>
                        <a:gd name="connsiteY739" fmla="*/ 12152 h 639980"/>
                        <a:gd name="connsiteX740" fmla="*/ 93162 w 479309"/>
                        <a:gd name="connsiteY740" fmla="*/ 11701 h 639980"/>
                        <a:gd name="connsiteX741" fmla="*/ 98112 w 479309"/>
                        <a:gd name="connsiteY741" fmla="*/ 13502 h 639980"/>
                        <a:gd name="connsiteX742" fmla="*/ 99913 w 479309"/>
                        <a:gd name="connsiteY742" fmla="*/ 13952 h 639980"/>
                        <a:gd name="connsiteX743" fmla="*/ 102163 w 479309"/>
                        <a:gd name="connsiteY743" fmla="*/ 15302 h 639980"/>
                        <a:gd name="connsiteX744" fmla="*/ 108014 w 479309"/>
                        <a:gd name="connsiteY744" fmla="*/ 20703 h 639980"/>
                        <a:gd name="connsiteX745" fmla="*/ 108464 w 479309"/>
                        <a:gd name="connsiteY745" fmla="*/ 20253 h 639980"/>
                        <a:gd name="connsiteX746" fmla="*/ 106663 w 479309"/>
                        <a:gd name="connsiteY746" fmla="*/ 17552 h 639980"/>
                        <a:gd name="connsiteX747" fmla="*/ 107563 w 479309"/>
                        <a:gd name="connsiteY747" fmla="*/ 16202 h 639980"/>
                        <a:gd name="connsiteX748" fmla="*/ 112064 w 479309"/>
                        <a:gd name="connsiteY748" fmla="*/ 13502 h 639980"/>
                        <a:gd name="connsiteX749" fmla="*/ 117015 w 479309"/>
                        <a:gd name="connsiteY749" fmla="*/ 11251 h 639980"/>
                        <a:gd name="connsiteX750" fmla="*/ 120165 w 479309"/>
                        <a:gd name="connsiteY750" fmla="*/ 9001 h 639980"/>
                        <a:gd name="connsiteX751" fmla="*/ 123765 w 479309"/>
                        <a:gd name="connsiteY751" fmla="*/ 5851 h 639980"/>
                        <a:gd name="connsiteX752" fmla="*/ 126016 w 479309"/>
                        <a:gd name="connsiteY752" fmla="*/ 4051 h 639980"/>
                        <a:gd name="connsiteX753" fmla="*/ 127366 w 479309"/>
                        <a:gd name="connsiteY753" fmla="*/ 4051 h 639980"/>
                        <a:gd name="connsiteX754" fmla="*/ 129166 w 479309"/>
                        <a:gd name="connsiteY754" fmla="*/ 4951 h 639980"/>
                        <a:gd name="connsiteX755" fmla="*/ 133667 w 479309"/>
                        <a:gd name="connsiteY755" fmla="*/ 9001 h 639980"/>
                        <a:gd name="connsiteX756" fmla="*/ 136367 w 479309"/>
                        <a:gd name="connsiteY756" fmla="*/ 10801 h 639980"/>
                        <a:gd name="connsiteX757" fmla="*/ 138617 w 479309"/>
                        <a:gd name="connsiteY757" fmla="*/ 13052 h 639980"/>
                        <a:gd name="connsiteX758" fmla="*/ 141768 w 479309"/>
                        <a:gd name="connsiteY758" fmla="*/ 16652 h 639980"/>
                        <a:gd name="connsiteX759" fmla="*/ 143118 w 479309"/>
                        <a:gd name="connsiteY759" fmla="*/ 17552 h 639980"/>
                        <a:gd name="connsiteX760" fmla="*/ 145368 w 479309"/>
                        <a:gd name="connsiteY760" fmla="*/ 20253 h 639980"/>
                        <a:gd name="connsiteX761" fmla="*/ 148519 w 479309"/>
                        <a:gd name="connsiteY761" fmla="*/ 19803 h 639980"/>
                        <a:gd name="connsiteX762" fmla="*/ 149419 w 479309"/>
                        <a:gd name="connsiteY762" fmla="*/ 20253 h 639980"/>
                        <a:gd name="connsiteX763" fmla="*/ 149869 w 479309"/>
                        <a:gd name="connsiteY763" fmla="*/ 20703 h 639980"/>
                        <a:gd name="connsiteX764" fmla="*/ 150319 w 479309"/>
                        <a:gd name="connsiteY764" fmla="*/ 22503 h 639980"/>
                        <a:gd name="connsiteX765" fmla="*/ 150769 w 479309"/>
                        <a:gd name="connsiteY765" fmla="*/ 23403 h 639980"/>
                        <a:gd name="connsiteX766" fmla="*/ 150769 w 479309"/>
                        <a:gd name="connsiteY766" fmla="*/ 24753 h 639980"/>
                        <a:gd name="connsiteX767" fmla="*/ 149869 w 479309"/>
                        <a:gd name="connsiteY767" fmla="*/ 27904 h 639980"/>
                        <a:gd name="connsiteX768" fmla="*/ 147618 w 479309"/>
                        <a:gd name="connsiteY768" fmla="*/ 32854 h 639980"/>
                        <a:gd name="connsiteX769" fmla="*/ 148519 w 479309"/>
                        <a:gd name="connsiteY769" fmla="*/ 32854 h 639980"/>
                        <a:gd name="connsiteX770" fmla="*/ 149869 w 479309"/>
                        <a:gd name="connsiteY770" fmla="*/ 31954 h 639980"/>
                        <a:gd name="connsiteX771" fmla="*/ 151669 w 479309"/>
                        <a:gd name="connsiteY771" fmla="*/ 30154 h 639980"/>
                        <a:gd name="connsiteX772" fmla="*/ 153019 w 479309"/>
                        <a:gd name="connsiteY772" fmla="*/ 29254 h 639980"/>
                        <a:gd name="connsiteX773" fmla="*/ 156170 w 479309"/>
                        <a:gd name="connsiteY773" fmla="*/ 30604 h 639980"/>
                        <a:gd name="connsiteX774" fmla="*/ 158870 w 479309"/>
                        <a:gd name="connsiteY774" fmla="*/ 33304 h 639980"/>
                        <a:gd name="connsiteX775" fmla="*/ 159770 w 479309"/>
                        <a:gd name="connsiteY775" fmla="*/ 34654 h 639980"/>
                        <a:gd name="connsiteX776" fmla="*/ 160670 w 479309"/>
                        <a:gd name="connsiteY776" fmla="*/ 36905 h 639980"/>
                        <a:gd name="connsiteX777" fmla="*/ 161570 w 479309"/>
                        <a:gd name="connsiteY777" fmla="*/ 37805 h 639980"/>
                        <a:gd name="connsiteX778" fmla="*/ 162470 w 479309"/>
                        <a:gd name="connsiteY778" fmla="*/ 40055 h 639980"/>
                        <a:gd name="connsiteX779" fmla="*/ 162470 w 479309"/>
                        <a:gd name="connsiteY779" fmla="*/ 40955 h 639980"/>
                        <a:gd name="connsiteX780" fmla="*/ 161570 w 479309"/>
                        <a:gd name="connsiteY780" fmla="*/ 41855 h 639980"/>
                        <a:gd name="connsiteX781" fmla="*/ 157970 w 479309"/>
                        <a:gd name="connsiteY781" fmla="*/ 43656 h 639980"/>
                        <a:gd name="connsiteX782" fmla="*/ 158420 w 479309"/>
                        <a:gd name="connsiteY782" fmla="*/ 44106 h 639980"/>
                        <a:gd name="connsiteX783" fmla="*/ 162470 w 479309"/>
                        <a:gd name="connsiteY783" fmla="*/ 43205 h 639980"/>
                        <a:gd name="connsiteX784" fmla="*/ 163820 w 479309"/>
                        <a:gd name="connsiteY784" fmla="*/ 42305 h 639980"/>
                        <a:gd name="connsiteX785" fmla="*/ 164721 w 479309"/>
                        <a:gd name="connsiteY785" fmla="*/ 40505 h 639980"/>
                        <a:gd name="connsiteX786" fmla="*/ 166071 w 479309"/>
                        <a:gd name="connsiteY786" fmla="*/ 40055 h 639980"/>
                        <a:gd name="connsiteX787" fmla="*/ 171021 w 479309"/>
                        <a:gd name="connsiteY787" fmla="*/ 43205 h 639980"/>
                        <a:gd name="connsiteX788" fmla="*/ 171922 w 479309"/>
                        <a:gd name="connsiteY788" fmla="*/ 44106 h 639980"/>
                        <a:gd name="connsiteX789" fmla="*/ 171471 w 479309"/>
                        <a:gd name="connsiteY789" fmla="*/ 45006 h 639980"/>
                        <a:gd name="connsiteX790" fmla="*/ 170571 w 479309"/>
                        <a:gd name="connsiteY790" fmla="*/ 45906 h 639980"/>
                        <a:gd name="connsiteX791" fmla="*/ 168321 w 479309"/>
                        <a:gd name="connsiteY791" fmla="*/ 46806 h 639980"/>
                        <a:gd name="connsiteX792" fmla="*/ 166521 w 479309"/>
                        <a:gd name="connsiteY792" fmla="*/ 49506 h 639980"/>
                        <a:gd name="connsiteX793" fmla="*/ 166071 w 479309"/>
                        <a:gd name="connsiteY793" fmla="*/ 50856 h 639980"/>
                        <a:gd name="connsiteX794" fmla="*/ 167421 w 479309"/>
                        <a:gd name="connsiteY794" fmla="*/ 51756 h 639980"/>
                        <a:gd name="connsiteX795" fmla="*/ 170571 w 479309"/>
                        <a:gd name="connsiteY795" fmla="*/ 52207 h 639980"/>
                        <a:gd name="connsiteX796" fmla="*/ 170571 w 479309"/>
                        <a:gd name="connsiteY796" fmla="*/ 52657 h 639980"/>
                        <a:gd name="connsiteX797" fmla="*/ 168771 w 479309"/>
                        <a:gd name="connsiteY797" fmla="*/ 54007 h 639980"/>
                        <a:gd name="connsiteX798" fmla="*/ 168321 w 479309"/>
                        <a:gd name="connsiteY798" fmla="*/ 55357 h 639980"/>
                        <a:gd name="connsiteX799" fmla="*/ 172371 w 479309"/>
                        <a:gd name="connsiteY799" fmla="*/ 60758 h 639980"/>
                        <a:gd name="connsiteX800" fmla="*/ 175072 w 479309"/>
                        <a:gd name="connsiteY800" fmla="*/ 63008 h 639980"/>
                        <a:gd name="connsiteX801" fmla="*/ 176872 w 479309"/>
                        <a:gd name="connsiteY801" fmla="*/ 63458 h 639980"/>
                        <a:gd name="connsiteX802" fmla="*/ 180473 w 479309"/>
                        <a:gd name="connsiteY802" fmla="*/ 63458 h 639980"/>
                        <a:gd name="connsiteX803" fmla="*/ 183623 w 479309"/>
                        <a:gd name="connsiteY803" fmla="*/ 64358 h 639980"/>
                        <a:gd name="connsiteX804" fmla="*/ 190374 w 479309"/>
                        <a:gd name="connsiteY804" fmla="*/ 67508 h 639980"/>
                        <a:gd name="connsiteX805" fmla="*/ 194424 w 479309"/>
                        <a:gd name="connsiteY805" fmla="*/ 67959 h 639980"/>
                        <a:gd name="connsiteX806" fmla="*/ 197575 w 479309"/>
                        <a:gd name="connsiteY806" fmla="*/ 67059 h 639980"/>
                        <a:gd name="connsiteX807" fmla="*/ 199825 w 479309"/>
                        <a:gd name="connsiteY807" fmla="*/ 67059 h 639980"/>
                        <a:gd name="connsiteX808" fmla="*/ 201625 w 479309"/>
                        <a:gd name="connsiteY808" fmla="*/ 68409 h 639980"/>
                        <a:gd name="connsiteX809" fmla="*/ 202075 w 479309"/>
                        <a:gd name="connsiteY809" fmla="*/ 69309 h 639980"/>
                        <a:gd name="connsiteX810" fmla="*/ 202525 w 479309"/>
                        <a:gd name="connsiteY810" fmla="*/ 71109 h 639980"/>
                        <a:gd name="connsiteX811" fmla="*/ 202525 w 479309"/>
                        <a:gd name="connsiteY811" fmla="*/ 73809 h 639980"/>
                        <a:gd name="connsiteX812" fmla="*/ 203425 w 479309"/>
                        <a:gd name="connsiteY812" fmla="*/ 75610 h 639980"/>
                        <a:gd name="connsiteX813" fmla="*/ 205676 w 479309"/>
                        <a:gd name="connsiteY813" fmla="*/ 76510 h 639980"/>
                        <a:gd name="connsiteX814" fmla="*/ 207476 w 479309"/>
                        <a:gd name="connsiteY814" fmla="*/ 76510 h 639980"/>
                        <a:gd name="connsiteX815" fmla="*/ 209726 w 479309"/>
                        <a:gd name="connsiteY815" fmla="*/ 74259 h 639980"/>
                        <a:gd name="connsiteX816" fmla="*/ 211526 w 479309"/>
                        <a:gd name="connsiteY816" fmla="*/ 73809 h 639980"/>
                        <a:gd name="connsiteX817" fmla="*/ 211977 w 479309"/>
                        <a:gd name="connsiteY817" fmla="*/ 72459 h 639980"/>
                        <a:gd name="connsiteX818" fmla="*/ 212427 w 479309"/>
                        <a:gd name="connsiteY818" fmla="*/ 69759 h 639980"/>
                        <a:gd name="connsiteX819" fmla="*/ 212877 w 479309"/>
                        <a:gd name="connsiteY819" fmla="*/ 68409 h 639980"/>
                        <a:gd name="connsiteX820" fmla="*/ 214227 w 479309"/>
                        <a:gd name="connsiteY820" fmla="*/ 67959 h 639980"/>
                        <a:gd name="connsiteX821" fmla="*/ 215577 w 479309"/>
                        <a:gd name="connsiteY821" fmla="*/ 68859 h 639980"/>
                        <a:gd name="connsiteX822" fmla="*/ 216027 w 479309"/>
                        <a:gd name="connsiteY822" fmla="*/ 70209 h 639980"/>
                        <a:gd name="connsiteX823" fmla="*/ 217377 w 479309"/>
                        <a:gd name="connsiteY823" fmla="*/ 74259 h 639980"/>
                        <a:gd name="connsiteX824" fmla="*/ 217827 w 479309"/>
                        <a:gd name="connsiteY824" fmla="*/ 76060 h 639980"/>
                        <a:gd name="connsiteX825" fmla="*/ 217827 w 479309"/>
                        <a:gd name="connsiteY825" fmla="*/ 77410 h 639980"/>
                        <a:gd name="connsiteX826" fmla="*/ 217377 w 479309"/>
                        <a:gd name="connsiteY826" fmla="*/ 78760 h 639980"/>
                        <a:gd name="connsiteX827" fmla="*/ 216027 w 479309"/>
                        <a:gd name="connsiteY827" fmla="*/ 80110 h 639980"/>
                        <a:gd name="connsiteX828" fmla="*/ 214227 w 479309"/>
                        <a:gd name="connsiteY828" fmla="*/ 81910 h 639980"/>
                        <a:gd name="connsiteX829" fmla="*/ 212877 w 479309"/>
                        <a:gd name="connsiteY829" fmla="*/ 84161 h 639980"/>
                        <a:gd name="connsiteX830" fmla="*/ 211076 w 479309"/>
                        <a:gd name="connsiteY830" fmla="*/ 89561 h 639980"/>
                        <a:gd name="connsiteX831" fmla="*/ 210626 w 479309"/>
                        <a:gd name="connsiteY831" fmla="*/ 93162 h 639980"/>
                        <a:gd name="connsiteX832" fmla="*/ 210626 w 479309"/>
                        <a:gd name="connsiteY832" fmla="*/ 95412 h 639980"/>
                        <a:gd name="connsiteX833" fmla="*/ 210626 w 479309"/>
                        <a:gd name="connsiteY833" fmla="*/ 97662 h 639980"/>
                        <a:gd name="connsiteX834" fmla="*/ 211076 w 479309"/>
                        <a:gd name="connsiteY834" fmla="*/ 99913 h 639980"/>
                        <a:gd name="connsiteX835" fmla="*/ 211977 w 479309"/>
                        <a:gd name="connsiteY835" fmla="*/ 101713 h 639980"/>
                        <a:gd name="connsiteX836" fmla="*/ 213777 w 479309"/>
                        <a:gd name="connsiteY836" fmla="*/ 104413 h 639980"/>
                        <a:gd name="connsiteX837" fmla="*/ 213777 w 479309"/>
                        <a:gd name="connsiteY837" fmla="*/ 105313 h 639980"/>
                        <a:gd name="connsiteX838" fmla="*/ 213777 w 479309"/>
                        <a:gd name="connsiteY838" fmla="*/ 107564 h 639980"/>
                        <a:gd name="connsiteX839" fmla="*/ 213777 w 479309"/>
                        <a:gd name="connsiteY839" fmla="*/ 108464 h 639980"/>
                        <a:gd name="connsiteX840" fmla="*/ 212877 w 479309"/>
                        <a:gd name="connsiteY840" fmla="*/ 110264 h 639980"/>
                        <a:gd name="connsiteX841" fmla="*/ 210176 w 479309"/>
                        <a:gd name="connsiteY841" fmla="*/ 112064 h 639980"/>
                        <a:gd name="connsiteX842" fmla="*/ 206576 w 479309"/>
                        <a:gd name="connsiteY842" fmla="*/ 112514 h 639980"/>
                        <a:gd name="connsiteX843" fmla="*/ 194874 w 479309"/>
                        <a:gd name="connsiteY843" fmla="*/ 112514 h 639980"/>
                        <a:gd name="connsiteX844" fmla="*/ 191724 w 479309"/>
                        <a:gd name="connsiteY844" fmla="*/ 112064 h 639980"/>
                        <a:gd name="connsiteX845" fmla="*/ 192624 w 479309"/>
                        <a:gd name="connsiteY845" fmla="*/ 113864 h 639980"/>
                        <a:gd name="connsiteX846" fmla="*/ 195774 w 479309"/>
                        <a:gd name="connsiteY846" fmla="*/ 114314 h 639980"/>
                        <a:gd name="connsiteX847" fmla="*/ 198925 w 479309"/>
                        <a:gd name="connsiteY847" fmla="*/ 114314 h 639980"/>
                        <a:gd name="connsiteX848" fmla="*/ 210176 w 479309"/>
                        <a:gd name="connsiteY848" fmla="*/ 115214 h 639980"/>
                        <a:gd name="connsiteX849" fmla="*/ 211526 w 479309"/>
                        <a:gd name="connsiteY849" fmla="*/ 116565 h 639980"/>
                        <a:gd name="connsiteX850" fmla="*/ 212877 w 479309"/>
                        <a:gd name="connsiteY850" fmla="*/ 118365 h 639980"/>
                        <a:gd name="connsiteX851" fmla="*/ 213777 w 479309"/>
                        <a:gd name="connsiteY851" fmla="*/ 120615 h 639980"/>
                        <a:gd name="connsiteX852" fmla="*/ 214677 w 479309"/>
                        <a:gd name="connsiteY852" fmla="*/ 124666 h 639980"/>
                        <a:gd name="connsiteX853" fmla="*/ 214677 w 479309"/>
                        <a:gd name="connsiteY853" fmla="*/ 126466 h 639980"/>
                        <a:gd name="connsiteX854" fmla="*/ 214227 w 479309"/>
                        <a:gd name="connsiteY854" fmla="*/ 128716 h 639980"/>
                        <a:gd name="connsiteX855" fmla="*/ 212877 w 479309"/>
                        <a:gd name="connsiteY855" fmla="*/ 130966 h 639980"/>
                        <a:gd name="connsiteX856" fmla="*/ 211977 w 479309"/>
                        <a:gd name="connsiteY856" fmla="*/ 134117 h 639980"/>
                        <a:gd name="connsiteX857" fmla="*/ 211526 w 479309"/>
                        <a:gd name="connsiteY857" fmla="*/ 138167 h 639980"/>
                        <a:gd name="connsiteX858" fmla="*/ 211977 w 479309"/>
                        <a:gd name="connsiteY858" fmla="*/ 140418 h 639980"/>
                        <a:gd name="connsiteX859" fmla="*/ 217827 w 479309"/>
                        <a:gd name="connsiteY859" fmla="*/ 140418 h 639980"/>
                        <a:gd name="connsiteX860" fmla="*/ 219177 w 479309"/>
                        <a:gd name="connsiteY860" fmla="*/ 141768 h 639980"/>
                        <a:gd name="connsiteX861" fmla="*/ 219177 w 479309"/>
                        <a:gd name="connsiteY861" fmla="*/ 142668 h 639980"/>
                        <a:gd name="connsiteX862" fmla="*/ 216927 w 479309"/>
                        <a:gd name="connsiteY862" fmla="*/ 146718 h 639980"/>
                        <a:gd name="connsiteX863" fmla="*/ 216927 w 479309"/>
                        <a:gd name="connsiteY863" fmla="*/ 148069 h 639980"/>
                        <a:gd name="connsiteX864" fmla="*/ 217827 w 479309"/>
                        <a:gd name="connsiteY864" fmla="*/ 150769 h 639980"/>
                        <a:gd name="connsiteX865" fmla="*/ 217827 w 479309"/>
                        <a:gd name="connsiteY865" fmla="*/ 151669 h 639980"/>
                        <a:gd name="connsiteX866" fmla="*/ 217377 w 479309"/>
                        <a:gd name="connsiteY866" fmla="*/ 152569 h 639980"/>
                        <a:gd name="connsiteX867" fmla="*/ 216927 w 479309"/>
                        <a:gd name="connsiteY867" fmla="*/ 154819 h 639980"/>
                        <a:gd name="connsiteX868" fmla="*/ 216477 w 479309"/>
                        <a:gd name="connsiteY868" fmla="*/ 157970 h 639980"/>
                        <a:gd name="connsiteX869" fmla="*/ 216027 w 479309"/>
                        <a:gd name="connsiteY869" fmla="*/ 160220 h 639980"/>
                        <a:gd name="connsiteX870" fmla="*/ 214227 w 479309"/>
                        <a:gd name="connsiteY870" fmla="*/ 162020 h 639980"/>
                        <a:gd name="connsiteX871" fmla="*/ 213327 w 479309"/>
                        <a:gd name="connsiteY871" fmla="*/ 162470 h 639980"/>
                        <a:gd name="connsiteX872" fmla="*/ 212877 w 479309"/>
                        <a:gd name="connsiteY872" fmla="*/ 162020 h 639980"/>
                        <a:gd name="connsiteX873" fmla="*/ 211076 w 479309"/>
                        <a:gd name="connsiteY873" fmla="*/ 157520 h 639980"/>
                        <a:gd name="connsiteX874" fmla="*/ 210626 w 479309"/>
                        <a:gd name="connsiteY874" fmla="*/ 157070 h 639980"/>
                        <a:gd name="connsiteX875" fmla="*/ 210176 w 479309"/>
                        <a:gd name="connsiteY875" fmla="*/ 157520 h 639980"/>
                        <a:gd name="connsiteX876" fmla="*/ 209726 w 479309"/>
                        <a:gd name="connsiteY876" fmla="*/ 158420 h 639980"/>
                        <a:gd name="connsiteX877" fmla="*/ 209726 w 479309"/>
                        <a:gd name="connsiteY877" fmla="*/ 159320 h 639980"/>
                        <a:gd name="connsiteX878" fmla="*/ 209276 w 479309"/>
                        <a:gd name="connsiteY878" fmla="*/ 160220 h 639980"/>
                        <a:gd name="connsiteX879" fmla="*/ 208826 w 479309"/>
                        <a:gd name="connsiteY879" fmla="*/ 161120 h 639980"/>
                        <a:gd name="connsiteX880" fmla="*/ 206576 w 479309"/>
                        <a:gd name="connsiteY880" fmla="*/ 162920 h 639980"/>
                        <a:gd name="connsiteX881" fmla="*/ 202525 w 479309"/>
                        <a:gd name="connsiteY881" fmla="*/ 163821 h 639980"/>
                        <a:gd name="connsiteX882" fmla="*/ 202525 w 479309"/>
                        <a:gd name="connsiteY882" fmla="*/ 165171 h 639980"/>
                        <a:gd name="connsiteX883" fmla="*/ 205226 w 479309"/>
                        <a:gd name="connsiteY883" fmla="*/ 165621 h 639980"/>
                        <a:gd name="connsiteX884" fmla="*/ 208376 w 479309"/>
                        <a:gd name="connsiteY884" fmla="*/ 167421 h 639980"/>
                        <a:gd name="connsiteX885" fmla="*/ 210176 w 479309"/>
                        <a:gd name="connsiteY885" fmla="*/ 167871 h 639980"/>
                        <a:gd name="connsiteX886" fmla="*/ 213327 w 479309"/>
                        <a:gd name="connsiteY886" fmla="*/ 166071 h 639980"/>
                        <a:gd name="connsiteX887" fmla="*/ 219177 w 479309"/>
                        <a:gd name="connsiteY887" fmla="*/ 161120 h 639980"/>
                        <a:gd name="connsiteX888" fmla="*/ 221428 w 479309"/>
                        <a:gd name="connsiteY888" fmla="*/ 159770 h 639980"/>
                        <a:gd name="connsiteX889" fmla="*/ 223678 w 479309"/>
                        <a:gd name="connsiteY889" fmla="*/ 159320 h 639980"/>
                        <a:gd name="connsiteX890" fmla="*/ 225928 w 479309"/>
                        <a:gd name="connsiteY890" fmla="*/ 159320 h 639980"/>
                        <a:gd name="connsiteX891" fmla="*/ 228629 w 479309"/>
                        <a:gd name="connsiteY891" fmla="*/ 159770 h 639980"/>
                        <a:gd name="connsiteX892" fmla="*/ 233579 w 479309"/>
                        <a:gd name="connsiteY892" fmla="*/ 159320 h 639980"/>
                        <a:gd name="connsiteX893" fmla="*/ 234929 w 479309"/>
                        <a:gd name="connsiteY893" fmla="*/ 159770 h 639980"/>
                        <a:gd name="connsiteX894" fmla="*/ 236730 w 479309"/>
                        <a:gd name="connsiteY894" fmla="*/ 160670 h 639980"/>
                        <a:gd name="connsiteX895" fmla="*/ 238530 w 479309"/>
                        <a:gd name="connsiteY895" fmla="*/ 162470 h 639980"/>
                        <a:gd name="connsiteX896" fmla="*/ 239880 w 479309"/>
                        <a:gd name="connsiteY896" fmla="*/ 164271 h 639980"/>
                        <a:gd name="connsiteX897" fmla="*/ 240780 w 479309"/>
                        <a:gd name="connsiteY897" fmla="*/ 166071 h 639980"/>
                        <a:gd name="connsiteX898" fmla="*/ 242130 w 479309"/>
                        <a:gd name="connsiteY898" fmla="*/ 171922 h 639980"/>
                        <a:gd name="connsiteX899" fmla="*/ 243480 w 479309"/>
                        <a:gd name="connsiteY899" fmla="*/ 173722 h 639980"/>
                        <a:gd name="connsiteX900" fmla="*/ 243931 w 479309"/>
                        <a:gd name="connsiteY900" fmla="*/ 175072 h 639980"/>
                        <a:gd name="connsiteX901" fmla="*/ 243931 w 479309"/>
                        <a:gd name="connsiteY901" fmla="*/ 176872 h 639980"/>
                        <a:gd name="connsiteX902" fmla="*/ 243931 w 479309"/>
                        <a:gd name="connsiteY902" fmla="*/ 180473 h 639980"/>
                        <a:gd name="connsiteX903" fmla="*/ 242130 w 479309"/>
                        <a:gd name="connsiteY903" fmla="*/ 187223 h 639980"/>
                        <a:gd name="connsiteX904" fmla="*/ 241230 w 479309"/>
                        <a:gd name="connsiteY904" fmla="*/ 189924 h 639980"/>
                        <a:gd name="connsiteX905" fmla="*/ 238530 w 479309"/>
                        <a:gd name="connsiteY905" fmla="*/ 192174 h 639980"/>
                        <a:gd name="connsiteX906" fmla="*/ 235829 w 479309"/>
                        <a:gd name="connsiteY906" fmla="*/ 193974 h 639980"/>
                        <a:gd name="connsiteX907" fmla="*/ 230879 w 479309"/>
                        <a:gd name="connsiteY907" fmla="*/ 195325 h 639980"/>
                        <a:gd name="connsiteX908" fmla="*/ 228179 w 479309"/>
                        <a:gd name="connsiteY908" fmla="*/ 196675 h 639980"/>
                        <a:gd name="connsiteX909" fmla="*/ 226378 w 479309"/>
                        <a:gd name="connsiteY909" fmla="*/ 198475 h 639980"/>
                        <a:gd name="connsiteX910" fmla="*/ 226378 w 479309"/>
                        <a:gd name="connsiteY910" fmla="*/ 199375 h 639980"/>
                        <a:gd name="connsiteX911" fmla="*/ 231779 w 479309"/>
                        <a:gd name="connsiteY911" fmla="*/ 196225 h 639980"/>
                        <a:gd name="connsiteX912" fmla="*/ 237630 w 479309"/>
                        <a:gd name="connsiteY912" fmla="*/ 194874 h 639980"/>
                        <a:gd name="connsiteX913" fmla="*/ 239430 w 479309"/>
                        <a:gd name="connsiteY913" fmla="*/ 193074 h 639980"/>
                        <a:gd name="connsiteX914" fmla="*/ 240780 w 479309"/>
                        <a:gd name="connsiteY914" fmla="*/ 191724 h 639980"/>
                        <a:gd name="connsiteX915" fmla="*/ 242130 w 479309"/>
                        <a:gd name="connsiteY915" fmla="*/ 188124 h 639980"/>
                        <a:gd name="connsiteX916" fmla="*/ 244380 w 479309"/>
                        <a:gd name="connsiteY916" fmla="*/ 179123 h 639980"/>
                        <a:gd name="connsiteX917" fmla="*/ 245731 w 479309"/>
                        <a:gd name="connsiteY917" fmla="*/ 176422 h 639980"/>
                        <a:gd name="connsiteX918" fmla="*/ 247531 w 479309"/>
                        <a:gd name="connsiteY918" fmla="*/ 175972 h 639980"/>
                        <a:gd name="connsiteX919" fmla="*/ 248431 w 479309"/>
                        <a:gd name="connsiteY919" fmla="*/ 176872 h 639980"/>
                        <a:gd name="connsiteX920" fmla="*/ 250231 w 479309"/>
                        <a:gd name="connsiteY920" fmla="*/ 182273 h 639980"/>
                        <a:gd name="connsiteX921" fmla="*/ 250231 w 479309"/>
                        <a:gd name="connsiteY921" fmla="*/ 183623 h 639980"/>
                        <a:gd name="connsiteX922" fmla="*/ 249781 w 479309"/>
                        <a:gd name="connsiteY922" fmla="*/ 184973 h 639980"/>
                        <a:gd name="connsiteX923" fmla="*/ 246631 w 479309"/>
                        <a:gd name="connsiteY923" fmla="*/ 189924 h 639980"/>
                        <a:gd name="connsiteX924" fmla="*/ 247981 w 479309"/>
                        <a:gd name="connsiteY924" fmla="*/ 189474 h 639980"/>
                        <a:gd name="connsiteX925" fmla="*/ 251131 w 479309"/>
                        <a:gd name="connsiteY925" fmla="*/ 184523 h 639980"/>
                        <a:gd name="connsiteX926" fmla="*/ 252032 w 479309"/>
                        <a:gd name="connsiteY926" fmla="*/ 183173 h 639980"/>
                        <a:gd name="connsiteX927" fmla="*/ 252482 w 479309"/>
                        <a:gd name="connsiteY927" fmla="*/ 180923 h 639980"/>
                        <a:gd name="connsiteX928" fmla="*/ 253382 w 479309"/>
                        <a:gd name="connsiteY928" fmla="*/ 179123 h 639980"/>
                        <a:gd name="connsiteX929" fmla="*/ 253832 w 479309"/>
                        <a:gd name="connsiteY929" fmla="*/ 180023 h 639980"/>
                        <a:gd name="connsiteX930" fmla="*/ 254732 w 479309"/>
                        <a:gd name="connsiteY930" fmla="*/ 185873 h 639980"/>
                        <a:gd name="connsiteX931" fmla="*/ 254732 w 479309"/>
                        <a:gd name="connsiteY931" fmla="*/ 189924 h 639980"/>
                        <a:gd name="connsiteX932" fmla="*/ 254732 w 479309"/>
                        <a:gd name="connsiteY932" fmla="*/ 191274 h 639980"/>
                        <a:gd name="connsiteX933" fmla="*/ 254282 w 479309"/>
                        <a:gd name="connsiteY933" fmla="*/ 195325 h 639980"/>
                        <a:gd name="connsiteX934" fmla="*/ 254732 w 479309"/>
                        <a:gd name="connsiteY934" fmla="*/ 196225 h 639980"/>
                        <a:gd name="connsiteX935" fmla="*/ 255632 w 479309"/>
                        <a:gd name="connsiteY935" fmla="*/ 192624 h 639980"/>
                        <a:gd name="connsiteX936" fmla="*/ 256082 w 479309"/>
                        <a:gd name="connsiteY936" fmla="*/ 189924 h 639980"/>
                        <a:gd name="connsiteX937" fmla="*/ 256532 w 479309"/>
                        <a:gd name="connsiteY937" fmla="*/ 188124 h 639980"/>
                        <a:gd name="connsiteX938" fmla="*/ 256982 w 479309"/>
                        <a:gd name="connsiteY938" fmla="*/ 187223 h 639980"/>
                        <a:gd name="connsiteX939" fmla="*/ 261033 w 479309"/>
                        <a:gd name="connsiteY939" fmla="*/ 183623 h 639980"/>
                        <a:gd name="connsiteX940" fmla="*/ 265533 w 479309"/>
                        <a:gd name="connsiteY940" fmla="*/ 180923 h 639980"/>
                        <a:gd name="connsiteX941" fmla="*/ 268684 w 479309"/>
                        <a:gd name="connsiteY941" fmla="*/ 178222 h 639980"/>
                        <a:gd name="connsiteX942" fmla="*/ 271384 w 479309"/>
                        <a:gd name="connsiteY942" fmla="*/ 176872 h 639980"/>
                        <a:gd name="connsiteX943" fmla="*/ 274984 w 479309"/>
                        <a:gd name="connsiteY943" fmla="*/ 175522 h 639980"/>
                        <a:gd name="connsiteX944" fmla="*/ 277235 w 479309"/>
                        <a:gd name="connsiteY944" fmla="*/ 173272 h 639980"/>
                        <a:gd name="connsiteX945" fmla="*/ 278135 w 479309"/>
                        <a:gd name="connsiteY945" fmla="*/ 169671 h 639980"/>
                        <a:gd name="connsiteX946" fmla="*/ 279035 w 479309"/>
                        <a:gd name="connsiteY946" fmla="*/ 167421 h 639980"/>
                        <a:gd name="connsiteX947" fmla="*/ 279935 w 479309"/>
                        <a:gd name="connsiteY947" fmla="*/ 166071 h 639980"/>
                        <a:gd name="connsiteX948" fmla="*/ 282635 w 479309"/>
                        <a:gd name="connsiteY948" fmla="*/ 163821 h 639980"/>
                        <a:gd name="connsiteX949" fmla="*/ 283985 w 479309"/>
                        <a:gd name="connsiteY949" fmla="*/ 163821 h 639980"/>
                        <a:gd name="connsiteX950" fmla="*/ 285336 w 479309"/>
                        <a:gd name="connsiteY950" fmla="*/ 164721 h 639980"/>
                        <a:gd name="connsiteX951" fmla="*/ 286686 w 479309"/>
                        <a:gd name="connsiteY951" fmla="*/ 166521 h 639980"/>
                        <a:gd name="connsiteX952" fmla="*/ 288486 w 479309"/>
                        <a:gd name="connsiteY952" fmla="*/ 169221 h 639980"/>
                        <a:gd name="connsiteX953" fmla="*/ 289386 w 479309"/>
                        <a:gd name="connsiteY953" fmla="*/ 171471 h 639980"/>
                        <a:gd name="connsiteX954" fmla="*/ 289836 w 479309"/>
                        <a:gd name="connsiteY954" fmla="*/ 173272 h 639980"/>
                        <a:gd name="connsiteX955" fmla="*/ 290286 w 479309"/>
                        <a:gd name="connsiteY955" fmla="*/ 178672 h 639980"/>
                        <a:gd name="connsiteX956" fmla="*/ 290736 w 479309"/>
                        <a:gd name="connsiteY956" fmla="*/ 178672 h 639980"/>
                        <a:gd name="connsiteX957" fmla="*/ 292087 w 479309"/>
                        <a:gd name="connsiteY957" fmla="*/ 174622 h 639980"/>
                        <a:gd name="connsiteX958" fmla="*/ 292087 w 479309"/>
                        <a:gd name="connsiteY958" fmla="*/ 173272 h 639980"/>
                        <a:gd name="connsiteX959" fmla="*/ 292087 w 479309"/>
                        <a:gd name="connsiteY959" fmla="*/ 171471 h 639980"/>
                        <a:gd name="connsiteX960" fmla="*/ 291636 w 479309"/>
                        <a:gd name="connsiteY960" fmla="*/ 169671 h 639980"/>
                        <a:gd name="connsiteX961" fmla="*/ 290286 w 479309"/>
                        <a:gd name="connsiteY961" fmla="*/ 166071 h 639980"/>
                        <a:gd name="connsiteX962" fmla="*/ 289836 w 479309"/>
                        <a:gd name="connsiteY962" fmla="*/ 163821 h 639980"/>
                        <a:gd name="connsiteX963" fmla="*/ 289836 w 479309"/>
                        <a:gd name="connsiteY963" fmla="*/ 162470 h 639980"/>
                        <a:gd name="connsiteX964" fmla="*/ 291636 w 479309"/>
                        <a:gd name="connsiteY964" fmla="*/ 161570 h 639980"/>
                        <a:gd name="connsiteX965" fmla="*/ 293887 w 479309"/>
                        <a:gd name="connsiteY965" fmla="*/ 161120 h 639980"/>
                        <a:gd name="connsiteX966" fmla="*/ 294337 w 479309"/>
                        <a:gd name="connsiteY966" fmla="*/ 160670 h 639980"/>
                        <a:gd name="connsiteX967" fmla="*/ 292537 w 479309"/>
                        <a:gd name="connsiteY967" fmla="*/ 159320 h 639980"/>
                        <a:gd name="connsiteX968" fmla="*/ 292537 w 479309"/>
                        <a:gd name="connsiteY968" fmla="*/ 158420 h 639980"/>
                        <a:gd name="connsiteX969" fmla="*/ 294337 w 479309"/>
                        <a:gd name="connsiteY969" fmla="*/ 155720 h 639980"/>
                        <a:gd name="connsiteX970" fmla="*/ 295237 w 479309"/>
                        <a:gd name="connsiteY970" fmla="*/ 155720 h 639980"/>
                        <a:gd name="connsiteX971" fmla="*/ 297037 w 479309"/>
                        <a:gd name="connsiteY971" fmla="*/ 156170 h 639980"/>
                        <a:gd name="connsiteX972" fmla="*/ 296587 w 479309"/>
                        <a:gd name="connsiteY972" fmla="*/ 154819 h 639980"/>
                        <a:gd name="connsiteX973" fmla="*/ 296587 w 479309"/>
                        <a:gd name="connsiteY973" fmla="*/ 153919 h 639980"/>
                        <a:gd name="connsiteX974" fmla="*/ 297037 w 479309"/>
                        <a:gd name="connsiteY974" fmla="*/ 153469 h 639980"/>
                        <a:gd name="connsiteX975" fmla="*/ 300188 w 479309"/>
                        <a:gd name="connsiteY975" fmla="*/ 154369 h 639980"/>
                        <a:gd name="connsiteX976" fmla="*/ 300638 w 479309"/>
                        <a:gd name="connsiteY976" fmla="*/ 153469 h 639980"/>
                        <a:gd name="connsiteX977" fmla="*/ 303338 w 479309"/>
                        <a:gd name="connsiteY977" fmla="*/ 153469 h 639980"/>
                        <a:gd name="connsiteX978" fmla="*/ 303788 w 479309"/>
                        <a:gd name="connsiteY978" fmla="*/ 152569 h 639980"/>
                        <a:gd name="connsiteX979" fmla="*/ 301538 w 479309"/>
                        <a:gd name="connsiteY979" fmla="*/ 151219 h 639980"/>
                        <a:gd name="connsiteX980" fmla="*/ 299287 w 479309"/>
                        <a:gd name="connsiteY980" fmla="*/ 150319 h 639980"/>
                        <a:gd name="connsiteX981" fmla="*/ 298387 w 479309"/>
                        <a:gd name="connsiteY981" fmla="*/ 149419 h 639980"/>
                        <a:gd name="connsiteX982" fmla="*/ 297937 w 479309"/>
                        <a:gd name="connsiteY982" fmla="*/ 148519 h 639980"/>
                        <a:gd name="connsiteX983" fmla="*/ 297037 w 479309"/>
                        <a:gd name="connsiteY983" fmla="*/ 145818 h 639980"/>
                        <a:gd name="connsiteX984" fmla="*/ 297037 w 479309"/>
                        <a:gd name="connsiteY984" fmla="*/ 145368 h 639980"/>
                        <a:gd name="connsiteX985" fmla="*/ 297487 w 479309"/>
                        <a:gd name="connsiteY985" fmla="*/ 145368 h 639980"/>
                        <a:gd name="connsiteX986" fmla="*/ 298837 w 479309"/>
                        <a:gd name="connsiteY986" fmla="*/ 146268 h 639980"/>
                        <a:gd name="connsiteX987" fmla="*/ 299287 w 479309"/>
                        <a:gd name="connsiteY987" fmla="*/ 144918 h 639980"/>
                        <a:gd name="connsiteX988" fmla="*/ 300188 w 479309"/>
                        <a:gd name="connsiteY988" fmla="*/ 141768 h 639980"/>
                        <a:gd name="connsiteX989" fmla="*/ 301088 w 479309"/>
                        <a:gd name="connsiteY989" fmla="*/ 140418 h 639980"/>
                        <a:gd name="connsiteX990" fmla="*/ 303338 w 479309"/>
                        <a:gd name="connsiteY990" fmla="*/ 141768 h 639980"/>
                        <a:gd name="connsiteX991" fmla="*/ 303338 w 479309"/>
                        <a:gd name="connsiteY991" fmla="*/ 141318 h 639980"/>
                        <a:gd name="connsiteX992" fmla="*/ 301538 w 479309"/>
                        <a:gd name="connsiteY992" fmla="*/ 136367 h 639980"/>
                        <a:gd name="connsiteX993" fmla="*/ 301988 w 479309"/>
                        <a:gd name="connsiteY993" fmla="*/ 135467 h 639980"/>
                        <a:gd name="connsiteX994" fmla="*/ 304688 w 479309"/>
                        <a:gd name="connsiteY994" fmla="*/ 135017 h 639980"/>
                        <a:gd name="connsiteX995" fmla="*/ 306488 w 479309"/>
                        <a:gd name="connsiteY995" fmla="*/ 135467 h 639980"/>
                        <a:gd name="connsiteX996" fmla="*/ 310539 w 479309"/>
                        <a:gd name="connsiteY996" fmla="*/ 139068 h 639980"/>
                        <a:gd name="connsiteX997" fmla="*/ 311439 w 479309"/>
                        <a:gd name="connsiteY997" fmla="*/ 138617 h 639980"/>
                        <a:gd name="connsiteX998" fmla="*/ 310989 w 479309"/>
                        <a:gd name="connsiteY998" fmla="*/ 137717 h 639980"/>
                        <a:gd name="connsiteX999" fmla="*/ 308738 w 479309"/>
                        <a:gd name="connsiteY999" fmla="*/ 135467 h 639980"/>
                        <a:gd name="connsiteX1000" fmla="*/ 306938 w 479309"/>
                        <a:gd name="connsiteY1000" fmla="*/ 134117 h 639980"/>
                        <a:gd name="connsiteX1001" fmla="*/ 305138 w 479309"/>
                        <a:gd name="connsiteY1001" fmla="*/ 133667 h 639980"/>
                        <a:gd name="connsiteX1002" fmla="*/ 303788 w 479309"/>
                        <a:gd name="connsiteY1002" fmla="*/ 132317 h 639980"/>
                        <a:gd name="connsiteX1003" fmla="*/ 302438 w 479309"/>
                        <a:gd name="connsiteY1003" fmla="*/ 129166 h 639980"/>
                        <a:gd name="connsiteX1004" fmla="*/ 301988 w 479309"/>
                        <a:gd name="connsiteY1004" fmla="*/ 127816 h 639980"/>
                        <a:gd name="connsiteX1005" fmla="*/ 301988 w 479309"/>
                        <a:gd name="connsiteY1005" fmla="*/ 126016 h 639980"/>
                        <a:gd name="connsiteX1006" fmla="*/ 302888 w 479309"/>
                        <a:gd name="connsiteY1006" fmla="*/ 122415 h 639980"/>
                        <a:gd name="connsiteX1007" fmla="*/ 303338 w 479309"/>
                        <a:gd name="connsiteY1007" fmla="*/ 121515 h 639980"/>
                        <a:gd name="connsiteX1008" fmla="*/ 304238 w 479309"/>
                        <a:gd name="connsiteY1008" fmla="*/ 121065 h 639980"/>
                        <a:gd name="connsiteX1009" fmla="*/ 305588 w 479309"/>
                        <a:gd name="connsiteY1009" fmla="*/ 120615 h 639980"/>
                        <a:gd name="connsiteX1010" fmla="*/ 307388 w 479309"/>
                        <a:gd name="connsiteY1010" fmla="*/ 121065 h 639980"/>
                        <a:gd name="connsiteX1011" fmla="*/ 310539 w 479309"/>
                        <a:gd name="connsiteY1011" fmla="*/ 123316 h 639980"/>
                        <a:gd name="connsiteX1012" fmla="*/ 310989 w 479309"/>
                        <a:gd name="connsiteY1012" fmla="*/ 122415 h 639980"/>
                        <a:gd name="connsiteX1013" fmla="*/ 309189 w 479309"/>
                        <a:gd name="connsiteY1013" fmla="*/ 121065 h 639980"/>
                        <a:gd name="connsiteX1014" fmla="*/ 308289 w 479309"/>
                        <a:gd name="connsiteY1014" fmla="*/ 119715 h 639980"/>
                        <a:gd name="connsiteX1015" fmla="*/ 307839 w 479309"/>
                        <a:gd name="connsiteY1015" fmla="*/ 118365 h 639980"/>
                        <a:gd name="connsiteX1016" fmla="*/ 307839 w 479309"/>
                        <a:gd name="connsiteY1016" fmla="*/ 116565 h 639980"/>
                        <a:gd name="connsiteX1017" fmla="*/ 309189 w 479309"/>
                        <a:gd name="connsiteY1017" fmla="*/ 112964 h 639980"/>
                        <a:gd name="connsiteX1018" fmla="*/ 309639 w 479309"/>
                        <a:gd name="connsiteY1018" fmla="*/ 110264 h 639980"/>
                        <a:gd name="connsiteX1019" fmla="*/ 312789 w 479309"/>
                        <a:gd name="connsiteY1019" fmla="*/ 102163 h 639980"/>
                        <a:gd name="connsiteX1020" fmla="*/ 313689 w 479309"/>
                        <a:gd name="connsiteY1020" fmla="*/ 100813 h 639980"/>
                        <a:gd name="connsiteX1021" fmla="*/ 314589 w 479309"/>
                        <a:gd name="connsiteY1021" fmla="*/ 99913 h 639980"/>
                        <a:gd name="connsiteX1022" fmla="*/ 315039 w 479309"/>
                        <a:gd name="connsiteY1022" fmla="*/ 99012 h 639980"/>
                        <a:gd name="connsiteX1023" fmla="*/ 317290 w 479309"/>
                        <a:gd name="connsiteY1023" fmla="*/ 99012 h 639980"/>
                        <a:gd name="connsiteX1024" fmla="*/ 319990 w 479309"/>
                        <a:gd name="connsiteY1024" fmla="*/ 99913 h 639980"/>
                        <a:gd name="connsiteX1025" fmla="*/ 379848 w 479309"/>
                        <a:gd name="connsiteY1025" fmla="*/ 513514 h 639980"/>
                        <a:gd name="connsiteX1026" fmla="*/ 370846 w 479309"/>
                        <a:gd name="connsiteY1026" fmla="*/ 513964 h 639980"/>
                        <a:gd name="connsiteX1027" fmla="*/ 363645 w 479309"/>
                        <a:gd name="connsiteY1027" fmla="*/ 512164 h 639980"/>
                        <a:gd name="connsiteX1028" fmla="*/ 358245 w 479309"/>
                        <a:gd name="connsiteY1028" fmla="*/ 511264 h 639980"/>
                        <a:gd name="connsiteX1029" fmla="*/ 353294 w 479309"/>
                        <a:gd name="connsiteY1029" fmla="*/ 509464 h 639980"/>
                        <a:gd name="connsiteX1030" fmla="*/ 342043 w 479309"/>
                        <a:gd name="connsiteY1030" fmla="*/ 503613 h 639980"/>
                        <a:gd name="connsiteX1031" fmla="*/ 340693 w 479309"/>
                        <a:gd name="connsiteY1031" fmla="*/ 501813 h 639980"/>
                        <a:gd name="connsiteX1032" fmla="*/ 339792 w 479309"/>
                        <a:gd name="connsiteY1032" fmla="*/ 499563 h 639980"/>
                        <a:gd name="connsiteX1033" fmla="*/ 337542 w 479309"/>
                        <a:gd name="connsiteY1033" fmla="*/ 497312 h 639980"/>
                        <a:gd name="connsiteX1034" fmla="*/ 335292 w 479309"/>
                        <a:gd name="connsiteY1034" fmla="*/ 495512 h 639980"/>
                        <a:gd name="connsiteX1035" fmla="*/ 323591 w 479309"/>
                        <a:gd name="connsiteY1035" fmla="*/ 490111 h 639980"/>
                        <a:gd name="connsiteX1036" fmla="*/ 322690 w 479309"/>
                        <a:gd name="connsiteY1036" fmla="*/ 488311 h 639980"/>
                        <a:gd name="connsiteX1037" fmla="*/ 324941 w 479309"/>
                        <a:gd name="connsiteY1037" fmla="*/ 486961 h 639980"/>
                        <a:gd name="connsiteX1038" fmla="*/ 327641 w 479309"/>
                        <a:gd name="connsiteY1038" fmla="*/ 486511 h 639980"/>
                        <a:gd name="connsiteX1039" fmla="*/ 329891 w 479309"/>
                        <a:gd name="connsiteY1039" fmla="*/ 486511 h 639980"/>
                        <a:gd name="connsiteX1040" fmla="*/ 337992 w 479309"/>
                        <a:gd name="connsiteY1040" fmla="*/ 488761 h 639980"/>
                        <a:gd name="connsiteX1041" fmla="*/ 347893 w 479309"/>
                        <a:gd name="connsiteY1041" fmla="*/ 490561 h 639980"/>
                        <a:gd name="connsiteX1042" fmla="*/ 352394 w 479309"/>
                        <a:gd name="connsiteY1042" fmla="*/ 491912 h 639980"/>
                        <a:gd name="connsiteX1043" fmla="*/ 357345 w 479309"/>
                        <a:gd name="connsiteY1043" fmla="*/ 494162 h 639980"/>
                        <a:gd name="connsiteX1044" fmla="*/ 362295 w 479309"/>
                        <a:gd name="connsiteY1044" fmla="*/ 496862 h 639980"/>
                        <a:gd name="connsiteX1045" fmla="*/ 373097 w 479309"/>
                        <a:gd name="connsiteY1045" fmla="*/ 504063 h 639980"/>
                        <a:gd name="connsiteX1046" fmla="*/ 374897 w 479309"/>
                        <a:gd name="connsiteY1046" fmla="*/ 504513 h 639980"/>
                        <a:gd name="connsiteX1047" fmla="*/ 379848 w 479309"/>
                        <a:gd name="connsiteY1047" fmla="*/ 508114 h 639980"/>
                        <a:gd name="connsiteX1048" fmla="*/ 381648 w 479309"/>
                        <a:gd name="connsiteY1048" fmla="*/ 510814 h 639980"/>
                        <a:gd name="connsiteX1049" fmla="*/ 382548 w 479309"/>
                        <a:gd name="connsiteY1049" fmla="*/ 513064 h 639980"/>
                        <a:gd name="connsiteX1050" fmla="*/ 381648 w 479309"/>
                        <a:gd name="connsiteY1050" fmla="*/ 513964 h 639980"/>
                        <a:gd name="connsiteX1051" fmla="*/ 379848 w 479309"/>
                        <a:gd name="connsiteY1051" fmla="*/ 513514 h 639980"/>
                        <a:gd name="connsiteX1052" fmla="*/ 275884 w 479309"/>
                        <a:gd name="connsiteY1052" fmla="*/ 547719 h 639980"/>
                        <a:gd name="connsiteX1053" fmla="*/ 272734 w 479309"/>
                        <a:gd name="connsiteY1053" fmla="*/ 548619 h 639980"/>
                        <a:gd name="connsiteX1054" fmla="*/ 270934 w 479309"/>
                        <a:gd name="connsiteY1054" fmla="*/ 549519 h 639980"/>
                        <a:gd name="connsiteX1055" fmla="*/ 270484 w 479309"/>
                        <a:gd name="connsiteY1055" fmla="*/ 551319 h 639980"/>
                        <a:gd name="connsiteX1056" fmla="*/ 268234 w 479309"/>
                        <a:gd name="connsiteY1056" fmla="*/ 550869 h 639980"/>
                        <a:gd name="connsiteX1057" fmla="*/ 265533 w 479309"/>
                        <a:gd name="connsiteY1057" fmla="*/ 551769 h 639980"/>
                        <a:gd name="connsiteX1058" fmla="*/ 262833 w 479309"/>
                        <a:gd name="connsiteY1058" fmla="*/ 551769 h 639980"/>
                        <a:gd name="connsiteX1059" fmla="*/ 261483 w 479309"/>
                        <a:gd name="connsiteY1059" fmla="*/ 552669 h 639980"/>
                        <a:gd name="connsiteX1060" fmla="*/ 256982 w 479309"/>
                        <a:gd name="connsiteY1060" fmla="*/ 549969 h 639980"/>
                        <a:gd name="connsiteX1061" fmla="*/ 256532 w 479309"/>
                        <a:gd name="connsiteY1061" fmla="*/ 549069 h 639980"/>
                        <a:gd name="connsiteX1062" fmla="*/ 256532 w 479309"/>
                        <a:gd name="connsiteY1062" fmla="*/ 548169 h 639980"/>
                        <a:gd name="connsiteX1063" fmla="*/ 253832 w 479309"/>
                        <a:gd name="connsiteY1063" fmla="*/ 548169 h 639980"/>
                        <a:gd name="connsiteX1064" fmla="*/ 250231 w 479309"/>
                        <a:gd name="connsiteY1064" fmla="*/ 548169 h 639980"/>
                        <a:gd name="connsiteX1065" fmla="*/ 247981 w 479309"/>
                        <a:gd name="connsiteY1065" fmla="*/ 548169 h 639980"/>
                        <a:gd name="connsiteX1066" fmla="*/ 246181 w 479309"/>
                        <a:gd name="connsiteY1066" fmla="*/ 548169 h 639980"/>
                        <a:gd name="connsiteX1067" fmla="*/ 246181 w 479309"/>
                        <a:gd name="connsiteY1067" fmla="*/ 550419 h 639980"/>
                        <a:gd name="connsiteX1068" fmla="*/ 243030 w 479309"/>
                        <a:gd name="connsiteY1068" fmla="*/ 550419 h 639980"/>
                        <a:gd name="connsiteX1069" fmla="*/ 240330 w 479309"/>
                        <a:gd name="connsiteY1069" fmla="*/ 550419 h 639980"/>
                        <a:gd name="connsiteX1070" fmla="*/ 240330 w 479309"/>
                        <a:gd name="connsiteY1070" fmla="*/ 553119 h 639980"/>
                        <a:gd name="connsiteX1071" fmla="*/ 240330 w 479309"/>
                        <a:gd name="connsiteY1071" fmla="*/ 555370 h 639980"/>
                        <a:gd name="connsiteX1072" fmla="*/ 240330 w 479309"/>
                        <a:gd name="connsiteY1072" fmla="*/ 557620 h 639980"/>
                        <a:gd name="connsiteX1073" fmla="*/ 240330 w 479309"/>
                        <a:gd name="connsiteY1073" fmla="*/ 560770 h 639980"/>
                        <a:gd name="connsiteX1074" fmla="*/ 239880 w 479309"/>
                        <a:gd name="connsiteY1074" fmla="*/ 561670 h 639980"/>
                        <a:gd name="connsiteX1075" fmla="*/ 238980 w 479309"/>
                        <a:gd name="connsiteY1075" fmla="*/ 562570 h 639980"/>
                        <a:gd name="connsiteX1076" fmla="*/ 237630 w 479309"/>
                        <a:gd name="connsiteY1076" fmla="*/ 563921 h 639980"/>
                        <a:gd name="connsiteX1077" fmla="*/ 234929 w 479309"/>
                        <a:gd name="connsiteY1077" fmla="*/ 565721 h 639980"/>
                        <a:gd name="connsiteX1078" fmla="*/ 225928 w 479309"/>
                        <a:gd name="connsiteY1078" fmla="*/ 569771 h 639980"/>
                        <a:gd name="connsiteX1079" fmla="*/ 225478 w 479309"/>
                        <a:gd name="connsiteY1079" fmla="*/ 568421 h 639980"/>
                        <a:gd name="connsiteX1080" fmla="*/ 225928 w 479309"/>
                        <a:gd name="connsiteY1080" fmla="*/ 565721 h 639980"/>
                        <a:gd name="connsiteX1081" fmla="*/ 223678 w 479309"/>
                        <a:gd name="connsiteY1081" fmla="*/ 565271 h 639980"/>
                        <a:gd name="connsiteX1082" fmla="*/ 221428 w 479309"/>
                        <a:gd name="connsiteY1082" fmla="*/ 564821 h 639980"/>
                        <a:gd name="connsiteX1083" fmla="*/ 220077 w 479309"/>
                        <a:gd name="connsiteY1083" fmla="*/ 566621 h 639980"/>
                        <a:gd name="connsiteX1084" fmla="*/ 218727 w 479309"/>
                        <a:gd name="connsiteY1084" fmla="*/ 568421 h 639980"/>
                        <a:gd name="connsiteX1085" fmla="*/ 216477 w 479309"/>
                        <a:gd name="connsiteY1085" fmla="*/ 572022 h 639980"/>
                        <a:gd name="connsiteX1086" fmla="*/ 213327 w 479309"/>
                        <a:gd name="connsiteY1086" fmla="*/ 576972 h 639980"/>
                        <a:gd name="connsiteX1087" fmla="*/ 211526 w 479309"/>
                        <a:gd name="connsiteY1087" fmla="*/ 579673 h 639980"/>
                        <a:gd name="connsiteX1088" fmla="*/ 208376 w 479309"/>
                        <a:gd name="connsiteY1088" fmla="*/ 584173 h 639980"/>
                        <a:gd name="connsiteX1089" fmla="*/ 205676 w 479309"/>
                        <a:gd name="connsiteY1089" fmla="*/ 588224 h 639980"/>
                        <a:gd name="connsiteX1090" fmla="*/ 205226 w 479309"/>
                        <a:gd name="connsiteY1090" fmla="*/ 592274 h 639980"/>
                        <a:gd name="connsiteX1091" fmla="*/ 204776 w 479309"/>
                        <a:gd name="connsiteY1091" fmla="*/ 596325 h 639980"/>
                        <a:gd name="connsiteX1092" fmla="*/ 202525 w 479309"/>
                        <a:gd name="connsiteY1092" fmla="*/ 599475 h 639980"/>
                        <a:gd name="connsiteX1093" fmla="*/ 201175 w 479309"/>
                        <a:gd name="connsiteY1093" fmla="*/ 602175 h 639980"/>
                        <a:gd name="connsiteX1094" fmla="*/ 200725 w 479309"/>
                        <a:gd name="connsiteY1094" fmla="*/ 605326 h 639980"/>
                        <a:gd name="connsiteX1095" fmla="*/ 200275 w 479309"/>
                        <a:gd name="connsiteY1095" fmla="*/ 608026 h 639980"/>
                        <a:gd name="connsiteX1096" fmla="*/ 200275 w 479309"/>
                        <a:gd name="connsiteY1096" fmla="*/ 610277 h 639980"/>
                        <a:gd name="connsiteX1097" fmla="*/ 200725 w 479309"/>
                        <a:gd name="connsiteY1097" fmla="*/ 611627 h 639980"/>
                        <a:gd name="connsiteX1098" fmla="*/ 200725 w 479309"/>
                        <a:gd name="connsiteY1098" fmla="*/ 612527 h 639980"/>
                        <a:gd name="connsiteX1099" fmla="*/ 199825 w 479309"/>
                        <a:gd name="connsiteY1099" fmla="*/ 613877 h 639980"/>
                        <a:gd name="connsiteX1100" fmla="*/ 198025 w 479309"/>
                        <a:gd name="connsiteY1100" fmla="*/ 615677 h 639980"/>
                        <a:gd name="connsiteX1101" fmla="*/ 197575 w 479309"/>
                        <a:gd name="connsiteY1101" fmla="*/ 617477 h 639980"/>
                        <a:gd name="connsiteX1102" fmla="*/ 196675 w 479309"/>
                        <a:gd name="connsiteY1102" fmla="*/ 618378 h 639980"/>
                        <a:gd name="connsiteX1103" fmla="*/ 193974 w 479309"/>
                        <a:gd name="connsiteY1103" fmla="*/ 620178 h 639980"/>
                        <a:gd name="connsiteX1104" fmla="*/ 191724 w 479309"/>
                        <a:gd name="connsiteY1104" fmla="*/ 622878 h 639980"/>
                        <a:gd name="connsiteX1105" fmla="*/ 191724 w 479309"/>
                        <a:gd name="connsiteY1105" fmla="*/ 624678 h 639980"/>
                        <a:gd name="connsiteX1106" fmla="*/ 192174 w 479309"/>
                        <a:gd name="connsiteY1106" fmla="*/ 626029 h 639980"/>
                        <a:gd name="connsiteX1107" fmla="*/ 192174 w 479309"/>
                        <a:gd name="connsiteY1107" fmla="*/ 626928 h 639980"/>
                        <a:gd name="connsiteX1108" fmla="*/ 191724 w 479309"/>
                        <a:gd name="connsiteY1108" fmla="*/ 627379 h 639980"/>
                        <a:gd name="connsiteX1109" fmla="*/ 190824 w 479309"/>
                        <a:gd name="connsiteY1109" fmla="*/ 627379 h 639980"/>
                        <a:gd name="connsiteX1110" fmla="*/ 189924 w 479309"/>
                        <a:gd name="connsiteY1110" fmla="*/ 627379 h 639980"/>
                        <a:gd name="connsiteX1111" fmla="*/ 189024 w 479309"/>
                        <a:gd name="connsiteY1111" fmla="*/ 628729 h 639980"/>
                        <a:gd name="connsiteX1112" fmla="*/ 189024 w 479309"/>
                        <a:gd name="connsiteY1112" fmla="*/ 630529 h 639980"/>
                        <a:gd name="connsiteX1113" fmla="*/ 188574 w 479309"/>
                        <a:gd name="connsiteY1113" fmla="*/ 631879 h 639980"/>
                        <a:gd name="connsiteX1114" fmla="*/ 187674 w 479309"/>
                        <a:gd name="connsiteY1114" fmla="*/ 632329 h 639980"/>
                        <a:gd name="connsiteX1115" fmla="*/ 187223 w 479309"/>
                        <a:gd name="connsiteY1115" fmla="*/ 631429 h 639980"/>
                        <a:gd name="connsiteX1116" fmla="*/ 186323 w 479309"/>
                        <a:gd name="connsiteY1116" fmla="*/ 630079 h 639980"/>
                        <a:gd name="connsiteX1117" fmla="*/ 185423 w 479309"/>
                        <a:gd name="connsiteY1117" fmla="*/ 630079 h 639980"/>
                        <a:gd name="connsiteX1118" fmla="*/ 184073 w 479309"/>
                        <a:gd name="connsiteY1118" fmla="*/ 630979 h 639980"/>
                        <a:gd name="connsiteX1119" fmla="*/ 183623 w 479309"/>
                        <a:gd name="connsiteY1119" fmla="*/ 631429 h 639980"/>
                        <a:gd name="connsiteX1120" fmla="*/ 182723 w 479309"/>
                        <a:gd name="connsiteY1120" fmla="*/ 632329 h 639980"/>
                        <a:gd name="connsiteX1121" fmla="*/ 181373 w 479309"/>
                        <a:gd name="connsiteY1121" fmla="*/ 632329 h 639980"/>
                        <a:gd name="connsiteX1122" fmla="*/ 178672 w 479309"/>
                        <a:gd name="connsiteY1122" fmla="*/ 631429 h 639980"/>
                        <a:gd name="connsiteX1123" fmla="*/ 176872 w 479309"/>
                        <a:gd name="connsiteY1123" fmla="*/ 634129 h 639980"/>
                        <a:gd name="connsiteX1124" fmla="*/ 174622 w 479309"/>
                        <a:gd name="connsiteY1124" fmla="*/ 639980 h 639980"/>
                        <a:gd name="connsiteX1125" fmla="*/ 165621 w 479309"/>
                        <a:gd name="connsiteY1125" fmla="*/ 639980 h 639980"/>
                        <a:gd name="connsiteX1126" fmla="*/ 156620 w 479309"/>
                        <a:gd name="connsiteY1126" fmla="*/ 639980 h 639980"/>
                        <a:gd name="connsiteX1127" fmla="*/ 147618 w 479309"/>
                        <a:gd name="connsiteY1127" fmla="*/ 639980 h 639980"/>
                        <a:gd name="connsiteX1128" fmla="*/ 138617 w 479309"/>
                        <a:gd name="connsiteY1128" fmla="*/ 639980 h 639980"/>
                        <a:gd name="connsiteX1129" fmla="*/ 135017 w 479309"/>
                        <a:gd name="connsiteY1129" fmla="*/ 639980 h 639980"/>
                        <a:gd name="connsiteX1130" fmla="*/ 129616 w 479309"/>
                        <a:gd name="connsiteY1130" fmla="*/ 639980 h 639980"/>
                        <a:gd name="connsiteX1131" fmla="*/ 120615 w 479309"/>
                        <a:gd name="connsiteY1131" fmla="*/ 639980 h 639980"/>
                        <a:gd name="connsiteX1132" fmla="*/ 111614 w 479309"/>
                        <a:gd name="connsiteY1132" fmla="*/ 639980 h 639980"/>
                        <a:gd name="connsiteX1133" fmla="*/ 106663 w 479309"/>
                        <a:gd name="connsiteY1133" fmla="*/ 639980 h 639980"/>
                        <a:gd name="connsiteX1134" fmla="*/ 105763 w 479309"/>
                        <a:gd name="connsiteY1134" fmla="*/ 639980 h 639980"/>
                        <a:gd name="connsiteX1135" fmla="*/ 108914 w 479309"/>
                        <a:gd name="connsiteY1135" fmla="*/ 638630 h 639980"/>
                        <a:gd name="connsiteX1136" fmla="*/ 115214 w 479309"/>
                        <a:gd name="connsiteY1136" fmla="*/ 634129 h 639980"/>
                        <a:gd name="connsiteX1137" fmla="*/ 119715 w 479309"/>
                        <a:gd name="connsiteY1137" fmla="*/ 632329 h 639980"/>
                        <a:gd name="connsiteX1138" fmla="*/ 125566 w 479309"/>
                        <a:gd name="connsiteY1138" fmla="*/ 627829 h 639980"/>
                        <a:gd name="connsiteX1139" fmla="*/ 130066 w 479309"/>
                        <a:gd name="connsiteY1139" fmla="*/ 626928 h 639980"/>
                        <a:gd name="connsiteX1140" fmla="*/ 130966 w 479309"/>
                        <a:gd name="connsiteY1140" fmla="*/ 626029 h 639980"/>
                        <a:gd name="connsiteX1141" fmla="*/ 131866 w 479309"/>
                        <a:gd name="connsiteY1141" fmla="*/ 621978 h 639980"/>
                        <a:gd name="connsiteX1142" fmla="*/ 132317 w 479309"/>
                        <a:gd name="connsiteY1142" fmla="*/ 620628 h 639980"/>
                        <a:gd name="connsiteX1143" fmla="*/ 134567 w 479309"/>
                        <a:gd name="connsiteY1143" fmla="*/ 617027 h 639980"/>
                        <a:gd name="connsiteX1144" fmla="*/ 136817 w 479309"/>
                        <a:gd name="connsiteY1144" fmla="*/ 613877 h 639980"/>
                        <a:gd name="connsiteX1145" fmla="*/ 138617 w 479309"/>
                        <a:gd name="connsiteY1145" fmla="*/ 609376 h 639980"/>
                        <a:gd name="connsiteX1146" fmla="*/ 142218 w 479309"/>
                        <a:gd name="connsiteY1146" fmla="*/ 606676 h 639980"/>
                        <a:gd name="connsiteX1147" fmla="*/ 147618 w 479309"/>
                        <a:gd name="connsiteY1147" fmla="*/ 604426 h 639980"/>
                        <a:gd name="connsiteX1148" fmla="*/ 152569 w 479309"/>
                        <a:gd name="connsiteY1148" fmla="*/ 599025 h 639980"/>
                        <a:gd name="connsiteX1149" fmla="*/ 155269 w 479309"/>
                        <a:gd name="connsiteY1149" fmla="*/ 597225 h 639980"/>
                        <a:gd name="connsiteX1150" fmla="*/ 157970 w 479309"/>
                        <a:gd name="connsiteY1150" fmla="*/ 595875 h 639980"/>
                        <a:gd name="connsiteX1151" fmla="*/ 158870 w 479309"/>
                        <a:gd name="connsiteY1151" fmla="*/ 593624 h 639980"/>
                        <a:gd name="connsiteX1152" fmla="*/ 160670 w 479309"/>
                        <a:gd name="connsiteY1152" fmla="*/ 592274 h 639980"/>
                        <a:gd name="connsiteX1153" fmla="*/ 165171 w 479309"/>
                        <a:gd name="connsiteY1153" fmla="*/ 589574 h 639980"/>
                        <a:gd name="connsiteX1154" fmla="*/ 170121 w 479309"/>
                        <a:gd name="connsiteY1154" fmla="*/ 589124 h 639980"/>
                        <a:gd name="connsiteX1155" fmla="*/ 175072 w 479309"/>
                        <a:gd name="connsiteY1155" fmla="*/ 586874 h 639980"/>
                        <a:gd name="connsiteX1156" fmla="*/ 178672 w 479309"/>
                        <a:gd name="connsiteY1156" fmla="*/ 585973 h 639980"/>
                        <a:gd name="connsiteX1157" fmla="*/ 180923 w 479309"/>
                        <a:gd name="connsiteY1157" fmla="*/ 584173 h 639980"/>
                        <a:gd name="connsiteX1158" fmla="*/ 184073 w 479309"/>
                        <a:gd name="connsiteY1158" fmla="*/ 583273 h 639980"/>
                        <a:gd name="connsiteX1159" fmla="*/ 193974 w 479309"/>
                        <a:gd name="connsiteY1159" fmla="*/ 577872 h 639980"/>
                        <a:gd name="connsiteX1160" fmla="*/ 196675 w 479309"/>
                        <a:gd name="connsiteY1160" fmla="*/ 575172 h 639980"/>
                        <a:gd name="connsiteX1161" fmla="*/ 200275 w 479309"/>
                        <a:gd name="connsiteY1161" fmla="*/ 569771 h 639980"/>
                        <a:gd name="connsiteX1162" fmla="*/ 203425 w 479309"/>
                        <a:gd name="connsiteY1162" fmla="*/ 567071 h 639980"/>
                        <a:gd name="connsiteX1163" fmla="*/ 204326 w 479309"/>
                        <a:gd name="connsiteY1163" fmla="*/ 563921 h 639980"/>
                        <a:gd name="connsiteX1164" fmla="*/ 208826 w 479309"/>
                        <a:gd name="connsiteY1164" fmla="*/ 558970 h 639980"/>
                        <a:gd name="connsiteX1165" fmla="*/ 213327 w 479309"/>
                        <a:gd name="connsiteY1165" fmla="*/ 552669 h 639980"/>
                        <a:gd name="connsiteX1166" fmla="*/ 215577 w 479309"/>
                        <a:gd name="connsiteY1166" fmla="*/ 548169 h 639980"/>
                        <a:gd name="connsiteX1167" fmla="*/ 219177 w 479309"/>
                        <a:gd name="connsiteY1167" fmla="*/ 545468 h 639980"/>
                        <a:gd name="connsiteX1168" fmla="*/ 225928 w 479309"/>
                        <a:gd name="connsiteY1168" fmla="*/ 538268 h 639980"/>
                        <a:gd name="connsiteX1169" fmla="*/ 229529 w 479309"/>
                        <a:gd name="connsiteY1169" fmla="*/ 535567 h 639980"/>
                        <a:gd name="connsiteX1170" fmla="*/ 230879 w 479309"/>
                        <a:gd name="connsiteY1170" fmla="*/ 535117 h 639980"/>
                        <a:gd name="connsiteX1171" fmla="*/ 234929 w 479309"/>
                        <a:gd name="connsiteY1171" fmla="*/ 532417 h 639980"/>
                        <a:gd name="connsiteX1172" fmla="*/ 237630 w 479309"/>
                        <a:gd name="connsiteY1172" fmla="*/ 529716 h 639980"/>
                        <a:gd name="connsiteX1173" fmla="*/ 241680 w 479309"/>
                        <a:gd name="connsiteY1173" fmla="*/ 527016 h 639980"/>
                        <a:gd name="connsiteX1174" fmla="*/ 248881 w 479309"/>
                        <a:gd name="connsiteY1174" fmla="*/ 523866 h 639980"/>
                        <a:gd name="connsiteX1175" fmla="*/ 255632 w 479309"/>
                        <a:gd name="connsiteY1175" fmla="*/ 519815 h 639980"/>
                        <a:gd name="connsiteX1176" fmla="*/ 265083 w 479309"/>
                        <a:gd name="connsiteY1176" fmla="*/ 516215 h 639980"/>
                        <a:gd name="connsiteX1177" fmla="*/ 275884 w 479309"/>
                        <a:gd name="connsiteY1177" fmla="*/ 510814 h 639980"/>
                        <a:gd name="connsiteX1178" fmla="*/ 284886 w 479309"/>
                        <a:gd name="connsiteY1178" fmla="*/ 508114 h 639980"/>
                        <a:gd name="connsiteX1179" fmla="*/ 291186 w 479309"/>
                        <a:gd name="connsiteY1179" fmla="*/ 507663 h 639980"/>
                        <a:gd name="connsiteX1180" fmla="*/ 298837 w 479309"/>
                        <a:gd name="connsiteY1180" fmla="*/ 506313 h 639980"/>
                        <a:gd name="connsiteX1181" fmla="*/ 301538 w 479309"/>
                        <a:gd name="connsiteY1181" fmla="*/ 506313 h 639980"/>
                        <a:gd name="connsiteX1182" fmla="*/ 313239 w 479309"/>
                        <a:gd name="connsiteY1182" fmla="*/ 508564 h 639980"/>
                        <a:gd name="connsiteX1183" fmla="*/ 319090 w 479309"/>
                        <a:gd name="connsiteY1183" fmla="*/ 511264 h 639980"/>
                        <a:gd name="connsiteX1184" fmla="*/ 325391 w 479309"/>
                        <a:gd name="connsiteY1184" fmla="*/ 517115 h 639980"/>
                        <a:gd name="connsiteX1185" fmla="*/ 326291 w 479309"/>
                        <a:gd name="connsiteY1185" fmla="*/ 518465 h 639980"/>
                        <a:gd name="connsiteX1186" fmla="*/ 326291 w 479309"/>
                        <a:gd name="connsiteY1186" fmla="*/ 520715 h 639980"/>
                        <a:gd name="connsiteX1187" fmla="*/ 322690 w 479309"/>
                        <a:gd name="connsiteY1187" fmla="*/ 519815 h 639980"/>
                        <a:gd name="connsiteX1188" fmla="*/ 319540 w 479309"/>
                        <a:gd name="connsiteY1188" fmla="*/ 519815 h 639980"/>
                        <a:gd name="connsiteX1189" fmla="*/ 321790 w 479309"/>
                        <a:gd name="connsiteY1189" fmla="*/ 521165 h 639980"/>
                        <a:gd name="connsiteX1190" fmla="*/ 325391 w 479309"/>
                        <a:gd name="connsiteY1190" fmla="*/ 524766 h 639980"/>
                        <a:gd name="connsiteX1191" fmla="*/ 325391 w 479309"/>
                        <a:gd name="connsiteY1191" fmla="*/ 529266 h 639980"/>
                        <a:gd name="connsiteX1192" fmla="*/ 323591 w 479309"/>
                        <a:gd name="connsiteY1192" fmla="*/ 533317 h 639980"/>
                        <a:gd name="connsiteX1193" fmla="*/ 317740 w 479309"/>
                        <a:gd name="connsiteY1193" fmla="*/ 535117 h 639980"/>
                        <a:gd name="connsiteX1194" fmla="*/ 316390 w 479309"/>
                        <a:gd name="connsiteY1194" fmla="*/ 536917 h 639980"/>
                        <a:gd name="connsiteX1195" fmla="*/ 315039 w 479309"/>
                        <a:gd name="connsiteY1195" fmla="*/ 539618 h 639980"/>
                        <a:gd name="connsiteX1196" fmla="*/ 313689 w 479309"/>
                        <a:gd name="connsiteY1196" fmla="*/ 540518 h 639980"/>
                        <a:gd name="connsiteX1197" fmla="*/ 310539 w 479309"/>
                        <a:gd name="connsiteY1197" fmla="*/ 541868 h 639980"/>
                        <a:gd name="connsiteX1198" fmla="*/ 308738 w 479309"/>
                        <a:gd name="connsiteY1198" fmla="*/ 543668 h 639980"/>
                        <a:gd name="connsiteX1199" fmla="*/ 303788 w 479309"/>
                        <a:gd name="connsiteY1199" fmla="*/ 546369 h 639980"/>
                        <a:gd name="connsiteX1200" fmla="*/ 301538 w 479309"/>
                        <a:gd name="connsiteY1200" fmla="*/ 546818 h 639980"/>
                        <a:gd name="connsiteX1201" fmla="*/ 299287 w 479309"/>
                        <a:gd name="connsiteY1201" fmla="*/ 546369 h 639980"/>
                        <a:gd name="connsiteX1202" fmla="*/ 293437 w 479309"/>
                        <a:gd name="connsiteY1202" fmla="*/ 543668 h 639980"/>
                        <a:gd name="connsiteX1203" fmla="*/ 289836 w 479309"/>
                        <a:gd name="connsiteY1203" fmla="*/ 541418 h 639980"/>
                        <a:gd name="connsiteX1204" fmla="*/ 288036 w 479309"/>
                        <a:gd name="connsiteY1204" fmla="*/ 542768 h 639980"/>
                        <a:gd name="connsiteX1205" fmla="*/ 286686 w 479309"/>
                        <a:gd name="connsiteY1205" fmla="*/ 544118 h 639980"/>
                        <a:gd name="connsiteX1206" fmla="*/ 283085 w 479309"/>
                        <a:gd name="connsiteY1206" fmla="*/ 543668 h 639980"/>
                        <a:gd name="connsiteX1207" fmla="*/ 281285 w 479309"/>
                        <a:gd name="connsiteY1207" fmla="*/ 544118 h 639980"/>
                        <a:gd name="connsiteX1208" fmla="*/ 278585 w 479309"/>
                        <a:gd name="connsiteY1208" fmla="*/ 543218 h 639980"/>
                        <a:gd name="connsiteX1209" fmla="*/ 275884 w 479309"/>
                        <a:gd name="connsiteY1209" fmla="*/ 547719 h 639980"/>
                        <a:gd name="connsiteX1210" fmla="*/ 377597 w 479309"/>
                        <a:gd name="connsiteY1210" fmla="*/ 571122 h 639980"/>
                        <a:gd name="connsiteX1211" fmla="*/ 378497 w 479309"/>
                        <a:gd name="connsiteY1211" fmla="*/ 571572 h 639980"/>
                        <a:gd name="connsiteX1212" fmla="*/ 379848 w 479309"/>
                        <a:gd name="connsiteY1212" fmla="*/ 571572 h 639980"/>
                        <a:gd name="connsiteX1213" fmla="*/ 380747 w 479309"/>
                        <a:gd name="connsiteY1213" fmla="*/ 572022 h 639980"/>
                        <a:gd name="connsiteX1214" fmla="*/ 379397 w 479309"/>
                        <a:gd name="connsiteY1214" fmla="*/ 573372 h 639980"/>
                        <a:gd name="connsiteX1215" fmla="*/ 376697 w 479309"/>
                        <a:gd name="connsiteY1215" fmla="*/ 573372 h 639980"/>
                        <a:gd name="connsiteX1216" fmla="*/ 375347 w 479309"/>
                        <a:gd name="connsiteY1216" fmla="*/ 572922 h 639980"/>
                        <a:gd name="connsiteX1217" fmla="*/ 377147 w 479309"/>
                        <a:gd name="connsiteY1217" fmla="*/ 567071 h 639980"/>
                        <a:gd name="connsiteX1218" fmla="*/ 379397 w 479309"/>
                        <a:gd name="connsiteY1218" fmla="*/ 565721 h 639980"/>
                        <a:gd name="connsiteX1219" fmla="*/ 383448 w 479309"/>
                        <a:gd name="connsiteY1219" fmla="*/ 561670 h 639980"/>
                        <a:gd name="connsiteX1220" fmla="*/ 385248 w 479309"/>
                        <a:gd name="connsiteY1220" fmla="*/ 560320 h 639980"/>
                        <a:gd name="connsiteX1221" fmla="*/ 386598 w 479309"/>
                        <a:gd name="connsiteY1221" fmla="*/ 559870 h 639980"/>
                        <a:gd name="connsiteX1222" fmla="*/ 388399 w 479309"/>
                        <a:gd name="connsiteY1222" fmla="*/ 560320 h 639980"/>
                        <a:gd name="connsiteX1223" fmla="*/ 386598 w 479309"/>
                        <a:gd name="connsiteY1223" fmla="*/ 562570 h 639980"/>
                        <a:gd name="connsiteX1224" fmla="*/ 384348 w 479309"/>
                        <a:gd name="connsiteY1224" fmla="*/ 562570 h 639980"/>
                        <a:gd name="connsiteX1225" fmla="*/ 382098 w 479309"/>
                        <a:gd name="connsiteY1225" fmla="*/ 564371 h 639980"/>
                        <a:gd name="connsiteX1226" fmla="*/ 380747 w 479309"/>
                        <a:gd name="connsiteY1226" fmla="*/ 566621 h 639980"/>
                        <a:gd name="connsiteX1227" fmla="*/ 378947 w 479309"/>
                        <a:gd name="connsiteY1227" fmla="*/ 567971 h 639980"/>
                        <a:gd name="connsiteX1228" fmla="*/ 377597 w 479309"/>
                        <a:gd name="connsiteY1228" fmla="*/ 569321 h 639980"/>
                        <a:gd name="connsiteX1229" fmla="*/ 377597 w 479309"/>
                        <a:gd name="connsiteY1229" fmla="*/ 571122 h 639980"/>
                        <a:gd name="connsiteX1230" fmla="*/ 184073 w 479309"/>
                        <a:gd name="connsiteY1230" fmla="*/ 583723 h 639980"/>
                        <a:gd name="connsiteX1231" fmla="*/ 182273 w 479309"/>
                        <a:gd name="connsiteY1231" fmla="*/ 584173 h 639980"/>
                        <a:gd name="connsiteX1232" fmla="*/ 182723 w 479309"/>
                        <a:gd name="connsiteY1232" fmla="*/ 583273 h 639980"/>
                        <a:gd name="connsiteX1233" fmla="*/ 185423 w 479309"/>
                        <a:gd name="connsiteY1233" fmla="*/ 581473 h 639980"/>
                        <a:gd name="connsiteX1234" fmla="*/ 187223 w 479309"/>
                        <a:gd name="connsiteY1234" fmla="*/ 580573 h 639980"/>
                        <a:gd name="connsiteX1235" fmla="*/ 188574 w 479309"/>
                        <a:gd name="connsiteY1235" fmla="*/ 580573 h 639980"/>
                        <a:gd name="connsiteX1236" fmla="*/ 186773 w 479309"/>
                        <a:gd name="connsiteY1236" fmla="*/ 582823 h 639980"/>
                        <a:gd name="connsiteX1237" fmla="*/ 184073 w 479309"/>
                        <a:gd name="connsiteY1237" fmla="*/ 583723 h 639980"/>
                        <a:gd name="connsiteX1238" fmla="*/ 130516 w 479309"/>
                        <a:gd name="connsiteY1238" fmla="*/ 626478 h 639980"/>
                        <a:gd name="connsiteX1239" fmla="*/ 128716 w 479309"/>
                        <a:gd name="connsiteY1239" fmla="*/ 626928 h 639980"/>
                        <a:gd name="connsiteX1240" fmla="*/ 126016 w 479309"/>
                        <a:gd name="connsiteY1240" fmla="*/ 626478 h 639980"/>
                        <a:gd name="connsiteX1241" fmla="*/ 122865 w 479309"/>
                        <a:gd name="connsiteY1241" fmla="*/ 627379 h 639980"/>
                        <a:gd name="connsiteX1242" fmla="*/ 121965 w 479309"/>
                        <a:gd name="connsiteY1242" fmla="*/ 627379 h 639980"/>
                        <a:gd name="connsiteX1243" fmla="*/ 124216 w 479309"/>
                        <a:gd name="connsiteY1243" fmla="*/ 625128 h 639980"/>
                        <a:gd name="connsiteX1244" fmla="*/ 127816 w 479309"/>
                        <a:gd name="connsiteY1244" fmla="*/ 623778 h 639980"/>
                        <a:gd name="connsiteX1245" fmla="*/ 131416 w 479309"/>
                        <a:gd name="connsiteY1245" fmla="*/ 619728 h 639980"/>
                        <a:gd name="connsiteX1246" fmla="*/ 132317 w 479309"/>
                        <a:gd name="connsiteY1246" fmla="*/ 619728 h 639980"/>
                        <a:gd name="connsiteX1247" fmla="*/ 130966 w 479309"/>
                        <a:gd name="connsiteY1247" fmla="*/ 624678 h 639980"/>
                        <a:gd name="connsiteX1248" fmla="*/ 130516 w 479309"/>
                        <a:gd name="connsiteY1248" fmla="*/ 626478 h 639980"/>
                        <a:gd name="connsiteX1249" fmla="*/ 130516 w 479309"/>
                        <a:gd name="connsiteY1249" fmla="*/ 626478 h 639980"/>
                        <a:gd name="connsiteX1250" fmla="*/ 127366 w 479309"/>
                        <a:gd name="connsiteY1250" fmla="*/ 622878 h 639980"/>
                        <a:gd name="connsiteX1251" fmla="*/ 124666 w 479309"/>
                        <a:gd name="connsiteY1251" fmla="*/ 623328 h 639980"/>
                        <a:gd name="connsiteX1252" fmla="*/ 123765 w 479309"/>
                        <a:gd name="connsiteY1252" fmla="*/ 622878 h 639980"/>
                        <a:gd name="connsiteX1253" fmla="*/ 126466 w 479309"/>
                        <a:gd name="connsiteY1253" fmla="*/ 619728 h 639980"/>
                        <a:gd name="connsiteX1254" fmla="*/ 129616 w 479309"/>
                        <a:gd name="connsiteY1254" fmla="*/ 618827 h 639980"/>
                        <a:gd name="connsiteX1255" fmla="*/ 127366 w 479309"/>
                        <a:gd name="connsiteY1255" fmla="*/ 622878 h 6399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Lst>
                      <a:rect l="l" t="t" r="r" b="b"/>
                      <a:pathLst>
                        <a:path w="479309" h="639980">
                          <a:moveTo>
                            <a:pt x="319990" y="99913"/>
                          </a:moveTo>
                          <a:lnTo>
                            <a:pt x="315489" y="101713"/>
                          </a:lnTo>
                          <a:lnTo>
                            <a:pt x="315039" y="102163"/>
                          </a:lnTo>
                          <a:lnTo>
                            <a:pt x="315039" y="102613"/>
                          </a:lnTo>
                          <a:lnTo>
                            <a:pt x="316390" y="104413"/>
                          </a:lnTo>
                          <a:lnTo>
                            <a:pt x="319540" y="105763"/>
                          </a:lnTo>
                          <a:lnTo>
                            <a:pt x="319990" y="106663"/>
                          </a:lnTo>
                          <a:lnTo>
                            <a:pt x="319540" y="108014"/>
                          </a:lnTo>
                          <a:lnTo>
                            <a:pt x="318190" y="108914"/>
                          </a:lnTo>
                          <a:lnTo>
                            <a:pt x="316840" y="110264"/>
                          </a:lnTo>
                          <a:lnTo>
                            <a:pt x="314589" y="110714"/>
                          </a:lnTo>
                          <a:lnTo>
                            <a:pt x="314589" y="111164"/>
                          </a:lnTo>
                          <a:lnTo>
                            <a:pt x="315039" y="112514"/>
                          </a:lnTo>
                          <a:lnTo>
                            <a:pt x="315940" y="113414"/>
                          </a:lnTo>
                          <a:lnTo>
                            <a:pt x="319090" y="115214"/>
                          </a:lnTo>
                          <a:lnTo>
                            <a:pt x="319540" y="115665"/>
                          </a:lnTo>
                          <a:lnTo>
                            <a:pt x="319540" y="116115"/>
                          </a:lnTo>
                          <a:lnTo>
                            <a:pt x="319540" y="117015"/>
                          </a:lnTo>
                          <a:lnTo>
                            <a:pt x="317290" y="118815"/>
                          </a:lnTo>
                          <a:lnTo>
                            <a:pt x="316840" y="121065"/>
                          </a:lnTo>
                          <a:lnTo>
                            <a:pt x="316390" y="132767"/>
                          </a:lnTo>
                          <a:lnTo>
                            <a:pt x="317290" y="135017"/>
                          </a:lnTo>
                          <a:lnTo>
                            <a:pt x="318640" y="135917"/>
                          </a:lnTo>
                          <a:lnTo>
                            <a:pt x="324490" y="133217"/>
                          </a:lnTo>
                          <a:lnTo>
                            <a:pt x="325841" y="133667"/>
                          </a:lnTo>
                          <a:lnTo>
                            <a:pt x="325841" y="135467"/>
                          </a:lnTo>
                          <a:lnTo>
                            <a:pt x="324941" y="136367"/>
                          </a:lnTo>
                          <a:lnTo>
                            <a:pt x="323140" y="138617"/>
                          </a:lnTo>
                          <a:lnTo>
                            <a:pt x="322690" y="140418"/>
                          </a:lnTo>
                          <a:lnTo>
                            <a:pt x="322690" y="145818"/>
                          </a:lnTo>
                          <a:lnTo>
                            <a:pt x="323140" y="148069"/>
                          </a:lnTo>
                          <a:lnTo>
                            <a:pt x="323591" y="150319"/>
                          </a:lnTo>
                          <a:lnTo>
                            <a:pt x="324490" y="151219"/>
                          </a:lnTo>
                          <a:lnTo>
                            <a:pt x="326741" y="153019"/>
                          </a:lnTo>
                          <a:lnTo>
                            <a:pt x="326741" y="153919"/>
                          </a:lnTo>
                          <a:lnTo>
                            <a:pt x="325841" y="154819"/>
                          </a:lnTo>
                          <a:lnTo>
                            <a:pt x="324941" y="154819"/>
                          </a:lnTo>
                          <a:lnTo>
                            <a:pt x="316840" y="152569"/>
                          </a:lnTo>
                          <a:lnTo>
                            <a:pt x="316390" y="153019"/>
                          </a:lnTo>
                          <a:lnTo>
                            <a:pt x="315940" y="153919"/>
                          </a:lnTo>
                          <a:lnTo>
                            <a:pt x="315489" y="155269"/>
                          </a:lnTo>
                          <a:lnTo>
                            <a:pt x="315489" y="156620"/>
                          </a:lnTo>
                          <a:lnTo>
                            <a:pt x="316390" y="157520"/>
                          </a:lnTo>
                          <a:lnTo>
                            <a:pt x="320440" y="158420"/>
                          </a:lnTo>
                          <a:lnTo>
                            <a:pt x="327191" y="160220"/>
                          </a:lnTo>
                          <a:lnTo>
                            <a:pt x="328541" y="163371"/>
                          </a:lnTo>
                          <a:lnTo>
                            <a:pt x="329441" y="164271"/>
                          </a:lnTo>
                          <a:lnTo>
                            <a:pt x="330341" y="164271"/>
                          </a:lnTo>
                          <a:lnTo>
                            <a:pt x="333942" y="162470"/>
                          </a:lnTo>
                          <a:lnTo>
                            <a:pt x="339343" y="160220"/>
                          </a:lnTo>
                          <a:lnTo>
                            <a:pt x="340693" y="160670"/>
                          </a:lnTo>
                          <a:lnTo>
                            <a:pt x="342493" y="161570"/>
                          </a:lnTo>
                          <a:lnTo>
                            <a:pt x="343843" y="162920"/>
                          </a:lnTo>
                          <a:lnTo>
                            <a:pt x="344293" y="164271"/>
                          </a:lnTo>
                          <a:lnTo>
                            <a:pt x="344293" y="165171"/>
                          </a:lnTo>
                          <a:lnTo>
                            <a:pt x="344293" y="165621"/>
                          </a:lnTo>
                          <a:lnTo>
                            <a:pt x="343393" y="166071"/>
                          </a:lnTo>
                          <a:lnTo>
                            <a:pt x="334842" y="167871"/>
                          </a:lnTo>
                          <a:lnTo>
                            <a:pt x="333042" y="168771"/>
                          </a:lnTo>
                          <a:lnTo>
                            <a:pt x="332141" y="169671"/>
                          </a:lnTo>
                          <a:lnTo>
                            <a:pt x="331692" y="170571"/>
                          </a:lnTo>
                          <a:lnTo>
                            <a:pt x="331692" y="171471"/>
                          </a:lnTo>
                          <a:lnTo>
                            <a:pt x="332141" y="173272"/>
                          </a:lnTo>
                          <a:lnTo>
                            <a:pt x="332592" y="173722"/>
                          </a:lnTo>
                          <a:lnTo>
                            <a:pt x="335742" y="173272"/>
                          </a:lnTo>
                          <a:lnTo>
                            <a:pt x="336642" y="175522"/>
                          </a:lnTo>
                          <a:lnTo>
                            <a:pt x="336642" y="176422"/>
                          </a:lnTo>
                          <a:lnTo>
                            <a:pt x="336192" y="177322"/>
                          </a:lnTo>
                          <a:lnTo>
                            <a:pt x="332592" y="179573"/>
                          </a:lnTo>
                          <a:lnTo>
                            <a:pt x="330791" y="181373"/>
                          </a:lnTo>
                          <a:lnTo>
                            <a:pt x="324941" y="189024"/>
                          </a:lnTo>
                          <a:lnTo>
                            <a:pt x="324490" y="189924"/>
                          </a:lnTo>
                          <a:lnTo>
                            <a:pt x="324490" y="190824"/>
                          </a:lnTo>
                          <a:lnTo>
                            <a:pt x="324941" y="191724"/>
                          </a:lnTo>
                          <a:lnTo>
                            <a:pt x="328541" y="194874"/>
                          </a:lnTo>
                          <a:lnTo>
                            <a:pt x="330341" y="200725"/>
                          </a:lnTo>
                          <a:lnTo>
                            <a:pt x="331692" y="203426"/>
                          </a:lnTo>
                          <a:lnTo>
                            <a:pt x="332592" y="204326"/>
                          </a:lnTo>
                          <a:lnTo>
                            <a:pt x="333942" y="203426"/>
                          </a:lnTo>
                          <a:lnTo>
                            <a:pt x="334392" y="203426"/>
                          </a:lnTo>
                          <a:lnTo>
                            <a:pt x="335292" y="204326"/>
                          </a:lnTo>
                          <a:lnTo>
                            <a:pt x="336192" y="206576"/>
                          </a:lnTo>
                          <a:lnTo>
                            <a:pt x="336642" y="207476"/>
                          </a:lnTo>
                          <a:lnTo>
                            <a:pt x="337542" y="207926"/>
                          </a:lnTo>
                          <a:lnTo>
                            <a:pt x="339343" y="208376"/>
                          </a:lnTo>
                          <a:lnTo>
                            <a:pt x="341593" y="207026"/>
                          </a:lnTo>
                          <a:lnTo>
                            <a:pt x="342043" y="207026"/>
                          </a:lnTo>
                          <a:lnTo>
                            <a:pt x="342043" y="208376"/>
                          </a:lnTo>
                          <a:lnTo>
                            <a:pt x="341593" y="209276"/>
                          </a:lnTo>
                          <a:lnTo>
                            <a:pt x="338892" y="212877"/>
                          </a:lnTo>
                          <a:lnTo>
                            <a:pt x="338442" y="213777"/>
                          </a:lnTo>
                          <a:lnTo>
                            <a:pt x="338442" y="215127"/>
                          </a:lnTo>
                          <a:lnTo>
                            <a:pt x="338892" y="219628"/>
                          </a:lnTo>
                          <a:lnTo>
                            <a:pt x="337542" y="222778"/>
                          </a:lnTo>
                          <a:lnTo>
                            <a:pt x="337542" y="224128"/>
                          </a:lnTo>
                          <a:lnTo>
                            <a:pt x="338442" y="225478"/>
                          </a:lnTo>
                          <a:lnTo>
                            <a:pt x="338442" y="225928"/>
                          </a:lnTo>
                          <a:lnTo>
                            <a:pt x="337542" y="229529"/>
                          </a:lnTo>
                          <a:lnTo>
                            <a:pt x="336642" y="231329"/>
                          </a:lnTo>
                          <a:lnTo>
                            <a:pt x="335742" y="233579"/>
                          </a:lnTo>
                          <a:lnTo>
                            <a:pt x="335292" y="238980"/>
                          </a:lnTo>
                          <a:lnTo>
                            <a:pt x="334392" y="239880"/>
                          </a:lnTo>
                          <a:lnTo>
                            <a:pt x="333042" y="241680"/>
                          </a:lnTo>
                          <a:lnTo>
                            <a:pt x="332592" y="243030"/>
                          </a:lnTo>
                          <a:lnTo>
                            <a:pt x="331241" y="244831"/>
                          </a:lnTo>
                          <a:lnTo>
                            <a:pt x="330791" y="246181"/>
                          </a:lnTo>
                          <a:lnTo>
                            <a:pt x="330791" y="246631"/>
                          </a:lnTo>
                          <a:lnTo>
                            <a:pt x="333942" y="252932"/>
                          </a:lnTo>
                          <a:lnTo>
                            <a:pt x="334392" y="254732"/>
                          </a:lnTo>
                          <a:lnTo>
                            <a:pt x="333942" y="256082"/>
                          </a:lnTo>
                          <a:lnTo>
                            <a:pt x="331692" y="256532"/>
                          </a:lnTo>
                          <a:lnTo>
                            <a:pt x="329891" y="257882"/>
                          </a:lnTo>
                          <a:lnTo>
                            <a:pt x="330341" y="260133"/>
                          </a:lnTo>
                          <a:lnTo>
                            <a:pt x="330341" y="261483"/>
                          </a:lnTo>
                          <a:lnTo>
                            <a:pt x="330341" y="261933"/>
                          </a:lnTo>
                          <a:lnTo>
                            <a:pt x="330791" y="262383"/>
                          </a:lnTo>
                          <a:lnTo>
                            <a:pt x="334392" y="264183"/>
                          </a:lnTo>
                          <a:lnTo>
                            <a:pt x="334842" y="264633"/>
                          </a:lnTo>
                          <a:lnTo>
                            <a:pt x="333042" y="267334"/>
                          </a:lnTo>
                          <a:lnTo>
                            <a:pt x="332592" y="269134"/>
                          </a:lnTo>
                          <a:lnTo>
                            <a:pt x="333492" y="269134"/>
                          </a:lnTo>
                          <a:lnTo>
                            <a:pt x="335292" y="269584"/>
                          </a:lnTo>
                          <a:lnTo>
                            <a:pt x="336192" y="270484"/>
                          </a:lnTo>
                          <a:lnTo>
                            <a:pt x="341593" y="271834"/>
                          </a:lnTo>
                          <a:lnTo>
                            <a:pt x="342043" y="273184"/>
                          </a:lnTo>
                          <a:lnTo>
                            <a:pt x="341593" y="273634"/>
                          </a:lnTo>
                          <a:lnTo>
                            <a:pt x="339792" y="274534"/>
                          </a:lnTo>
                          <a:lnTo>
                            <a:pt x="338892" y="275435"/>
                          </a:lnTo>
                          <a:lnTo>
                            <a:pt x="338892" y="276785"/>
                          </a:lnTo>
                          <a:lnTo>
                            <a:pt x="338892" y="277685"/>
                          </a:lnTo>
                          <a:lnTo>
                            <a:pt x="342493" y="283535"/>
                          </a:lnTo>
                          <a:lnTo>
                            <a:pt x="344743" y="287586"/>
                          </a:lnTo>
                          <a:lnTo>
                            <a:pt x="345643" y="288936"/>
                          </a:lnTo>
                          <a:lnTo>
                            <a:pt x="346993" y="289836"/>
                          </a:lnTo>
                          <a:lnTo>
                            <a:pt x="350144" y="290736"/>
                          </a:lnTo>
                          <a:lnTo>
                            <a:pt x="350144" y="291637"/>
                          </a:lnTo>
                          <a:lnTo>
                            <a:pt x="350144" y="293437"/>
                          </a:lnTo>
                          <a:lnTo>
                            <a:pt x="350144" y="294787"/>
                          </a:lnTo>
                          <a:lnTo>
                            <a:pt x="351044" y="297037"/>
                          </a:lnTo>
                          <a:lnTo>
                            <a:pt x="350144" y="298387"/>
                          </a:lnTo>
                          <a:lnTo>
                            <a:pt x="344293" y="301988"/>
                          </a:lnTo>
                          <a:lnTo>
                            <a:pt x="342493" y="303338"/>
                          </a:lnTo>
                          <a:lnTo>
                            <a:pt x="342043" y="304238"/>
                          </a:lnTo>
                          <a:lnTo>
                            <a:pt x="341593" y="306038"/>
                          </a:lnTo>
                          <a:lnTo>
                            <a:pt x="342943" y="309639"/>
                          </a:lnTo>
                          <a:lnTo>
                            <a:pt x="342943" y="310539"/>
                          </a:lnTo>
                          <a:lnTo>
                            <a:pt x="342493" y="312339"/>
                          </a:lnTo>
                          <a:lnTo>
                            <a:pt x="340693" y="317740"/>
                          </a:lnTo>
                          <a:lnTo>
                            <a:pt x="338892" y="322690"/>
                          </a:lnTo>
                          <a:lnTo>
                            <a:pt x="337992" y="323591"/>
                          </a:lnTo>
                          <a:lnTo>
                            <a:pt x="337092" y="323591"/>
                          </a:lnTo>
                          <a:lnTo>
                            <a:pt x="333942" y="322690"/>
                          </a:lnTo>
                          <a:lnTo>
                            <a:pt x="324941" y="319090"/>
                          </a:lnTo>
                          <a:lnTo>
                            <a:pt x="315039" y="318640"/>
                          </a:lnTo>
                          <a:lnTo>
                            <a:pt x="308738" y="319090"/>
                          </a:lnTo>
                          <a:lnTo>
                            <a:pt x="297037" y="318190"/>
                          </a:lnTo>
                          <a:lnTo>
                            <a:pt x="295687" y="317290"/>
                          </a:lnTo>
                          <a:lnTo>
                            <a:pt x="294337" y="315940"/>
                          </a:lnTo>
                          <a:lnTo>
                            <a:pt x="292987" y="312339"/>
                          </a:lnTo>
                          <a:lnTo>
                            <a:pt x="292537" y="311889"/>
                          </a:lnTo>
                          <a:lnTo>
                            <a:pt x="288486" y="310539"/>
                          </a:lnTo>
                          <a:lnTo>
                            <a:pt x="287136" y="309639"/>
                          </a:lnTo>
                          <a:lnTo>
                            <a:pt x="285336" y="308289"/>
                          </a:lnTo>
                          <a:lnTo>
                            <a:pt x="277235" y="299287"/>
                          </a:lnTo>
                          <a:lnTo>
                            <a:pt x="274984" y="297037"/>
                          </a:lnTo>
                          <a:lnTo>
                            <a:pt x="274084" y="296587"/>
                          </a:lnTo>
                          <a:lnTo>
                            <a:pt x="273634" y="297037"/>
                          </a:lnTo>
                          <a:lnTo>
                            <a:pt x="273634" y="297487"/>
                          </a:lnTo>
                          <a:lnTo>
                            <a:pt x="274984" y="300638"/>
                          </a:lnTo>
                          <a:lnTo>
                            <a:pt x="274984" y="301538"/>
                          </a:lnTo>
                          <a:lnTo>
                            <a:pt x="274534" y="303788"/>
                          </a:lnTo>
                          <a:lnTo>
                            <a:pt x="275884" y="308739"/>
                          </a:lnTo>
                          <a:lnTo>
                            <a:pt x="275434" y="310539"/>
                          </a:lnTo>
                          <a:lnTo>
                            <a:pt x="276785" y="314139"/>
                          </a:lnTo>
                          <a:lnTo>
                            <a:pt x="276785" y="315940"/>
                          </a:lnTo>
                          <a:lnTo>
                            <a:pt x="275434" y="317740"/>
                          </a:lnTo>
                          <a:lnTo>
                            <a:pt x="272284" y="316390"/>
                          </a:lnTo>
                          <a:lnTo>
                            <a:pt x="265983" y="310539"/>
                          </a:lnTo>
                          <a:lnTo>
                            <a:pt x="263283" y="306038"/>
                          </a:lnTo>
                          <a:lnTo>
                            <a:pt x="262383" y="305588"/>
                          </a:lnTo>
                          <a:lnTo>
                            <a:pt x="261033" y="305588"/>
                          </a:lnTo>
                          <a:lnTo>
                            <a:pt x="260583" y="306038"/>
                          </a:lnTo>
                          <a:lnTo>
                            <a:pt x="260132" y="306938"/>
                          </a:lnTo>
                          <a:lnTo>
                            <a:pt x="260583" y="308739"/>
                          </a:lnTo>
                          <a:lnTo>
                            <a:pt x="261483" y="310989"/>
                          </a:lnTo>
                          <a:lnTo>
                            <a:pt x="263283" y="314139"/>
                          </a:lnTo>
                          <a:lnTo>
                            <a:pt x="265083" y="318640"/>
                          </a:lnTo>
                          <a:lnTo>
                            <a:pt x="265083" y="319090"/>
                          </a:lnTo>
                          <a:lnTo>
                            <a:pt x="265983" y="319990"/>
                          </a:lnTo>
                          <a:lnTo>
                            <a:pt x="265983" y="321340"/>
                          </a:lnTo>
                          <a:lnTo>
                            <a:pt x="264183" y="322690"/>
                          </a:lnTo>
                          <a:lnTo>
                            <a:pt x="263283" y="324941"/>
                          </a:lnTo>
                          <a:lnTo>
                            <a:pt x="262833" y="324941"/>
                          </a:lnTo>
                          <a:lnTo>
                            <a:pt x="258332" y="323141"/>
                          </a:lnTo>
                          <a:lnTo>
                            <a:pt x="257432" y="323591"/>
                          </a:lnTo>
                          <a:lnTo>
                            <a:pt x="256982" y="324041"/>
                          </a:lnTo>
                          <a:lnTo>
                            <a:pt x="256532" y="325841"/>
                          </a:lnTo>
                          <a:lnTo>
                            <a:pt x="256532" y="327641"/>
                          </a:lnTo>
                          <a:lnTo>
                            <a:pt x="256982" y="329891"/>
                          </a:lnTo>
                          <a:lnTo>
                            <a:pt x="258332" y="333942"/>
                          </a:lnTo>
                          <a:lnTo>
                            <a:pt x="258332" y="334842"/>
                          </a:lnTo>
                          <a:lnTo>
                            <a:pt x="258332" y="335292"/>
                          </a:lnTo>
                          <a:lnTo>
                            <a:pt x="254732" y="338893"/>
                          </a:lnTo>
                          <a:lnTo>
                            <a:pt x="253832" y="340243"/>
                          </a:lnTo>
                          <a:lnTo>
                            <a:pt x="253382" y="341593"/>
                          </a:lnTo>
                          <a:lnTo>
                            <a:pt x="253382" y="342493"/>
                          </a:lnTo>
                          <a:lnTo>
                            <a:pt x="258332" y="349694"/>
                          </a:lnTo>
                          <a:lnTo>
                            <a:pt x="259683" y="351044"/>
                          </a:lnTo>
                          <a:lnTo>
                            <a:pt x="260132" y="353294"/>
                          </a:lnTo>
                          <a:lnTo>
                            <a:pt x="259683" y="356895"/>
                          </a:lnTo>
                          <a:lnTo>
                            <a:pt x="259683" y="357795"/>
                          </a:lnTo>
                          <a:lnTo>
                            <a:pt x="260132" y="358245"/>
                          </a:lnTo>
                          <a:lnTo>
                            <a:pt x="266433" y="360495"/>
                          </a:lnTo>
                          <a:lnTo>
                            <a:pt x="267333" y="361845"/>
                          </a:lnTo>
                          <a:lnTo>
                            <a:pt x="268234" y="364996"/>
                          </a:lnTo>
                          <a:lnTo>
                            <a:pt x="269134" y="365896"/>
                          </a:lnTo>
                          <a:lnTo>
                            <a:pt x="270034" y="366346"/>
                          </a:lnTo>
                          <a:lnTo>
                            <a:pt x="270934" y="367246"/>
                          </a:lnTo>
                          <a:lnTo>
                            <a:pt x="270934" y="368146"/>
                          </a:lnTo>
                          <a:lnTo>
                            <a:pt x="270484" y="373097"/>
                          </a:lnTo>
                          <a:lnTo>
                            <a:pt x="270484" y="377147"/>
                          </a:lnTo>
                          <a:lnTo>
                            <a:pt x="269134" y="380298"/>
                          </a:lnTo>
                          <a:lnTo>
                            <a:pt x="268684" y="382548"/>
                          </a:lnTo>
                          <a:lnTo>
                            <a:pt x="268234" y="385698"/>
                          </a:lnTo>
                          <a:lnTo>
                            <a:pt x="268234" y="388399"/>
                          </a:lnTo>
                          <a:lnTo>
                            <a:pt x="269134" y="389749"/>
                          </a:lnTo>
                          <a:lnTo>
                            <a:pt x="270934" y="390649"/>
                          </a:lnTo>
                          <a:lnTo>
                            <a:pt x="272284" y="390649"/>
                          </a:lnTo>
                          <a:lnTo>
                            <a:pt x="273184" y="390649"/>
                          </a:lnTo>
                          <a:lnTo>
                            <a:pt x="274084" y="391099"/>
                          </a:lnTo>
                          <a:lnTo>
                            <a:pt x="276785" y="389749"/>
                          </a:lnTo>
                          <a:lnTo>
                            <a:pt x="277235" y="388849"/>
                          </a:lnTo>
                          <a:lnTo>
                            <a:pt x="278135" y="382998"/>
                          </a:lnTo>
                          <a:lnTo>
                            <a:pt x="278585" y="382098"/>
                          </a:lnTo>
                          <a:lnTo>
                            <a:pt x="280385" y="381198"/>
                          </a:lnTo>
                          <a:lnTo>
                            <a:pt x="280835" y="379398"/>
                          </a:lnTo>
                          <a:lnTo>
                            <a:pt x="281285" y="378947"/>
                          </a:lnTo>
                          <a:lnTo>
                            <a:pt x="282185" y="379398"/>
                          </a:lnTo>
                          <a:lnTo>
                            <a:pt x="283085" y="379848"/>
                          </a:lnTo>
                          <a:lnTo>
                            <a:pt x="284436" y="382098"/>
                          </a:lnTo>
                          <a:lnTo>
                            <a:pt x="284886" y="383448"/>
                          </a:lnTo>
                          <a:lnTo>
                            <a:pt x="284886" y="384798"/>
                          </a:lnTo>
                          <a:lnTo>
                            <a:pt x="284436" y="385698"/>
                          </a:lnTo>
                          <a:lnTo>
                            <a:pt x="283985" y="387048"/>
                          </a:lnTo>
                          <a:lnTo>
                            <a:pt x="283985" y="389299"/>
                          </a:lnTo>
                          <a:lnTo>
                            <a:pt x="283085" y="391099"/>
                          </a:lnTo>
                          <a:lnTo>
                            <a:pt x="283085" y="391999"/>
                          </a:lnTo>
                          <a:lnTo>
                            <a:pt x="283985" y="400550"/>
                          </a:lnTo>
                          <a:lnTo>
                            <a:pt x="283985" y="401450"/>
                          </a:lnTo>
                          <a:lnTo>
                            <a:pt x="282635" y="403251"/>
                          </a:lnTo>
                          <a:lnTo>
                            <a:pt x="282635" y="405051"/>
                          </a:lnTo>
                          <a:lnTo>
                            <a:pt x="283085" y="407301"/>
                          </a:lnTo>
                          <a:lnTo>
                            <a:pt x="283985" y="408651"/>
                          </a:lnTo>
                          <a:lnTo>
                            <a:pt x="284436" y="409101"/>
                          </a:lnTo>
                          <a:lnTo>
                            <a:pt x="285336" y="409551"/>
                          </a:lnTo>
                          <a:lnTo>
                            <a:pt x="285786" y="408201"/>
                          </a:lnTo>
                          <a:lnTo>
                            <a:pt x="286236" y="404601"/>
                          </a:lnTo>
                          <a:lnTo>
                            <a:pt x="286686" y="404601"/>
                          </a:lnTo>
                          <a:lnTo>
                            <a:pt x="289386" y="406851"/>
                          </a:lnTo>
                          <a:lnTo>
                            <a:pt x="290286" y="407751"/>
                          </a:lnTo>
                          <a:lnTo>
                            <a:pt x="291636" y="411352"/>
                          </a:lnTo>
                          <a:lnTo>
                            <a:pt x="292987" y="412252"/>
                          </a:lnTo>
                          <a:lnTo>
                            <a:pt x="295237" y="413152"/>
                          </a:lnTo>
                          <a:lnTo>
                            <a:pt x="296587" y="413152"/>
                          </a:lnTo>
                          <a:lnTo>
                            <a:pt x="297037" y="412702"/>
                          </a:lnTo>
                          <a:lnTo>
                            <a:pt x="297487" y="411352"/>
                          </a:lnTo>
                          <a:lnTo>
                            <a:pt x="299287" y="411802"/>
                          </a:lnTo>
                          <a:lnTo>
                            <a:pt x="300638" y="412702"/>
                          </a:lnTo>
                          <a:lnTo>
                            <a:pt x="301538" y="412702"/>
                          </a:lnTo>
                          <a:lnTo>
                            <a:pt x="302438" y="411802"/>
                          </a:lnTo>
                          <a:lnTo>
                            <a:pt x="304238" y="408201"/>
                          </a:lnTo>
                          <a:lnTo>
                            <a:pt x="304688" y="407751"/>
                          </a:lnTo>
                          <a:lnTo>
                            <a:pt x="306038" y="407751"/>
                          </a:lnTo>
                          <a:lnTo>
                            <a:pt x="308738" y="408201"/>
                          </a:lnTo>
                          <a:lnTo>
                            <a:pt x="311439" y="409101"/>
                          </a:lnTo>
                          <a:lnTo>
                            <a:pt x="313689" y="410451"/>
                          </a:lnTo>
                          <a:lnTo>
                            <a:pt x="315940" y="412252"/>
                          </a:lnTo>
                          <a:lnTo>
                            <a:pt x="319540" y="417202"/>
                          </a:lnTo>
                          <a:lnTo>
                            <a:pt x="321790" y="419002"/>
                          </a:lnTo>
                          <a:lnTo>
                            <a:pt x="322240" y="419903"/>
                          </a:lnTo>
                          <a:lnTo>
                            <a:pt x="321790" y="421253"/>
                          </a:lnTo>
                          <a:lnTo>
                            <a:pt x="320440" y="422153"/>
                          </a:lnTo>
                          <a:lnTo>
                            <a:pt x="320440" y="422603"/>
                          </a:lnTo>
                          <a:lnTo>
                            <a:pt x="320440" y="423503"/>
                          </a:lnTo>
                          <a:lnTo>
                            <a:pt x="322690" y="427554"/>
                          </a:lnTo>
                          <a:lnTo>
                            <a:pt x="324490" y="427104"/>
                          </a:lnTo>
                          <a:lnTo>
                            <a:pt x="328991" y="423053"/>
                          </a:lnTo>
                          <a:lnTo>
                            <a:pt x="328991" y="421703"/>
                          </a:lnTo>
                          <a:lnTo>
                            <a:pt x="328091" y="420353"/>
                          </a:lnTo>
                          <a:lnTo>
                            <a:pt x="328091" y="419453"/>
                          </a:lnTo>
                          <a:lnTo>
                            <a:pt x="328541" y="416302"/>
                          </a:lnTo>
                          <a:lnTo>
                            <a:pt x="329441" y="410902"/>
                          </a:lnTo>
                          <a:lnTo>
                            <a:pt x="329891" y="410451"/>
                          </a:lnTo>
                          <a:lnTo>
                            <a:pt x="332141" y="408651"/>
                          </a:lnTo>
                          <a:lnTo>
                            <a:pt x="332592" y="407301"/>
                          </a:lnTo>
                          <a:lnTo>
                            <a:pt x="333042" y="400550"/>
                          </a:lnTo>
                          <a:lnTo>
                            <a:pt x="331241" y="394249"/>
                          </a:lnTo>
                          <a:lnTo>
                            <a:pt x="331241" y="391549"/>
                          </a:lnTo>
                          <a:lnTo>
                            <a:pt x="331241" y="384798"/>
                          </a:lnTo>
                          <a:lnTo>
                            <a:pt x="332141" y="383448"/>
                          </a:lnTo>
                          <a:lnTo>
                            <a:pt x="334842" y="382548"/>
                          </a:lnTo>
                          <a:lnTo>
                            <a:pt x="335742" y="382098"/>
                          </a:lnTo>
                          <a:lnTo>
                            <a:pt x="337092" y="376247"/>
                          </a:lnTo>
                          <a:lnTo>
                            <a:pt x="337542" y="375797"/>
                          </a:lnTo>
                          <a:lnTo>
                            <a:pt x="339792" y="374897"/>
                          </a:lnTo>
                          <a:lnTo>
                            <a:pt x="341593" y="374897"/>
                          </a:lnTo>
                          <a:lnTo>
                            <a:pt x="342493" y="375347"/>
                          </a:lnTo>
                          <a:lnTo>
                            <a:pt x="343843" y="377597"/>
                          </a:lnTo>
                          <a:lnTo>
                            <a:pt x="344743" y="380298"/>
                          </a:lnTo>
                          <a:lnTo>
                            <a:pt x="344743" y="381198"/>
                          </a:lnTo>
                          <a:lnTo>
                            <a:pt x="344293" y="385248"/>
                          </a:lnTo>
                          <a:lnTo>
                            <a:pt x="344293" y="386148"/>
                          </a:lnTo>
                          <a:lnTo>
                            <a:pt x="344743" y="387048"/>
                          </a:lnTo>
                          <a:lnTo>
                            <a:pt x="347893" y="390199"/>
                          </a:lnTo>
                          <a:lnTo>
                            <a:pt x="347443" y="390649"/>
                          </a:lnTo>
                          <a:lnTo>
                            <a:pt x="345193" y="391549"/>
                          </a:lnTo>
                          <a:lnTo>
                            <a:pt x="338892" y="392899"/>
                          </a:lnTo>
                          <a:lnTo>
                            <a:pt x="337092" y="393799"/>
                          </a:lnTo>
                          <a:lnTo>
                            <a:pt x="335742" y="394699"/>
                          </a:lnTo>
                          <a:lnTo>
                            <a:pt x="334392" y="396050"/>
                          </a:lnTo>
                          <a:lnTo>
                            <a:pt x="333492" y="397400"/>
                          </a:lnTo>
                          <a:lnTo>
                            <a:pt x="333492" y="397850"/>
                          </a:lnTo>
                          <a:lnTo>
                            <a:pt x="333492" y="398300"/>
                          </a:lnTo>
                          <a:lnTo>
                            <a:pt x="335742" y="399200"/>
                          </a:lnTo>
                          <a:lnTo>
                            <a:pt x="335742" y="399650"/>
                          </a:lnTo>
                          <a:lnTo>
                            <a:pt x="335742" y="401000"/>
                          </a:lnTo>
                          <a:lnTo>
                            <a:pt x="336642" y="402350"/>
                          </a:lnTo>
                          <a:lnTo>
                            <a:pt x="339343" y="404151"/>
                          </a:lnTo>
                          <a:lnTo>
                            <a:pt x="341143" y="409551"/>
                          </a:lnTo>
                          <a:lnTo>
                            <a:pt x="341593" y="410902"/>
                          </a:lnTo>
                          <a:lnTo>
                            <a:pt x="341593" y="412252"/>
                          </a:lnTo>
                          <a:lnTo>
                            <a:pt x="340693" y="412702"/>
                          </a:lnTo>
                          <a:lnTo>
                            <a:pt x="338892" y="412702"/>
                          </a:lnTo>
                          <a:lnTo>
                            <a:pt x="338892" y="413152"/>
                          </a:lnTo>
                          <a:lnTo>
                            <a:pt x="338892" y="414052"/>
                          </a:lnTo>
                          <a:lnTo>
                            <a:pt x="339343" y="414502"/>
                          </a:lnTo>
                          <a:lnTo>
                            <a:pt x="342493" y="414952"/>
                          </a:lnTo>
                          <a:lnTo>
                            <a:pt x="351044" y="414952"/>
                          </a:lnTo>
                          <a:lnTo>
                            <a:pt x="359595" y="414952"/>
                          </a:lnTo>
                          <a:lnTo>
                            <a:pt x="368146" y="414952"/>
                          </a:lnTo>
                          <a:lnTo>
                            <a:pt x="376697" y="414952"/>
                          </a:lnTo>
                          <a:lnTo>
                            <a:pt x="385248" y="414952"/>
                          </a:lnTo>
                          <a:lnTo>
                            <a:pt x="393799" y="414952"/>
                          </a:lnTo>
                          <a:lnTo>
                            <a:pt x="402350" y="414952"/>
                          </a:lnTo>
                          <a:lnTo>
                            <a:pt x="410901" y="414952"/>
                          </a:lnTo>
                          <a:lnTo>
                            <a:pt x="419452" y="414952"/>
                          </a:lnTo>
                          <a:lnTo>
                            <a:pt x="428003" y="414952"/>
                          </a:lnTo>
                          <a:lnTo>
                            <a:pt x="436555" y="414952"/>
                          </a:lnTo>
                          <a:lnTo>
                            <a:pt x="445106" y="414952"/>
                          </a:lnTo>
                          <a:lnTo>
                            <a:pt x="453657" y="414952"/>
                          </a:lnTo>
                          <a:lnTo>
                            <a:pt x="462208" y="414952"/>
                          </a:lnTo>
                          <a:lnTo>
                            <a:pt x="470759" y="414952"/>
                          </a:lnTo>
                          <a:lnTo>
                            <a:pt x="479310" y="414952"/>
                          </a:lnTo>
                          <a:lnTo>
                            <a:pt x="479310" y="424853"/>
                          </a:lnTo>
                          <a:lnTo>
                            <a:pt x="479310" y="433854"/>
                          </a:lnTo>
                          <a:lnTo>
                            <a:pt x="475259" y="432504"/>
                          </a:lnTo>
                          <a:lnTo>
                            <a:pt x="471659" y="432954"/>
                          </a:lnTo>
                          <a:lnTo>
                            <a:pt x="464908" y="434304"/>
                          </a:lnTo>
                          <a:lnTo>
                            <a:pt x="463108" y="435205"/>
                          </a:lnTo>
                          <a:lnTo>
                            <a:pt x="459507" y="437905"/>
                          </a:lnTo>
                          <a:lnTo>
                            <a:pt x="458157" y="438355"/>
                          </a:lnTo>
                          <a:lnTo>
                            <a:pt x="454107" y="438805"/>
                          </a:lnTo>
                          <a:lnTo>
                            <a:pt x="450506" y="438355"/>
                          </a:lnTo>
                          <a:lnTo>
                            <a:pt x="449156" y="438805"/>
                          </a:lnTo>
                          <a:lnTo>
                            <a:pt x="447356" y="440155"/>
                          </a:lnTo>
                          <a:lnTo>
                            <a:pt x="446906" y="441055"/>
                          </a:lnTo>
                          <a:lnTo>
                            <a:pt x="446456" y="443305"/>
                          </a:lnTo>
                          <a:lnTo>
                            <a:pt x="437455" y="453207"/>
                          </a:lnTo>
                          <a:lnTo>
                            <a:pt x="435204" y="456357"/>
                          </a:lnTo>
                          <a:lnTo>
                            <a:pt x="430704" y="459958"/>
                          </a:lnTo>
                          <a:lnTo>
                            <a:pt x="425753" y="466258"/>
                          </a:lnTo>
                          <a:lnTo>
                            <a:pt x="421253" y="468509"/>
                          </a:lnTo>
                          <a:lnTo>
                            <a:pt x="419902" y="472109"/>
                          </a:lnTo>
                          <a:lnTo>
                            <a:pt x="415852" y="474359"/>
                          </a:lnTo>
                          <a:lnTo>
                            <a:pt x="408201" y="474809"/>
                          </a:lnTo>
                          <a:lnTo>
                            <a:pt x="404601" y="475260"/>
                          </a:lnTo>
                          <a:lnTo>
                            <a:pt x="400550" y="474359"/>
                          </a:lnTo>
                          <a:lnTo>
                            <a:pt x="397400" y="475710"/>
                          </a:lnTo>
                          <a:lnTo>
                            <a:pt x="392449" y="476160"/>
                          </a:lnTo>
                          <a:lnTo>
                            <a:pt x="390199" y="475710"/>
                          </a:lnTo>
                          <a:lnTo>
                            <a:pt x="381198" y="478860"/>
                          </a:lnTo>
                          <a:lnTo>
                            <a:pt x="378947" y="475710"/>
                          </a:lnTo>
                          <a:lnTo>
                            <a:pt x="377147" y="474359"/>
                          </a:lnTo>
                          <a:lnTo>
                            <a:pt x="371746" y="474359"/>
                          </a:lnTo>
                          <a:lnTo>
                            <a:pt x="367696" y="473009"/>
                          </a:lnTo>
                          <a:lnTo>
                            <a:pt x="364096" y="472559"/>
                          </a:lnTo>
                          <a:lnTo>
                            <a:pt x="360495" y="472109"/>
                          </a:lnTo>
                          <a:lnTo>
                            <a:pt x="358245" y="472109"/>
                          </a:lnTo>
                          <a:lnTo>
                            <a:pt x="355544" y="472559"/>
                          </a:lnTo>
                          <a:lnTo>
                            <a:pt x="351494" y="472559"/>
                          </a:lnTo>
                          <a:lnTo>
                            <a:pt x="349244" y="474359"/>
                          </a:lnTo>
                          <a:lnTo>
                            <a:pt x="342043" y="475710"/>
                          </a:lnTo>
                          <a:lnTo>
                            <a:pt x="338892" y="474359"/>
                          </a:lnTo>
                          <a:lnTo>
                            <a:pt x="336192" y="473909"/>
                          </a:lnTo>
                          <a:lnTo>
                            <a:pt x="332592" y="474359"/>
                          </a:lnTo>
                          <a:lnTo>
                            <a:pt x="329441" y="475710"/>
                          </a:lnTo>
                          <a:lnTo>
                            <a:pt x="322240" y="474359"/>
                          </a:lnTo>
                          <a:lnTo>
                            <a:pt x="314589" y="475260"/>
                          </a:lnTo>
                          <a:lnTo>
                            <a:pt x="307839" y="474359"/>
                          </a:lnTo>
                          <a:lnTo>
                            <a:pt x="306038" y="473459"/>
                          </a:lnTo>
                          <a:lnTo>
                            <a:pt x="295687" y="475260"/>
                          </a:lnTo>
                          <a:lnTo>
                            <a:pt x="291636" y="473909"/>
                          </a:lnTo>
                          <a:lnTo>
                            <a:pt x="288036" y="477060"/>
                          </a:lnTo>
                          <a:lnTo>
                            <a:pt x="285336" y="476610"/>
                          </a:lnTo>
                          <a:lnTo>
                            <a:pt x="282635" y="477060"/>
                          </a:lnTo>
                          <a:lnTo>
                            <a:pt x="281735" y="476610"/>
                          </a:lnTo>
                          <a:lnTo>
                            <a:pt x="279935" y="477060"/>
                          </a:lnTo>
                          <a:lnTo>
                            <a:pt x="278585" y="478860"/>
                          </a:lnTo>
                          <a:lnTo>
                            <a:pt x="277235" y="478860"/>
                          </a:lnTo>
                          <a:lnTo>
                            <a:pt x="274534" y="482010"/>
                          </a:lnTo>
                          <a:lnTo>
                            <a:pt x="270484" y="484261"/>
                          </a:lnTo>
                          <a:lnTo>
                            <a:pt x="264183" y="497312"/>
                          </a:lnTo>
                          <a:lnTo>
                            <a:pt x="263733" y="502263"/>
                          </a:lnTo>
                          <a:lnTo>
                            <a:pt x="261483" y="505413"/>
                          </a:lnTo>
                          <a:lnTo>
                            <a:pt x="259232" y="505863"/>
                          </a:lnTo>
                          <a:lnTo>
                            <a:pt x="257432" y="505863"/>
                          </a:lnTo>
                          <a:lnTo>
                            <a:pt x="246631" y="508114"/>
                          </a:lnTo>
                          <a:lnTo>
                            <a:pt x="241680" y="509914"/>
                          </a:lnTo>
                          <a:lnTo>
                            <a:pt x="243030" y="511264"/>
                          </a:lnTo>
                          <a:lnTo>
                            <a:pt x="241680" y="512614"/>
                          </a:lnTo>
                          <a:lnTo>
                            <a:pt x="238980" y="513064"/>
                          </a:lnTo>
                          <a:lnTo>
                            <a:pt x="236280" y="514414"/>
                          </a:lnTo>
                          <a:lnTo>
                            <a:pt x="234479" y="516215"/>
                          </a:lnTo>
                          <a:lnTo>
                            <a:pt x="233579" y="518465"/>
                          </a:lnTo>
                          <a:lnTo>
                            <a:pt x="228179" y="522065"/>
                          </a:lnTo>
                          <a:lnTo>
                            <a:pt x="221878" y="530166"/>
                          </a:lnTo>
                          <a:lnTo>
                            <a:pt x="218727" y="536017"/>
                          </a:lnTo>
                          <a:lnTo>
                            <a:pt x="215127" y="540518"/>
                          </a:lnTo>
                          <a:lnTo>
                            <a:pt x="212427" y="542318"/>
                          </a:lnTo>
                          <a:lnTo>
                            <a:pt x="210626" y="542768"/>
                          </a:lnTo>
                          <a:lnTo>
                            <a:pt x="208826" y="542318"/>
                          </a:lnTo>
                          <a:lnTo>
                            <a:pt x="205676" y="540518"/>
                          </a:lnTo>
                          <a:lnTo>
                            <a:pt x="203425" y="540518"/>
                          </a:lnTo>
                          <a:lnTo>
                            <a:pt x="197575" y="537817"/>
                          </a:lnTo>
                          <a:lnTo>
                            <a:pt x="184073" y="535117"/>
                          </a:lnTo>
                          <a:lnTo>
                            <a:pt x="186323" y="536017"/>
                          </a:lnTo>
                          <a:lnTo>
                            <a:pt x="188123" y="537817"/>
                          </a:lnTo>
                          <a:lnTo>
                            <a:pt x="191724" y="538268"/>
                          </a:lnTo>
                          <a:lnTo>
                            <a:pt x="195324" y="538268"/>
                          </a:lnTo>
                          <a:lnTo>
                            <a:pt x="202975" y="541868"/>
                          </a:lnTo>
                          <a:lnTo>
                            <a:pt x="206576" y="543218"/>
                          </a:lnTo>
                          <a:lnTo>
                            <a:pt x="208826" y="544118"/>
                          </a:lnTo>
                          <a:lnTo>
                            <a:pt x="210626" y="546369"/>
                          </a:lnTo>
                          <a:lnTo>
                            <a:pt x="209276" y="550869"/>
                          </a:lnTo>
                          <a:lnTo>
                            <a:pt x="207926" y="554469"/>
                          </a:lnTo>
                          <a:lnTo>
                            <a:pt x="206126" y="557170"/>
                          </a:lnTo>
                          <a:lnTo>
                            <a:pt x="199825" y="564821"/>
                          </a:lnTo>
                          <a:lnTo>
                            <a:pt x="196675" y="567521"/>
                          </a:lnTo>
                          <a:lnTo>
                            <a:pt x="191274" y="576522"/>
                          </a:lnTo>
                          <a:lnTo>
                            <a:pt x="185423" y="580573"/>
                          </a:lnTo>
                          <a:lnTo>
                            <a:pt x="182273" y="583273"/>
                          </a:lnTo>
                          <a:lnTo>
                            <a:pt x="179122" y="587324"/>
                          </a:lnTo>
                          <a:lnTo>
                            <a:pt x="171471" y="590474"/>
                          </a:lnTo>
                          <a:lnTo>
                            <a:pt x="168771" y="591374"/>
                          </a:lnTo>
                          <a:lnTo>
                            <a:pt x="166071" y="590924"/>
                          </a:lnTo>
                          <a:lnTo>
                            <a:pt x="162920" y="593174"/>
                          </a:lnTo>
                          <a:lnTo>
                            <a:pt x="159320" y="594525"/>
                          </a:lnTo>
                          <a:lnTo>
                            <a:pt x="158420" y="596775"/>
                          </a:lnTo>
                          <a:lnTo>
                            <a:pt x="149419" y="602626"/>
                          </a:lnTo>
                          <a:lnTo>
                            <a:pt x="145818" y="603526"/>
                          </a:lnTo>
                          <a:lnTo>
                            <a:pt x="142668" y="605326"/>
                          </a:lnTo>
                          <a:lnTo>
                            <a:pt x="141768" y="608026"/>
                          </a:lnTo>
                          <a:lnTo>
                            <a:pt x="139067" y="609826"/>
                          </a:lnTo>
                          <a:lnTo>
                            <a:pt x="138167" y="611176"/>
                          </a:lnTo>
                          <a:lnTo>
                            <a:pt x="135917" y="614777"/>
                          </a:lnTo>
                          <a:lnTo>
                            <a:pt x="131866" y="619728"/>
                          </a:lnTo>
                          <a:lnTo>
                            <a:pt x="126916" y="620628"/>
                          </a:lnTo>
                          <a:lnTo>
                            <a:pt x="125116" y="622428"/>
                          </a:lnTo>
                          <a:lnTo>
                            <a:pt x="122865" y="625128"/>
                          </a:lnTo>
                          <a:lnTo>
                            <a:pt x="119715" y="626928"/>
                          </a:lnTo>
                          <a:lnTo>
                            <a:pt x="113864" y="626029"/>
                          </a:lnTo>
                          <a:lnTo>
                            <a:pt x="115214" y="627379"/>
                          </a:lnTo>
                          <a:lnTo>
                            <a:pt x="120615" y="629179"/>
                          </a:lnTo>
                          <a:lnTo>
                            <a:pt x="121065" y="631879"/>
                          </a:lnTo>
                          <a:lnTo>
                            <a:pt x="118365" y="632329"/>
                          </a:lnTo>
                          <a:lnTo>
                            <a:pt x="113414" y="635480"/>
                          </a:lnTo>
                          <a:lnTo>
                            <a:pt x="112064" y="633679"/>
                          </a:lnTo>
                          <a:lnTo>
                            <a:pt x="110714" y="632329"/>
                          </a:lnTo>
                          <a:lnTo>
                            <a:pt x="111164" y="630079"/>
                          </a:lnTo>
                          <a:lnTo>
                            <a:pt x="112064" y="626478"/>
                          </a:lnTo>
                          <a:lnTo>
                            <a:pt x="112514" y="624678"/>
                          </a:lnTo>
                          <a:lnTo>
                            <a:pt x="108464" y="622878"/>
                          </a:lnTo>
                          <a:lnTo>
                            <a:pt x="105313" y="622428"/>
                          </a:lnTo>
                          <a:lnTo>
                            <a:pt x="102163" y="622878"/>
                          </a:lnTo>
                          <a:lnTo>
                            <a:pt x="95862" y="624678"/>
                          </a:lnTo>
                          <a:lnTo>
                            <a:pt x="85961" y="628279"/>
                          </a:lnTo>
                          <a:lnTo>
                            <a:pt x="80110" y="629179"/>
                          </a:lnTo>
                          <a:lnTo>
                            <a:pt x="77860" y="627379"/>
                          </a:lnTo>
                          <a:lnTo>
                            <a:pt x="75159" y="626928"/>
                          </a:lnTo>
                          <a:lnTo>
                            <a:pt x="72009" y="627379"/>
                          </a:lnTo>
                          <a:lnTo>
                            <a:pt x="68859" y="626928"/>
                          </a:lnTo>
                          <a:lnTo>
                            <a:pt x="65708" y="625578"/>
                          </a:lnTo>
                          <a:lnTo>
                            <a:pt x="63458" y="622428"/>
                          </a:lnTo>
                          <a:lnTo>
                            <a:pt x="61658" y="617927"/>
                          </a:lnTo>
                          <a:lnTo>
                            <a:pt x="60308" y="615227"/>
                          </a:lnTo>
                          <a:lnTo>
                            <a:pt x="59407" y="614777"/>
                          </a:lnTo>
                          <a:lnTo>
                            <a:pt x="58957" y="614777"/>
                          </a:lnTo>
                          <a:lnTo>
                            <a:pt x="58507" y="615227"/>
                          </a:lnTo>
                          <a:lnTo>
                            <a:pt x="58057" y="617027"/>
                          </a:lnTo>
                          <a:lnTo>
                            <a:pt x="57607" y="617477"/>
                          </a:lnTo>
                          <a:lnTo>
                            <a:pt x="56707" y="617477"/>
                          </a:lnTo>
                          <a:lnTo>
                            <a:pt x="55357" y="617027"/>
                          </a:lnTo>
                          <a:lnTo>
                            <a:pt x="54007" y="616127"/>
                          </a:lnTo>
                          <a:lnTo>
                            <a:pt x="51306" y="613877"/>
                          </a:lnTo>
                          <a:lnTo>
                            <a:pt x="50406" y="612977"/>
                          </a:lnTo>
                          <a:lnTo>
                            <a:pt x="49956" y="612077"/>
                          </a:lnTo>
                          <a:lnTo>
                            <a:pt x="49956" y="611627"/>
                          </a:lnTo>
                          <a:lnTo>
                            <a:pt x="48156" y="608926"/>
                          </a:lnTo>
                          <a:lnTo>
                            <a:pt x="48156" y="608926"/>
                          </a:lnTo>
                          <a:lnTo>
                            <a:pt x="41405" y="605326"/>
                          </a:lnTo>
                          <a:lnTo>
                            <a:pt x="41405" y="605326"/>
                          </a:lnTo>
                          <a:lnTo>
                            <a:pt x="41405" y="605326"/>
                          </a:lnTo>
                          <a:lnTo>
                            <a:pt x="41405" y="605326"/>
                          </a:lnTo>
                          <a:lnTo>
                            <a:pt x="24753" y="601725"/>
                          </a:lnTo>
                          <a:lnTo>
                            <a:pt x="18002" y="599025"/>
                          </a:lnTo>
                          <a:lnTo>
                            <a:pt x="15302" y="596325"/>
                          </a:lnTo>
                          <a:lnTo>
                            <a:pt x="13052" y="592724"/>
                          </a:lnTo>
                          <a:lnTo>
                            <a:pt x="9901" y="585973"/>
                          </a:lnTo>
                          <a:lnTo>
                            <a:pt x="5851" y="580123"/>
                          </a:lnTo>
                          <a:lnTo>
                            <a:pt x="4501" y="576522"/>
                          </a:lnTo>
                          <a:lnTo>
                            <a:pt x="4501" y="573822"/>
                          </a:lnTo>
                          <a:lnTo>
                            <a:pt x="3600" y="571122"/>
                          </a:lnTo>
                          <a:lnTo>
                            <a:pt x="2250" y="568421"/>
                          </a:lnTo>
                          <a:lnTo>
                            <a:pt x="1800" y="566171"/>
                          </a:lnTo>
                          <a:lnTo>
                            <a:pt x="2700" y="563921"/>
                          </a:lnTo>
                          <a:lnTo>
                            <a:pt x="2700" y="563921"/>
                          </a:lnTo>
                          <a:lnTo>
                            <a:pt x="2700" y="554919"/>
                          </a:lnTo>
                          <a:lnTo>
                            <a:pt x="2700" y="547269"/>
                          </a:lnTo>
                          <a:lnTo>
                            <a:pt x="2700" y="539618"/>
                          </a:lnTo>
                          <a:lnTo>
                            <a:pt x="2700" y="531967"/>
                          </a:lnTo>
                          <a:lnTo>
                            <a:pt x="2700" y="524316"/>
                          </a:lnTo>
                          <a:lnTo>
                            <a:pt x="2700" y="516665"/>
                          </a:lnTo>
                          <a:lnTo>
                            <a:pt x="2700" y="507214"/>
                          </a:lnTo>
                          <a:lnTo>
                            <a:pt x="2700" y="499563"/>
                          </a:lnTo>
                          <a:lnTo>
                            <a:pt x="2700" y="491462"/>
                          </a:lnTo>
                          <a:lnTo>
                            <a:pt x="2700" y="483361"/>
                          </a:lnTo>
                          <a:lnTo>
                            <a:pt x="2700" y="475710"/>
                          </a:lnTo>
                          <a:lnTo>
                            <a:pt x="2700" y="467609"/>
                          </a:lnTo>
                          <a:lnTo>
                            <a:pt x="2700" y="459508"/>
                          </a:lnTo>
                          <a:lnTo>
                            <a:pt x="2700" y="453657"/>
                          </a:lnTo>
                          <a:lnTo>
                            <a:pt x="4050" y="455007"/>
                          </a:lnTo>
                          <a:lnTo>
                            <a:pt x="6301" y="458608"/>
                          </a:lnTo>
                          <a:lnTo>
                            <a:pt x="5401" y="456357"/>
                          </a:lnTo>
                          <a:lnTo>
                            <a:pt x="4050" y="453657"/>
                          </a:lnTo>
                          <a:lnTo>
                            <a:pt x="2700" y="451857"/>
                          </a:lnTo>
                          <a:lnTo>
                            <a:pt x="2700" y="443305"/>
                          </a:lnTo>
                          <a:lnTo>
                            <a:pt x="2700" y="432504"/>
                          </a:lnTo>
                          <a:lnTo>
                            <a:pt x="3150" y="431604"/>
                          </a:lnTo>
                          <a:lnTo>
                            <a:pt x="6301" y="429804"/>
                          </a:lnTo>
                          <a:lnTo>
                            <a:pt x="7201" y="429804"/>
                          </a:lnTo>
                          <a:lnTo>
                            <a:pt x="8101" y="432054"/>
                          </a:lnTo>
                          <a:lnTo>
                            <a:pt x="9001" y="432504"/>
                          </a:lnTo>
                          <a:lnTo>
                            <a:pt x="10351" y="432954"/>
                          </a:lnTo>
                          <a:lnTo>
                            <a:pt x="11701" y="433854"/>
                          </a:lnTo>
                          <a:lnTo>
                            <a:pt x="12602" y="435205"/>
                          </a:lnTo>
                          <a:lnTo>
                            <a:pt x="13502" y="436555"/>
                          </a:lnTo>
                          <a:lnTo>
                            <a:pt x="13952" y="437905"/>
                          </a:lnTo>
                          <a:lnTo>
                            <a:pt x="14852" y="442405"/>
                          </a:lnTo>
                          <a:lnTo>
                            <a:pt x="15752" y="444206"/>
                          </a:lnTo>
                          <a:lnTo>
                            <a:pt x="15752" y="441955"/>
                          </a:lnTo>
                          <a:lnTo>
                            <a:pt x="16652" y="438355"/>
                          </a:lnTo>
                          <a:lnTo>
                            <a:pt x="17102" y="437005"/>
                          </a:lnTo>
                          <a:lnTo>
                            <a:pt x="19352" y="434754"/>
                          </a:lnTo>
                          <a:lnTo>
                            <a:pt x="19352" y="433854"/>
                          </a:lnTo>
                          <a:lnTo>
                            <a:pt x="18452" y="432504"/>
                          </a:lnTo>
                          <a:lnTo>
                            <a:pt x="13952" y="426653"/>
                          </a:lnTo>
                          <a:lnTo>
                            <a:pt x="13952" y="425303"/>
                          </a:lnTo>
                          <a:lnTo>
                            <a:pt x="15302" y="424403"/>
                          </a:lnTo>
                          <a:lnTo>
                            <a:pt x="16202" y="422603"/>
                          </a:lnTo>
                          <a:lnTo>
                            <a:pt x="16652" y="420353"/>
                          </a:lnTo>
                          <a:lnTo>
                            <a:pt x="17552" y="418552"/>
                          </a:lnTo>
                          <a:lnTo>
                            <a:pt x="20253" y="416302"/>
                          </a:lnTo>
                          <a:lnTo>
                            <a:pt x="22503" y="412702"/>
                          </a:lnTo>
                          <a:lnTo>
                            <a:pt x="23853" y="410001"/>
                          </a:lnTo>
                          <a:lnTo>
                            <a:pt x="24753" y="408651"/>
                          </a:lnTo>
                          <a:lnTo>
                            <a:pt x="25653" y="408201"/>
                          </a:lnTo>
                          <a:lnTo>
                            <a:pt x="24303" y="407301"/>
                          </a:lnTo>
                          <a:lnTo>
                            <a:pt x="23853" y="406401"/>
                          </a:lnTo>
                          <a:lnTo>
                            <a:pt x="23853" y="403251"/>
                          </a:lnTo>
                          <a:lnTo>
                            <a:pt x="23403" y="400100"/>
                          </a:lnTo>
                          <a:lnTo>
                            <a:pt x="22503" y="398750"/>
                          </a:lnTo>
                          <a:lnTo>
                            <a:pt x="19802" y="395600"/>
                          </a:lnTo>
                          <a:lnTo>
                            <a:pt x="19352" y="394699"/>
                          </a:lnTo>
                          <a:lnTo>
                            <a:pt x="18902" y="391099"/>
                          </a:lnTo>
                          <a:lnTo>
                            <a:pt x="19352" y="389299"/>
                          </a:lnTo>
                          <a:lnTo>
                            <a:pt x="20253" y="387949"/>
                          </a:lnTo>
                          <a:lnTo>
                            <a:pt x="19802" y="386599"/>
                          </a:lnTo>
                          <a:lnTo>
                            <a:pt x="17552" y="383898"/>
                          </a:lnTo>
                          <a:lnTo>
                            <a:pt x="16652" y="381648"/>
                          </a:lnTo>
                          <a:lnTo>
                            <a:pt x="15752" y="375797"/>
                          </a:lnTo>
                          <a:lnTo>
                            <a:pt x="14852" y="368596"/>
                          </a:lnTo>
                          <a:lnTo>
                            <a:pt x="13952" y="363196"/>
                          </a:lnTo>
                          <a:lnTo>
                            <a:pt x="12602" y="359595"/>
                          </a:lnTo>
                          <a:lnTo>
                            <a:pt x="12152" y="357345"/>
                          </a:lnTo>
                          <a:lnTo>
                            <a:pt x="12602" y="356445"/>
                          </a:lnTo>
                          <a:lnTo>
                            <a:pt x="13502" y="353744"/>
                          </a:lnTo>
                          <a:lnTo>
                            <a:pt x="14402" y="353294"/>
                          </a:lnTo>
                          <a:lnTo>
                            <a:pt x="15752" y="353294"/>
                          </a:lnTo>
                          <a:lnTo>
                            <a:pt x="15752" y="352844"/>
                          </a:lnTo>
                          <a:lnTo>
                            <a:pt x="13952" y="351494"/>
                          </a:lnTo>
                          <a:lnTo>
                            <a:pt x="13052" y="349694"/>
                          </a:lnTo>
                          <a:lnTo>
                            <a:pt x="13052" y="348794"/>
                          </a:lnTo>
                          <a:lnTo>
                            <a:pt x="14852" y="346993"/>
                          </a:lnTo>
                          <a:lnTo>
                            <a:pt x="14402" y="346093"/>
                          </a:lnTo>
                          <a:lnTo>
                            <a:pt x="13052" y="345193"/>
                          </a:lnTo>
                          <a:lnTo>
                            <a:pt x="9451" y="343393"/>
                          </a:lnTo>
                          <a:lnTo>
                            <a:pt x="10801" y="342943"/>
                          </a:lnTo>
                          <a:lnTo>
                            <a:pt x="11701" y="341593"/>
                          </a:lnTo>
                          <a:lnTo>
                            <a:pt x="11701" y="341143"/>
                          </a:lnTo>
                          <a:lnTo>
                            <a:pt x="10351" y="340693"/>
                          </a:lnTo>
                          <a:lnTo>
                            <a:pt x="8551" y="339343"/>
                          </a:lnTo>
                          <a:lnTo>
                            <a:pt x="7201" y="337542"/>
                          </a:lnTo>
                          <a:lnTo>
                            <a:pt x="5401" y="334842"/>
                          </a:lnTo>
                          <a:lnTo>
                            <a:pt x="4501" y="332592"/>
                          </a:lnTo>
                          <a:lnTo>
                            <a:pt x="3600" y="328991"/>
                          </a:lnTo>
                          <a:lnTo>
                            <a:pt x="1800" y="324941"/>
                          </a:lnTo>
                          <a:lnTo>
                            <a:pt x="900" y="324041"/>
                          </a:lnTo>
                          <a:lnTo>
                            <a:pt x="0" y="323591"/>
                          </a:lnTo>
                          <a:lnTo>
                            <a:pt x="0" y="322690"/>
                          </a:lnTo>
                          <a:lnTo>
                            <a:pt x="0" y="322240"/>
                          </a:lnTo>
                          <a:lnTo>
                            <a:pt x="900" y="321340"/>
                          </a:lnTo>
                          <a:lnTo>
                            <a:pt x="17102" y="314589"/>
                          </a:lnTo>
                          <a:lnTo>
                            <a:pt x="18452" y="313689"/>
                          </a:lnTo>
                          <a:lnTo>
                            <a:pt x="26553" y="310089"/>
                          </a:lnTo>
                          <a:lnTo>
                            <a:pt x="30154" y="307839"/>
                          </a:lnTo>
                          <a:lnTo>
                            <a:pt x="33754" y="304688"/>
                          </a:lnTo>
                          <a:lnTo>
                            <a:pt x="38705" y="301538"/>
                          </a:lnTo>
                          <a:lnTo>
                            <a:pt x="40955" y="299287"/>
                          </a:lnTo>
                          <a:lnTo>
                            <a:pt x="42305" y="297487"/>
                          </a:lnTo>
                          <a:lnTo>
                            <a:pt x="50406" y="289386"/>
                          </a:lnTo>
                          <a:lnTo>
                            <a:pt x="54007" y="285336"/>
                          </a:lnTo>
                          <a:lnTo>
                            <a:pt x="55807" y="281735"/>
                          </a:lnTo>
                          <a:lnTo>
                            <a:pt x="58507" y="277685"/>
                          </a:lnTo>
                          <a:lnTo>
                            <a:pt x="62108" y="272734"/>
                          </a:lnTo>
                          <a:lnTo>
                            <a:pt x="64358" y="268684"/>
                          </a:lnTo>
                          <a:lnTo>
                            <a:pt x="65258" y="265083"/>
                          </a:lnTo>
                          <a:lnTo>
                            <a:pt x="66608" y="258782"/>
                          </a:lnTo>
                          <a:lnTo>
                            <a:pt x="67058" y="253382"/>
                          </a:lnTo>
                          <a:lnTo>
                            <a:pt x="67058" y="245281"/>
                          </a:lnTo>
                          <a:lnTo>
                            <a:pt x="67058" y="238080"/>
                          </a:lnTo>
                          <a:lnTo>
                            <a:pt x="66158" y="226829"/>
                          </a:lnTo>
                          <a:lnTo>
                            <a:pt x="65708" y="223228"/>
                          </a:lnTo>
                          <a:lnTo>
                            <a:pt x="64358" y="219177"/>
                          </a:lnTo>
                          <a:lnTo>
                            <a:pt x="61658" y="210626"/>
                          </a:lnTo>
                          <a:lnTo>
                            <a:pt x="61208" y="208376"/>
                          </a:lnTo>
                          <a:lnTo>
                            <a:pt x="59407" y="204326"/>
                          </a:lnTo>
                          <a:lnTo>
                            <a:pt x="53557" y="193974"/>
                          </a:lnTo>
                          <a:lnTo>
                            <a:pt x="46356" y="186773"/>
                          </a:lnTo>
                          <a:lnTo>
                            <a:pt x="45006" y="184973"/>
                          </a:lnTo>
                          <a:lnTo>
                            <a:pt x="42305" y="182723"/>
                          </a:lnTo>
                          <a:lnTo>
                            <a:pt x="38255" y="180473"/>
                          </a:lnTo>
                          <a:lnTo>
                            <a:pt x="35554" y="178672"/>
                          </a:lnTo>
                          <a:lnTo>
                            <a:pt x="28353" y="171471"/>
                          </a:lnTo>
                          <a:lnTo>
                            <a:pt x="26103" y="170571"/>
                          </a:lnTo>
                          <a:lnTo>
                            <a:pt x="25203" y="168771"/>
                          </a:lnTo>
                          <a:lnTo>
                            <a:pt x="25203" y="167421"/>
                          </a:lnTo>
                          <a:lnTo>
                            <a:pt x="25653" y="163821"/>
                          </a:lnTo>
                          <a:lnTo>
                            <a:pt x="26103" y="161570"/>
                          </a:lnTo>
                          <a:lnTo>
                            <a:pt x="26553" y="159770"/>
                          </a:lnTo>
                          <a:lnTo>
                            <a:pt x="27003" y="158420"/>
                          </a:lnTo>
                          <a:lnTo>
                            <a:pt x="31054" y="153019"/>
                          </a:lnTo>
                          <a:lnTo>
                            <a:pt x="33304" y="148519"/>
                          </a:lnTo>
                          <a:lnTo>
                            <a:pt x="34654" y="146268"/>
                          </a:lnTo>
                          <a:lnTo>
                            <a:pt x="36455" y="144468"/>
                          </a:lnTo>
                          <a:lnTo>
                            <a:pt x="39605" y="142218"/>
                          </a:lnTo>
                          <a:lnTo>
                            <a:pt x="41405" y="139068"/>
                          </a:lnTo>
                          <a:lnTo>
                            <a:pt x="40955" y="137717"/>
                          </a:lnTo>
                          <a:lnTo>
                            <a:pt x="39605" y="136367"/>
                          </a:lnTo>
                          <a:lnTo>
                            <a:pt x="39155" y="135017"/>
                          </a:lnTo>
                          <a:lnTo>
                            <a:pt x="41405" y="131417"/>
                          </a:lnTo>
                          <a:lnTo>
                            <a:pt x="41855" y="130516"/>
                          </a:lnTo>
                          <a:lnTo>
                            <a:pt x="41405" y="127366"/>
                          </a:lnTo>
                          <a:lnTo>
                            <a:pt x="41855" y="126466"/>
                          </a:lnTo>
                          <a:lnTo>
                            <a:pt x="44556" y="126466"/>
                          </a:lnTo>
                          <a:lnTo>
                            <a:pt x="48606" y="130966"/>
                          </a:lnTo>
                          <a:lnTo>
                            <a:pt x="49506" y="130516"/>
                          </a:lnTo>
                          <a:lnTo>
                            <a:pt x="48156" y="129166"/>
                          </a:lnTo>
                          <a:lnTo>
                            <a:pt x="46356" y="126016"/>
                          </a:lnTo>
                          <a:lnTo>
                            <a:pt x="46806" y="124666"/>
                          </a:lnTo>
                          <a:lnTo>
                            <a:pt x="49956" y="121065"/>
                          </a:lnTo>
                          <a:lnTo>
                            <a:pt x="49956" y="119715"/>
                          </a:lnTo>
                          <a:lnTo>
                            <a:pt x="49056" y="117465"/>
                          </a:lnTo>
                          <a:lnTo>
                            <a:pt x="49056" y="115665"/>
                          </a:lnTo>
                          <a:lnTo>
                            <a:pt x="50856" y="111614"/>
                          </a:lnTo>
                          <a:lnTo>
                            <a:pt x="50406" y="110714"/>
                          </a:lnTo>
                          <a:lnTo>
                            <a:pt x="45456" y="109814"/>
                          </a:lnTo>
                          <a:lnTo>
                            <a:pt x="44556" y="108464"/>
                          </a:lnTo>
                          <a:lnTo>
                            <a:pt x="45006" y="108014"/>
                          </a:lnTo>
                          <a:lnTo>
                            <a:pt x="47256" y="106663"/>
                          </a:lnTo>
                          <a:lnTo>
                            <a:pt x="47256" y="106213"/>
                          </a:lnTo>
                          <a:lnTo>
                            <a:pt x="43205" y="96762"/>
                          </a:lnTo>
                          <a:lnTo>
                            <a:pt x="42305" y="94062"/>
                          </a:lnTo>
                          <a:lnTo>
                            <a:pt x="44105" y="90461"/>
                          </a:lnTo>
                          <a:lnTo>
                            <a:pt x="45906" y="89111"/>
                          </a:lnTo>
                          <a:lnTo>
                            <a:pt x="45456" y="88211"/>
                          </a:lnTo>
                          <a:lnTo>
                            <a:pt x="42755" y="88211"/>
                          </a:lnTo>
                          <a:lnTo>
                            <a:pt x="40955" y="87761"/>
                          </a:lnTo>
                          <a:lnTo>
                            <a:pt x="39155" y="85061"/>
                          </a:lnTo>
                          <a:lnTo>
                            <a:pt x="39605" y="83260"/>
                          </a:lnTo>
                          <a:lnTo>
                            <a:pt x="40055" y="82360"/>
                          </a:lnTo>
                          <a:lnTo>
                            <a:pt x="41405" y="78310"/>
                          </a:lnTo>
                          <a:lnTo>
                            <a:pt x="42755" y="77410"/>
                          </a:lnTo>
                          <a:lnTo>
                            <a:pt x="42305" y="76510"/>
                          </a:lnTo>
                          <a:lnTo>
                            <a:pt x="36455" y="78310"/>
                          </a:lnTo>
                          <a:lnTo>
                            <a:pt x="33754" y="76960"/>
                          </a:lnTo>
                          <a:lnTo>
                            <a:pt x="31054" y="77410"/>
                          </a:lnTo>
                          <a:lnTo>
                            <a:pt x="29704" y="76960"/>
                          </a:lnTo>
                          <a:lnTo>
                            <a:pt x="30154" y="75610"/>
                          </a:lnTo>
                          <a:lnTo>
                            <a:pt x="35104" y="68859"/>
                          </a:lnTo>
                          <a:lnTo>
                            <a:pt x="37355" y="65258"/>
                          </a:lnTo>
                          <a:lnTo>
                            <a:pt x="38705" y="62108"/>
                          </a:lnTo>
                          <a:lnTo>
                            <a:pt x="39605" y="59858"/>
                          </a:lnTo>
                          <a:lnTo>
                            <a:pt x="39605" y="58957"/>
                          </a:lnTo>
                          <a:lnTo>
                            <a:pt x="39155" y="51756"/>
                          </a:lnTo>
                          <a:lnTo>
                            <a:pt x="39605" y="49956"/>
                          </a:lnTo>
                          <a:lnTo>
                            <a:pt x="41405" y="48156"/>
                          </a:lnTo>
                          <a:lnTo>
                            <a:pt x="44105" y="44556"/>
                          </a:lnTo>
                          <a:lnTo>
                            <a:pt x="40055" y="41405"/>
                          </a:lnTo>
                          <a:lnTo>
                            <a:pt x="40505" y="39155"/>
                          </a:lnTo>
                          <a:lnTo>
                            <a:pt x="38705" y="37805"/>
                          </a:lnTo>
                          <a:lnTo>
                            <a:pt x="37355" y="36455"/>
                          </a:lnTo>
                          <a:lnTo>
                            <a:pt x="36005" y="33304"/>
                          </a:lnTo>
                          <a:lnTo>
                            <a:pt x="34654" y="29254"/>
                          </a:lnTo>
                          <a:lnTo>
                            <a:pt x="33304" y="21153"/>
                          </a:lnTo>
                          <a:lnTo>
                            <a:pt x="33304" y="16652"/>
                          </a:lnTo>
                          <a:lnTo>
                            <a:pt x="33754" y="13502"/>
                          </a:lnTo>
                          <a:lnTo>
                            <a:pt x="34204" y="11701"/>
                          </a:lnTo>
                          <a:lnTo>
                            <a:pt x="35104" y="9901"/>
                          </a:lnTo>
                          <a:lnTo>
                            <a:pt x="38705" y="6751"/>
                          </a:lnTo>
                          <a:lnTo>
                            <a:pt x="45006" y="1800"/>
                          </a:lnTo>
                          <a:lnTo>
                            <a:pt x="49956" y="0"/>
                          </a:lnTo>
                          <a:lnTo>
                            <a:pt x="53557" y="900"/>
                          </a:lnTo>
                          <a:lnTo>
                            <a:pt x="60308" y="2250"/>
                          </a:lnTo>
                          <a:lnTo>
                            <a:pt x="65708" y="4951"/>
                          </a:lnTo>
                          <a:lnTo>
                            <a:pt x="82810" y="11701"/>
                          </a:lnTo>
                          <a:lnTo>
                            <a:pt x="85961" y="14852"/>
                          </a:lnTo>
                          <a:lnTo>
                            <a:pt x="83260" y="17552"/>
                          </a:lnTo>
                          <a:lnTo>
                            <a:pt x="83710" y="18002"/>
                          </a:lnTo>
                          <a:lnTo>
                            <a:pt x="90011" y="13052"/>
                          </a:lnTo>
                          <a:lnTo>
                            <a:pt x="91811" y="12152"/>
                          </a:lnTo>
                          <a:lnTo>
                            <a:pt x="93162" y="11701"/>
                          </a:lnTo>
                          <a:lnTo>
                            <a:pt x="98112" y="13502"/>
                          </a:lnTo>
                          <a:lnTo>
                            <a:pt x="99913" y="13952"/>
                          </a:lnTo>
                          <a:lnTo>
                            <a:pt x="102163" y="15302"/>
                          </a:lnTo>
                          <a:lnTo>
                            <a:pt x="108014" y="20703"/>
                          </a:lnTo>
                          <a:lnTo>
                            <a:pt x="108464" y="20253"/>
                          </a:lnTo>
                          <a:lnTo>
                            <a:pt x="106663" y="17552"/>
                          </a:lnTo>
                          <a:lnTo>
                            <a:pt x="107563" y="16202"/>
                          </a:lnTo>
                          <a:lnTo>
                            <a:pt x="112064" y="13502"/>
                          </a:lnTo>
                          <a:lnTo>
                            <a:pt x="117015" y="11251"/>
                          </a:lnTo>
                          <a:lnTo>
                            <a:pt x="120165" y="9001"/>
                          </a:lnTo>
                          <a:lnTo>
                            <a:pt x="123765" y="5851"/>
                          </a:lnTo>
                          <a:lnTo>
                            <a:pt x="126016" y="4051"/>
                          </a:lnTo>
                          <a:lnTo>
                            <a:pt x="127366" y="4051"/>
                          </a:lnTo>
                          <a:lnTo>
                            <a:pt x="129166" y="4951"/>
                          </a:lnTo>
                          <a:lnTo>
                            <a:pt x="133667" y="9001"/>
                          </a:lnTo>
                          <a:lnTo>
                            <a:pt x="136367" y="10801"/>
                          </a:lnTo>
                          <a:lnTo>
                            <a:pt x="138617" y="13052"/>
                          </a:lnTo>
                          <a:lnTo>
                            <a:pt x="141768" y="16652"/>
                          </a:lnTo>
                          <a:lnTo>
                            <a:pt x="143118" y="17552"/>
                          </a:lnTo>
                          <a:lnTo>
                            <a:pt x="145368" y="20253"/>
                          </a:lnTo>
                          <a:lnTo>
                            <a:pt x="148519" y="19803"/>
                          </a:lnTo>
                          <a:lnTo>
                            <a:pt x="149419" y="20253"/>
                          </a:lnTo>
                          <a:lnTo>
                            <a:pt x="149869" y="20703"/>
                          </a:lnTo>
                          <a:lnTo>
                            <a:pt x="150319" y="22503"/>
                          </a:lnTo>
                          <a:lnTo>
                            <a:pt x="150769" y="23403"/>
                          </a:lnTo>
                          <a:lnTo>
                            <a:pt x="150769" y="24753"/>
                          </a:lnTo>
                          <a:lnTo>
                            <a:pt x="149869" y="27904"/>
                          </a:lnTo>
                          <a:lnTo>
                            <a:pt x="147618" y="32854"/>
                          </a:lnTo>
                          <a:lnTo>
                            <a:pt x="148519" y="32854"/>
                          </a:lnTo>
                          <a:lnTo>
                            <a:pt x="149869" y="31954"/>
                          </a:lnTo>
                          <a:lnTo>
                            <a:pt x="151669" y="30154"/>
                          </a:lnTo>
                          <a:lnTo>
                            <a:pt x="153019" y="29254"/>
                          </a:lnTo>
                          <a:lnTo>
                            <a:pt x="156170" y="30604"/>
                          </a:lnTo>
                          <a:lnTo>
                            <a:pt x="158870" y="33304"/>
                          </a:lnTo>
                          <a:lnTo>
                            <a:pt x="159770" y="34654"/>
                          </a:lnTo>
                          <a:lnTo>
                            <a:pt x="160670" y="36905"/>
                          </a:lnTo>
                          <a:lnTo>
                            <a:pt x="161570" y="37805"/>
                          </a:lnTo>
                          <a:lnTo>
                            <a:pt x="162470" y="40055"/>
                          </a:lnTo>
                          <a:lnTo>
                            <a:pt x="162470" y="40955"/>
                          </a:lnTo>
                          <a:lnTo>
                            <a:pt x="161570" y="41855"/>
                          </a:lnTo>
                          <a:lnTo>
                            <a:pt x="157970" y="43656"/>
                          </a:lnTo>
                          <a:lnTo>
                            <a:pt x="158420" y="44106"/>
                          </a:lnTo>
                          <a:lnTo>
                            <a:pt x="162470" y="43205"/>
                          </a:lnTo>
                          <a:lnTo>
                            <a:pt x="163820" y="42305"/>
                          </a:lnTo>
                          <a:lnTo>
                            <a:pt x="164721" y="40505"/>
                          </a:lnTo>
                          <a:lnTo>
                            <a:pt x="166071" y="40055"/>
                          </a:lnTo>
                          <a:lnTo>
                            <a:pt x="171021" y="43205"/>
                          </a:lnTo>
                          <a:lnTo>
                            <a:pt x="171922" y="44106"/>
                          </a:lnTo>
                          <a:lnTo>
                            <a:pt x="171471" y="45006"/>
                          </a:lnTo>
                          <a:lnTo>
                            <a:pt x="170571" y="45906"/>
                          </a:lnTo>
                          <a:lnTo>
                            <a:pt x="168321" y="46806"/>
                          </a:lnTo>
                          <a:lnTo>
                            <a:pt x="166521" y="49506"/>
                          </a:lnTo>
                          <a:lnTo>
                            <a:pt x="166071" y="50856"/>
                          </a:lnTo>
                          <a:lnTo>
                            <a:pt x="167421" y="51756"/>
                          </a:lnTo>
                          <a:lnTo>
                            <a:pt x="170571" y="52207"/>
                          </a:lnTo>
                          <a:lnTo>
                            <a:pt x="170571" y="52657"/>
                          </a:lnTo>
                          <a:lnTo>
                            <a:pt x="168771" y="54007"/>
                          </a:lnTo>
                          <a:lnTo>
                            <a:pt x="168321" y="55357"/>
                          </a:lnTo>
                          <a:lnTo>
                            <a:pt x="172371" y="60758"/>
                          </a:lnTo>
                          <a:lnTo>
                            <a:pt x="175072" y="63008"/>
                          </a:lnTo>
                          <a:lnTo>
                            <a:pt x="176872" y="63458"/>
                          </a:lnTo>
                          <a:lnTo>
                            <a:pt x="180473" y="63458"/>
                          </a:lnTo>
                          <a:lnTo>
                            <a:pt x="183623" y="64358"/>
                          </a:lnTo>
                          <a:lnTo>
                            <a:pt x="190374" y="67508"/>
                          </a:lnTo>
                          <a:lnTo>
                            <a:pt x="194424" y="67959"/>
                          </a:lnTo>
                          <a:lnTo>
                            <a:pt x="197575" y="67059"/>
                          </a:lnTo>
                          <a:lnTo>
                            <a:pt x="199825" y="67059"/>
                          </a:lnTo>
                          <a:lnTo>
                            <a:pt x="201625" y="68409"/>
                          </a:lnTo>
                          <a:lnTo>
                            <a:pt x="202075" y="69309"/>
                          </a:lnTo>
                          <a:lnTo>
                            <a:pt x="202525" y="71109"/>
                          </a:lnTo>
                          <a:lnTo>
                            <a:pt x="202525" y="73809"/>
                          </a:lnTo>
                          <a:lnTo>
                            <a:pt x="203425" y="75610"/>
                          </a:lnTo>
                          <a:lnTo>
                            <a:pt x="205676" y="76510"/>
                          </a:lnTo>
                          <a:lnTo>
                            <a:pt x="207476" y="76510"/>
                          </a:lnTo>
                          <a:lnTo>
                            <a:pt x="209726" y="74259"/>
                          </a:lnTo>
                          <a:lnTo>
                            <a:pt x="211526" y="73809"/>
                          </a:lnTo>
                          <a:lnTo>
                            <a:pt x="211977" y="72459"/>
                          </a:lnTo>
                          <a:lnTo>
                            <a:pt x="212427" y="69759"/>
                          </a:lnTo>
                          <a:lnTo>
                            <a:pt x="212877" y="68409"/>
                          </a:lnTo>
                          <a:lnTo>
                            <a:pt x="214227" y="67959"/>
                          </a:lnTo>
                          <a:lnTo>
                            <a:pt x="215577" y="68859"/>
                          </a:lnTo>
                          <a:lnTo>
                            <a:pt x="216027" y="70209"/>
                          </a:lnTo>
                          <a:lnTo>
                            <a:pt x="217377" y="74259"/>
                          </a:lnTo>
                          <a:lnTo>
                            <a:pt x="217827" y="76060"/>
                          </a:lnTo>
                          <a:lnTo>
                            <a:pt x="217827" y="77410"/>
                          </a:lnTo>
                          <a:lnTo>
                            <a:pt x="217377" y="78760"/>
                          </a:lnTo>
                          <a:lnTo>
                            <a:pt x="216027" y="80110"/>
                          </a:lnTo>
                          <a:lnTo>
                            <a:pt x="214227" y="81910"/>
                          </a:lnTo>
                          <a:lnTo>
                            <a:pt x="212877" y="84161"/>
                          </a:lnTo>
                          <a:lnTo>
                            <a:pt x="211076" y="89561"/>
                          </a:lnTo>
                          <a:lnTo>
                            <a:pt x="210626" y="93162"/>
                          </a:lnTo>
                          <a:lnTo>
                            <a:pt x="210626" y="95412"/>
                          </a:lnTo>
                          <a:lnTo>
                            <a:pt x="210626" y="97662"/>
                          </a:lnTo>
                          <a:lnTo>
                            <a:pt x="211076" y="99913"/>
                          </a:lnTo>
                          <a:lnTo>
                            <a:pt x="211977" y="101713"/>
                          </a:lnTo>
                          <a:lnTo>
                            <a:pt x="213777" y="104413"/>
                          </a:lnTo>
                          <a:lnTo>
                            <a:pt x="213777" y="105313"/>
                          </a:lnTo>
                          <a:lnTo>
                            <a:pt x="213777" y="107564"/>
                          </a:lnTo>
                          <a:lnTo>
                            <a:pt x="213777" y="108464"/>
                          </a:lnTo>
                          <a:lnTo>
                            <a:pt x="212877" y="110264"/>
                          </a:lnTo>
                          <a:lnTo>
                            <a:pt x="210176" y="112064"/>
                          </a:lnTo>
                          <a:lnTo>
                            <a:pt x="206576" y="112514"/>
                          </a:lnTo>
                          <a:lnTo>
                            <a:pt x="194874" y="112514"/>
                          </a:lnTo>
                          <a:lnTo>
                            <a:pt x="191724" y="112064"/>
                          </a:lnTo>
                          <a:lnTo>
                            <a:pt x="192624" y="113864"/>
                          </a:lnTo>
                          <a:lnTo>
                            <a:pt x="195774" y="114314"/>
                          </a:lnTo>
                          <a:lnTo>
                            <a:pt x="198925" y="114314"/>
                          </a:lnTo>
                          <a:lnTo>
                            <a:pt x="210176" y="115214"/>
                          </a:lnTo>
                          <a:lnTo>
                            <a:pt x="211526" y="116565"/>
                          </a:lnTo>
                          <a:lnTo>
                            <a:pt x="212877" y="118365"/>
                          </a:lnTo>
                          <a:lnTo>
                            <a:pt x="213777" y="120615"/>
                          </a:lnTo>
                          <a:lnTo>
                            <a:pt x="214677" y="124666"/>
                          </a:lnTo>
                          <a:lnTo>
                            <a:pt x="214677" y="126466"/>
                          </a:lnTo>
                          <a:lnTo>
                            <a:pt x="214227" y="128716"/>
                          </a:lnTo>
                          <a:lnTo>
                            <a:pt x="212877" y="130966"/>
                          </a:lnTo>
                          <a:lnTo>
                            <a:pt x="211977" y="134117"/>
                          </a:lnTo>
                          <a:lnTo>
                            <a:pt x="211526" y="138167"/>
                          </a:lnTo>
                          <a:lnTo>
                            <a:pt x="211977" y="140418"/>
                          </a:lnTo>
                          <a:lnTo>
                            <a:pt x="217827" y="140418"/>
                          </a:lnTo>
                          <a:lnTo>
                            <a:pt x="219177" y="141768"/>
                          </a:lnTo>
                          <a:lnTo>
                            <a:pt x="219177" y="142668"/>
                          </a:lnTo>
                          <a:lnTo>
                            <a:pt x="216927" y="146718"/>
                          </a:lnTo>
                          <a:lnTo>
                            <a:pt x="216927" y="148069"/>
                          </a:lnTo>
                          <a:lnTo>
                            <a:pt x="217827" y="150769"/>
                          </a:lnTo>
                          <a:lnTo>
                            <a:pt x="217827" y="151669"/>
                          </a:lnTo>
                          <a:lnTo>
                            <a:pt x="217377" y="152569"/>
                          </a:lnTo>
                          <a:lnTo>
                            <a:pt x="216927" y="154819"/>
                          </a:lnTo>
                          <a:lnTo>
                            <a:pt x="216477" y="157970"/>
                          </a:lnTo>
                          <a:lnTo>
                            <a:pt x="216027" y="160220"/>
                          </a:lnTo>
                          <a:lnTo>
                            <a:pt x="214227" y="162020"/>
                          </a:lnTo>
                          <a:lnTo>
                            <a:pt x="213327" y="162470"/>
                          </a:lnTo>
                          <a:lnTo>
                            <a:pt x="212877" y="162020"/>
                          </a:lnTo>
                          <a:lnTo>
                            <a:pt x="211076" y="157520"/>
                          </a:lnTo>
                          <a:lnTo>
                            <a:pt x="210626" y="157070"/>
                          </a:lnTo>
                          <a:lnTo>
                            <a:pt x="210176" y="157520"/>
                          </a:lnTo>
                          <a:lnTo>
                            <a:pt x="209726" y="158420"/>
                          </a:lnTo>
                          <a:lnTo>
                            <a:pt x="209726" y="159320"/>
                          </a:lnTo>
                          <a:lnTo>
                            <a:pt x="209276" y="160220"/>
                          </a:lnTo>
                          <a:lnTo>
                            <a:pt x="208826" y="161120"/>
                          </a:lnTo>
                          <a:lnTo>
                            <a:pt x="206576" y="162920"/>
                          </a:lnTo>
                          <a:lnTo>
                            <a:pt x="202525" y="163821"/>
                          </a:lnTo>
                          <a:lnTo>
                            <a:pt x="202525" y="165171"/>
                          </a:lnTo>
                          <a:lnTo>
                            <a:pt x="205226" y="165621"/>
                          </a:lnTo>
                          <a:lnTo>
                            <a:pt x="208376" y="167421"/>
                          </a:lnTo>
                          <a:lnTo>
                            <a:pt x="210176" y="167871"/>
                          </a:lnTo>
                          <a:lnTo>
                            <a:pt x="213327" y="166071"/>
                          </a:lnTo>
                          <a:lnTo>
                            <a:pt x="219177" y="161120"/>
                          </a:lnTo>
                          <a:lnTo>
                            <a:pt x="221428" y="159770"/>
                          </a:lnTo>
                          <a:lnTo>
                            <a:pt x="223678" y="159320"/>
                          </a:lnTo>
                          <a:lnTo>
                            <a:pt x="225928" y="159320"/>
                          </a:lnTo>
                          <a:lnTo>
                            <a:pt x="228629" y="159770"/>
                          </a:lnTo>
                          <a:lnTo>
                            <a:pt x="233579" y="159320"/>
                          </a:lnTo>
                          <a:lnTo>
                            <a:pt x="234929" y="159770"/>
                          </a:lnTo>
                          <a:lnTo>
                            <a:pt x="236730" y="160670"/>
                          </a:lnTo>
                          <a:lnTo>
                            <a:pt x="238530" y="162470"/>
                          </a:lnTo>
                          <a:lnTo>
                            <a:pt x="239880" y="164271"/>
                          </a:lnTo>
                          <a:lnTo>
                            <a:pt x="240780" y="166071"/>
                          </a:lnTo>
                          <a:lnTo>
                            <a:pt x="242130" y="171922"/>
                          </a:lnTo>
                          <a:lnTo>
                            <a:pt x="243480" y="173722"/>
                          </a:lnTo>
                          <a:lnTo>
                            <a:pt x="243931" y="175072"/>
                          </a:lnTo>
                          <a:lnTo>
                            <a:pt x="243931" y="176872"/>
                          </a:lnTo>
                          <a:lnTo>
                            <a:pt x="243931" y="180473"/>
                          </a:lnTo>
                          <a:lnTo>
                            <a:pt x="242130" y="187223"/>
                          </a:lnTo>
                          <a:lnTo>
                            <a:pt x="241230" y="189924"/>
                          </a:lnTo>
                          <a:lnTo>
                            <a:pt x="238530" y="192174"/>
                          </a:lnTo>
                          <a:lnTo>
                            <a:pt x="235829" y="193974"/>
                          </a:lnTo>
                          <a:lnTo>
                            <a:pt x="230879" y="195325"/>
                          </a:lnTo>
                          <a:lnTo>
                            <a:pt x="228179" y="196675"/>
                          </a:lnTo>
                          <a:lnTo>
                            <a:pt x="226378" y="198475"/>
                          </a:lnTo>
                          <a:lnTo>
                            <a:pt x="226378" y="199375"/>
                          </a:lnTo>
                          <a:lnTo>
                            <a:pt x="231779" y="196225"/>
                          </a:lnTo>
                          <a:lnTo>
                            <a:pt x="237630" y="194874"/>
                          </a:lnTo>
                          <a:lnTo>
                            <a:pt x="239430" y="193074"/>
                          </a:lnTo>
                          <a:lnTo>
                            <a:pt x="240780" y="191724"/>
                          </a:lnTo>
                          <a:lnTo>
                            <a:pt x="242130" y="188124"/>
                          </a:lnTo>
                          <a:lnTo>
                            <a:pt x="244380" y="179123"/>
                          </a:lnTo>
                          <a:lnTo>
                            <a:pt x="245731" y="176422"/>
                          </a:lnTo>
                          <a:lnTo>
                            <a:pt x="247531" y="175972"/>
                          </a:lnTo>
                          <a:lnTo>
                            <a:pt x="248431" y="176872"/>
                          </a:lnTo>
                          <a:lnTo>
                            <a:pt x="250231" y="182273"/>
                          </a:lnTo>
                          <a:lnTo>
                            <a:pt x="250231" y="183623"/>
                          </a:lnTo>
                          <a:lnTo>
                            <a:pt x="249781" y="184973"/>
                          </a:lnTo>
                          <a:lnTo>
                            <a:pt x="246631" y="189924"/>
                          </a:lnTo>
                          <a:lnTo>
                            <a:pt x="247981" y="189474"/>
                          </a:lnTo>
                          <a:lnTo>
                            <a:pt x="251131" y="184523"/>
                          </a:lnTo>
                          <a:lnTo>
                            <a:pt x="252032" y="183173"/>
                          </a:lnTo>
                          <a:lnTo>
                            <a:pt x="252482" y="180923"/>
                          </a:lnTo>
                          <a:lnTo>
                            <a:pt x="253382" y="179123"/>
                          </a:lnTo>
                          <a:lnTo>
                            <a:pt x="253832" y="180023"/>
                          </a:lnTo>
                          <a:lnTo>
                            <a:pt x="254732" y="185873"/>
                          </a:lnTo>
                          <a:lnTo>
                            <a:pt x="254732" y="189924"/>
                          </a:lnTo>
                          <a:lnTo>
                            <a:pt x="254732" y="191274"/>
                          </a:lnTo>
                          <a:lnTo>
                            <a:pt x="254282" y="195325"/>
                          </a:lnTo>
                          <a:lnTo>
                            <a:pt x="254732" y="196225"/>
                          </a:lnTo>
                          <a:lnTo>
                            <a:pt x="255632" y="192624"/>
                          </a:lnTo>
                          <a:lnTo>
                            <a:pt x="256082" y="189924"/>
                          </a:lnTo>
                          <a:lnTo>
                            <a:pt x="256532" y="188124"/>
                          </a:lnTo>
                          <a:lnTo>
                            <a:pt x="256982" y="187223"/>
                          </a:lnTo>
                          <a:lnTo>
                            <a:pt x="261033" y="183623"/>
                          </a:lnTo>
                          <a:lnTo>
                            <a:pt x="265533" y="180923"/>
                          </a:lnTo>
                          <a:lnTo>
                            <a:pt x="268684" y="178222"/>
                          </a:lnTo>
                          <a:lnTo>
                            <a:pt x="271384" y="176872"/>
                          </a:lnTo>
                          <a:lnTo>
                            <a:pt x="274984" y="175522"/>
                          </a:lnTo>
                          <a:lnTo>
                            <a:pt x="277235" y="173272"/>
                          </a:lnTo>
                          <a:lnTo>
                            <a:pt x="278135" y="169671"/>
                          </a:lnTo>
                          <a:lnTo>
                            <a:pt x="279035" y="167421"/>
                          </a:lnTo>
                          <a:lnTo>
                            <a:pt x="279935" y="166071"/>
                          </a:lnTo>
                          <a:lnTo>
                            <a:pt x="282635" y="163821"/>
                          </a:lnTo>
                          <a:lnTo>
                            <a:pt x="283985" y="163821"/>
                          </a:lnTo>
                          <a:lnTo>
                            <a:pt x="285336" y="164721"/>
                          </a:lnTo>
                          <a:lnTo>
                            <a:pt x="286686" y="166521"/>
                          </a:lnTo>
                          <a:lnTo>
                            <a:pt x="288486" y="169221"/>
                          </a:lnTo>
                          <a:lnTo>
                            <a:pt x="289386" y="171471"/>
                          </a:lnTo>
                          <a:lnTo>
                            <a:pt x="289836" y="173272"/>
                          </a:lnTo>
                          <a:lnTo>
                            <a:pt x="290286" y="178672"/>
                          </a:lnTo>
                          <a:lnTo>
                            <a:pt x="290736" y="178672"/>
                          </a:lnTo>
                          <a:lnTo>
                            <a:pt x="292087" y="174622"/>
                          </a:lnTo>
                          <a:lnTo>
                            <a:pt x="292087" y="173272"/>
                          </a:lnTo>
                          <a:lnTo>
                            <a:pt x="292087" y="171471"/>
                          </a:lnTo>
                          <a:lnTo>
                            <a:pt x="291636" y="169671"/>
                          </a:lnTo>
                          <a:lnTo>
                            <a:pt x="290286" y="166071"/>
                          </a:lnTo>
                          <a:lnTo>
                            <a:pt x="289836" y="163821"/>
                          </a:lnTo>
                          <a:lnTo>
                            <a:pt x="289836" y="162470"/>
                          </a:lnTo>
                          <a:lnTo>
                            <a:pt x="291636" y="161570"/>
                          </a:lnTo>
                          <a:lnTo>
                            <a:pt x="293887" y="161120"/>
                          </a:lnTo>
                          <a:lnTo>
                            <a:pt x="294337" y="160670"/>
                          </a:lnTo>
                          <a:lnTo>
                            <a:pt x="292537" y="159320"/>
                          </a:lnTo>
                          <a:lnTo>
                            <a:pt x="292537" y="158420"/>
                          </a:lnTo>
                          <a:lnTo>
                            <a:pt x="294337" y="155720"/>
                          </a:lnTo>
                          <a:lnTo>
                            <a:pt x="295237" y="155720"/>
                          </a:lnTo>
                          <a:lnTo>
                            <a:pt x="297037" y="156170"/>
                          </a:lnTo>
                          <a:lnTo>
                            <a:pt x="296587" y="154819"/>
                          </a:lnTo>
                          <a:lnTo>
                            <a:pt x="296587" y="153919"/>
                          </a:lnTo>
                          <a:lnTo>
                            <a:pt x="297037" y="153469"/>
                          </a:lnTo>
                          <a:lnTo>
                            <a:pt x="300188" y="154369"/>
                          </a:lnTo>
                          <a:lnTo>
                            <a:pt x="300638" y="153469"/>
                          </a:lnTo>
                          <a:lnTo>
                            <a:pt x="303338" y="153469"/>
                          </a:lnTo>
                          <a:lnTo>
                            <a:pt x="303788" y="152569"/>
                          </a:lnTo>
                          <a:lnTo>
                            <a:pt x="301538" y="151219"/>
                          </a:lnTo>
                          <a:lnTo>
                            <a:pt x="299287" y="150319"/>
                          </a:lnTo>
                          <a:lnTo>
                            <a:pt x="298387" y="149419"/>
                          </a:lnTo>
                          <a:lnTo>
                            <a:pt x="297937" y="148519"/>
                          </a:lnTo>
                          <a:lnTo>
                            <a:pt x="297037" y="145818"/>
                          </a:lnTo>
                          <a:lnTo>
                            <a:pt x="297037" y="145368"/>
                          </a:lnTo>
                          <a:lnTo>
                            <a:pt x="297487" y="145368"/>
                          </a:lnTo>
                          <a:lnTo>
                            <a:pt x="298837" y="146268"/>
                          </a:lnTo>
                          <a:lnTo>
                            <a:pt x="299287" y="144918"/>
                          </a:lnTo>
                          <a:lnTo>
                            <a:pt x="300188" y="141768"/>
                          </a:lnTo>
                          <a:lnTo>
                            <a:pt x="301088" y="140418"/>
                          </a:lnTo>
                          <a:lnTo>
                            <a:pt x="303338" y="141768"/>
                          </a:lnTo>
                          <a:lnTo>
                            <a:pt x="303338" y="141318"/>
                          </a:lnTo>
                          <a:lnTo>
                            <a:pt x="301538" y="136367"/>
                          </a:lnTo>
                          <a:lnTo>
                            <a:pt x="301988" y="135467"/>
                          </a:lnTo>
                          <a:lnTo>
                            <a:pt x="304688" y="135017"/>
                          </a:lnTo>
                          <a:lnTo>
                            <a:pt x="306488" y="135467"/>
                          </a:lnTo>
                          <a:lnTo>
                            <a:pt x="310539" y="139068"/>
                          </a:lnTo>
                          <a:lnTo>
                            <a:pt x="311439" y="138617"/>
                          </a:lnTo>
                          <a:lnTo>
                            <a:pt x="310989" y="137717"/>
                          </a:lnTo>
                          <a:lnTo>
                            <a:pt x="308738" y="135467"/>
                          </a:lnTo>
                          <a:lnTo>
                            <a:pt x="306938" y="134117"/>
                          </a:lnTo>
                          <a:lnTo>
                            <a:pt x="305138" y="133667"/>
                          </a:lnTo>
                          <a:lnTo>
                            <a:pt x="303788" y="132317"/>
                          </a:lnTo>
                          <a:lnTo>
                            <a:pt x="302438" y="129166"/>
                          </a:lnTo>
                          <a:lnTo>
                            <a:pt x="301988" y="127816"/>
                          </a:lnTo>
                          <a:lnTo>
                            <a:pt x="301988" y="126016"/>
                          </a:lnTo>
                          <a:lnTo>
                            <a:pt x="302888" y="122415"/>
                          </a:lnTo>
                          <a:lnTo>
                            <a:pt x="303338" y="121515"/>
                          </a:lnTo>
                          <a:lnTo>
                            <a:pt x="304238" y="121065"/>
                          </a:lnTo>
                          <a:lnTo>
                            <a:pt x="305588" y="120615"/>
                          </a:lnTo>
                          <a:lnTo>
                            <a:pt x="307388" y="121065"/>
                          </a:lnTo>
                          <a:lnTo>
                            <a:pt x="310539" y="123316"/>
                          </a:lnTo>
                          <a:lnTo>
                            <a:pt x="310989" y="122415"/>
                          </a:lnTo>
                          <a:lnTo>
                            <a:pt x="309189" y="121065"/>
                          </a:lnTo>
                          <a:lnTo>
                            <a:pt x="308289" y="119715"/>
                          </a:lnTo>
                          <a:lnTo>
                            <a:pt x="307839" y="118365"/>
                          </a:lnTo>
                          <a:lnTo>
                            <a:pt x="307839" y="116565"/>
                          </a:lnTo>
                          <a:lnTo>
                            <a:pt x="309189" y="112964"/>
                          </a:lnTo>
                          <a:lnTo>
                            <a:pt x="309639" y="110264"/>
                          </a:lnTo>
                          <a:lnTo>
                            <a:pt x="312789" y="102163"/>
                          </a:lnTo>
                          <a:lnTo>
                            <a:pt x="313689" y="100813"/>
                          </a:lnTo>
                          <a:lnTo>
                            <a:pt x="314589" y="99913"/>
                          </a:lnTo>
                          <a:lnTo>
                            <a:pt x="315039" y="99012"/>
                          </a:lnTo>
                          <a:lnTo>
                            <a:pt x="317290" y="99012"/>
                          </a:lnTo>
                          <a:lnTo>
                            <a:pt x="319990" y="99913"/>
                          </a:lnTo>
                          <a:close/>
                          <a:moveTo>
                            <a:pt x="379848" y="513514"/>
                          </a:moveTo>
                          <a:lnTo>
                            <a:pt x="370846" y="513964"/>
                          </a:lnTo>
                          <a:lnTo>
                            <a:pt x="363645" y="512164"/>
                          </a:lnTo>
                          <a:lnTo>
                            <a:pt x="358245" y="511264"/>
                          </a:lnTo>
                          <a:lnTo>
                            <a:pt x="353294" y="509464"/>
                          </a:lnTo>
                          <a:lnTo>
                            <a:pt x="342043" y="503613"/>
                          </a:lnTo>
                          <a:lnTo>
                            <a:pt x="340693" y="501813"/>
                          </a:lnTo>
                          <a:lnTo>
                            <a:pt x="339792" y="499563"/>
                          </a:lnTo>
                          <a:lnTo>
                            <a:pt x="337542" y="497312"/>
                          </a:lnTo>
                          <a:lnTo>
                            <a:pt x="335292" y="495512"/>
                          </a:lnTo>
                          <a:lnTo>
                            <a:pt x="323591" y="490111"/>
                          </a:lnTo>
                          <a:lnTo>
                            <a:pt x="322690" y="488311"/>
                          </a:lnTo>
                          <a:lnTo>
                            <a:pt x="324941" y="486961"/>
                          </a:lnTo>
                          <a:lnTo>
                            <a:pt x="327641" y="486511"/>
                          </a:lnTo>
                          <a:lnTo>
                            <a:pt x="329891" y="486511"/>
                          </a:lnTo>
                          <a:lnTo>
                            <a:pt x="337992" y="488761"/>
                          </a:lnTo>
                          <a:lnTo>
                            <a:pt x="347893" y="490561"/>
                          </a:lnTo>
                          <a:lnTo>
                            <a:pt x="352394" y="491912"/>
                          </a:lnTo>
                          <a:lnTo>
                            <a:pt x="357345" y="494162"/>
                          </a:lnTo>
                          <a:lnTo>
                            <a:pt x="362295" y="496862"/>
                          </a:lnTo>
                          <a:lnTo>
                            <a:pt x="373097" y="504063"/>
                          </a:lnTo>
                          <a:lnTo>
                            <a:pt x="374897" y="504513"/>
                          </a:lnTo>
                          <a:lnTo>
                            <a:pt x="379848" y="508114"/>
                          </a:lnTo>
                          <a:lnTo>
                            <a:pt x="381648" y="510814"/>
                          </a:lnTo>
                          <a:lnTo>
                            <a:pt x="382548" y="513064"/>
                          </a:lnTo>
                          <a:lnTo>
                            <a:pt x="381648" y="513964"/>
                          </a:lnTo>
                          <a:lnTo>
                            <a:pt x="379848" y="513514"/>
                          </a:lnTo>
                          <a:close/>
                          <a:moveTo>
                            <a:pt x="275884" y="547719"/>
                          </a:moveTo>
                          <a:lnTo>
                            <a:pt x="272734" y="548619"/>
                          </a:lnTo>
                          <a:lnTo>
                            <a:pt x="270934" y="549519"/>
                          </a:lnTo>
                          <a:lnTo>
                            <a:pt x="270484" y="551319"/>
                          </a:lnTo>
                          <a:lnTo>
                            <a:pt x="268234" y="550869"/>
                          </a:lnTo>
                          <a:lnTo>
                            <a:pt x="265533" y="551769"/>
                          </a:lnTo>
                          <a:lnTo>
                            <a:pt x="262833" y="551769"/>
                          </a:lnTo>
                          <a:lnTo>
                            <a:pt x="261483" y="552669"/>
                          </a:lnTo>
                          <a:lnTo>
                            <a:pt x="256982" y="549969"/>
                          </a:lnTo>
                          <a:lnTo>
                            <a:pt x="256532" y="549069"/>
                          </a:lnTo>
                          <a:lnTo>
                            <a:pt x="256532" y="548169"/>
                          </a:lnTo>
                          <a:lnTo>
                            <a:pt x="253832" y="548169"/>
                          </a:lnTo>
                          <a:lnTo>
                            <a:pt x="250231" y="548169"/>
                          </a:lnTo>
                          <a:lnTo>
                            <a:pt x="247981" y="548169"/>
                          </a:lnTo>
                          <a:lnTo>
                            <a:pt x="246181" y="548169"/>
                          </a:lnTo>
                          <a:lnTo>
                            <a:pt x="246181" y="550419"/>
                          </a:lnTo>
                          <a:lnTo>
                            <a:pt x="243030" y="550419"/>
                          </a:lnTo>
                          <a:lnTo>
                            <a:pt x="240330" y="550419"/>
                          </a:lnTo>
                          <a:lnTo>
                            <a:pt x="240330" y="553119"/>
                          </a:lnTo>
                          <a:lnTo>
                            <a:pt x="240330" y="555370"/>
                          </a:lnTo>
                          <a:lnTo>
                            <a:pt x="240330" y="557620"/>
                          </a:lnTo>
                          <a:lnTo>
                            <a:pt x="240330" y="560770"/>
                          </a:lnTo>
                          <a:lnTo>
                            <a:pt x="239880" y="561670"/>
                          </a:lnTo>
                          <a:lnTo>
                            <a:pt x="238980" y="562570"/>
                          </a:lnTo>
                          <a:lnTo>
                            <a:pt x="237630" y="563921"/>
                          </a:lnTo>
                          <a:lnTo>
                            <a:pt x="234929" y="565721"/>
                          </a:lnTo>
                          <a:lnTo>
                            <a:pt x="225928" y="569771"/>
                          </a:lnTo>
                          <a:lnTo>
                            <a:pt x="225478" y="568421"/>
                          </a:lnTo>
                          <a:lnTo>
                            <a:pt x="225928" y="565721"/>
                          </a:lnTo>
                          <a:lnTo>
                            <a:pt x="223678" y="565271"/>
                          </a:lnTo>
                          <a:lnTo>
                            <a:pt x="221428" y="564821"/>
                          </a:lnTo>
                          <a:lnTo>
                            <a:pt x="220077" y="566621"/>
                          </a:lnTo>
                          <a:lnTo>
                            <a:pt x="218727" y="568421"/>
                          </a:lnTo>
                          <a:lnTo>
                            <a:pt x="216477" y="572022"/>
                          </a:lnTo>
                          <a:lnTo>
                            <a:pt x="213327" y="576972"/>
                          </a:lnTo>
                          <a:lnTo>
                            <a:pt x="211526" y="579673"/>
                          </a:lnTo>
                          <a:lnTo>
                            <a:pt x="208376" y="584173"/>
                          </a:lnTo>
                          <a:lnTo>
                            <a:pt x="205676" y="588224"/>
                          </a:lnTo>
                          <a:lnTo>
                            <a:pt x="205226" y="592274"/>
                          </a:lnTo>
                          <a:lnTo>
                            <a:pt x="204776" y="596325"/>
                          </a:lnTo>
                          <a:lnTo>
                            <a:pt x="202525" y="599475"/>
                          </a:lnTo>
                          <a:lnTo>
                            <a:pt x="201175" y="602175"/>
                          </a:lnTo>
                          <a:lnTo>
                            <a:pt x="200725" y="605326"/>
                          </a:lnTo>
                          <a:lnTo>
                            <a:pt x="200275" y="608026"/>
                          </a:lnTo>
                          <a:lnTo>
                            <a:pt x="200275" y="610277"/>
                          </a:lnTo>
                          <a:lnTo>
                            <a:pt x="200725" y="611627"/>
                          </a:lnTo>
                          <a:lnTo>
                            <a:pt x="200725" y="612527"/>
                          </a:lnTo>
                          <a:lnTo>
                            <a:pt x="199825" y="613877"/>
                          </a:lnTo>
                          <a:lnTo>
                            <a:pt x="198025" y="615677"/>
                          </a:lnTo>
                          <a:lnTo>
                            <a:pt x="197575" y="617477"/>
                          </a:lnTo>
                          <a:lnTo>
                            <a:pt x="196675" y="618378"/>
                          </a:lnTo>
                          <a:lnTo>
                            <a:pt x="193974" y="620178"/>
                          </a:lnTo>
                          <a:lnTo>
                            <a:pt x="191724" y="622878"/>
                          </a:lnTo>
                          <a:lnTo>
                            <a:pt x="191724" y="624678"/>
                          </a:lnTo>
                          <a:lnTo>
                            <a:pt x="192174" y="626029"/>
                          </a:lnTo>
                          <a:lnTo>
                            <a:pt x="192174" y="626928"/>
                          </a:lnTo>
                          <a:lnTo>
                            <a:pt x="191724" y="627379"/>
                          </a:lnTo>
                          <a:lnTo>
                            <a:pt x="190824" y="627379"/>
                          </a:lnTo>
                          <a:lnTo>
                            <a:pt x="189924" y="627379"/>
                          </a:lnTo>
                          <a:lnTo>
                            <a:pt x="189024" y="628729"/>
                          </a:lnTo>
                          <a:lnTo>
                            <a:pt x="189024" y="630529"/>
                          </a:lnTo>
                          <a:lnTo>
                            <a:pt x="188574" y="631879"/>
                          </a:lnTo>
                          <a:lnTo>
                            <a:pt x="187674" y="632329"/>
                          </a:lnTo>
                          <a:lnTo>
                            <a:pt x="187223" y="631429"/>
                          </a:lnTo>
                          <a:lnTo>
                            <a:pt x="186323" y="630079"/>
                          </a:lnTo>
                          <a:lnTo>
                            <a:pt x="185423" y="630079"/>
                          </a:lnTo>
                          <a:lnTo>
                            <a:pt x="184073" y="630979"/>
                          </a:lnTo>
                          <a:lnTo>
                            <a:pt x="183623" y="631429"/>
                          </a:lnTo>
                          <a:lnTo>
                            <a:pt x="182723" y="632329"/>
                          </a:lnTo>
                          <a:lnTo>
                            <a:pt x="181373" y="632329"/>
                          </a:lnTo>
                          <a:lnTo>
                            <a:pt x="178672" y="631429"/>
                          </a:lnTo>
                          <a:lnTo>
                            <a:pt x="176872" y="634129"/>
                          </a:lnTo>
                          <a:lnTo>
                            <a:pt x="174622" y="639980"/>
                          </a:lnTo>
                          <a:lnTo>
                            <a:pt x="165621" y="639980"/>
                          </a:lnTo>
                          <a:lnTo>
                            <a:pt x="156620" y="639980"/>
                          </a:lnTo>
                          <a:lnTo>
                            <a:pt x="147618" y="639980"/>
                          </a:lnTo>
                          <a:lnTo>
                            <a:pt x="138617" y="639980"/>
                          </a:lnTo>
                          <a:lnTo>
                            <a:pt x="135017" y="639980"/>
                          </a:lnTo>
                          <a:lnTo>
                            <a:pt x="129616" y="639980"/>
                          </a:lnTo>
                          <a:lnTo>
                            <a:pt x="120615" y="639980"/>
                          </a:lnTo>
                          <a:lnTo>
                            <a:pt x="111614" y="639980"/>
                          </a:lnTo>
                          <a:lnTo>
                            <a:pt x="106663" y="639980"/>
                          </a:lnTo>
                          <a:lnTo>
                            <a:pt x="105763" y="639980"/>
                          </a:lnTo>
                          <a:lnTo>
                            <a:pt x="108914" y="638630"/>
                          </a:lnTo>
                          <a:lnTo>
                            <a:pt x="115214" y="634129"/>
                          </a:lnTo>
                          <a:lnTo>
                            <a:pt x="119715" y="632329"/>
                          </a:lnTo>
                          <a:lnTo>
                            <a:pt x="125566" y="627829"/>
                          </a:lnTo>
                          <a:lnTo>
                            <a:pt x="130066" y="626928"/>
                          </a:lnTo>
                          <a:lnTo>
                            <a:pt x="130966" y="626029"/>
                          </a:lnTo>
                          <a:lnTo>
                            <a:pt x="131866" y="621978"/>
                          </a:lnTo>
                          <a:lnTo>
                            <a:pt x="132317" y="620628"/>
                          </a:lnTo>
                          <a:lnTo>
                            <a:pt x="134567" y="617027"/>
                          </a:lnTo>
                          <a:lnTo>
                            <a:pt x="136817" y="613877"/>
                          </a:lnTo>
                          <a:lnTo>
                            <a:pt x="138617" y="609376"/>
                          </a:lnTo>
                          <a:lnTo>
                            <a:pt x="142218" y="606676"/>
                          </a:lnTo>
                          <a:lnTo>
                            <a:pt x="147618" y="604426"/>
                          </a:lnTo>
                          <a:lnTo>
                            <a:pt x="152569" y="599025"/>
                          </a:lnTo>
                          <a:lnTo>
                            <a:pt x="155269" y="597225"/>
                          </a:lnTo>
                          <a:lnTo>
                            <a:pt x="157970" y="595875"/>
                          </a:lnTo>
                          <a:lnTo>
                            <a:pt x="158870" y="593624"/>
                          </a:lnTo>
                          <a:lnTo>
                            <a:pt x="160670" y="592274"/>
                          </a:lnTo>
                          <a:lnTo>
                            <a:pt x="165171" y="589574"/>
                          </a:lnTo>
                          <a:lnTo>
                            <a:pt x="170121" y="589124"/>
                          </a:lnTo>
                          <a:lnTo>
                            <a:pt x="175072" y="586874"/>
                          </a:lnTo>
                          <a:lnTo>
                            <a:pt x="178672" y="585973"/>
                          </a:lnTo>
                          <a:lnTo>
                            <a:pt x="180923" y="584173"/>
                          </a:lnTo>
                          <a:lnTo>
                            <a:pt x="184073" y="583273"/>
                          </a:lnTo>
                          <a:lnTo>
                            <a:pt x="193974" y="577872"/>
                          </a:lnTo>
                          <a:lnTo>
                            <a:pt x="196675" y="575172"/>
                          </a:lnTo>
                          <a:lnTo>
                            <a:pt x="200275" y="569771"/>
                          </a:lnTo>
                          <a:lnTo>
                            <a:pt x="203425" y="567071"/>
                          </a:lnTo>
                          <a:lnTo>
                            <a:pt x="204326" y="563921"/>
                          </a:lnTo>
                          <a:lnTo>
                            <a:pt x="208826" y="558970"/>
                          </a:lnTo>
                          <a:lnTo>
                            <a:pt x="213327" y="552669"/>
                          </a:lnTo>
                          <a:lnTo>
                            <a:pt x="215577" y="548169"/>
                          </a:lnTo>
                          <a:lnTo>
                            <a:pt x="219177" y="545468"/>
                          </a:lnTo>
                          <a:lnTo>
                            <a:pt x="225928" y="538268"/>
                          </a:lnTo>
                          <a:lnTo>
                            <a:pt x="229529" y="535567"/>
                          </a:lnTo>
                          <a:lnTo>
                            <a:pt x="230879" y="535117"/>
                          </a:lnTo>
                          <a:lnTo>
                            <a:pt x="234929" y="532417"/>
                          </a:lnTo>
                          <a:lnTo>
                            <a:pt x="237630" y="529716"/>
                          </a:lnTo>
                          <a:lnTo>
                            <a:pt x="241680" y="527016"/>
                          </a:lnTo>
                          <a:lnTo>
                            <a:pt x="248881" y="523866"/>
                          </a:lnTo>
                          <a:lnTo>
                            <a:pt x="255632" y="519815"/>
                          </a:lnTo>
                          <a:lnTo>
                            <a:pt x="265083" y="516215"/>
                          </a:lnTo>
                          <a:lnTo>
                            <a:pt x="275884" y="510814"/>
                          </a:lnTo>
                          <a:lnTo>
                            <a:pt x="284886" y="508114"/>
                          </a:lnTo>
                          <a:lnTo>
                            <a:pt x="291186" y="507663"/>
                          </a:lnTo>
                          <a:lnTo>
                            <a:pt x="298837" y="506313"/>
                          </a:lnTo>
                          <a:lnTo>
                            <a:pt x="301538" y="506313"/>
                          </a:lnTo>
                          <a:lnTo>
                            <a:pt x="313239" y="508564"/>
                          </a:lnTo>
                          <a:lnTo>
                            <a:pt x="319090" y="511264"/>
                          </a:lnTo>
                          <a:lnTo>
                            <a:pt x="325391" y="517115"/>
                          </a:lnTo>
                          <a:lnTo>
                            <a:pt x="326291" y="518465"/>
                          </a:lnTo>
                          <a:lnTo>
                            <a:pt x="326291" y="520715"/>
                          </a:lnTo>
                          <a:lnTo>
                            <a:pt x="322690" y="519815"/>
                          </a:lnTo>
                          <a:lnTo>
                            <a:pt x="319540" y="519815"/>
                          </a:lnTo>
                          <a:lnTo>
                            <a:pt x="321790" y="521165"/>
                          </a:lnTo>
                          <a:lnTo>
                            <a:pt x="325391" y="524766"/>
                          </a:lnTo>
                          <a:lnTo>
                            <a:pt x="325391" y="529266"/>
                          </a:lnTo>
                          <a:lnTo>
                            <a:pt x="323591" y="533317"/>
                          </a:lnTo>
                          <a:lnTo>
                            <a:pt x="317740" y="535117"/>
                          </a:lnTo>
                          <a:lnTo>
                            <a:pt x="316390" y="536917"/>
                          </a:lnTo>
                          <a:lnTo>
                            <a:pt x="315039" y="539618"/>
                          </a:lnTo>
                          <a:lnTo>
                            <a:pt x="313689" y="540518"/>
                          </a:lnTo>
                          <a:lnTo>
                            <a:pt x="310539" y="541868"/>
                          </a:lnTo>
                          <a:lnTo>
                            <a:pt x="308738" y="543668"/>
                          </a:lnTo>
                          <a:lnTo>
                            <a:pt x="303788" y="546369"/>
                          </a:lnTo>
                          <a:lnTo>
                            <a:pt x="301538" y="546818"/>
                          </a:lnTo>
                          <a:lnTo>
                            <a:pt x="299287" y="546369"/>
                          </a:lnTo>
                          <a:lnTo>
                            <a:pt x="293437" y="543668"/>
                          </a:lnTo>
                          <a:lnTo>
                            <a:pt x="289836" y="541418"/>
                          </a:lnTo>
                          <a:lnTo>
                            <a:pt x="288036" y="542768"/>
                          </a:lnTo>
                          <a:lnTo>
                            <a:pt x="286686" y="544118"/>
                          </a:lnTo>
                          <a:lnTo>
                            <a:pt x="283085" y="543668"/>
                          </a:lnTo>
                          <a:lnTo>
                            <a:pt x="281285" y="544118"/>
                          </a:lnTo>
                          <a:lnTo>
                            <a:pt x="278585" y="543218"/>
                          </a:lnTo>
                          <a:lnTo>
                            <a:pt x="275884" y="547719"/>
                          </a:lnTo>
                          <a:close/>
                          <a:moveTo>
                            <a:pt x="377597" y="571122"/>
                          </a:moveTo>
                          <a:lnTo>
                            <a:pt x="378497" y="571572"/>
                          </a:lnTo>
                          <a:lnTo>
                            <a:pt x="379848" y="571572"/>
                          </a:lnTo>
                          <a:lnTo>
                            <a:pt x="380747" y="572022"/>
                          </a:lnTo>
                          <a:lnTo>
                            <a:pt x="379397" y="573372"/>
                          </a:lnTo>
                          <a:lnTo>
                            <a:pt x="376697" y="573372"/>
                          </a:lnTo>
                          <a:lnTo>
                            <a:pt x="375347" y="572922"/>
                          </a:lnTo>
                          <a:lnTo>
                            <a:pt x="377147" y="567071"/>
                          </a:lnTo>
                          <a:lnTo>
                            <a:pt x="379397" y="565721"/>
                          </a:lnTo>
                          <a:lnTo>
                            <a:pt x="383448" y="561670"/>
                          </a:lnTo>
                          <a:lnTo>
                            <a:pt x="385248" y="560320"/>
                          </a:lnTo>
                          <a:lnTo>
                            <a:pt x="386598" y="559870"/>
                          </a:lnTo>
                          <a:lnTo>
                            <a:pt x="388399" y="560320"/>
                          </a:lnTo>
                          <a:lnTo>
                            <a:pt x="386598" y="562570"/>
                          </a:lnTo>
                          <a:lnTo>
                            <a:pt x="384348" y="562570"/>
                          </a:lnTo>
                          <a:lnTo>
                            <a:pt x="382098" y="564371"/>
                          </a:lnTo>
                          <a:lnTo>
                            <a:pt x="380747" y="566621"/>
                          </a:lnTo>
                          <a:lnTo>
                            <a:pt x="378947" y="567971"/>
                          </a:lnTo>
                          <a:lnTo>
                            <a:pt x="377597" y="569321"/>
                          </a:lnTo>
                          <a:lnTo>
                            <a:pt x="377597" y="571122"/>
                          </a:lnTo>
                          <a:close/>
                          <a:moveTo>
                            <a:pt x="184073" y="583723"/>
                          </a:moveTo>
                          <a:lnTo>
                            <a:pt x="182273" y="584173"/>
                          </a:lnTo>
                          <a:lnTo>
                            <a:pt x="182723" y="583273"/>
                          </a:lnTo>
                          <a:lnTo>
                            <a:pt x="185423" y="581473"/>
                          </a:lnTo>
                          <a:lnTo>
                            <a:pt x="187223" y="580573"/>
                          </a:lnTo>
                          <a:lnTo>
                            <a:pt x="188574" y="580573"/>
                          </a:lnTo>
                          <a:lnTo>
                            <a:pt x="186773" y="582823"/>
                          </a:lnTo>
                          <a:lnTo>
                            <a:pt x="184073" y="583723"/>
                          </a:lnTo>
                          <a:close/>
                          <a:moveTo>
                            <a:pt x="130516" y="626478"/>
                          </a:moveTo>
                          <a:lnTo>
                            <a:pt x="128716" y="626928"/>
                          </a:lnTo>
                          <a:lnTo>
                            <a:pt x="126016" y="626478"/>
                          </a:lnTo>
                          <a:lnTo>
                            <a:pt x="122865" y="627379"/>
                          </a:lnTo>
                          <a:lnTo>
                            <a:pt x="121965" y="627379"/>
                          </a:lnTo>
                          <a:lnTo>
                            <a:pt x="124216" y="625128"/>
                          </a:lnTo>
                          <a:lnTo>
                            <a:pt x="127816" y="623778"/>
                          </a:lnTo>
                          <a:lnTo>
                            <a:pt x="131416" y="619728"/>
                          </a:lnTo>
                          <a:lnTo>
                            <a:pt x="132317" y="619728"/>
                          </a:lnTo>
                          <a:lnTo>
                            <a:pt x="130966" y="624678"/>
                          </a:lnTo>
                          <a:lnTo>
                            <a:pt x="130516" y="626478"/>
                          </a:lnTo>
                          <a:lnTo>
                            <a:pt x="130516" y="626478"/>
                          </a:lnTo>
                          <a:close/>
                          <a:moveTo>
                            <a:pt x="127366" y="622878"/>
                          </a:moveTo>
                          <a:lnTo>
                            <a:pt x="124666" y="623328"/>
                          </a:lnTo>
                          <a:lnTo>
                            <a:pt x="123765" y="622878"/>
                          </a:lnTo>
                          <a:lnTo>
                            <a:pt x="126466" y="619728"/>
                          </a:lnTo>
                          <a:lnTo>
                            <a:pt x="129616" y="618827"/>
                          </a:lnTo>
                          <a:lnTo>
                            <a:pt x="127366" y="622878"/>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8" name="Freeform: Shape 1987">
                      <a:extLst>
                        <a:ext uri="{FF2B5EF4-FFF2-40B4-BE49-F238E27FC236}">
                          <a16:creationId xmlns:a16="http://schemas.microsoft.com/office/drawing/2014/main" id="{E78044E7-DE44-C0EB-BAD6-DDE090D4CEA8}"/>
                        </a:ext>
                      </a:extLst>
                    </p:cNvPr>
                    <p:cNvSpPr/>
                    <p:nvPr/>
                  </p:nvSpPr>
                  <p:spPr>
                    <a:xfrm>
                      <a:off x="1379422" y="2031103"/>
                      <a:ext cx="186323" cy="404150"/>
                    </a:xfrm>
                    <a:custGeom>
                      <a:avLst/>
                      <a:gdLst>
                        <a:gd name="connsiteX0" fmla="*/ 182273 w 186323"/>
                        <a:gd name="connsiteY0" fmla="*/ 404151 h 404150"/>
                        <a:gd name="connsiteX1" fmla="*/ 173272 w 186323"/>
                        <a:gd name="connsiteY1" fmla="*/ 404151 h 404150"/>
                        <a:gd name="connsiteX2" fmla="*/ 164271 w 186323"/>
                        <a:gd name="connsiteY2" fmla="*/ 404151 h 404150"/>
                        <a:gd name="connsiteX3" fmla="*/ 155269 w 186323"/>
                        <a:gd name="connsiteY3" fmla="*/ 404151 h 404150"/>
                        <a:gd name="connsiteX4" fmla="*/ 146268 w 186323"/>
                        <a:gd name="connsiteY4" fmla="*/ 404151 h 404150"/>
                        <a:gd name="connsiteX5" fmla="*/ 137267 w 186323"/>
                        <a:gd name="connsiteY5" fmla="*/ 404151 h 404150"/>
                        <a:gd name="connsiteX6" fmla="*/ 128266 w 186323"/>
                        <a:gd name="connsiteY6" fmla="*/ 404151 h 404150"/>
                        <a:gd name="connsiteX7" fmla="*/ 126016 w 186323"/>
                        <a:gd name="connsiteY7" fmla="*/ 404151 h 404150"/>
                        <a:gd name="connsiteX8" fmla="*/ 119265 w 186323"/>
                        <a:gd name="connsiteY8" fmla="*/ 404151 h 404150"/>
                        <a:gd name="connsiteX9" fmla="*/ 110264 w 186323"/>
                        <a:gd name="connsiteY9" fmla="*/ 404151 h 404150"/>
                        <a:gd name="connsiteX10" fmla="*/ 101263 w 186323"/>
                        <a:gd name="connsiteY10" fmla="*/ 404151 h 404150"/>
                        <a:gd name="connsiteX11" fmla="*/ 92262 w 186323"/>
                        <a:gd name="connsiteY11" fmla="*/ 404151 h 404150"/>
                        <a:gd name="connsiteX12" fmla="*/ 83260 w 186323"/>
                        <a:gd name="connsiteY12" fmla="*/ 404151 h 404150"/>
                        <a:gd name="connsiteX13" fmla="*/ 74259 w 186323"/>
                        <a:gd name="connsiteY13" fmla="*/ 404151 h 404150"/>
                        <a:gd name="connsiteX14" fmla="*/ 65258 w 186323"/>
                        <a:gd name="connsiteY14" fmla="*/ 404151 h 404150"/>
                        <a:gd name="connsiteX15" fmla="*/ 56257 w 186323"/>
                        <a:gd name="connsiteY15" fmla="*/ 404151 h 404150"/>
                        <a:gd name="connsiteX16" fmla="*/ 47256 w 186323"/>
                        <a:gd name="connsiteY16" fmla="*/ 404151 h 404150"/>
                        <a:gd name="connsiteX17" fmla="*/ 38255 w 186323"/>
                        <a:gd name="connsiteY17" fmla="*/ 404151 h 404150"/>
                        <a:gd name="connsiteX18" fmla="*/ 29254 w 186323"/>
                        <a:gd name="connsiteY18" fmla="*/ 404151 h 404150"/>
                        <a:gd name="connsiteX19" fmla="*/ 20253 w 186323"/>
                        <a:gd name="connsiteY19" fmla="*/ 404151 h 404150"/>
                        <a:gd name="connsiteX20" fmla="*/ 11251 w 186323"/>
                        <a:gd name="connsiteY20" fmla="*/ 404151 h 404150"/>
                        <a:gd name="connsiteX21" fmla="*/ 2250 w 186323"/>
                        <a:gd name="connsiteY21" fmla="*/ 404151 h 404150"/>
                        <a:gd name="connsiteX22" fmla="*/ 0 w 186323"/>
                        <a:gd name="connsiteY22" fmla="*/ 404151 h 404150"/>
                        <a:gd name="connsiteX23" fmla="*/ 0 w 186323"/>
                        <a:gd name="connsiteY23" fmla="*/ 392899 h 404150"/>
                        <a:gd name="connsiteX24" fmla="*/ 0 w 186323"/>
                        <a:gd name="connsiteY24" fmla="*/ 381648 h 404150"/>
                        <a:gd name="connsiteX25" fmla="*/ 0 w 186323"/>
                        <a:gd name="connsiteY25" fmla="*/ 370396 h 404150"/>
                        <a:gd name="connsiteX26" fmla="*/ 0 w 186323"/>
                        <a:gd name="connsiteY26" fmla="*/ 359145 h 404150"/>
                        <a:gd name="connsiteX27" fmla="*/ 0 w 186323"/>
                        <a:gd name="connsiteY27" fmla="*/ 347894 h 404150"/>
                        <a:gd name="connsiteX28" fmla="*/ 0 w 186323"/>
                        <a:gd name="connsiteY28" fmla="*/ 336192 h 404150"/>
                        <a:gd name="connsiteX29" fmla="*/ 0 w 186323"/>
                        <a:gd name="connsiteY29" fmla="*/ 324491 h 404150"/>
                        <a:gd name="connsiteX30" fmla="*/ 0 w 186323"/>
                        <a:gd name="connsiteY30" fmla="*/ 312789 h 404150"/>
                        <a:gd name="connsiteX31" fmla="*/ 0 w 186323"/>
                        <a:gd name="connsiteY31" fmla="*/ 301088 h 404150"/>
                        <a:gd name="connsiteX32" fmla="*/ 0 w 186323"/>
                        <a:gd name="connsiteY32" fmla="*/ 289386 h 404150"/>
                        <a:gd name="connsiteX33" fmla="*/ 0 w 186323"/>
                        <a:gd name="connsiteY33" fmla="*/ 277235 h 404150"/>
                        <a:gd name="connsiteX34" fmla="*/ 0 w 186323"/>
                        <a:gd name="connsiteY34" fmla="*/ 265083 h 404150"/>
                        <a:gd name="connsiteX35" fmla="*/ 0 w 186323"/>
                        <a:gd name="connsiteY35" fmla="*/ 252932 h 404150"/>
                        <a:gd name="connsiteX36" fmla="*/ 0 w 186323"/>
                        <a:gd name="connsiteY36" fmla="*/ 240780 h 404150"/>
                        <a:gd name="connsiteX37" fmla="*/ 0 w 186323"/>
                        <a:gd name="connsiteY37" fmla="*/ 228629 h 404150"/>
                        <a:gd name="connsiteX38" fmla="*/ 0 w 186323"/>
                        <a:gd name="connsiteY38" fmla="*/ 216027 h 404150"/>
                        <a:gd name="connsiteX39" fmla="*/ 0 w 186323"/>
                        <a:gd name="connsiteY39" fmla="*/ 203426 h 404150"/>
                        <a:gd name="connsiteX40" fmla="*/ 0 w 186323"/>
                        <a:gd name="connsiteY40" fmla="*/ 190824 h 404150"/>
                        <a:gd name="connsiteX41" fmla="*/ 0 w 186323"/>
                        <a:gd name="connsiteY41" fmla="*/ 178222 h 404150"/>
                        <a:gd name="connsiteX42" fmla="*/ 0 w 186323"/>
                        <a:gd name="connsiteY42" fmla="*/ 165171 h 404150"/>
                        <a:gd name="connsiteX43" fmla="*/ 0 w 186323"/>
                        <a:gd name="connsiteY43" fmla="*/ 152119 h 404150"/>
                        <a:gd name="connsiteX44" fmla="*/ 0 w 186323"/>
                        <a:gd name="connsiteY44" fmla="*/ 139068 h 404150"/>
                        <a:gd name="connsiteX45" fmla="*/ 0 w 186323"/>
                        <a:gd name="connsiteY45" fmla="*/ 126016 h 404150"/>
                        <a:gd name="connsiteX46" fmla="*/ 0 w 186323"/>
                        <a:gd name="connsiteY46" fmla="*/ 112514 h 404150"/>
                        <a:gd name="connsiteX47" fmla="*/ 0 w 186323"/>
                        <a:gd name="connsiteY47" fmla="*/ 99012 h 404150"/>
                        <a:gd name="connsiteX48" fmla="*/ 0 w 186323"/>
                        <a:gd name="connsiteY48" fmla="*/ 85511 h 404150"/>
                        <a:gd name="connsiteX49" fmla="*/ 0 w 186323"/>
                        <a:gd name="connsiteY49" fmla="*/ 71559 h 404150"/>
                        <a:gd name="connsiteX50" fmla="*/ 0 w 186323"/>
                        <a:gd name="connsiteY50" fmla="*/ 57157 h 404150"/>
                        <a:gd name="connsiteX51" fmla="*/ 0 w 186323"/>
                        <a:gd name="connsiteY51" fmla="*/ 43205 h 404150"/>
                        <a:gd name="connsiteX52" fmla="*/ 0 w 186323"/>
                        <a:gd name="connsiteY52" fmla="*/ 28804 h 404150"/>
                        <a:gd name="connsiteX53" fmla="*/ 0 w 186323"/>
                        <a:gd name="connsiteY53" fmla="*/ 14402 h 404150"/>
                        <a:gd name="connsiteX54" fmla="*/ 0 w 186323"/>
                        <a:gd name="connsiteY54" fmla="*/ 0 h 404150"/>
                        <a:gd name="connsiteX55" fmla="*/ 10801 w 186323"/>
                        <a:gd name="connsiteY55" fmla="*/ 0 h 404150"/>
                        <a:gd name="connsiteX56" fmla="*/ 21603 w 186323"/>
                        <a:gd name="connsiteY56" fmla="*/ 0 h 404150"/>
                        <a:gd name="connsiteX57" fmla="*/ 32404 w 186323"/>
                        <a:gd name="connsiteY57" fmla="*/ 0 h 404150"/>
                        <a:gd name="connsiteX58" fmla="*/ 43205 w 186323"/>
                        <a:gd name="connsiteY58" fmla="*/ 0 h 404150"/>
                        <a:gd name="connsiteX59" fmla="*/ 54007 w 186323"/>
                        <a:gd name="connsiteY59" fmla="*/ 0 h 404150"/>
                        <a:gd name="connsiteX60" fmla="*/ 64808 w 186323"/>
                        <a:gd name="connsiteY60" fmla="*/ 0 h 404150"/>
                        <a:gd name="connsiteX61" fmla="*/ 75609 w 186323"/>
                        <a:gd name="connsiteY61" fmla="*/ 0 h 404150"/>
                        <a:gd name="connsiteX62" fmla="*/ 86411 w 186323"/>
                        <a:gd name="connsiteY62" fmla="*/ 0 h 404150"/>
                        <a:gd name="connsiteX63" fmla="*/ 97212 w 186323"/>
                        <a:gd name="connsiteY63" fmla="*/ 0 h 404150"/>
                        <a:gd name="connsiteX64" fmla="*/ 108014 w 186323"/>
                        <a:gd name="connsiteY64" fmla="*/ 0 h 404150"/>
                        <a:gd name="connsiteX65" fmla="*/ 118815 w 186323"/>
                        <a:gd name="connsiteY65" fmla="*/ 0 h 404150"/>
                        <a:gd name="connsiteX66" fmla="*/ 129616 w 186323"/>
                        <a:gd name="connsiteY66" fmla="*/ 0 h 404150"/>
                        <a:gd name="connsiteX67" fmla="*/ 140418 w 186323"/>
                        <a:gd name="connsiteY67" fmla="*/ 0 h 404150"/>
                        <a:gd name="connsiteX68" fmla="*/ 151219 w 186323"/>
                        <a:gd name="connsiteY68" fmla="*/ 0 h 404150"/>
                        <a:gd name="connsiteX69" fmla="*/ 162020 w 186323"/>
                        <a:gd name="connsiteY69" fmla="*/ 0 h 404150"/>
                        <a:gd name="connsiteX70" fmla="*/ 172822 w 186323"/>
                        <a:gd name="connsiteY70" fmla="*/ 0 h 404150"/>
                        <a:gd name="connsiteX71" fmla="*/ 172822 w 186323"/>
                        <a:gd name="connsiteY71" fmla="*/ 10801 h 404150"/>
                        <a:gd name="connsiteX72" fmla="*/ 172822 w 186323"/>
                        <a:gd name="connsiteY72" fmla="*/ 21603 h 404150"/>
                        <a:gd name="connsiteX73" fmla="*/ 172822 w 186323"/>
                        <a:gd name="connsiteY73" fmla="*/ 32404 h 404150"/>
                        <a:gd name="connsiteX74" fmla="*/ 172822 w 186323"/>
                        <a:gd name="connsiteY74" fmla="*/ 43205 h 404150"/>
                        <a:gd name="connsiteX75" fmla="*/ 172822 w 186323"/>
                        <a:gd name="connsiteY75" fmla="*/ 54007 h 404150"/>
                        <a:gd name="connsiteX76" fmla="*/ 172822 w 186323"/>
                        <a:gd name="connsiteY76" fmla="*/ 64808 h 404150"/>
                        <a:gd name="connsiteX77" fmla="*/ 172822 w 186323"/>
                        <a:gd name="connsiteY77" fmla="*/ 75159 h 404150"/>
                        <a:gd name="connsiteX78" fmla="*/ 172822 w 186323"/>
                        <a:gd name="connsiteY78" fmla="*/ 85511 h 404150"/>
                        <a:gd name="connsiteX79" fmla="*/ 172822 w 186323"/>
                        <a:gd name="connsiteY79" fmla="*/ 95862 h 404150"/>
                        <a:gd name="connsiteX80" fmla="*/ 172822 w 186323"/>
                        <a:gd name="connsiteY80" fmla="*/ 106213 h 404150"/>
                        <a:gd name="connsiteX81" fmla="*/ 172822 w 186323"/>
                        <a:gd name="connsiteY81" fmla="*/ 116565 h 404150"/>
                        <a:gd name="connsiteX82" fmla="*/ 172822 w 186323"/>
                        <a:gd name="connsiteY82" fmla="*/ 126916 h 404150"/>
                        <a:gd name="connsiteX83" fmla="*/ 172822 w 186323"/>
                        <a:gd name="connsiteY83" fmla="*/ 136817 h 404150"/>
                        <a:gd name="connsiteX84" fmla="*/ 172822 w 186323"/>
                        <a:gd name="connsiteY84" fmla="*/ 146718 h 404150"/>
                        <a:gd name="connsiteX85" fmla="*/ 172822 w 186323"/>
                        <a:gd name="connsiteY85" fmla="*/ 156620 h 404150"/>
                        <a:gd name="connsiteX86" fmla="*/ 172822 w 186323"/>
                        <a:gd name="connsiteY86" fmla="*/ 166521 h 404150"/>
                        <a:gd name="connsiteX87" fmla="*/ 173722 w 186323"/>
                        <a:gd name="connsiteY87" fmla="*/ 182723 h 404150"/>
                        <a:gd name="connsiteX88" fmla="*/ 174622 w 186323"/>
                        <a:gd name="connsiteY88" fmla="*/ 198475 h 404150"/>
                        <a:gd name="connsiteX89" fmla="*/ 175522 w 186323"/>
                        <a:gd name="connsiteY89" fmla="*/ 214227 h 404150"/>
                        <a:gd name="connsiteX90" fmla="*/ 176422 w 186323"/>
                        <a:gd name="connsiteY90" fmla="*/ 229529 h 404150"/>
                        <a:gd name="connsiteX91" fmla="*/ 177322 w 186323"/>
                        <a:gd name="connsiteY91" fmla="*/ 244831 h 404150"/>
                        <a:gd name="connsiteX92" fmla="*/ 178222 w 186323"/>
                        <a:gd name="connsiteY92" fmla="*/ 260133 h 404150"/>
                        <a:gd name="connsiteX93" fmla="*/ 179122 w 186323"/>
                        <a:gd name="connsiteY93" fmla="*/ 274984 h 404150"/>
                        <a:gd name="connsiteX94" fmla="*/ 180023 w 186323"/>
                        <a:gd name="connsiteY94" fmla="*/ 289836 h 404150"/>
                        <a:gd name="connsiteX95" fmla="*/ 180923 w 186323"/>
                        <a:gd name="connsiteY95" fmla="*/ 304688 h 404150"/>
                        <a:gd name="connsiteX96" fmla="*/ 181823 w 186323"/>
                        <a:gd name="connsiteY96" fmla="*/ 319090 h 404150"/>
                        <a:gd name="connsiteX97" fmla="*/ 182723 w 186323"/>
                        <a:gd name="connsiteY97" fmla="*/ 333492 h 404150"/>
                        <a:gd name="connsiteX98" fmla="*/ 183623 w 186323"/>
                        <a:gd name="connsiteY98" fmla="*/ 347894 h 404150"/>
                        <a:gd name="connsiteX99" fmla="*/ 184523 w 186323"/>
                        <a:gd name="connsiteY99" fmla="*/ 361845 h 404150"/>
                        <a:gd name="connsiteX100" fmla="*/ 185423 w 186323"/>
                        <a:gd name="connsiteY100" fmla="*/ 375797 h 404150"/>
                        <a:gd name="connsiteX101" fmla="*/ 186323 w 186323"/>
                        <a:gd name="connsiteY101" fmla="*/ 389749 h 404150"/>
                        <a:gd name="connsiteX102" fmla="*/ 182273 w 186323"/>
                        <a:gd name="connsiteY102" fmla="*/ 404151 h 404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186323" h="404150">
                          <a:moveTo>
                            <a:pt x="182273" y="404151"/>
                          </a:moveTo>
                          <a:lnTo>
                            <a:pt x="173272" y="404151"/>
                          </a:lnTo>
                          <a:lnTo>
                            <a:pt x="164271" y="404151"/>
                          </a:lnTo>
                          <a:lnTo>
                            <a:pt x="155269" y="404151"/>
                          </a:lnTo>
                          <a:lnTo>
                            <a:pt x="146268" y="404151"/>
                          </a:lnTo>
                          <a:lnTo>
                            <a:pt x="137267" y="404151"/>
                          </a:lnTo>
                          <a:lnTo>
                            <a:pt x="128266" y="404151"/>
                          </a:lnTo>
                          <a:lnTo>
                            <a:pt x="126016" y="404151"/>
                          </a:lnTo>
                          <a:lnTo>
                            <a:pt x="119265" y="404151"/>
                          </a:lnTo>
                          <a:lnTo>
                            <a:pt x="110264" y="404151"/>
                          </a:lnTo>
                          <a:lnTo>
                            <a:pt x="101263" y="404151"/>
                          </a:lnTo>
                          <a:lnTo>
                            <a:pt x="92262" y="404151"/>
                          </a:lnTo>
                          <a:lnTo>
                            <a:pt x="83260" y="404151"/>
                          </a:lnTo>
                          <a:lnTo>
                            <a:pt x="74259" y="404151"/>
                          </a:lnTo>
                          <a:lnTo>
                            <a:pt x="65258" y="404151"/>
                          </a:lnTo>
                          <a:lnTo>
                            <a:pt x="56257" y="404151"/>
                          </a:lnTo>
                          <a:lnTo>
                            <a:pt x="47256" y="404151"/>
                          </a:lnTo>
                          <a:lnTo>
                            <a:pt x="38255" y="404151"/>
                          </a:lnTo>
                          <a:lnTo>
                            <a:pt x="29254" y="404151"/>
                          </a:lnTo>
                          <a:lnTo>
                            <a:pt x="20253" y="404151"/>
                          </a:lnTo>
                          <a:lnTo>
                            <a:pt x="11251" y="404151"/>
                          </a:lnTo>
                          <a:lnTo>
                            <a:pt x="2250" y="404151"/>
                          </a:lnTo>
                          <a:lnTo>
                            <a:pt x="0" y="404151"/>
                          </a:lnTo>
                          <a:lnTo>
                            <a:pt x="0" y="392899"/>
                          </a:lnTo>
                          <a:lnTo>
                            <a:pt x="0" y="381648"/>
                          </a:lnTo>
                          <a:lnTo>
                            <a:pt x="0" y="370396"/>
                          </a:lnTo>
                          <a:lnTo>
                            <a:pt x="0" y="359145"/>
                          </a:lnTo>
                          <a:lnTo>
                            <a:pt x="0" y="347894"/>
                          </a:lnTo>
                          <a:lnTo>
                            <a:pt x="0" y="336192"/>
                          </a:lnTo>
                          <a:lnTo>
                            <a:pt x="0" y="324491"/>
                          </a:lnTo>
                          <a:lnTo>
                            <a:pt x="0" y="312789"/>
                          </a:lnTo>
                          <a:lnTo>
                            <a:pt x="0" y="301088"/>
                          </a:lnTo>
                          <a:lnTo>
                            <a:pt x="0" y="289386"/>
                          </a:lnTo>
                          <a:lnTo>
                            <a:pt x="0" y="277235"/>
                          </a:lnTo>
                          <a:lnTo>
                            <a:pt x="0" y="265083"/>
                          </a:lnTo>
                          <a:lnTo>
                            <a:pt x="0" y="252932"/>
                          </a:lnTo>
                          <a:lnTo>
                            <a:pt x="0" y="240780"/>
                          </a:lnTo>
                          <a:lnTo>
                            <a:pt x="0" y="228629"/>
                          </a:lnTo>
                          <a:lnTo>
                            <a:pt x="0" y="216027"/>
                          </a:lnTo>
                          <a:lnTo>
                            <a:pt x="0" y="203426"/>
                          </a:lnTo>
                          <a:lnTo>
                            <a:pt x="0" y="190824"/>
                          </a:lnTo>
                          <a:lnTo>
                            <a:pt x="0" y="178222"/>
                          </a:lnTo>
                          <a:lnTo>
                            <a:pt x="0" y="165171"/>
                          </a:lnTo>
                          <a:lnTo>
                            <a:pt x="0" y="152119"/>
                          </a:lnTo>
                          <a:lnTo>
                            <a:pt x="0" y="139068"/>
                          </a:lnTo>
                          <a:lnTo>
                            <a:pt x="0" y="126016"/>
                          </a:lnTo>
                          <a:lnTo>
                            <a:pt x="0" y="112514"/>
                          </a:lnTo>
                          <a:lnTo>
                            <a:pt x="0" y="99012"/>
                          </a:lnTo>
                          <a:lnTo>
                            <a:pt x="0" y="85511"/>
                          </a:lnTo>
                          <a:lnTo>
                            <a:pt x="0" y="71559"/>
                          </a:lnTo>
                          <a:lnTo>
                            <a:pt x="0" y="57157"/>
                          </a:lnTo>
                          <a:lnTo>
                            <a:pt x="0" y="43205"/>
                          </a:lnTo>
                          <a:lnTo>
                            <a:pt x="0" y="28804"/>
                          </a:lnTo>
                          <a:lnTo>
                            <a:pt x="0" y="14402"/>
                          </a:lnTo>
                          <a:lnTo>
                            <a:pt x="0" y="0"/>
                          </a:lnTo>
                          <a:lnTo>
                            <a:pt x="10801" y="0"/>
                          </a:lnTo>
                          <a:lnTo>
                            <a:pt x="21603" y="0"/>
                          </a:lnTo>
                          <a:lnTo>
                            <a:pt x="32404" y="0"/>
                          </a:lnTo>
                          <a:lnTo>
                            <a:pt x="43205" y="0"/>
                          </a:lnTo>
                          <a:lnTo>
                            <a:pt x="54007" y="0"/>
                          </a:lnTo>
                          <a:lnTo>
                            <a:pt x="64808" y="0"/>
                          </a:lnTo>
                          <a:lnTo>
                            <a:pt x="75609" y="0"/>
                          </a:lnTo>
                          <a:lnTo>
                            <a:pt x="86411" y="0"/>
                          </a:lnTo>
                          <a:lnTo>
                            <a:pt x="97212" y="0"/>
                          </a:lnTo>
                          <a:lnTo>
                            <a:pt x="108014" y="0"/>
                          </a:lnTo>
                          <a:lnTo>
                            <a:pt x="118815" y="0"/>
                          </a:lnTo>
                          <a:lnTo>
                            <a:pt x="129616" y="0"/>
                          </a:lnTo>
                          <a:lnTo>
                            <a:pt x="140418" y="0"/>
                          </a:lnTo>
                          <a:lnTo>
                            <a:pt x="151219" y="0"/>
                          </a:lnTo>
                          <a:lnTo>
                            <a:pt x="162020" y="0"/>
                          </a:lnTo>
                          <a:lnTo>
                            <a:pt x="172822" y="0"/>
                          </a:lnTo>
                          <a:lnTo>
                            <a:pt x="172822" y="10801"/>
                          </a:lnTo>
                          <a:lnTo>
                            <a:pt x="172822" y="21603"/>
                          </a:lnTo>
                          <a:lnTo>
                            <a:pt x="172822" y="32404"/>
                          </a:lnTo>
                          <a:lnTo>
                            <a:pt x="172822" y="43205"/>
                          </a:lnTo>
                          <a:lnTo>
                            <a:pt x="172822" y="54007"/>
                          </a:lnTo>
                          <a:lnTo>
                            <a:pt x="172822" y="64808"/>
                          </a:lnTo>
                          <a:lnTo>
                            <a:pt x="172822" y="75159"/>
                          </a:lnTo>
                          <a:lnTo>
                            <a:pt x="172822" y="85511"/>
                          </a:lnTo>
                          <a:lnTo>
                            <a:pt x="172822" y="95862"/>
                          </a:lnTo>
                          <a:lnTo>
                            <a:pt x="172822" y="106213"/>
                          </a:lnTo>
                          <a:lnTo>
                            <a:pt x="172822" y="116565"/>
                          </a:lnTo>
                          <a:lnTo>
                            <a:pt x="172822" y="126916"/>
                          </a:lnTo>
                          <a:lnTo>
                            <a:pt x="172822" y="136817"/>
                          </a:lnTo>
                          <a:lnTo>
                            <a:pt x="172822" y="146718"/>
                          </a:lnTo>
                          <a:lnTo>
                            <a:pt x="172822" y="156620"/>
                          </a:lnTo>
                          <a:lnTo>
                            <a:pt x="172822" y="166521"/>
                          </a:lnTo>
                          <a:lnTo>
                            <a:pt x="173722" y="182723"/>
                          </a:lnTo>
                          <a:lnTo>
                            <a:pt x="174622" y="198475"/>
                          </a:lnTo>
                          <a:lnTo>
                            <a:pt x="175522" y="214227"/>
                          </a:lnTo>
                          <a:lnTo>
                            <a:pt x="176422" y="229529"/>
                          </a:lnTo>
                          <a:lnTo>
                            <a:pt x="177322" y="244831"/>
                          </a:lnTo>
                          <a:lnTo>
                            <a:pt x="178222" y="260133"/>
                          </a:lnTo>
                          <a:lnTo>
                            <a:pt x="179122" y="274984"/>
                          </a:lnTo>
                          <a:lnTo>
                            <a:pt x="180023" y="289836"/>
                          </a:lnTo>
                          <a:lnTo>
                            <a:pt x="180923" y="304688"/>
                          </a:lnTo>
                          <a:lnTo>
                            <a:pt x="181823" y="319090"/>
                          </a:lnTo>
                          <a:lnTo>
                            <a:pt x="182723" y="333492"/>
                          </a:lnTo>
                          <a:lnTo>
                            <a:pt x="183623" y="347894"/>
                          </a:lnTo>
                          <a:lnTo>
                            <a:pt x="184523" y="361845"/>
                          </a:lnTo>
                          <a:lnTo>
                            <a:pt x="185423" y="375797"/>
                          </a:lnTo>
                          <a:lnTo>
                            <a:pt x="186323" y="389749"/>
                          </a:lnTo>
                          <a:lnTo>
                            <a:pt x="182273" y="4041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89" name="Freeform: Shape 1988">
                      <a:extLst>
                        <a:ext uri="{FF2B5EF4-FFF2-40B4-BE49-F238E27FC236}">
                          <a16:creationId xmlns:a16="http://schemas.microsoft.com/office/drawing/2014/main" id="{C74CFB14-F91D-4C32-80B0-FCFDD5E021BC}"/>
                        </a:ext>
                      </a:extLst>
                    </p:cNvPr>
                    <p:cNvSpPr/>
                    <p:nvPr/>
                  </p:nvSpPr>
                  <p:spPr>
                    <a:xfrm>
                      <a:off x="720990" y="1545043"/>
                      <a:ext cx="364995" cy="490111"/>
                    </a:xfrm>
                    <a:custGeom>
                      <a:avLst/>
                      <a:gdLst>
                        <a:gd name="connsiteX0" fmla="*/ 96762 w 364995"/>
                        <a:gd name="connsiteY0" fmla="*/ 45006 h 490111"/>
                        <a:gd name="connsiteX1" fmla="*/ 96762 w 364995"/>
                        <a:gd name="connsiteY1" fmla="*/ 61208 h 490111"/>
                        <a:gd name="connsiteX2" fmla="*/ 96762 w 364995"/>
                        <a:gd name="connsiteY2" fmla="*/ 77860 h 490111"/>
                        <a:gd name="connsiteX3" fmla="*/ 96762 w 364995"/>
                        <a:gd name="connsiteY3" fmla="*/ 94512 h 490111"/>
                        <a:gd name="connsiteX4" fmla="*/ 96762 w 364995"/>
                        <a:gd name="connsiteY4" fmla="*/ 110714 h 490111"/>
                        <a:gd name="connsiteX5" fmla="*/ 97212 w 364995"/>
                        <a:gd name="connsiteY5" fmla="*/ 112964 h 490111"/>
                        <a:gd name="connsiteX6" fmla="*/ 98112 w 364995"/>
                        <a:gd name="connsiteY6" fmla="*/ 115214 h 490111"/>
                        <a:gd name="connsiteX7" fmla="*/ 100813 w 364995"/>
                        <a:gd name="connsiteY7" fmla="*/ 117915 h 490111"/>
                        <a:gd name="connsiteX8" fmla="*/ 101263 w 364995"/>
                        <a:gd name="connsiteY8" fmla="*/ 118815 h 490111"/>
                        <a:gd name="connsiteX9" fmla="*/ 101713 w 364995"/>
                        <a:gd name="connsiteY9" fmla="*/ 120165 h 490111"/>
                        <a:gd name="connsiteX10" fmla="*/ 102613 w 364995"/>
                        <a:gd name="connsiteY10" fmla="*/ 123765 h 490111"/>
                        <a:gd name="connsiteX11" fmla="*/ 102613 w 364995"/>
                        <a:gd name="connsiteY11" fmla="*/ 127366 h 490111"/>
                        <a:gd name="connsiteX12" fmla="*/ 102613 w 364995"/>
                        <a:gd name="connsiteY12" fmla="*/ 128716 h 490111"/>
                        <a:gd name="connsiteX13" fmla="*/ 103063 w 364995"/>
                        <a:gd name="connsiteY13" fmla="*/ 130516 h 490111"/>
                        <a:gd name="connsiteX14" fmla="*/ 103513 w 364995"/>
                        <a:gd name="connsiteY14" fmla="*/ 131417 h 490111"/>
                        <a:gd name="connsiteX15" fmla="*/ 103963 w 364995"/>
                        <a:gd name="connsiteY15" fmla="*/ 132767 h 490111"/>
                        <a:gd name="connsiteX16" fmla="*/ 104413 w 364995"/>
                        <a:gd name="connsiteY16" fmla="*/ 135467 h 490111"/>
                        <a:gd name="connsiteX17" fmla="*/ 104413 w 364995"/>
                        <a:gd name="connsiteY17" fmla="*/ 136367 h 490111"/>
                        <a:gd name="connsiteX18" fmla="*/ 103513 w 364995"/>
                        <a:gd name="connsiteY18" fmla="*/ 139517 h 490111"/>
                        <a:gd name="connsiteX19" fmla="*/ 102163 w 364995"/>
                        <a:gd name="connsiteY19" fmla="*/ 141768 h 490111"/>
                        <a:gd name="connsiteX20" fmla="*/ 102163 w 364995"/>
                        <a:gd name="connsiteY20" fmla="*/ 142668 h 490111"/>
                        <a:gd name="connsiteX21" fmla="*/ 102163 w 364995"/>
                        <a:gd name="connsiteY21" fmla="*/ 144018 h 490111"/>
                        <a:gd name="connsiteX22" fmla="*/ 102163 w 364995"/>
                        <a:gd name="connsiteY22" fmla="*/ 146718 h 490111"/>
                        <a:gd name="connsiteX23" fmla="*/ 102613 w 364995"/>
                        <a:gd name="connsiteY23" fmla="*/ 149419 h 490111"/>
                        <a:gd name="connsiteX24" fmla="*/ 103063 w 364995"/>
                        <a:gd name="connsiteY24" fmla="*/ 150769 h 490111"/>
                        <a:gd name="connsiteX25" fmla="*/ 103963 w 364995"/>
                        <a:gd name="connsiteY25" fmla="*/ 151219 h 490111"/>
                        <a:gd name="connsiteX26" fmla="*/ 110264 w 364995"/>
                        <a:gd name="connsiteY26" fmla="*/ 151219 h 490111"/>
                        <a:gd name="connsiteX27" fmla="*/ 116565 w 364995"/>
                        <a:gd name="connsiteY27" fmla="*/ 151219 h 490111"/>
                        <a:gd name="connsiteX28" fmla="*/ 122865 w 364995"/>
                        <a:gd name="connsiteY28" fmla="*/ 151219 h 490111"/>
                        <a:gd name="connsiteX29" fmla="*/ 129166 w 364995"/>
                        <a:gd name="connsiteY29" fmla="*/ 151219 h 490111"/>
                        <a:gd name="connsiteX30" fmla="*/ 135467 w 364995"/>
                        <a:gd name="connsiteY30" fmla="*/ 151219 h 490111"/>
                        <a:gd name="connsiteX31" fmla="*/ 141768 w 364995"/>
                        <a:gd name="connsiteY31" fmla="*/ 151219 h 490111"/>
                        <a:gd name="connsiteX32" fmla="*/ 148069 w 364995"/>
                        <a:gd name="connsiteY32" fmla="*/ 151219 h 490111"/>
                        <a:gd name="connsiteX33" fmla="*/ 149419 w 364995"/>
                        <a:gd name="connsiteY33" fmla="*/ 151219 h 490111"/>
                        <a:gd name="connsiteX34" fmla="*/ 149419 w 364995"/>
                        <a:gd name="connsiteY34" fmla="*/ 153019 h 490111"/>
                        <a:gd name="connsiteX35" fmla="*/ 149869 w 364995"/>
                        <a:gd name="connsiteY35" fmla="*/ 154369 h 490111"/>
                        <a:gd name="connsiteX36" fmla="*/ 152119 w 364995"/>
                        <a:gd name="connsiteY36" fmla="*/ 156620 h 490111"/>
                        <a:gd name="connsiteX37" fmla="*/ 153919 w 364995"/>
                        <a:gd name="connsiteY37" fmla="*/ 158870 h 490111"/>
                        <a:gd name="connsiteX38" fmla="*/ 155269 w 364995"/>
                        <a:gd name="connsiteY38" fmla="*/ 161120 h 490111"/>
                        <a:gd name="connsiteX39" fmla="*/ 155719 w 364995"/>
                        <a:gd name="connsiteY39" fmla="*/ 162920 h 490111"/>
                        <a:gd name="connsiteX40" fmla="*/ 155269 w 364995"/>
                        <a:gd name="connsiteY40" fmla="*/ 164721 h 490111"/>
                        <a:gd name="connsiteX41" fmla="*/ 155269 w 364995"/>
                        <a:gd name="connsiteY41" fmla="*/ 165621 h 490111"/>
                        <a:gd name="connsiteX42" fmla="*/ 155269 w 364995"/>
                        <a:gd name="connsiteY42" fmla="*/ 166971 h 490111"/>
                        <a:gd name="connsiteX43" fmla="*/ 155719 w 364995"/>
                        <a:gd name="connsiteY43" fmla="*/ 168321 h 490111"/>
                        <a:gd name="connsiteX44" fmla="*/ 155719 w 364995"/>
                        <a:gd name="connsiteY44" fmla="*/ 169221 h 490111"/>
                        <a:gd name="connsiteX45" fmla="*/ 155719 w 364995"/>
                        <a:gd name="connsiteY45" fmla="*/ 170121 h 490111"/>
                        <a:gd name="connsiteX46" fmla="*/ 156620 w 364995"/>
                        <a:gd name="connsiteY46" fmla="*/ 171021 h 490111"/>
                        <a:gd name="connsiteX47" fmla="*/ 157970 w 364995"/>
                        <a:gd name="connsiteY47" fmla="*/ 173272 h 490111"/>
                        <a:gd name="connsiteX48" fmla="*/ 158420 w 364995"/>
                        <a:gd name="connsiteY48" fmla="*/ 174172 h 490111"/>
                        <a:gd name="connsiteX49" fmla="*/ 157970 w 364995"/>
                        <a:gd name="connsiteY49" fmla="*/ 175522 h 490111"/>
                        <a:gd name="connsiteX50" fmla="*/ 157970 w 364995"/>
                        <a:gd name="connsiteY50" fmla="*/ 176872 h 490111"/>
                        <a:gd name="connsiteX51" fmla="*/ 157970 w 364995"/>
                        <a:gd name="connsiteY51" fmla="*/ 178672 h 490111"/>
                        <a:gd name="connsiteX52" fmla="*/ 157970 w 364995"/>
                        <a:gd name="connsiteY52" fmla="*/ 179573 h 490111"/>
                        <a:gd name="connsiteX53" fmla="*/ 157520 w 364995"/>
                        <a:gd name="connsiteY53" fmla="*/ 180023 h 490111"/>
                        <a:gd name="connsiteX54" fmla="*/ 157070 w 364995"/>
                        <a:gd name="connsiteY54" fmla="*/ 180023 h 490111"/>
                        <a:gd name="connsiteX55" fmla="*/ 156170 w 364995"/>
                        <a:gd name="connsiteY55" fmla="*/ 180473 h 490111"/>
                        <a:gd name="connsiteX56" fmla="*/ 155719 w 364995"/>
                        <a:gd name="connsiteY56" fmla="*/ 181823 h 490111"/>
                        <a:gd name="connsiteX57" fmla="*/ 155269 w 364995"/>
                        <a:gd name="connsiteY57" fmla="*/ 185423 h 490111"/>
                        <a:gd name="connsiteX58" fmla="*/ 155269 w 364995"/>
                        <a:gd name="connsiteY58" fmla="*/ 186773 h 490111"/>
                        <a:gd name="connsiteX59" fmla="*/ 155269 w 364995"/>
                        <a:gd name="connsiteY59" fmla="*/ 187674 h 490111"/>
                        <a:gd name="connsiteX60" fmla="*/ 155719 w 364995"/>
                        <a:gd name="connsiteY60" fmla="*/ 187674 h 490111"/>
                        <a:gd name="connsiteX61" fmla="*/ 157970 w 364995"/>
                        <a:gd name="connsiteY61" fmla="*/ 187674 h 490111"/>
                        <a:gd name="connsiteX62" fmla="*/ 158870 w 364995"/>
                        <a:gd name="connsiteY62" fmla="*/ 188124 h 490111"/>
                        <a:gd name="connsiteX63" fmla="*/ 159320 w 364995"/>
                        <a:gd name="connsiteY63" fmla="*/ 188574 h 490111"/>
                        <a:gd name="connsiteX64" fmla="*/ 159770 w 364995"/>
                        <a:gd name="connsiteY64" fmla="*/ 190374 h 490111"/>
                        <a:gd name="connsiteX65" fmla="*/ 159770 w 364995"/>
                        <a:gd name="connsiteY65" fmla="*/ 192624 h 490111"/>
                        <a:gd name="connsiteX66" fmla="*/ 159770 w 364995"/>
                        <a:gd name="connsiteY66" fmla="*/ 194424 h 490111"/>
                        <a:gd name="connsiteX67" fmla="*/ 159320 w 364995"/>
                        <a:gd name="connsiteY67" fmla="*/ 195775 h 490111"/>
                        <a:gd name="connsiteX68" fmla="*/ 157970 w 364995"/>
                        <a:gd name="connsiteY68" fmla="*/ 197575 h 490111"/>
                        <a:gd name="connsiteX69" fmla="*/ 157520 w 364995"/>
                        <a:gd name="connsiteY69" fmla="*/ 198475 h 490111"/>
                        <a:gd name="connsiteX70" fmla="*/ 157520 w 364995"/>
                        <a:gd name="connsiteY70" fmla="*/ 199825 h 490111"/>
                        <a:gd name="connsiteX71" fmla="*/ 157970 w 364995"/>
                        <a:gd name="connsiteY71" fmla="*/ 201175 h 490111"/>
                        <a:gd name="connsiteX72" fmla="*/ 158420 w 364995"/>
                        <a:gd name="connsiteY72" fmla="*/ 203426 h 490111"/>
                        <a:gd name="connsiteX73" fmla="*/ 158420 w 364995"/>
                        <a:gd name="connsiteY73" fmla="*/ 205226 h 490111"/>
                        <a:gd name="connsiteX74" fmla="*/ 159320 w 364995"/>
                        <a:gd name="connsiteY74" fmla="*/ 205676 h 490111"/>
                        <a:gd name="connsiteX75" fmla="*/ 161120 w 364995"/>
                        <a:gd name="connsiteY75" fmla="*/ 206126 h 490111"/>
                        <a:gd name="connsiteX76" fmla="*/ 162920 w 364995"/>
                        <a:gd name="connsiteY76" fmla="*/ 206126 h 490111"/>
                        <a:gd name="connsiteX77" fmla="*/ 166971 w 364995"/>
                        <a:gd name="connsiteY77" fmla="*/ 203426 h 490111"/>
                        <a:gd name="connsiteX78" fmla="*/ 171021 w 364995"/>
                        <a:gd name="connsiteY78" fmla="*/ 202525 h 490111"/>
                        <a:gd name="connsiteX79" fmla="*/ 173272 w 364995"/>
                        <a:gd name="connsiteY79" fmla="*/ 202525 h 490111"/>
                        <a:gd name="connsiteX80" fmla="*/ 173722 w 364995"/>
                        <a:gd name="connsiteY80" fmla="*/ 202975 h 490111"/>
                        <a:gd name="connsiteX81" fmla="*/ 173722 w 364995"/>
                        <a:gd name="connsiteY81" fmla="*/ 203876 h 490111"/>
                        <a:gd name="connsiteX82" fmla="*/ 173272 w 364995"/>
                        <a:gd name="connsiteY82" fmla="*/ 205226 h 490111"/>
                        <a:gd name="connsiteX83" fmla="*/ 172822 w 364995"/>
                        <a:gd name="connsiteY83" fmla="*/ 207476 h 490111"/>
                        <a:gd name="connsiteX84" fmla="*/ 173272 w 364995"/>
                        <a:gd name="connsiteY84" fmla="*/ 208376 h 490111"/>
                        <a:gd name="connsiteX85" fmla="*/ 174172 w 364995"/>
                        <a:gd name="connsiteY85" fmla="*/ 208376 h 490111"/>
                        <a:gd name="connsiteX86" fmla="*/ 175972 w 364995"/>
                        <a:gd name="connsiteY86" fmla="*/ 207476 h 490111"/>
                        <a:gd name="connsiteX87" fmla="*/ 177322 w 364995"/>
                        <a:gd name="connsiteY87" fmla="*/ 205226 h 490111"/>
                        <a:gd name="connsiteX88" fmla="*/ 178222 w 364995"/>
                        <a:gd name="connsiteY88" fmla="*/ 203876 h 490111"/>
                        <a:gd name="connsiteX89" fmla="*/ 180473 w 364995"/>
                        <a:gd name="connsiteY89" fmla="*/ 202075 h 490111"/>
                        <a:gd name="connsiteX90" fmla="*/ 181373 w 364995"/>
                        <a:gd name="connsiteY90" fmla="*/ 202525 h 490111"/>
                        <a:gd name="connsiteX91" fmla="*/ 183173 w 364995"/>
                        <a:gd name="connsiteY91" fmla="*/ 204326 h 490111"/>
                        <a:gd name="connsiteX92" fmla="*/ 185423 w 364995"/>
                        <a:gd name="connsiteY92" fmla="*/ 203876 h 490111"/>
                        <a:gd name="connsiteX93" fmla="*/ 185873 w 364995"/>
                        <a:gd name="connsiteY93" fmla="*/ 204776 h 490111"/>
                        <a:gd name="connsiteX94" fmla="*/ 185873 w 364995"/>
                        <a:gd name="connsiteY94" fmla="*/ 206126 h 490111"/>
                        <a:gd name="connsiteX95" fmla="*/ 181823 w 364995"/>
                        <a:gd name="connsiteY95" fmla="*/ 209726 h 490111"/>
                        <a:gd name="connsiteX96" fmla="*/ 181373 w 364995"/>
                        <a:gd name="connsiteY96" fmla="*/ 211077 h 490111"/>
                        <a:gd name="connsiteX97" fmla="*/ 181823 w 364995"/>
                        <a:gd name="connsiteY97" fmla="*/ 212427 h 490111"/>
                        <a:gd name="connsiteX98" fmla="*/ 182723 w 364995"/>
                        <a:gd name="connsiteY98" fmla="*/ 213327 h 490111"/>
                        <a:gd name="connsiteX99" fmla="*/ 184973 w 364995"/>
                        <a:gd name="connsiteY99" fmla="*/ 216027 h 490111"/>
                        <a:gd name="connsiteX100" fmla="*/ 186773 w 364995"/>
                        <a:gd name="connsiteY100" fmla="*/ 218727 h 490111"/>
                        <a:gd name="connsiteX101" fmla="*/ 189024 w 364995"/>
                        <a:gd name="connsiteY101" fmla="*/ 223228 h 490111"/>
                        <a:gd name="connsiteX102" fmla="*/ 189024 w 364995"/>
                        <a:gd name="connsiteY102" fmla="*/ 224578 h 490111"/>
                        <a:gd name="connsiteX103" fmla="*/ 187673 w 364995"/>
                        <a:gd name="connsiteY103" fmla="*/ 227729 h 490111"/>
                        <a:gd name="connsiteX104" fmla="*/ 185873 w 364995"/>
                        <a:gd name="connsiteY104" fmla="*/ 232679 h 490111"/>
                        <a:gd name="connsiteX105" fmla="*/ 181823 w 364995"/>
                        <a:gd name="connsiteY105" fmla="*/ 238080 h 490111"/>
                        <a:gd name="connsiteX106" fmla="*/ 181373 w 364995"/>
                        <a:gd name="connsiteY106" fmla="*/ 240330 h 490111"/>
                        <a:gd name="connsiteX107" fmla="*/ 180923 w 364995"/>
                        <a:gd name="connsiteY107" fmla="*/ 241230 h 490111"/>
                        <a:gd name="connsiteX108" fmla="*/ 177322 w 364995"/>
                        <a:gd name="connsiteY108" fmla="*/ 243931 h 490111"/>
                        <a:gd name="connsiteX109" fmla="*/ 174622 w 364995"/>
                        <a:gd name="connsiteY109" fmla="*/ 246181 h 490111"/>
                        <a:gd name="connsiteX110" fmla="*/ 174622 w 364995"/>
                        <a:gd name="connsiteY110" fmla="*/ 247081 h 490111"/>
                        <a:gd name="connsiteX111" fmla="*/ 175072 w 364995"/>
                        <a:gd name="connsiteY111" fmla="*/ 247531 h 490111"/>
                        <a:gd name="connsiteX112" fmla="*/ 175972 w 364995"/>
                        <a:gd name="connsiteY112" fmla="*/ 247981 h 490111"/>
                        <a:gd name="connsiteX113" fmla="*/ 178222 w 364995"/>
                        <a:gd name="connsiteY113" fmla="*/ 247081 h 490111"/>
                        <a:gd name="connsiteX114" fmla="*/ 178672 w 364995"/>
                        <a:gd name="connsiteY114" fmla="*/ 247081 h 490111"/>
                        <a:gd name="connsiteX115" fmla="*/ 179572 w 364995"/>
                        <a:gd name="connsiteY115" fmla="*/ 247981 h 490111"/>
                        <a:gd name="connsiteX116" fmla="*/ 179572 w 364995"/>
                        <a:gd name="connsiteY116" fmla="*/ 251132 h 490111"/>
                        <a:gd name="connsiteX117" fmla="*/ 180023 w 364995"/>
                        <a:gd name="connsiteY117" fmla="*/ 252032 h 490111"/>
                        <a:gd name="connsiteX118" fmla="*/ 182723 w 364995"/>
                        <a:gd name="connsiteY118" fmla="*/ 252932 h 490111"/>
                        <a:gd name="connsiteX119" fmla="*/ 183173 w 364995"/>
                        <a:gd name="connsiteY119" fmla="*/ 253832 h 490111"/>
                        <a:gd name="connsiteX120" fmla="*/ 183173 w 364995"/>
                        <a:gd name="connsiteY120" fmla="*/ 254732 h 490111"/>
                        <a:gd name="connsiteX121" fmla="*/ 182723 w 364995"/>
                        <a:gd name="connsiteY121" fmla="*/ 255632 h 490111"/>
                        <a:gd name="connsiteX122" fmla="*/ 180473 w 364995"/>
                        <a:gd name="connsiteY122" fmla="*/ 258332 h 490111"/>
                        <a:gd name="connsiteX123" fmla="*/ 180023 w 364995"/>
                        <a:gd name="connsiteY123" fmla="*/ 258782 h 490111"/>
                        <a:gd name="connsiteX124" fmla="*/ 180023 w 364995"/>
                        <a:gd name="connsiteY124" fmla="*/ 261033 h 490111"/>
                        <a:gd name="connsiteX125" fmla="*/ 180023 w 364995"/>
                        <a:gd name="connsiteY125" fmla="*/ 262383 h 490111"/>
                        <a:gd name="connsiteX126" fmla="*/ 178222 w 364995"/>
                        <a:gd name="connsiteY126" fmla="*/ 264633 h 490111"/>
                        <a:gd name="connsiteX127" fmla="*/ 177772 w 364995"/>
                        <a:gd name="connsiteY127" fmla="*/ 265533 h 490111"/>
                        <a:gd name="connsiteX128" fmla="*/ 177772 w 364995"/>
                        <a:gd name="connsiteY128" fmla="*/ 266433 h 490111"/>
                        <a:gd name="connsiteX129" fmla="*/ 178222 w 364995"/>
                        <a:gd name="connsiteY129" fmla="*/ 267334 h 490111"/>
                        <a:gd name="connsiteX130" fmla="*/ 179122 w 364995"/>
                        <a:gd name="connsiteY130" fmla="*/ 268234 h 490111"/>
                        <a:gd name="connsiteX131" fmla="*/ 182273 w 364995"/>
                        <a:gd name="connsiteY131" fmla="*/ 268234 h 490111"/>
                        <a:gd name="connsiteX132" fmla="*/ 184073 w 364995"/>
                        <a:gd name="connsiteY132" fmla="*/ 269134 h 490111"/>
                        <a:gd name="connsiteX133" fmla="*/ 188574 w 364995"/>
                        <a:gd name="connsiteY133" fmla="*/ 272284 h 490111"/>
                        <a:gd name="connsiteX134" fmla="*/ 189924 w 364995"/>
                        <a:gd name="connsiteY134" fmla="*/ 273184 h 490111"/>
                        <a:gd name="connsiteX135" fmla="*/ 193524 w 364995"/>
                        <a:gd name="connsiteY135" fmla="*/ 278585 h 490111"/>
                        <a:gd name="connsiteX136" fmla="*/ 196675 w 364995"/>
                        <a:gd name="connsiteY136" fmla="*/ 280385 h 490111"/>
                        <a:gd name="connsiteX137" fmla="*/ 197125 w 364995"/>
                        <a:gd name="connsiteY137" fmla="*/ 280835 h 490111"/>
                        <a:gd name="connsiteX138" fmla="*/ 197575 w 364995"/>
                        <a:gd name="connsiteY138" fmla="*/ 281735 h 490111"/>
                        <a:gd name="connsiteX139" fmla="*/ 197125 w 364995"/>
                        <a:gd name="connsiteY139" fmla="*/ 283086 h 490111"/>
                        <a:gd name="connsiteX140" fmla="*/ 195774 w 364995"/>
                        <a:gd name="connsiteY140" fmla="*/ 286236 h 490111"/>
                        <a:gd name="connsiteX141" fmla="*/ 195324 w 364995"/>
                        <a:gd name="connsiteY141" fmla="*/ 287136 h 490111"/>
                        <a:gd name="connsiteX142" fmla="*/ 195324 w 364995"/>
                        <a:gd name="connsiteY142" fmla="*/ 288036 h 490111"/>
                        <a:gd name="connsiteX143" fmla="*/ 196225 w 364995"/>
                        <a:gd name="connsiteY143" fmla="*/ 288486 h 490111"/>
                        <a:gd name="connsiteX144" fmla="*/ 199825 w 364995"/>
                        <a:gd name="connsiteY144" fmla="*/ 288486 h 490111"/>
                        <a:gd name="connsiteX145" fmla="*/ 201175 w 364995"/>
                        <a:gd name="connsiteY145" fmla="*/ 288036 h 490111"/>
                        <a:gd name="connsiteX146" fmla="*/ 202525 w 364995"/>
                        <a:gd name="connsiteY146" fmla="*/ 287136 h 490111"/>
                        <a:gd name="connsiteX147" fmla="*/ 203425 w 364995"/>
                        <a:gd name="connsiteY147" fmla="*/ 285336 h 490111"/>
                        <a:gd name="connsiteX148" fmla="*/ 204326 w 364995"/>
                        <a:gd name="connsiteY148" fmla="*/ 284886 h 490111"/>
                        <a:gd name="connsiteX149" fmla="*/ 206126 w 364995"/>
                        <a:gd name="connsiteY149" fmla="*/ 285336 h 490111"/>
                        <a:gd name="connsiteX150" fmla="*/ 209276 w 364995"/>
                        <a:gd name="connsiteY150" fmla="*/ 287586 h 490111"/>
                        <a:gd name="connsiteX151" fmla="*/ 211076 w 364995"/>
                        <a:gd name="connsiteY151" fmla="*/ 291187 h 490111"/>
                        <a:gd name="connsiteX152" fmla="*/ 211076 w 364995"/>
                        <a:gd name="connsiteY152" fmla="*/ 292537 h 490111"/>
                        <a:gd name="connsiteX153" fmla="*/ 211526 w 364995"/>
                        <a:gd name="connsiteY153" fmla="*/ 293887 h 490111"/>
                        <a:gd name="connsiteX154" fmla="*/ 211977 w 364995"/>
                        <a:gd name="connsiteY154" fmla="*/ 294337 h 490111"/>
                        <a:gd name="connsiteX155" fmla="*/ 212877 w 364995"/>
                        <a:gd name="connsiteY155" fmla="*/ 296137 h 490111"/>
                        <a:gd name="connsiteX156" fmla="*/ 213327 w 364995"/>
                        <a:gd name="connsiteY156" fmla="*/ 297487 h 490111"/>
                        <a:gd name="connsiteX157" fmla="*/ 213327 w 364995"/>
                        <a:gd name="connsiteY157" fmla="*/ 298838 h 490111"/>
                        <a:gd name="connsiteX158" fmla="*/ 212877 w 364995"/>
                        <a:gd name="connsiteY158" fmla="*/ 300188 h 490111"/>
                        <a:gd name="connsiteX159" fmla="*/ 213327 w 364995"/>
                        <a:gd name="connsiteY159" fmla="*/ 301088 h 490111"/>
                        <a:gd name="connsiteX160" fmla="*/ 214677 w 364995"/>
                        <a:gd name="connsiteY160" fmla="*/ 303338 h 490111"/>
                        <a:gd name="connsiteX161" fmla="*/ 215127 w 364995"/>
                        <a:gd name="connsiteY161" fmla="*/ 304688 h 490111"/>
                        <a:gd name="connsiteX162" fmla="*/ 216477 w 364995"/>
                        <a:gd name="connsiteY162" fmla="*/ 305588 h 490111"/>
                        <a:gd name="connsiteX163" fmla="*/ 217377 w 364995"/>
                        <a:gd name="connsiteY163" fmla="*/ 307389 h 490111"/>
                        <a:gd name="connsiteX164" fmla="*/ 219627 w 364995"/>
                        <a:gd name="connsiteY164" fmla="*/ 309639 h 490111"/>
                        <a:gd name="connsiteX165" fmla="*/ 222778 w 364995"/>
                        <a:gd name="connsiteY165" fmla="*/ 310989 h 490111"/>
                        <a:gd name="connsiteX166" fmla="*/ 225928 w 364995"/>
                        <a:gd name="connsiteY166" fmla="*/ 314139 h 490111"/>
                        <a:gd name="connsiteX167" fmla="*/ 227728 w 364995"/>
                        <a:gd name="connsiteY167" fmla="*/ 315490 h 490111"/>
                        <a:gd name="connsiteX168" fmla="*/ 230879 w 364995"/>
                        <a:gd name="connsiteY168" fmla="*/ 316390 h 490111"/>
                        <a:gd name="connsiteX169" fmla="*/ 231329 w 364995"/>
                        <a:gd name="connsiteY169" fmla="*/ 317290 h 490111"/>
                        <a:gd name="connsiteX170" fmla="*/ 231329 w 364995"/>
                        <a:gd name="connsiteY170" fmla="*/ 318190 h 490111"/>
                        <a:gd name="connsiteX171" fmla="*/ 230879 w 364995"/>
                        <a:gd name="connsiteY171" fmla="*/ 318640 h 490111"/>
                        <a:gd name="connsiteX172" fmla="*/ 228629 w 364995"/>
                        <a:gd name="connsiteY172" fmla="*/ 319990 h 490111"/>
                        <a:gd name="connsiteX173" fmla="*/ 227728 w 364995"/>
                        <a:gd name="connsiteY173" fmla="*/ 320890 h 490111"/>
                        <a:gd name="connsiteX174" fmla="*/ 227728 w 364995"/>
                        <a:gd name="connsiteY174" fmla="*/ 321790 h 490111"/>
                        <a:gd name="connsiteX175" fmla="*/ 228179 w 364995"/>
                        <a:gd name="connsiteY175" fmla="*/ 322690 h 490111"/>
                        <a:gd name="connsiteX176" fmla="*/ 229079 w 364995"/>
                        <a:gd name="connsiteY176" fmla="*/ 323141 h 490111"/>
                        <a:gd name="connsiteX177" fmla="*/ 231329 w 364995"/>
                        <a:gd name="connsiteY177" fmla="*/ 322240 h 490111"/>
                        <a:gd name="connsiteX178" fmla="*/ 231779 w 364995"/>
                        <a:gd name="connsiteY178" fmla="*/ 322240 h 490111"/>
                        <a:gd name="connsiteX179" fmla="*/ 232229 w 364995"/>
                        <a:gd name="connsiteY179" fmla="*/ 323141 h 490111"/>
                        <a:gd name="connsiteX180" fmla="*/ 232679 w 364995"/>
                        <a:gd name="connsiteY180" fmla="*/ 324491 h 490111"/>
                        <a:gd name="connsiteX181" fmla="*/ 233129 w 364995"/>
                        <a:gd name="connsiteY181" fmla="*/ 325391 h 490111"/>
                        <a:gd name="connsiteX182" fmla="*/ 234929 w 364995"/>
                        <a:gd name="connsiteY182" fmla="*/ 326291 h 490111"/>
                        <a:gd name="connsiteX183" fmla="*/ 235379 w 364995"/>
                        <a:gd name="connsiteY183" fmla="*/ 327641 h 490111"/>
                        <a:gd name="connsiteX184" fmla="*/ 236730 w 364995"/>
                        <a:gd name="connsiteY184" fmla="*/ 328991 h 490111"/>
                        <a:gd name="connsiteX185" fmla="*/ 237630 w 364995"/>
                        <a:gd name="connsiteY185" fmla="*/ 330791 h 490111"/>
                        <a:gd name="connsiteX186" fmla="*/ 237630 w 364995"/>
                        <a:gd name="connsiteY186" fmla="*/ 332592 h 490111"/>
                        <a:gd name="connsiteX187" fmla="*/ 236280 w 364995"/>
                        <a:gd name="connsiteY187" fmla="*/ 336192 h 490111"/>
                        <a:gd name="connsiteX188" fmla="*/ 235379 w 364995"/>
                        <a:gd name="connsiteY188" fmla="*/ 337542 h 490111"/>
                        <a:gd name="connsiteX189" fmla="*/ 232229 w 364995"/>
                        <a:gd name="connsiteY189" fmla="*/ 340243 h 490111"/>
                        <a:gd name="connsiteX190" fmla="*/ 231329 w 364995"/>
                        <a:gd name="connsiteY190" fmla="*/ 341593 h 490111"/>
                        <a:gd name="connsiteX191" fmla="*/ 231329 w 364995"/>
                        <a:gd name="connsiteY191" fmla="*/ 342493 h 490111"/>
                        <a:gd name="connsiteX192" fmla="*/ 232679 w 364995"/>
                        <a:gd name="connsiteY192" fmla="*/ 343393 h 490111"/>
                        <a:gd name="connsiteX193" fmla="*/ 234479 w 364995"/>
                        <a:gd name="connsiteY193" fmla="*/ 345643 h 490111"/>
                        <a:gd name="connsiteX194" fmla="*/ 235830 w 364995"/>
                        <a:gd name="connsiteY194" fmla="*/ 346993 h 490111"/>
                        <a:gd name="connsiteX195" fmla="*/ 236730 w 364995"/>
                        <a:gd name="connsiteY195" fmla="*/ 348344 h 490111"/>
                        <a:gd name="connsiteX196" fmla="*/ 237630 w 364995"/>
                        <a:gd name="connsiteY196" fmla="*/ 351494 h 490111"/>
                        <a:gd name="connsiteX197" fmla="*/ 239430 w 364995"/>
                        <a:gd name="connsiteY197" fmla="*/ 352394 h 490111"/>
                        <a:gd name="connsiteX198" fmla="*/ 241680 w 364995"/>
                        <a:gd name="connsiteY198" fmla="*/ 352394 h 490111"/>
                        <a:gd name="connsiteX199" fmla="*/ 242130 w 364995"/>
                        <a:gd name="connsiteY199" fmla="*/ 352844 h 490111"/>
                        <a:gd name="connsiteX200" fmla="*/ 242130 w 364995"/>
                        <a:gd name="connsiteY200" fmla="*/ 353744 h 490111"/>
                        <a:gd name="connsiteX201" fmla="*/ 239880 w 364995"/>
                        <a:gd name="connsiteY201" fmla="*/ 358695 h 490111"/>
                        <a:gd name="connsiteX202" fmla="*/ 239880 w 364995"/>
                        <a:gd name="connsiteY202" fmla="*/ 360495 h 490111"/>
                        <a:gd name="connsiteX203" fmla="*/ 239430 w 364995"/>
                        <a:gd name="connsiteY203" fmla="*/ 361845 h 490111"/>
                        <a:gd name="connsiteX204" fmla="*/ 239430 w 364995"/>
                        <a:gd name="connsiteY204" fmla="*/ 363196 h 490111"/>
                        <a:gd name="connsiteX205" fmla="*/ 240780 w 364995"/>
                        <a:gd name="connsiteY205" fmla="*/ 365896 h 490111"/>
                        <a:gd name="connsiteX206" fmla="*/ 241230 w 364995"/>
                        <a:gd name="connsiteY206" fmla="*/ 366796 h 490111"/>
                        <a:gd name="connsiteX207" fmla="*/ 241230 w 364995"/>
                        <a:gd name="connsiteY207" fmla="*/ 368146 h 490111"/>
                        <a:gd name="connsiteX208" fmla="*/ 241680 w 364995"/>
                        <a:gd name="connsiteY208" fmla="*/ 369046 h 490111"/>
                        <a:gd name="connsiteX209" fmla="*/ 243480 w 364995"/>
                        <a:gd name="connsiteY209" fmla="*/ 369946 h 490111"/>
                        <a:gd name="connsiteX210" fmla="*/ 243930 w 364995"/>
                        <a:gd name="connsiteY210" fmla="*/ 370396 h 490111"/>
                        <a:gd name="connsiteX211" fmla="*/ 244381 w 364995"/>
                        <a:gd name="connsiteY211" fmla="*/ 373097 h 490111"/>
                        <a:gd name="connsiteX212" fmla="*/ 244381 w 364995"/>
                        <a:gd name="connsiteY212" fmla="*/ 373997 h 490111"/>
                        <a:gd name="connsiteX213" fmla="*/ 245281 w 364995"/>
                        <a:gd name="connsiteY213" fmla="*/ 374897 h 490111"/>
                        <a:gd name="connsiteX214" fmla="*/ 250231 w 364995"/>
                        <a:gd name="connsiteY214" fmla="*/ 378047 h 490111"/>
                        <a:gd name="connsiteX215" fmla="*/ 250681 w 364995"/>
                        <a:gd name="connsiteY215" fmla="*/ 378947 h 490111"/>
                        <a:gd name="connsiteX216" fmla="*/ 250681 w 364995"/>
                        <a:gd name="connsiteY216" fmla="*/ 379848 h 490111"/>
                        <a:gd name="connsiteX217" fmla="*/ 248881 w 364995"/>
                        <a:gd name="connsiteY217" fmla="*/ 381198 h 490111"/>
                        <a:gd name="connsiteX218" fmla="*/ 248881 w 364995"/>
                        <a:gd name="connsiteY218" fmla="*/ 382098 h 490111"/>
                        <a:gd name="connsiteX219" fmla="*/ 248881 w 364995"/>
                        <a:gd name="connsiteY219" fmla="*/ 382548 h 490111"/>
                        <a:gd name="connsiteX220" fmla="*/ 249781 w 364995"/>
                        <a:gd name="connsiteY220" fmla="*/ 383448 h 490111"/>
                        <a:gd name="connsiteX221" fmla="*/ 249781 w 364995"/>
                        <a:gd name="connsiteY221" fmla="*/ 384348 h 490111"/>
                        <a:gd name="connsiteX222" fmla="*/ 248881 w 364995"/>
                        <a:gd name="connsiteY222" fmla="*/ 386599 h 490111"/>
                        <a:gd name="connsiteX223" fmla="*/ 248881 w 364995"/>
                        <a:gd name="connsiteY223" fmla="*/ 387949 h 490111"/>
                        <a:gd name="connsiteX224" fmla="*/ 249781 w 364995"/>
                        <a:gd name="connsiteY224" fmla="*/ 390649 h 490111"/>
                        <a:gd name="connsiteX225" fmla="*/ 250231 w 364995"/>
                        <a:gd name="connsiteY225" fmla="*/ 391549 h 490111"/>
                        <a:gd name="connsiteX226" fmla="*/ 250231 w 364995"/>
                        <a:gd name="connsiteY226" fmla="*/ 392449 h 490111"/>
                        <a:gd name="connsiteX227" fmla="*/ 249781 w 364995"/>
                        <a:gd name="connsiteY227" fmla="*/ 393349 h 490111"/>
                        <a:gd name="connsiteX228" fmla="*/ 249781 w 364995"/>
                        <a:gd name="connsiteY228" fmla="*/ 394249 h 490111"/>
                        <a:gd name="connsiteX229" fmla="*/ 250231 w 364995"/>
                        <a:gd name="connsiteY229" fmla="*/ 394699 h 490111"/>
                        <a:gd name="connsiteX230" fmla="*/ 251131 w 364995"/>
                        <a:gd name="connsiteY230" fmla="*/ 395600 h 490111"/>
                        <a:gd name="connsiteX231" fmla="*/ 252482 w 364995"/>
                        <a:gd name="connsiteY231" fmla="*/ 396050 h 490111"/>
                        <a:gd name="connsiteX232" fmla="*/ 255182 w 364995"/>
                        <a:gd name="connsiteY232" fmla="*/ 395600 h 490111"/>
                        <a:gd name="connsiteX233" fmla="*/ 257432 w 364995"/>
                        <a:gd name="connsiteY233" fmla="*/ 396050 h 490111"/>
                        <a:gd name="connsiteX234" fmla="*/ 257882 w 364995"/>
                        <a:gd name="connsiteY234" fmla="*/ 396500 h 490111"/>
                        <a:gd name="connsiteX235" fmla="*/ 258782 w 364995"/>
                        <a:gd name="connsiteY235" fmla="*/ 398300 h 490111"/>
                        <a:gd name="connsiteX236" fmla="*/ 259232 w 364995"/>
                        <a:gd name="connsiteY236" fmla="*/ 398750 h 490111"/>
                        <a:gd name="connsiteX237" fmla="*/ 260133 w 364995"/>
                        <a:gd name="connsiteY237" fmla="*/ 398300 h 490111"/>
                        <a:gd name="connsiteX238" fmla="*/ 262383 w 364995"/>
                        <a:gd name="connsiteY238" fmla="*/ 396500 h 490111"/>
                        <a:gd name="connsiteX239" fmla="*/ 263733 w 364995"/>
                        <a:gd name="connsiteY239" fmla="*/ 396050 h 490111"/>
                        <a:gd name="connsiteX240" fmla="*/ 265083 w 364995"/>
                        <a:gd name="connsiteY240" fmla="*/ 396500 h 490111"/>
                        <a:gd name="connsiteX241" fmla="*/ 268684 w 364995"/>
                        <a:gd name="connsiteY241" fmla="*/ 400100 h 490111"/>
                        <a:gd name="connsiteX242" fmla="*/ 269584 w 364995"/>
                        <a:gd name="connsiteY242" fmla="*/ 401900 h 490111"/>
                        <a:gd name="connsiteX243" fmla="*/ 271834 w 364995"/>
                        <a:gd name="connsiteY243" fmla="*/ 404601 h 490111"/>
                        <a:gd name="connsiteX244" fmla="*/ 272284 w 364995"/>
                        <a:gd name="connsiteY244" fmla="*/ 406401 h 490111"/>
                        <a:gd name="connsiteX245" fmla="*/ 272734 w 364995"/>
                        <a:gd name="connsiteY245" fmla="*/ 407301 h 490111"/>
                        <a:gd name="connsiteX246" fmla="*/ 274984 w 364995"/>
                        <a:gd name="connsiteY246" fmla="*/ 408201 h 490111"/>
                        <a:gd name="connsiteX247" fmla="*/ 275885 w 364995"/>
                        <a:gd name="connsiteY247" fmla="*/ 409551 h 490111"/>
                        <a:gd name="connsiteX248" fmla="*/ 276335 w 364995"/>
                        <a:gd name="connsiteY248" fmla="*/ 410902 h 490111"/>
                        <a:gd name="connsiteX249" fmla="*/ 276785 w 364995"/>
                        <a:gd name="connsiteY249" fmla="*/ 414052 h 490111"/>
                        <a:gd name="connsiteX250" fmla="*/ 280835 w 364995"/>
                        <a:gd name="connsiteY250" fmla="*/ 418102 h 490111"/>
                        <a:gd name="connsiteX251" fmla="*/ 282635 w 364995"/>
                        <a:gd name="connsiteY251" fmla="*/ 419453 h 490111"/>
                        <a:gd name="connsiteX252" fmla="*/ 283986 w 364995"/>
                        <a:gd name="connsiteY252" fmla="*/ 421253 h 490111"/>
                        <a:gd name="connsiteX253" fmla="*/ 284886 w 364995"/>
                        <a:gd name="connsiteY253" fmla="*/ 422153 h 490111"/>
                        <a:gd name="connsiteX254" fmla="*/ 288036 w 364995"/>
                        <a:gd name="connsiteY254" fmla="*/ 423053 h 490111"/>
                        <a:gd name="connsiteX255" fmla="*/ 291636 w 364995"/>
                        <a:gd name="connsiteY255" fmla="*/ 423053 h 490111"/>
                        <a:gd name="connsiteX256" fmla="*/ 292987 w 364995"/>
                        <a:gd name="connsiteY256" fmla="*/ 423953 h 490111"/>
                        <a:gd name="connsiteX257" fmla="*/ 294337 w 364995"/>
                        <a:gd name="connsiteY257" fmla="*/ 425303 h 490111"/>
                        <a:gd name="connsiteX258" fmla="*/ 295237 w 364995"/>
                        <a:gd name="connsiteY258" fmla="*/ 428004 h 490111"/>
                        <a:gd name="connsiteX259" fmla="*/ 296137 w 364995"/>
                        <a:gd name="connsiteY259" fmla="*/ 429354 h 490111"/>
                        <a:gd name="connsiteX260" fmla="*/ 297037 w 364995"/>
                        <a:gd name="connsiteY260" fmla="*/ 435205 h 490111"/>
                        <a:gd name="connsiteX261" fmla="*/ 297037 w 364995"/>
                        <a:gd name="connsiteY261" fmla="*/ 437005 h 490111"/>
                        <a:gd name="connsiteX262" fmla="*/ 296587 w 364995"/>
                        <a:gd name="connsiteY262" fmla="*/ 440155 h 490111"/>
                        <a:gd name="connsiteX263" fmla="*/ 295237 w 364995"/>
                        <a:gd name="connsiteY263" fmla="*/ 441505 h 490111"/>
                        <a:gd name="connsiteX264" fmla="*/ 294787 w 364995"/>
                        <a:gd name="connsiteY264" fmla="*/ 441955 h 490111"/>
                        <a:gd name="connsiteX265" fmla="*/ 294787 w 364995"/>
                        <a:gd name="connsiteY265" fmla="*/ 442405 h 490111"/>
                        <a:gd name="connsiteX266" fmla="*/ 295687 w 364995"/>
                        <a:gd name="connsiteY266" fmla="*/ 443305 h 490111"/>
                        <a:gd name="connsiteX267" fmla="*/ 297487 w 364995"/>
                        <a:gd name="connsiteY267" fmla="*/ 442856 h 490111"/>
                        <a:gd name="connsiteX268" fmla="*/ 297937 w 364995"/>
                        <a:gd name="connsiteY268" fmla="*/ 443305 h 490111"/>
                        <a:gd name="connsiteX269" fmla="*/ 298837 w 364995"/>
                        <a:gd name="connsiteY269" fmla="*/ 447806 h 490111"/>
                        <a:gd name="connsiteX270" fmla="*/ 298837 w 364995"/>
                        <a:gd name="connsiteY270" fmla="*/ 450506 h 490111"/>
                        <a:gd name="connsiteX271" fmla="*/ 298837 w 364995"/>
                        <a:gd name="connsiteY271" fmla="*/ 451407 h 490111"/>
                        <a:gd name="connsiteX272" fmla="*/ 299287 w 364995"/>
                        <a:gd name="connsiteY272" fmla="*/ 452757 h 490111"/>
                        <a:gd name="connsiteX273" fmla="*/ 299287 w 364995"/>
                        <a:gd name="connsiteY273" fmla="*/ 454557 h 490111"/>
                        <a:gd name="connsiteX274" fmla="*/ 299738 w 364995"/>
                        <a:gd name="connsiteY274" fmla="*/ 455907 h 490111"/>
                        <a:gd name="connsiteX275" fmla="*/ 300188 w 364995"/>
                        <a:gd name="connsiteY275" fmla="*/ 456357 h 490111"/>
                        <a:gd name="connsiteX276" fmla="*/ 301538 w 364995"/>
                        <a:gd name="connsiteY276" fmla="*/ 455907 h 490111"/>
                        <a:gd name="connsiteX277" fmla="*/ 303788 w 364995"/>
                        <a:gd name="connsiteY277" fmla="*/ 456357 h 490111"/>
                        <a:gd name="connsiteX278" fmla="*/ 306938 w 364995"/>
                        <a:gd name="connsiteY278" fmla="*/ 454557 h 490111"/>
                        <a:gd name="connsiteX279" fmla="*/ 310539 w 364995"/>
                        <a:gd name="connsiteY279" fmla="*/ 455457 h 490111"/>
                        <a:gd name="connsiteX280" fmla="*/ 311889 w 364995"/>
                        <a:gd name="connsiteY280" fmla="*/ 455457 h 490111"/>
                        <a:gd name="connsiteX281" fmla="*/ 312789 w 364995"/>
                        <a:gd name="connsiteY281" fmla="*/ 455007 h 490111"/>
                        <a:gd name="connsiteX282" fmla="*/ 313239 w 364995"/>
                        <a:gd name="connsiteY282" fmla="*/ 454557 h 490111"/>
                        <a:gd name="connsiteX283" fmla="*/ 313239 w 364995"/>
                        <a:gd name="connsiteY283" fmla="*/ 453207 h 490111"/>
                        <a:gd name="connsiteX284" fmla="*/ 313689 w 364995"/>
                        <a:gd name="connsiteY284" fmla="*/ 452757 h 490111"/>
                        <a:gd name="connsiteX285" fmla="*/ 315039 w 364995"/>
                        <a:gd name="connsiteY285" fmla="*/ 452307 h 490111"/>
                        <a:gd name="connsiteX286" fmla="*/ 315939 w 364995"/>
                        <a:gd name="connsiteY286" fmla="*/ 452307 h 490111"/>
                        <a:gd name="connsiteX287" fmla="*/ 316390 w 364995"/>
                        <a:gd name="connsiteY287" fmla="*/ 453657 h 490111"/>
                        <a:gd name="connsiteX288" fmla="*/ 317290 w 364995"/>
                        <a:gd name="connsiteY288" fmla="*/ 454107 h 490111"/>
                        <a:gd name="connsiteX289" fmla="*/ 318640 w 364995"/>
                        <a:gd name="connsiteY289" fmla="*/ 454557 h 490111"/>
                        <a:gd name="connsiteX290" fmla="*/ 319540 w 364995"/>
                        <a:gd name="connsiteY290" fmla="*/ 452307 h 490111"/>
                        <a:gd name="connsiteX291" fmla="*/ 319990 w 364995"/>
                        <a:gd name="connsiteY291" fmla="*/ 451407 h 490111"/>
                        <a:gd name="connsiteX292" fmla="*/ 320890 w 364995"/>
                        <a:gd name="connsiteY292" fmla="*/ 450956 h 490111"/>
                        <a:gd name="connsiteX293" fmla="*/ 321790 w 364995"/>
                        <a:gd name="connsiteY293" fmla="*/ 450956 h 490111"/>
                        <a:gd name="connsiteX294" fmla="*/ 324941 w 364995"/>
                        <a:gd name="connsiteY294" fmla="*/ 453207 h 490111"/>
                        <a:gd name="connsiteX295" fmla="*/ 331691 w 364995"/>
                        <a:gd name="connsiteY295" fmla="*/ 455457 h 490111"/>
                        <a:gd name="connsiteX296" fmla="*/ 333042 w 364995"/>
                        <a:gd name="connsiteY296" fmla="*/ 455457 h 490111"/>
                        <a:gd name="connsiteX297" fmla="*/ 334842 w 364995"/>
                        <a:gd name="connsiteY297" fmla="*/ 454107 h 490111"/>
                        <a:gd name="connsiteX298" fmla="*/ 336642 w 364995"/>
                        <a:gd name="connsiteY298" fmla="*/ 453207 h 490111"/>
                        <a:gd name="connsiteX299" fmla="*/ 342493 w 364995"/>
                        <a:gd name="connsiteY299" fmla="*/ 452307 h 490111"/>
                        <a:gd name="connsiteX300" fmla="*/ 342943 w 364995"/>
                        <a:gd name="connsiteY300" fmla="*/ 449606 h 490111"/>
                        <a:gd name="connsiteX301" fmla="*/ 343393 w 364995"/>
                        <a:gd name="connsiteY301" fmla="*/ 448706 h 490111"/>
                        <a:gd name="connsiteX302" fmla="*/ 343843 w 364995"/>
                        <a:gd name="connsiteY302" fmla="*/ 448256 h 490111"/>
                        <a:gd name="connsiteX303" fmla="*/ 347894 w 364995"/>
                        <a:gd name="connsiteY303" fmla="*/ 448256 h 490111"/>
                        <a:gd name="connsiteX304" fmla="*/ 348794 w 364995"/>
                        <a:gd name="connsiteY304" fmla="*/ 448706 h 490111"/>
                        <a:gd name="connsiteX305" fmla="*/ 350594 w 364995"/>
                        <a:gd name="connsiteY305" fmla="*/ 454557 h 490111"/>
                        <a:gd name="connsiteX306" fmla="*/ 350594 w 364995"/>
                        <a:gd name="connsiteY306" fmla="*/ 455907 h 490111"/>
                        <a:gd name="connsiteX307" fmla="*/ 348344 w 364995"/>
                        <a:gd name="connsiteY307" fmla="*/ 459508 h 490111"/>
                        <a:gd name="connsiteX308" fmla="*/ 348344 w 364995"/>
                        <a:gd name="connsiteY308" fmla="*/ 460408 h 490111"/>
                        <a:gd name="connsiteX309" fmla="*/ 348794 w 364995"/>
                        <a:gd name="connsiteY309" fmla="*/ 461308 h 490111"/>
                        <a:gd name="connsiteX310" fmla="*/ 351494 w 364995"/>
                        <a:gd name="connsiteY310" fmla="*/ 465358 h 490111"/>
                        <a:gd name="connsiteX311" fmla="*/ 352844 w 364995"/>
                        <a:gd name="connsiteY311" fmla="*/ 468509 h 490111"/>
                        <a:gd name="connsiteX312" fmla="*/ 355995 w 364995"/>
                        <a:gd name="connsiteY312" fmla="*/ 469409 h 490111"/>
                        <a:gd name="connsiteX313" fmla="*/ 356445 w 364995"/>
                        <a:gd name="connsiteY313" fmla="*/ 470309 h 490111"/>
                        <a:gd name="connsiteX314" fmla="*/ 356895 w 364995"/>
                        <a:gd name="connsiteY314" fmla="*/ 474809 h 490111"/>
                        <a:gd name="connsiteX315" fmla="*/ 357345 w 364995"/>
                        <a:gd name="connsiteY315" fmla="*/ 476160 h 490111"/>
                        <a:gd name="connsiteX316" fmla="*/ 359145 w 364995"/>
                        <a:gd name="connsiteY316" fmla="*/ 480210 h 490111"/>
                        <a:gd name="connsiteX317" fmla="*/ 361395 w 364995"/>
                        <a:gd name="connsiteY317" fmla="*/ 484261 h 490111"/>
                        <a:gd name="connsiteX318" fmla="*/ 361395 w 364995"/>
                        <a:gd name="connsiteY318" fmla="*/ 485611 h 490111"/>
                        <a:gd name="connsiteX319" fmla="*/ 360945 w 364995"/>
                        <a:gd name="connsiteY319" fmla="*/ 487411 h 490111"/>
                        <a:gd name="connsiteX320" fmla="*/ 360945 w 364995"/>
                        <a:gd name="connsiteY320" fmla="*/ 487861 h 490111"/>
                        <a:gd name="connsiteX321" fmla="*/ 361395 w 364995"/>
                        <a:gd name="connsiteY321" fmla="*/ 488311 h 490111"/>
                        <a:gd name="connsiteX322" fmla="*/ 363645 w 364995"/>
                        <a:gd name="connsiteY322" fmla="*/ 488311 h 490111"/>
                        <a:gd name="connsiteX323" fmla="*/ 364546 w 364995"/>
                        <a:gd name="connsiteY323" fmla="*/ 489211 h 490111"/>
                        <a:gd name="connsiteX324" fmla="*/ 364996 w 364995"/>
                        <a:gd name="connsiteY324" fmla="*/ 490111 h 490111"/>
                        <a:gd name="connsiteX325" fmla="*/ 344743 w 364995"/>
                        <a:gd name="connsiteY325" fmla="*/ 490111 h 490111"/>
                        <a:gd name="connsiteX326" fmla="*/ 324491 w 364995"/>
                        <a:gd name="connsiteY326" fmla="*/ 490111 h 490111"/>
                        <a:gd name="connsiteX327" fmla="*/ 304238 w 364995"/>
                        <a:gd name="connsiteY327" fmla="*/ 490111 h 490111"/>
                        <a:gd name="connsiteX328" fmla="*/ 283986 w 364995"/>
                        <a:gd name="connsiteY328" fmla="*/ 490111 h 490111"/>
                        <a:gd name="connsiteX329" fmla="*/ 263733 w 364995"/>
                        <a:gd name="connsiteY329" fmla="*/ 490111 h 490111"/>
                        <a:gd name="connsiteX330" fmla="*/ 243480 w 364995"/>
                        <a:gd name="connsiteY330" fmla="*/ 490111 h 490111"/>
                        <a:gd name="connsiteX331" fmla="*/ 223228 w 364995"/>
                        <a:gd name="connsiteY331" fmla="*/ 490111 h 490111"/>
                        <a:gd name="connsiteX332" fmla="*/ 202975 w 364995"/>
                        <a:gd name="connsiteY332" fmla="*/ 490111 h 490111"/>
                        <a:gd name="connsiteX333" fmla="*/ 182723 w 364995"/>
                        <a:gd name="connsiteY333" fmla="*/ 490111 h 490111"/>
                        <a:gd name="connsiteX334" fmla="*/ 162470 w 364995"/>
                        <a:gd name="connsiteY334" fmla="*/ 490111 h 490111"/>
                        <a:gd name="connsiteX335" fmla="*/ 142218 w 364995"/>
                        <a:gd name="connsiteY335" fmla="*/ 490111 h 490111"/>
                        <a:gd name="connsiteX336" fmla="*/ 121965 w 364995"/>
                        <a:gd name="connsiteY336" fmla="*/ 490111 h 490111"/>
                        <a:gd name="connsiteX337" fmla="*/ 101713 w 364995"/>
                        <a:gd name="connsiteY337" fmla="*/ 490111 h 490111"/>
                        <a:gd name="connsiteX338" fmla="*/ 81460 w 364995"/>
                        <a:gd name="connsiteY338" fmla="*/ 490111 h 490111"/>
                        <a:gd name="connsiteX339" fmla="*/ 61208 w 364995"/>
                        <a:gd name="connsiteY339" fmla="*/ 490111 h 490111"/>
                        <a:gd name="connsiteX340" fmla="*/ 40955 w 364995"/>
                        <a:gd name="connsiteY340" fmla="*/ 490111 h 490111"/>
                        <a:gd name="connsiteX341" fmla="*/ 38255 w 364995"/>
                        <a:gd name="connsiteY341" fmla="*/ 486511 h 490111"/>
                        <a:gd name="connsiteX342" fmla="*/ 39155 w 364995"/>
                        <a:gd name="connsiteY342" fmla="*/ 482911 h 490111"/>
                        <a:gd name="connsiteX343" fmla="*/ 40505 w 364995"/>
                        <a:gd name="connsiteY343" fmla="*/ 478410 h 490111"/>
                        <a:gd name="connsiteX344" fmla="*/ 40505 w 364995"/>
                        <a:gd name="connsiteY344" fmla="*/ 475710 h 490111"/>
                        <a:gd name="connsiteX345" fmla="*/ 37355 w 364995"/>
                        <a:gd name="connsiteY345" fmla="*/ 475710 h 490111"/>
                        <a:gd name="connsiteX346" fmla="*/ 32404 w 364995"/>
                        <a:gd name="connsiteY346" fmla="*/ 476160 h 490111"/>
                        <a:gd name="connsiteX347" fmla="*/ 27903 w 364995"/>
                        <a:gd name="connsiteY347" fmla="*/ 476610 h 490111"/>
                        <a:gd name="connsiteX348" fmla="*/ 24753 w 364995"/>
                        <a:gd name="connsiteY348" fmla="*/ 479760 h 490111"/>
                        <a:gd name="connsiteX349" fmla="*/ 21603 w 364995"/>
                        <a:gd name="connsiteY349" fmla="*/ 482911 h 490111"/>
                        <a:gd name="connsiteX350" fmla="*/ 16652 w 364995"/>
                        <a:gd name="connsiteY350" fmla="*/ 480660 h 490111"/>
                        <a:gd name="connsiteX351" fmla="*/ 11251 w 364995"/>
                        <a:gd name="connsiteY351" fmla="*/ 477960 h 490111"/>
                        <a:gd name="connsiteX352" fmla="*/ 9901 w 364995"/>
                        <a:gd name="connsiteY352" fmla="*/ 481560 h 490111"/>
                        <a:gd name="connsiteX353" fmla="*/ 4951 w 364995"/>
                        <a:gd name="connsiteY353" fmla="*/ 479760 h 490111"/>
                        <a:gd name="connsiteX354" fmla="*/ 0 w 364995"/>
                        <a:gd name="connsiteY354" fmla="*/ 477960 h 490111"/>
                        <a:gd name="connsiteX355" fmla="*/ 0 w 364995"/>
                        <a:gd name="connsiteY355" fmla="*/ 465358 h 490111"/>
                        <a:gd name="connsiteX356" fmla="*/ 0 w 364995"/>
                        <a:gd name="connsiteY356" fmla="*/ 452757 h 490111"/>
                        <a:gd name="connsiteX357" fmla="*/ 0 w 364995"/>
                        <a:gd name="connsiteY357" fmla="*/ 440155 h 490111"/>
                        <a:gd name="connsiteX358" fmla="*/ 0 w 364995"/>
                        <a:gd name="connsiteY358" fmla="*/ 427104 h 490111"/>
                        <a:gd name="connsiteX359" fmla="*/ 0 w 364995"/>
                        <a:gd name="connsiteY359" fmla="*/ 414052 h 490111"/>
                        <a:gd name="connsiteX360" fmla="*/ 0 w 364995"/>
                        <a:gd name="connsiteY360" fmla="*/ 401000 h 490111"/>
                        <a:gd name="connsiteX361" fmla="*/ 0 w 364995"/>
                        <a:gd name="connsiteY361" fmla="*/ 387949 h 490111"/>
                        <a:gd name="connsiteX362" fmla="*/ 0 w 364995"/>
                        <a:gd name="connsiteY362" fmla="*/ 374447 h 490111"/>
                        <a:gd name="connsiteX363" fmla="*/ 0 w 364995"/>
                        <a:gd name="connsiteY363" fmla="*/ 360945 h 490111"/>
                        <a:gd name="connsiteX364" fmla="*/ 0 w 364995"/>
                        <a:gd name="connsiteY364" fmla="*/ 347444 h 490111"/>
                        <a:gd name="connsiteX365" fmla="*/ 0 w 364995"/>
                        <a:gd name="connsiteY365" fmla="*/ 333492 h 490111"/>
                        <a:gd name="connsiteX366" fmla="*/ 0 w 364995"/>
                        <a:gd name="connsiteY366" fmla="*/ 319540 h 490111"/>
                        <a:gd name="connsiteX367" fmla="*/ 0 w 364995"/>
                        <a:gd name="connsiteY367" fmla="*/ 305588 h 490111"/>
                        <a:gd name="connsiteX368" fmla="*/ 0 w 364995"/>
                        <a:gd name="connsiteY368" fmla="*/ 286686 h 490111"/>
                        <a:gd name="connsiteX369" fmla="*/ 0 w 364995"/>
                        <a:gd name="connsiteY369" fmla="*/ 272284 h 490111"/>
                        <a:gd name="connsiteX370" fmla="*/ 0 w 364995"/>
                        <a:gd name="connsiteY370" fmla="*/ 257882 h 490111"/>
                        <a:gd name="connsiteX371" fmla="*/ 0 w 364995"/>
                        <a:gd name="connsiteY371" fmla="*/ 243030 h 490111"/>
                        <a:gd name="connsiteX372" fmla="*/ 0 w 364995"/>
                        <a:gd name="connsiteY372" fmla="*/ 228179 h 490111"/>
                        <a:gd name="connsiteX373" fmla="*/ 0 w 364995"/>
                        <a:gd name="connsiteY373" fmla="*/ 213327 h 490111"/>
                        <a:gd name="connsiteX374" fmla="*/ 0 w 364995"/>
                        <a:gd name="connsiteY374" fmla="*/ 198025 h 490111"/>
                        <a:gd name="connsiteX375" fmla="*/ 0 w 364995"/>
                        <a:gd name="connsiteY375" fmla="*/ 182723 h 490111"/>
                        <a:gd name="connsiteX376" fmla="*/ 0 w 364995"/>
                        <a:gd name="connsiteY376" fmla="*/ 166971 h 490111"/>
                        <a:gd name="connsiteX377" fmla="*/ 0 w 364995"/>
                        <a:gd name="connsiteY377" fmla="*/ 151219 h 490111"/>
                        <a:gd name="connsiteX378" fmla="*/ 0 w 364995"/>
                        <a:gd name="connsiteY378" fmla="*/ 135467 h 490111"/>
                        <a:gd name="connsiteX379" fmla="*/ 0 w 364995"/>
                        <a:gd name="connsiteY379" fmla="*/ 119265 h 490111"/>
                        <a:gd name="connsiteX380" fmla="*/ 0 w 364995"/>
                        <a:gd name="connsiteY380" fmla="*/ 103063 h 490111"/>
                        <a:gd name="connsiteX381" fmla="*/ 0 w 364995"/>
                        <a:gd name="connsiteY381" fmla="*/ 86411 h 490111"/>
                        <a:gd name="connsiteX382" fmla="*/ 0 w 364995"/>
                        <a:gd name="connsiteY382" fmla="*/ 69759 h 490111"/>
                        <a:gd name="connsiteX383" fmla="*/ 0 w 364995"/>
                        <a:gd name="connsiteY383" fmla="*/ 52657 h 490111"/>
                        <a:gd name="connsiteX384" fmla="*/ 0 w 364995"/>
                        <a:gd name="connsiteY384" fmla="*/ 35555 h 490111"/>
                        <a:gd name="connsiteX385" fmla="*/ 0 w 364995"/>
                        <a:gd name="connsiteY385" fmla="*/ 18002 h 490111"/>
                        <a:gd name="connsiteX386" fmla="*/ 0 w 364995"/>
                        <a:gd name="connsiteY386" fmla="*/ 450 h 490111"/>
                        <a:gd name="connsiteX387" fmla="*/ 3150 w 364995"/>
                        <a:gd name="connsiteY387" fmla="*/ 1350 h 490111"/>
                        <a:gd name="connsiteX388" fmla="*/ 12602 w 364995"/>
                        <a:gd name="connsiteY388" fmla="*/ 3150 h 490111"/>
                        <a:gd name="connsiteX389" fmla="*/ 21603 w 364995"/>
                        <a:gd name="connsiteY389" fmla="*/ 1800 h 490111"/>
                        <a:gd name="connsiteX390" fmla="*/ 38255 w 364995"/>
                        <a:gd name="connsiteY390" fmla="*/ 8101 h 490111"/>
                        <a:gd name="connsiteX391" fmla="*/ 48606 w 364995"/>
                        <a:gd name="connsiteY391" fmla="*/ 20253 h 490111"/>
                        <a:gd name="connsiteX392" fmla="*/ 57157 w 364995"/>
                        <a:gd name="connsiteY392" fmla="*/ 26103 h 490111"/>
                        <a:gd name="connsiteX393" fmla="*/ 60758 w 364995"/>
                        <a:gd name="connsiteY393" fmla="*/ 30154 h 490111"/>
                        <a:gd name="connsiteX394" fmla="*/ 66158 w 364995"/>
                        <a:gd name="connsiteY394" fmla="*/ 33754 h 490111"/>
                        <a:gd name="connsiteX395" fmla="*/ 79210 w 364995"/>
                        <a:gd name="connsiteY395" fmla="*/ 41405 h 490111"/>
                        <a:gd name="connsiteX396" fmla="*/ 83260 w 364995"/>
                        <a:gd name="connsiteY396" fmla="*/ 42305 h 490111"/>
                        <a:gd name="connsiteX397" fmla="*/ 90911 w 364995"/>
                        <a:gd name="connsiteY397" fmla="*/ 45906 h 490111"/>
                        <a:gd name="connsiteX398" fmla="*/ 95412 w 364995"/>
                        <a:gd name="connsiteY398" fmla="*/ 45456 h 490111"/>
                        <a:gd name="connsiteX399" fmla="*/ 96762 w 364995"/>
                        <a:gd name="connsiteY399" fmla="*/ 45006 h 490111"/>
                        <a:gd name="connsiteX400" fmla="*/ 41405 w 364995"/>
                        <a:gd name="connsiteY400" fmla="*/ 4501 h 490111"/>
                        <a:gd name="connsiteX401" fmla="*/ 39605 w 364995"/>
                        <a:gd name="connsiteY401" fmla="*/ 6751 h 490111"/>
                        <a:gd name="connsiteX402" fmla="*/ 36905 w 364995"/>
                        <a:gd name="connsiteY402" fmla="*/ 4501 h 490111"/>
                        <a:gd name="connsiteX403" fmla="*/ 36005 w 364995"/>
                        <a:gd name="connsiteY403" fmla="*/ 3150 h 490111"/>
                        <a:gd name="connsiteX404" fmla="*/ 39155 w 364995"/>
                        <a:gd name="connsiteY404" fmla="*/ 0 h 490111"/>
                        <a:gd name="connsiteX405" fmla="*/ 40505 w 364995"/>
                        <a:gd name="connsiteY405" fmla="*/ 0 h 490111"/>
                        <a:gd name="connsiteX406" fmla="*/ 43655 w 364995"/>
                        <a:gd name="connsiteY406" fmla="*/ 1800 h 490111"/>
                        <a:gd name="connsiteX407" fmla="*/ 44556 w 364995"/>
                        <a:gd name="connsiteY407" fmla="*/ 3601 h 490111"/>
                        <a:gd name="connsiteX408" fmla="*/ 41405 w 364995"/>
                        <a:gd name="connsiteY408" fmla="*/ 4501 h 4901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Lst>
                      <a:rect l="l" t="t" r="r" b="b"/>
                      <a:pathLst>
                        <a:path w="364995" h="490111">
                          <a:moveTo>
                            <a:pt x="96762" y="45006"/>
                          </a:moveTo>
                          <a:lnTo>
                            <a:pt x="96762" y="61208"/>
                          </a:lnTo>
                          <a:lnTo>
                            <a:pt x="96762" y="77860"/>
                          </a:lnTo>
                          <a:lnTo>
                            <a:pt x="96762" y="94512"/>
                          </a:lnTo>
                          <a:lnTo>
                            <a:pt x="96762" y="110714"/>
                          </a:lnTo>
                          <a:lnTo>
                            <a:pt x="97212" y="112964"/>
                          </a:lnTo>
                          <a:lnTo>
                            <a:pt x="98112" y="115214"/>
                          </a:lnTo>
                          <a:lnTo>
                            <a:pt x="100813" y="117915"/>
                          </a:lnTo>
                          <a:lnTo>
                            <a:pt x="101263" y="118815"/>
                          </a:lnTo>
                          <a:lnTo>
                            <a:pt x="101713" y="120165"/>
                          </a:lnTo>
                          <a:lnTo>
                            <a:pt x="102613" y="123765"/>
                          </a:lnTo>
                          <a:lnTo>
                            <a:pt x="102613" y="127366"/>
                          </a:lnTo>
                          <a:lnTo>
                            <a:pt x="102613" y="128716"/>
                          </a:lnTo>
                          <a:lnTo>
                            <a:pt x="103063" y="130516"/>
                          </a:lnTo>
                          <a:lnTo>
                            <a:pt x="103513" y="131417"/>
                          </a:lnTo>
                          <a:lnTo>
                            <a:pt x="103963" y="132767"/>
                          </a:lnTo>
                          <a:lnTo>
                            <a:pt x="104413" y="135467"/>
                          </a:lnTo>
                          <a:lnTo>
                            <a:pt x="104413" y="136367"/>
                          </a:lnTo>
                          <a:lnTo>
                            <a:pt x="103513" y="139517"/>
                          </a:lnTo>
                          <a:lnTo>
                            <a:pt x="102163" y="141768"/>
                          </a:lnTo>
                          <a:lnTo>
                            <a:pt x="102163" y="142668"/>
                          </a:lnTo>
                          <a:lnTo>
                            <a:pt x="102163" y="144018"/>
                          </a:lnTo>
                          <a:lnTo>
                            <a:pt x="102163" y="146718"/>
                          </a:lnTo>
                          <a:lnTo>
                            <a:pt x="102613" y="149419"/>
                          </a:lnTo>
                          <a:lnTo>
                            <a:pt x="103063" y="150769"/>
                          </a:lnTo>
                          <a:lnTo>
                            <a:pt x="103963" y="151219"/>
                          </a:lnTo>
                          <a:lnTo>
                            <a:pt x="110264" y="151219"/>
                          </a:lnTo>
                          <a:lnTo>
                            <a:pt x="116565" y="151219"/>
                          </a:lnTo>
                          <a:lnTo>
                            <a:pt x="122865" y="151219"/>
                          </a:lnTo>
                          <a:lnTo>
                            <a:pt x="129166" y="151219"/>
                          </a:lnTo>
                          <a:lnTo>
                            <a:pt x="135467" y="151219"/>
                          </a:lnTo>
                          <a:lnTo>
                            <a:pt x="141768" y="151219"/>
                          </a:lnTo>
                          <a:lnTo>
                            <a:pt x="148069" y="151219"/>
                          </a:lnTo>
                          <a:lnTo>
                            <a:pt x="149419" y="151219"/>
                          </a:lnTo>
                          <a:lnTo>
                            <a:pt x="149419" y="153019"/>
                          </a:lnTo>
                          <a:lnTo>
                            <a:pt x="149869" y="154369"/>
                          </a:lnTo>
                          <a:lnTo>
                            <a:pt x="152119" y="156620"/>
                          </a:lnTo>
                          <a:lnTo>
                            <a:pt x="153919" y="158870"/>
                          </a:lnTo>
                          <a:lnTo>
                            <a:pt x="155269" y="161120"/>
                          </a:lnTo>
                          <a:lnTo>
                            <a:pt x="155719" y="162920"/>
                          </a:lnTo>
                          <a:lnTo>
                            <a:pt x="155269" y="164721"/>
                          </a:lnTo>
                          <a:lnTo>
                            <a:pt x="155269" y="165621"/>
                          </a:lnTo>
                          <a:lnTo>
                            <a:pt x="155269" y="166971"/>
                          </a:lnTo>
                          <a:lnTo>
                            <a:pt x="155719" y="168321"/>
                          </a:lnTo>
                          <a:lnTo>
                            <a:pt x="155719" y="169221"/>
                          </a:lnTo>
                          <a:lnTo>
                            <a:pt x="155719" y="170121"/>
                          </a:lnTo>
                          <a:lnTo>
                            <a:pt x="156620" y="171021"/>
                          </a:lnTo>
                          <a:lnTo>
                            <a:pt x="157970" y="173272"/>
                          </a:lnTo>
                          <a:lnTo>
                            <a:pt x="158420" y="174172"/>
                          </a:lnTo>
                          <a:lnTo>
                            <a:pt x="157970" y="175522"/>
                          </a:lnTo>
                          <a:lnTo>
                            <a:pt x="157970" y="176872"/>
                          </a:lnTo>
                          <a:lnTo>
                            <a:pt x="157970" y="178672"/>
                          </a:lnTo>
                          <a:lnTo>
                            <a:pt x="157970" y="179573"/>
                          </a:lnTo>
                          <a:lnTo>
                            <a:pt x="157520" y="180023"/>
                          </a:lnTo>
                          <a:lnTo>
                            <a:pt x="157070" y="180023"/>
                          </a:lnTo>
                          <a:lnTo>
                            <a:pt x="156170" y="180473"/>
                          </a:lnTo>
                          <a:lnTo>
                            <a:pt x="155719" y="181823"/>
                          </a:lnTo>
                          <a:lnTo>
                            <a:pt x="155269" y="185423"/>
                          </a:lnTo>
                          <a:lnTo>
                            <a:pt x="155269" y="186773"/>
                          </a:lnTo>
                          <a:lnTo>
                            <a:pt x="155269" y="187674"/>
                          </a:lnTo>
                          <a:lnTo>
                            <a:pt x="155719" y="187674"/>
                          </a:lnTo>
                          <a:lnTo>
                            <a:pt x="157970" y="187674"/>
                          </a:lnTo>
                          <a:lnTo>
                            <a:pt x="158870" y="188124"/>
                          </a:lnTo>
                          <a:lnTo>
                            <a:pt x="159320" y="188574"/>
                          </a:lnTo>
                          <a:lnTo>
                            <a:pt x="159770" y="190374"/>
                          </a:lnTo>
                          <a:lnTo>
                            <a:pt x="159770" y="192624"/>
                          </a:lnTo>
                          <a:lnTo>
                            <a:pt x="159770" y="194424"/>
                          </a:lnTo>
                          <a:lnTo>
                            <a:pt x="159320" y="195775"/>
                          </a:lnTo>
                          <a:lnTo>
                            <a:pt x="157970" y="197575"/>
                          </a:lnTo>
                          <a:lnTo>
                            <a:pt x="157520" y="198475"/>
                          </a:lnTo>
                          <a:lnTo>
                            <a:pt x="157520" y="199825"/>
                          </a:lnTo>
                          <a:lnTo>
                            <a:pt x="157970" y="201175"/>
                          </a:lnTo>
                          <a:lnTo>
                            <a:pt x="158420" y="203426"/>
                          </a:lnTo>
                          <a:lnTo>
                            <a:pt x="158420" y="205226"/>
                          </a:lnTo>
                          <a:lnTo>
                            <a:pt x="159320" y="205676"/>
                          </a:lnTo>
                          <a:lnTo>
                            <a:pt x="161120" y="206126"/>
                          </a:lnTo>
                          <a:lnTo>
                            <a:pt x="162920" y="206126"/>
                          </a:lnTo>
                          <a:lnTo>
                            <a:pt x="166971" y="203426"/>
                          </a:lnTo>
                          <a:lnTo>
                            <a:pt x="171021" y="202525"/>
                          </a:lnTo>
                          <a:lnTo>
                            <a:pt x="173272" y="202525"/>
                          </a:lnTo>
                          <a:lnTo>
                            <a:pt x="173722" y="202975"/>
                          </a:lnTo>
                          <a:lnTo>
                            <a:pt x="173722" y="203876"/>
                          </a:lnTo>
                          <a:lnTo>
                            <a:pt x="173272" y="205226"/>
                          </a:lnTo>
                          <a:lnTo>
                            <a:pt x="172822" y="207476"/>
                          </a:lnTo>
                          <a:lnTo>
                            <a:pt x="173272" y="208376"/>
                          </a:lnTo>
                          <a:lnTo>
                            <a:pt x="174172" y="208376"/>
                          </a:lnTo>
                          <a:lnTo>
                            <a:pt x="175972" y="207476"/>
                          </a:lnTo>
                          <a:lnTo>
                            <a:pt x="177322" y="205226"/>
                          </a:lnTo>
                          <a:lnTo>
                            <a:pt x="178222" y="203876"/>
                          </a:lnTo>
                          <a:lnTo>
                            <a:pt x="180473" y="202075"/>
                          </a:lnTo>
                          <a:lnTo>
                            <a:pt x="181373" y="202525"/>
                          </a:lnTo>
                          <a:lnTo>
                            <a:pt x="183173" y="204326"/>
                          </a:lnTo>
                          <a:lnTo>
                            <a:pt x="185423" y="203876"/>
                          </a:lnTo>
                          <a:lnTo>
                            <a:pt x="185873" y="204776"/>
                          </a:lnTo>
                          <a:lnTo>
                            <a:pt x="185873" y="206126"/>
                          </a:lnTo>
                          <a:lnTo>
                            <a:pt x="181823" y="209726"/>
                          </a:lnTo>
                          <a:lnTo>
                            <a:pt x="181373" y="211077"/>
                          </a:lnTo>
                          <a:lnTo>
                            <a:pt x="181823" y="212427"/>
                          </a:lnTo>
                          <a:lnTo>
                            <a:pt x="182723" y="213327"/>
                          </a:lnTo>
                          <a:lnTo>
                            <a:pt x="184973" y="216027"/>
                          </a:lnTo>
                          <a:lnTo>
                            <a:pt x="186773" y="218727"/>
                          </a:lnTo>
                          <a:lnTo>
                            <a:pt x="189024" y="223228"/>
                          </a:lnTo>
                          <a:lnTo>
                            <a:pt x="189024" y="224578"/>
                          </a:lnTo>
                          <a:lnTo>
                            <a:pt x="187673" y="227729"/>
                          </a:lnTo>
                          <a:lnTo>
                            <a:pt x="185873" y="232679"/>
                          </a:lnTo>
                          <a:lnTo>
                            <a:pt x="181823" y="238080"/>
                          </a:lnTo>
                          <a:lnTo>
                            <a:pt x="181373" y="240330"/>
                          </a:lnTo>
                          <a:lnTo>
                            <a:pt x="180923" y="241230"/>
                          </a:lnTo>
                          <a:lnTo>
                            <a:pt x="177322" y="243931"/>
                          </a:lnTo>
                          <a:lnTo>
                            <a:pt x="174622" y="246181"/>
                          </a:lnTo>
                          <a:lnTo>
                            <a:pt x="174622" y="247081"/>
                          </a:lnTo>
                          <a:lnTo>
                            <a:pt x="175072" y="247531"/>
                          </a:lnTo>
                          <a:lnTo>
                            <a:pt x="175972" y="247981"/>
                          </a:lnTo>
                          <a:lnTo>
                            <a:pt x="178222" y="247081"/>
                          </a:lnTo>
                          <a:lnTo>
                            <a:pt x="178672" y="247081"/>
                          </a:lnTo>
                          <a:lnTo>
                            <a:pt x="179572" y="247981"/>
                          </a:lnTo>
                          <a:lnTo>
                            <a:pt x="179572" y="251132"/>
                          </a:lnTo>
                          <a:lnTo>
                            <a:pt x="180023" y="252032"/>
                          </a:lnTo>
                          <a:lnTo>
                            <a:pt x="182723" y="252932"/>
                          </a:lnTo>
                          <a:lnTo>
                            <a:pt x="183173" y="253832"/>
                          </a:lnTo>
                          <a:lnTo>
                            <a:pt x="183173" y="254732"/>
                          </a:lnTo>
                          <a:lnTo>
                            <a:pt x="182723" y="255632"/>
                          </a:lnTo>
                          <a:lnTo>
                            <a:pt x="180473" y="258332"/>
                          </a:lnTo>
                          <a:lnTo>
                            <a:pt x="180023" y="258782"/>
                          </a:lnTo>
                          <a:lnTo>
                            <a:pt x="180023" y="261033"/>
                          </a:lnTo>
                          <a:lnTo>
                            <a:pt x="180023" y="262383"/>
                          </a:lnTo>
                          <a:lnTo>
                            <a:pt x="178222" y="264633"/>
                          </a:lnTo>
                          <a:lnTo>
                            <a:pt x="177772" y="265533"/>
                          </a:lnTo>
                          <a:lnTo>
                            <a:pt x="177772" y="266433"/>
                          </a:lnTo>
                          <a:lnTo>
                            <a:pt x="178222" y="267334"/>
                          </a:lnTo>
                          <a:lnTo>
                            <a:pt x="179122" y="268234"/>
                          </a:lnTo>
                          <a:lnTo>
                            <a:pt x="182273" y="268234"/>
                          </a:lnTo>
                          <a:lnTo>
                            <a:pt x="184073" y="269134"/>
                          </a:lnTo>
                          <a:lnTo>
                            <a:pt x="188574" y="272284"/>
                          </a:lnTo>
                          <a:lnTo>
                            <a:pt x="189924" y="273184"/>
                          </a:lnTo>
                          <a:lnTo>
                            <a:pt x="193524" y="278585"/>
                          </a:lnTo>
                          <a:lnTo>
                            <a:pt x="196675" y="280385"/>
                          </a:lnTo>
                          <a:lnTo>
                            <a:pt x="197125" y="280835"/>
                          </a:lnTo>
                          <a:lnTo>
                            <a:pt x="197575" y="281735"/>
                          </a:lnTo>
                          <a:lnTo>
                            <a:pt x="197125" y="283086"/>
                          </a:lnTo>
                          <a:lnTo>
                            <a:pt x="195774" y="286236"/>
                          </a:lnTo>
                          <a:lnTo>
                            <a:pt x="195324" y="287136"/>
                          </a:lnTo>
                          <a:lnTo>
                            <a:pt x="195324" y="288036"/>
                          </a:lnTo>
                          <a:lnTo>
                            <a:pt x="196225" y="288486"/>
                          </a:lnTo>
                          <a:lnTo>
                            <a:pt x="199825" y="288486"/>
                          </a:lnTo>
                          <a:lnTo>
                            <a:pt x="201175" y="288036"/>
                          </a:lnTo>
                          <a:lnTo>
                            <a:pt x="202525" y="287136"/>
                          </a:lnTo>
                          <a:lnTo>
                            <a:pt x="203425" y="285336"/>
                          </a:lnTo>
                          <a:lnTo>
                            <a:pt x="204326" y="284886"/>
                          </a:lnTo>
                          <a:lnTo>
                            <a:pt x="206126" y="285336"/>
                          </a:lnTo>
                          <a:lnTo>
                            <a:pt x="209276" y="287586"/>
                          </a:lnTo>
                          <a:lnTo>
                            <a:pt x="211076" y="291187"/>
                          </a:lnTo>
                          <a:lnTo>
                            <a:pt x="211076" y="292537"/>
                          </a:lnTo>
                          <a:lnTo>
                            <a:pt x="211526" y="293887"/>
                          </a:lnTo>
                          <a:lnTo>
                            <a:pt x="211977" y="294337"/>
                          </a:lnTo>
                          <a:lnTo>
                            <a:pt x="212877" y="296137"/>
                          </a:lnTo>
                          <a:lnTo>
                            <a:pt x="213327" y="297487"/>
                          </a:lnTo>
                          <a:lnTo>
                            <a:pt x="213327" y="298838"/>
                          </a:lnTo>
                          <a:lnTo>
                            <a:pt x="212877" y="300188"/>
                          </a:lnTo>
                          <a:lnTo>
                            <a:pt x="213327" y="301088"/>
                          </a:lnTo>
                          <a:lnTo>
                            <a:pt x="214677" y="303338"/>
                          </a:lnTo>
                          <a:lnTo>
                            <a:pt x="215127" y="304688"/>
                          </a:lnTo>
                          <a:lnTo>
                            <a:pt x="216477" y="305588"/>
                          </a:lnTo>
                          <a:lnTo>
                            <a:pt x="217377" y="307389"/>
                          </a:lnTo>
                          <a:lnTo>
                            <a:pt x="219627" y="309639"/>
                          </a:lnTo>
                          <a:lnTo>
                            <a:pt x="222778" y="310989"/>
                          </a:lnTo>
                          <a:lnTo>
                            <a:pt x="225928" y="314139"/>
                          </a:lnTo>
                          <a:lnTo>
                            <a:pt x="227728" y="315490"/>
                          </a:lnTo>
                          <a:lnTo>
                            <a:pt x="230879" y="316390"/>
                          </a:lnTo>
                          <a:lnTo>
                            <a:pt x="231329" y="317290"/>
                          </a:lnTo>
                          <a:lnTo>
                            <a:pt x="231329" y="318190"/>
                          </a:lnTo>
                          <a:lnTo>
                            <a:pt x="230879" y="318640"/>
                          </a:lnTo>
                          <a:lnTo>
                            <a:pt x="228629" y="319990"/>
                          </a:lnTo>
                          <a:lnTo>
                            <a:pt x="227728" y="320890"/>
                          </a:lnTo>
                          <a:lnTo>
                            <a:pt x="227728" y="321790"/>
                          </a:lnTo>
                          <a:lnTo>
                            <a:pt x="228179" y="322690"/>
                          </a:lnTo>
                          <a:lnTo>
                            <a:pt x="229079" y="323141"/>
                          </a:lnTo>
                          <a:lnTo>
                            <a:pt x="231329" y="322240"/>
                          </a:lnTo>
                          <a:lnTo>
                            <a:pt x="231779" y="322240"/>
                          </a:lnTo>
                          <a:lnTo>
                            <a:pt x="232229" y="323141"/>
                          </a:lnTo>
                          <a:lnTo>
                            <a:pt x="232679" y="324491"/>
                          </a:lnTo>
                          <a:lnTo>
                            <a:pt x="233129" y="325391"/>
                          </a:lnTo>
                          <a:lnTo>
                            <a:pt x="234929" y="326291"/>
                          </a:lnTo>
                          <a:lnTo>
                            <a:pt x="235379" y="327641"/>
                          </a:lnTo>
                          <a:lnTo>
                            <a:pt x="236730" y="328991"/>
                          </a:lnTo>
                          <a:lnTo>
                            <a:pt x="237630" y="330791"/>
                          </a:lnTo>
                          <a:lnTo>
                            <a:pt x="237630" y="332592"/>
                          </a:lnTo>
                          <a:lnTo>
                            <a:pt x="236280" y="336192"/>
                          </a:lnTo>
                          <a:lnTo>
                            <a:pt x="235379" y="337542"/>
                          </a:lnTo>
                          <a:lnTo>
                            <a:pt x="232229" y="340243"/>
                          </a:lnTo>
                          <a:lnTo>
                            <a:pt x="231329" y="341593"/>
                          </a:lnTo>
                          <a:lnTo>
                            <a:pt x="231329" y="342493"/>
                          </a:lnTo>
                          <a:lnTo>
                            <a:pt x="232679" y="343393"/>
                          </a:lnTo>
                          <a:lnTo>
                            <a:pt x="234479" y="345643"/>
                          </a:lnTo>
                          <a:lnTo>
                            <a:pt x="235830" y="346993"/>
                          </a:lnTo>
                          <a:lnTo>
                            <a:pt x="236730" y="348344"/>
                          </a:lnTo>
                          <a:lnTo>
                            <a:pt x="237630" y="351494"/>
                          </a:lnTo>
                          <a:lnTo>
                            <a:pt x="239430" y="352394"/>
                          </a:lnTo>
                          <a:lnTo>
                            <a:pt x="241680" y="352394"/>
                          </a:lnTo>
                          <a:lnTo>
                            <a:pt x="242130" y="352844"/>
                          </a:lnTo>
                          <a:lnTo>
                            <a:pt x="242130" y="353744"/>
                          </a:lnTo>
                          <a:lnTo>
                            <a:pt x="239880" y="358695"/>
                          </a:lnTo>
                          <a:lnTo>
                            <a:pt x="239880" y="360495"/>
                          </a:lnTo>
                          <a:lnTo>
                            <a:pt x="239430" y="361845"/>
                          </a:lnTo>
                          <a:lnTo>
                            <a:pt x="239430" y="363196"/>
                          </a:lnTo>
                          <a:lnTo>
                            <a:pt x="240780" y="365896"/>
                          </a:lnTo>
                          <a:lnTo>
                            <a:pt x="241230" y="366796"/>
                          </a:lnTo>
                          <a:lnTo>
                            <a:pt x="241230" y="368146"/>
                          </a:lnTo>
                          <a:lnTo>
                            <a:pt x="241680" y="369046"/>
                          </a:lnTo>
                          <a:lnTo>
                            <a:pt x="243480" y="369946"/>
                          </a:lnTo>
                          <a:lnTo>
                            <a:pt x="243930" y="370396"/>
                          </a:lnTo>
                          <a:lnTo>
                            <a:pt x="244381" y="373097"/>
                          </a:lnTo>
                          <a:lnTo>
                            <a:pt x="244381" y="373997"/>
                          </a:lnTo>
                          <a:lnTo>
                            <a:pt x="245281" y="374897"/>
                          </a:lnTo>
                          <a:lnTo>
                            <a:pt x="250231" y="378047"/>
                          </a:lnTo>
                          <a:lnTo>
                            <a:pt x="250681" y="378947"/>
                          </a:lnTo>
                          <a:lnTo>
                            <a:pt x="250681" y="379848"/>
                          </a:lnTo>
                          <a:lnTo>
                            <a:pt x="248881" y="381198"/>
                          </a:lnTo>
                          <a:lnTo>
                            <a:pt x="248881" y="382098"/>
                          </a:lnTo>
                          <a:lnTo>
                            <a:pt x="248881" y="382548"/>
                          </a:lnTo>
                          <a:lnTo>
                            <a:pt x="249781" y="383448"/>
                          </a:lnTo>
                          <a:lnTo>
                            <a:pt x="249781" y="384348"/>
                          </a:lnTo>
                          <a:lnTo>
                            <a:pt x="248881" y="386599"/>
                          </a:lnTo>
                          <a:lnTo>
                            <a:pt x="248881" y="387949"/>
                          </a:lnTo>
                          <a:lnTo>
                            <a:pt x="249781" y="390649"/>
                          </a:lnTo>
                          <a:lnTo>
                            <a:pt x="250231" y="391549"/>
                          </a:lnTo>
                          <a:lnTo>
                            <a:pt x="250231" y="392449"/>
                          </a:lnTo>
                          <a:lnTo>
                            <a:pt x="249781" y="393349"/>
                          </a:lnTo>
                          <a:lnTo>
                            <a:pt x="249781" y="394249"/>
                          </a:lnTo>
                          <a:lnTo>
                            <a:pt x="250231" y="394699"/>
                          </a:lnTo>
                          <a:lnTo>
                            <a:pt x="251131" y="395600"/>
                          </a:lnTo>
                          <a:lnTo>
                            <a:pt x="252482" y="396050"/>
                          </a:lnTo>
                          <a:lnTo>
                            <a:pt x="255182" y="395600"/>
                          </a:lnTo>
                          <a:lnTo>
                            <a:pt x="257432" y="396050"/>
                          </a:lnTo>
                          <a:lnTo>
                            <a:pt x="257882" y="396500"/>
                          </a:lnTo>
                          <a:lnTo>
                            <a:pt x="258782" y="398300"/>
                          </a:lnTo>
                          <a:lnTo>
                            <a:pt x="259232" y="398750"/>
                          </a:lnTo>
                          <a:lnTo>
                            <a:pt x="260133" y="398300"/>
                          </a:lnTo>
                          <a:lnTo>
                            <a:pt x="262383" y="396500"/>
                          </a:lnTo>
                          <a:lnTo>
                            <a:pt x="263733" y="396050"/>
                          </a:lnTo>
                          <a:lnTo>
                            <a:pt x="265083" y="396500"/>
                          </a:lnTo>
                          <a:lnTo>
                            <a:pt x="268684" y="400100"/>
                          </a:lnTo>
                          <a:lnTo>
                            <a:pt x="269584" y="401900"/>
                          </a:lnTo>
                          <a:lnTo>
                            <a:pt x="271834" y="404601"/>
                          </a:lnTo>
                          <a:lnTo>
                            <a:pt x="272284" y="406401"/>
                          </a:lnTo>
                          <a:lnTo>
                            <a:pt x="272734" y="407301"/>
                          </a:lnTo>
                          <a:lnTo>
                            <a:pt x="274984" y="408201"/>
                          </a:lnTo>
                          <a:lnTo>
                            <a:pt x="275885" y="409551"/>
                          </a:lnTo>
                          <a:lnTo>
                            <a:pt x="276335" y="410902"/>
                          </a:lnTo>
                          <a:lnTo>
                            <a:pt x="276785" y="414052"/>
                          </a:lnTo>
                          <a:lnTo>
                            <a:pt x="280835" y="418102"/>
                          </a:lnTo>
                          <a:lnTo>
                            <a:pt x="282635" y="419453"/>
                          </a:lnTo>
                          <a:lnTo>
                            <a:pt x="283986" y="421253"/>
                          </a:lnTo>
                          <a:lnTo>
                            <a:pt x="284886" y="422153"/>
                          </a:lnTo>
                          <a:lnTo>
                            <a:pt x="288036" y="423053"/>
                          </a:lnTo>
                          <a:lnTo>
                            <a:pt x="291636" y="423053"/>
                          </a:lnTo>
                          <a:lnTo>
                            <a:pt x="292987" y="423953"/>
                          </a:lnTo>
                          <a:lnTo>
                            <a:pt x="294337" y="425303"/>
                          </a:lnTo>
                          <a:lnTo>
                            <a:pt x="295237" y="428004"/>
                          </a:lnTo>
                          <a:lnTo>
                            <a:pt x="296137" y="429354"/>
                          </a:lnTo>
                          <a:lnTo>
                            <a:pt x="297037" y="435205"/>
                          </a:lnTo>
                          <a:lnTo>
                            <a:pt x="297037" y="437005"/>
                          </a:lnTo>
                          <a:lnTo>
                            <a:pt x="296587" y="440155"/>
                          </a:lnTo>
                          <a:lnTo>
                            <a:pt x="295237" y="441505"/>
                          </a:lnTo>
                          <a:lnTo>
                            <a:pt x="294787" y="441955"/>
                          </a:lnTo>
                          <a:lnTo>
                            <a:pt x="294787" y="442405"/>
                          </a:lnTo>
                          <a:lnTo>
                            <a:pt x="295687" y="443305"/>
                          </a:lnTo>
                          <a:lnTo>
                            <a:pt x="297487" y="442856"/>
                          </a:lnTo>
                          <a:lnTo>
                            <a:pt x="297937" y="443305"/>
                          </a:lnTo>
                          <a:lnTo>
                            <a:pt x="298837" y="447806"/>
                          </a:lnTo>
                          <a:lnTo>
                            <a:pt x="298837" y="450506"/>
                          </a:lnTo>
                          <a:lnTo>
                            <a:pt x="298837" y="451407"/>
                          </a:lnTo>
                          <a:lnTo>
                            <a:pt x="299287" y="452757"/>
                          </a:lnTo>
                          <a:lnTo>
                            <a:pt x="299287" y="454557"/>
                          </a:lnTo>
                          <a:lnTo>
                            <a:pt x="299738" y="455907"/>
                          </a:lnTo>
                          <a:lnTo>
                            <a:pt x="300188" y="456357"/>
                          </a:lnTo>
                          <a:lnTo>
                            <a:pt x="301538" y="455907"/>
                          </a:lnTo>
                          <a:lnTo>
                            <a:pt x="303788" y="456357"/>
                          </a:lnTo>
                          <a:lnTo>
                            <a:pt x="306938" y="454557"/>
                          </a:lnTo>
                          <a:lnTo>
                            <a:pt x="310539" y="455457"/>
                          </a:lnTo>
                          <a:lnTo>
                            <a:pt x="311889" y="455457"/>
                          </a:lnTo>
                          <a:lnTo>
                            <a:pt x="312789" y="455007"/>
                          </a:lnTo>
                          <a:lnTo>
                            <a:pt x="313239" y="454557"/>
                          </a:lnTo>
                          <a:lnTo>
                            <a:pt x="313239" y="453207"/>
                          </a:lnTo>
                          <a:lnTo>
                            <a:pt x="313689" y="452757"/>
                          </a:lnTo>
                          <a:lnTo>
                            <a:pt x="315039" y="452307"/>
                          </a:lnTo>
                          <a:lnTo>
                            <a:pt x="315939" y="452307"/>
                          </a:lnTo>
                          <a:lnTo>
                            <a:pt x="316390" y="453657"/>
                          </a:lnTo>
                          <a:lnTo>
                            <a:pt x="317290" y="454107"/>
                          </a:lnTo>
                          <a:lnTo>
                            <a:pt x="318640" y="454557"/>
                          </a:lnTo>
                          <a:lnTo>
                            <a:pt x="319540" y="452307"/>
                          </a:lnTo>
                          <a:lnTo>
                            <a:pt x="319990" y="451407"/>
                          </a:lnTo>
                          <a:lnTo>
                            <a:pt x="320890" y="450956"/>
                          </a:lnTo>
                          <a:lnTo>
                            <a:pt x="321790" y="450956"/>
                          </a:lnTo>
                          <a:lnTo>
                            <a:pt x="324941" y="453207"/>
                          </a:lnTo>
                          <a:lnTo>
                            <a:pt x="331691" y="455457"/>
                          </a:lnTo>
                          <a:lnTo>
                            <a:pt x="333042" y="455457"/>
                          </a:lnTo>
                          <a:lnTo>
                            <a:pt x="334842" y="454107"/>
                          </a:lnTo>
                          <a:lnTo>
                            <a:pt x="336642" y="453207"/>
                          </a:lnTo>
                          <a:lnTo>
                            <a:pt x="342493" y="452307"/>
                          </a:lnTo>
                          <a:lnTo>
                            <a:pt x="342943" y="449606"/>
                          </a:lnTo>
                          <a:lnTo>
                            <a:pt x="343393" y="448706"/>
                          </a:lnTo>
                          <a:lnTo>
                            <a:pt x="343843" y="448256"/>
                          </a:lnTo>
                          <a:lnTo>
                            <a:pt x="347894" y="448256"/>
                          </a:lnTo>
                          <a:lnTo>
                            <a:pt x="348794" y="448706"/>
                          </a:lnTo>
                          <a:lnTo>
                            <a:pt x="350594" y="454557"/>
                          </a:lnTo>
                          <a:lnTo>
                            <a:pt x="350594" y="455907"/>
                          </a:lnTo>
                          <a:lnTo>
                            <a:pt x="348344" y="459508"/>
                          </a:lnTo>
                          <a:lnTo>
                            <a:pt x="348344" y="460408"/>
                          </a:lnTo>
                          <a:lnTo>
                            <a:pt x="348794" y="461308"/>
                          </a:lnTo>
                          <a:lnTo>
                            <a:pt x="351494" y="465358"/>
                          </a:lnTo>
                          <a:lnTo>
                            <a:pt x="352844" y="468509"/>
                          </a:lnTo>
                          <a:lnTo>
                            <a:pt x="355995" y="469409"/>
                          </a:lnTo>
                          <a:lnTo>
                            <a:pt x="356445" y="470309"/>
                          </a:lnTo>
                          <a:lnTo>
                            <a:pt x="356895" y="474809"/>
                          </a:lnTo>
                          <a:lnTo>
                            <a:pt x="357345" y="476160"/>
                          </a:lnTo>
                          <a:lnTo>
                            <a:pt x="359145" y="480210"/>
                          </a:lnTo>
                          <a:lnTo>
                            <a:pt x="361395" y="484261"/>
                          </a:lnTo>
                          <a:lnTo>
                            <a:pt x="361395" y="485611"/>
                          </a:lnTo>
                          <a:lnTo>
                            <a:pt x="360945" y="487411"/>
                          </a:lnTo>
                          <a:lnTo>
                            <a:pt x="360945" y="487861"/>
                          </a:lnTo>
                          <a:lnTo>
                            <a:pt x="361395" y="488311"/>
                          </a:lnTo>
                          <a:lnTo>
                            <a:pt x="363645" y="488311"/>
                          </a:lnTo>
                          <a:lnTo>
                            <a:pt x="364546" y="489211"/>
                          </a:lnTo>
                          <a:lnTo>
                            <a:pt x="364996" y="490111"/>
                          </a:lnTo>
                          <a:lnTo>
                            <a:pt x="344743" y="490111"/>
                          </a:lnTo>
                          <a:lnTo>
                            <a:pt x="324491" y="490111"/>
                          </a:lnTo>
                          <a:lnTo>
                            <a:pt x="304238" y="490111"/>
                          </a:lnTo>
                          <a:lnTo>
                            <a:pt x="283986" y="490111"/>
                          </a:lnTo>
                          <a:lnTo>
                            <a:pt x="263733" y="490111"/>
                          </a:lnTo>
                          <a:lnTo>
                            <a:pt x="243480" y="490111"/>
                          </a:lnTo>
                          <a:lnTo>
                            <a:pt x="223228" y="490111"/>
                          </a:lnTo>
                          <a:lnTo>
                            <a:pt x="202975" y="490111"/>
                          </a:lnTo>
                          <a:lnTo>
                            <a:pt x="182723" y="490111"/>
                          </a:lnTo>
                          <a:lnTo>
                            <a:pt x="162470" y="490111"/>
                          </a:lnTo>
                          <a:lnTo>
                            <a:pt x="142218" y="490111"/>
                          </a:lnTo>
                          <a:lnTo>
                            <a:pt x="121965" y="490111"/>
                          </a:lnTo>
                          <a:lnTo>
                            <a:pt x="101713" y="490111"/>
                          </a:lnTo>
                          <a:lnTo>
                            <a:pt x="81460" y="490111"/>
                          </a:lnTo>
                          <a:lnTo>
                            <a:pt x="61208" y="490111"/>
                          </a:lnTo>
                          <a:lnTo>
                            <a:pt x="40955" y="490111"/>
                          </a:lnTo>
                          <a:lnTo>
                            <a:pt x="38255" y="486511"/>
                          </a:lnTo>
                          <a:lnTo>
                            <a:pt x="39155" y="482911"/>
                          </a:lnTo>
                          <a:lnTo>
                            <a:pt x="40505" y="478410"/>
                          </a:lnTo>
                          <a:lnTo>
                            <a:pt x="40505" y="475710"/>
                          </a:lnTo>
                          <a:lnTo>
                            <a:pt x="37355" y="475710"/>
                          </a:lnTo>
                          <a:lnTo>
                            <a:pt x="32404" y="476160"/>
                          </a:lnTo>
                          <a:lnTo>
                            <a:pt x="27903" y="476610"/>
                          </a:lnTo>
                          <a:lnTo>
                            <a:pt x="24753" y="479760"/>
                          </a:lnTo>
                          <a:lnTo>
                            <a:pt x="21603" y="482911"/>
                          </a:lnTo>
                          <a:lnTo>
                            <a:pt x="16652" y="480660"/>
                          </a:lnTo>
                          <a:lnTo>
                            <a:pt x="11251" y="477960"/>
                          </a:lnTo>
                          <a:lnTo>
                            <a:pt x="9901" y="481560"/>
                          </a:lnTo>
                          <a:lnTo>
                            <a:pt x="4951" y="479760"/>
                          </a:lnTo>
                          <a:lnTo>
                            <a:pt x="0" y="477960"/>
                          </a:lnTo>
                          <a:lnTo>
                            <a:pt x="0" y="465358"/>
                          </a:lnTo>
                          <a:lnTo>
                            <a:pt x="0" y="452757"/>
                          </a:lnTo>
                          <a:lnTo>
                            <a:pt x="0" y="440155"/>
                          </a:lnTo>
                          <a:lnTo>
                            <a:pt x="0" y="427104"/>
                          </a:lnTo>
                          <a:lnTo>
                            <a:pt x="0" y="414052"/>
                          </a:lnTo>
                          <a:lnTo>
                            <a:pt x="0" y="401000"/>
                          </a:lnTo>
                          <a:lnTo>
                            <a:pt x="0" y="387949"/>
                          </a:lnTo>
                          <a:lnTo>
                            <a:pt x="0" y="374447"/>
                          </a:lnTo>
                          <a:lnTo>
                            <a:pt x="0" y="360945"/>
                          </a:lnTo>
                          <a:lnTo>
                            <a:pt x="0" y="347444"/>
                          </a:lnTo>
                          <a:lnTo>
                            <a:pt x="0" y="333492"/>
                          </a:lnTo>
                          <a:lnTo>
                            <a:pt x="0" y="319540"/>
                          </a:lnTo>
                          <a:lnTo>
                            <a:pt x="0" y="305588"/>
                          </a:lnTo>
                          <a:lnTo>
                            <a:pt x="0" y="286686"/>
                          </a:lnTo>
                          <a:lnTo>
                            <a:pt x="0" y="272284"/>
                          </a:lnTo>
                          <a:lnTo>
                            <a:pt x="0" y="257882"/>
                          </a:lnTo>
                          <a:lnTo>
                            <a:pt x="0" y="243030"/>
                          </a:lnTo>
                          <a:lnTo>
                            <a:pt x="0" y="228179"/>
                          </a:lnTo>
                          <a:lnTo>
                            <a:pt x="0" y="213327"/>
                          </a:lnTo>
                          <a:lnTo>
                            <a:pt x="0" y="198025"/>
                          </a:lnTo>
                          <a:lnTo>
                            <a:pt x="0" y="182723"/>
                          </a:lnTo>
                          <a:lnTo>
                            <a:pt x="0" y="166971"/>
                          </a:lnTo>
                          <a:lnTo>
                            <a:pt x="0" y="151219"/>
                          </a:lnTo>
                          <a:lnTo>
                            <a:pt x="0" y="135467"/>
                          </a:lnTo>
                          <a:lnTo>
                            <a:pt x="0" y="119265"/>
                          </a:lnTo>
                          <a:lnTo>
                            <a:pt x="0" y="103063"/>
                          </a:lnTo>
                          <a:lnTo>
                            <a:pt x="0" y="86411"/>
                          </a:lnTo>
                          <a:lnTo>
                            <a:pt x="0" y="69759"/>
                          </a:lnTo>
                          <a:lnTo>
                            <a:pt x="0" y="52657"/>
                          </a:lnTo>
                          <a:lnTo>
                            <a:pt x="0" y="35555"/>
                          </a:lnTo>
                          <a:lnTo>
                            <a:pt x="0" y="18002"/>
                          </a:lnTo>
                          <a:lnTo>
                            <a:pt x="0" y="450"/>
                          </a:lnTo>
                          <a:lnTo>
                            <a:pt x="3150" y="1350"/>
                          </a:lnTo>
                          <a:lnTo>
                            <a:pt x="12602" y="3150"/>
                          </a:lnTo>
                          <a:lnTo>
                            <a:pt x="21603" y="1800"/>
                          </a:lnTo>
                          <a:lnTo>
                            <a:pt x="38255" y="8101"/>
                          </a:lnTo>
                          <a:lnTo>
                            <a:pt x="48606" y="20253"/>
                          </a:lnTo>
                          <a:lnTo>
                            <a:pt x="57157" y="26103"/>
                          </a:lnTo>
                          <a:lnTo>
                            <a:pt x="60758" y="30154"/>
                          </a:lnTo>
                          <a:lnTo>
                            <a:pt x="66158" y="33754"/>
                          </a:lnTo>
                          <a:lnTo>
                            <a:pt x="79210" y="41405"/>
                          </a:lnTo>
                          <a:lnTo>
                            <a:pt x="83260" y="42305"/>
                          </a:lnTo>
                          <a:lnTo>
                            <a:pt x="90911" y="45906"/>
                          </a:lnTo>
                          <a:lnTo>
                            <a:pt x="95412" y="45456"/>
                          </a:lnTo>
                          <a:lnTo>
                            <a:pt x="96762" y="45006"/>
                          </a:lnTo>
                          <a:close/>
                          <a:moveTo>
                            <a:pt x="41405" y="4501"/>
                          </a:moveTo>
                          <a:lnTo>
                            <a:pt x="39605" y="6751"/>
                          </a:lnTo>
                          <a:lnTo>
                            <a:pt x="36905" y="4501"/>
                          </a:lnTo>
                          <a:lnTo>
                            <a:pt x="36005" y="3150"/>
                          </a:lnTo>
                          <a:lnTo>
                            <a:pt x="39155" y="0"/>
                          </a:lnTo>
                          <a:lnTo>
                            <a:pt x="40505" y="0"/>
                          </a:lnTo>
                          <a:lnTo>
                            <a:pt x="43655" y="1800"/>
                          </a:lnTo>
                          <a:lnTo>
                            <a:pt x="44556" y="3601"/>
                          </a:lnTo>
                          <a:lnTo>
                            <a:pt x="41405" y="450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grpSp>
              <p:sp>
                <p:nvSpPr>
                  <p:cNvPr id="1886" name="Freeform: Shape 1885">
                    <a:extLst>
                      <a:ext uri="{FF2B5EF4-FFF2-40B4-BE49-F238E27FC236}">
                        <a16:creationId xmlns:a16="http://schemas.microsoft.com/office/drawing/2014/main" id="{71C64D79-83A2-6E96-C40A-3FC7ACEA888E}"/>
                      </a:ext>
                    </a:extLst>
                  </p:cNvPr>
                  <p:cNvSpPr/>
                  <p:nvPr/>
                </p:nvSpPr>
                <p:spPr>
                  <a:xfrm>
                    <a:off x="2399249" y="3245355"/>
                    <a:ext cx="4050" cy="15751"/>
                  </a:xfrm>
                  <a:custGeom>
                    <a:avLst/>
                    <a:gdLst>
                      <a:gd name="connsiteX0" fmla="*/ 3601 w 4050"/>
                      <a:gd name="connsiteY0" fmla="*/ 14852 h 15751"/>
                      <a:gd name="connsiteX1" fmla="*/ 2701 w 4050"/>
                      <a:gd name="connsiteY1" fmla="*/ 15752 h 15751"/>
                      <a:gd name="connsiteX2" fmla="*/ 450 w 4050"/>
                      <a:gd name="connsiteY2" fmla="*/ 15302 h 15751"/>
                      <a:gd name="connsiteX3" fmla="*/ 0 w 4050"/>
                      <a:gd name="connsiteY3" fmla="*/ 14402 h 15751"/>
                      <a:gd name="connsiteX4" fmla="*/ 0 w 4050"/>
                      <a:gd name="connsiteY4" fmla="*/ 13502 h 15751"/>
                      <a:gd name="connsiteX5" fmla="*/ 1350 w 4050"/>
                      <a:gd name="connsiteY5" fmla="*/ 12152 h 15751"/>
                      <a:gd name="connsiteX6" fmla="*/ 3150 w 4050"/>
                      <a:gd name="connsiteY6" fmla="*/ 12602 h 15751"/>
                      <a:gd name="connsiteX7" fmla="*/ 3601 w 4050"/>
                      <a:gd name="connsiteY7" fmla="*/ 13502 h 15751"/>
                      <a:gd name="connsiteX8" fmla="*/ 4051 w 4050"/>
                      <a:gd name="connsiteY8" fmla="*/ 13502 h 15751"/>
                      <a:gd name="connsiteX9" fmla="*/ 4051 w 4050"/>
                      <a:gd name="connsiteY9" fmla="*/ 13952 h 15751"/>
                      <a:gd name="connsiteX10" fmla="*/ 4051 w 4050"/>
                      <a:gd name="connsiteY10" fmla="*/ 14402 h 15751"/>
                      <a:gd name="connsiteX11" fmla="*/ 3601 w 4050"/>
                      <a:gd name="connsiteY11" fmla="*/ 14852 h 15751"/>
                      <a:gd name="connsiteX12" fmla="*/ 2701 w 4050"/>
                      <a:gd name="connsiteY12" fmla="*/ 2701 h 15751"/>
                      <a:gd name="connsiteX13" fmla="*/ 2250 w 4050"/>
                      <a:gd name="connsiteY13" fmla="*/ 3150 h 15751"/>
                      <a:gd name="connsiteX14" fmla="*/ 450 w 4050"/>
                      <a:gd name="connsiteY14" fmla="*/ 2250 h 15751"/>
                      <a:gd name="connsiteX15" fmla="*/ 0 w 4050"/>
                      <a:gd name="connsiteY15" fmla="*/ 450 h 15751"/>
                      <a:gd name="connsiteX16" fmla="*/ 0 w 4050"/>
                      <a:gd name="connsiteY16" fmla="*/ 0 h 15751"/>
                      <a:gd name="connsiteX17" fmla="*/ 450 w 4050"/>
                      <a:gd name="connsiteY17" fmla="*/ 0 h 15751"/>
                      <a:gd name="connsiteX18" fmla="*/ 1350 w 4050"/>
                      <a:gd name="connsiteY18" fmla="*/ 450 h 15751"/>
                      <a:gd name="connsiteX19" fmla="*/ 2250 w 4050"/>
                      <a:gd name="connsiteY19" fmla="*/ 450 h 15751"/>
                      <a:gd name="connsiteX20" fmla="*/ 2701 w 4050"/>
                      <a:gd name="connsiteY20" fmla="*/ 900 h 15751"/>
                      <a:gd name="connsiteX21" fmla="*/ 2701 w 4050"/>
                      <a:gd name="connsiteY21" fmla="*/ 2701 h 1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050" h="15751">
                        <a:moveTo>
                          <a:pt x="3601" y="14852"/>
                        </a:moveTo>
                        <a:lnTo>
                          <a:pt x="2701" y="15752"/>
                        </a:lnTo>
                        <a:lnTo>
                          <a:pt x="450" y="15302"/>
                        </a:lnTo>
                        <a:lnTo>
                          <a:pt x="0" y="14402"/>
                        </a:lnTo>
                        <a:lnTo>
                          <a:pt x="0" y="13502"/>
                        </a:lnTo>
                        <a:lnTo>
                          <a:pt x="1350" y="12152"/>
                        </a:lnTo>
                        <a:lnTo>
                          <a:pt x="3150" y="12602"/>
                        </a:lnTo>
                        <a:lnTo>
                          <a:pt x="3601" y="13502"/>
                        </a:lnTo>
                        <a:lnTo>
                          <a:pt x="4051" y="13502"/>
                        </a:lnTo>
                        <a:lnTo>
                          <a:pt x="4051" y="13952"/>
                        </a:lnTo>
                        <a:lnTo>
                          <a:pt x="4051" y="14402"/>
                        </a:lnTo>
                        <a:lnTo>
                          <a:pt x="3601" y="14852"/>
                        </a:lnTo>
                        <a:close/>
                        <a:moveTo>
                          <a:pt x="2701" y="2701"/>
                        </a:moveTo>
                        <a:lnTo>
                          <a:pt x="2250" y="3150"/>
                        </a:lnTo>
                        <a:lnTo>
                          <a:pt x="450" y="2250"/>
                        </a:lnTo>
                        <a:lnTo>
                          <a:pt x="0" y="450"/>
                        </a:lnTo>
                        <a:lnTo>
                          <a:pt x="0" y="0"/>
                        </a:lnTo>
                        <a:lnTo>
                          <a:pt x="450" y="0"/>
                        </a:lnTo>
                        <a:lnTo>
                          <a:pt x="1350" y="450"/>
                        </a:lnTo>
                        <a:lnTo>
                          <a:pt x="2250" y="450"/>
                        </a:lnTo>
                        <a:lnTo>
                          <a:pt x="2701" y="900"/>
                        </a:lnTo>
                        <a:lnTo>
                          <a:pt x="2701" y="270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87" name="Freeform: Shape 1886">
                    <a:extLst>
                      <a:ext uri="{FF2B5EF4-FFF2-40B4-BE49-F238E27FC236}">
                        <a16:creationId xmlns:a16="http://schemas.microsoft.com/office/drawing/2014/main" id="{23B6769B-8A6C-A1CE-0C0A-43C3046FD4F2}"/>
                      </a:ext>
                    </a:extLst>
                  </p:cNvPr>
                  <p:cNvSpPr/>
                  <p:nvPr/>
                </p:nvSpPr>
                <p:spPr>
                  <a:xfrm>
                    <a:off x="2372246" y="3232754"/>
                    <a:ext cx="3600" cy="1800"/>
                  </a:xfrm>
                  <a:custGeom>
                    <a:avLst/>
                    <a:gdLst>
                      <a:gd name="connsiteX0" fmla="*/ 3150 w 3600"/>
                      <a:gd name="connsiteY0" fmla="*/ 900 h 1800"/>
                      <a:gd name="connsiteX1" fmla="*/ 0 w 3600"/>
                      <a:gd name="connsiteY1" fmla="*/ 1800 h 1800"/>
                      <a:gd name="connsiteX2" fmla="*/ 0 w 3600"/>
                      <a:gd name="connsiteY2" fmla="*/ 1350 h 1800"/>
                      <a:gd name="connsiteX3" fmla="*/ 2701 w 3600"/>
                      <a:gd name="connsiteY3" fmla="*/ 0 h 1800"/>
                      <a:gd name="connsiteX4" fmla="*/ 3601 w 3600"/>
                      <a:gd name="connsiteY4" fmla="*/ 0 h 1800"/>
                      <a:gd name="connsiteX5" fmla="*/ 3150 w 3600"/>
                      <a:gd name="connsiteY5" fmla="*/ 900 h 1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600" h="1800">
                        <a:moveTo>
                          <a:pt x="3150" y="900"/>
                        </a:moveTo>
                        <a:lnTo>
                          <a:pt x="0" y="1800"/>
                        </a:lnTo>
                        <a:lnTo>
                          <a:pt x="0" y="1350"/>
                        </a:lnTo>
                        <a:lnTo>
                          <a:pt x="2701" y="0"/>
                        </a:lnTo>
                        <a:lnTo>
                          <a:pt x="3601" y="0"/>
                        </a:lnTo>
                        <a:lnTo>
                          <a:pt x="3150" y="90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88" name="Freeform: Shape 1887">
                    <a:extLst>
                      <a:ext uri="{FF2B5EF4-FFF2-40B4-BE49-F238E27FC236}">
                        <a16:creationId xmlns:a16="http://schemas.microsoft.com/office/drawing/2014/main" id="{C3B267BE-BA0D-5F18-60B4-45161C9F4DDC}"/>
                      </a:ext>
                    </a:extLst>
                  </p:cNvPr>
                  <p:cNvSpPr/>
                  <p:nvPr/>
                </p:nvSpPr>
                <p:spPr>
                  <a:xfrm>
                    <a:off x="2225528" y="3356519"/>
                    <a:ext cx="3600" cy="4050"/>
                  </a:xfrm>
                  <a:custGeom>
                    <a:avLst/>
                    <a:gdLst>
                      <a:gd name="connsiteX0" fmla="*/ 3600 w 3600"/>
                      <a:gd name="connsiteY0" fmla="*/ 3600 h 4050"/>
                      <a:gd name="connsiteX1" fmla="*/ 3600 w 3600"/>
                      <a:gd name="connsiteY1" fmla="*/ 4051 h 4050"/>
                      <a:gd name="connsiteX2" fmla="*/ 2700 w 3600"/>
                      <a:gd name="connsiteY2" fmla="*/ 3600 h 4050"/>
                      <a:gd name="connsiteX3" fmla="*/ 1350 w 3600"/>
                      <a:gd name="connsiteY3" fmla="*/ 2250 h 4050"/>
                      <a:gd name="connsiteX4" fmla="*/ 0 w 3600"/>
                      <a:gd name="connsiteY4" fmla="*/ 1350 h 4050"/>
                      <a:gd name="connsiteX5" fmla="*/ 450 w 3600"/>
                      <a:gd name="connsiteY5" fmla="*/ 450 h 4050"/>
                      <a:gd name="connsiteX6" fmla="*/ 900 w 3600"/>
                      <a:gd name="connsiteY6" fmla="*/ 0 h 4050"/>
                      <a:gd name="connsiteX7" fmla="*/ 2250 w 3600"/>
                      <a:gd name="connsiteY7" fmla="*/ 900 h 4050"/>
                      <a:gd name="connsiteX8" fmla="*/ 3600 w 3600"/>
                      <a:gd name="connsiteY8" fmla="*/ 2701 h 4050"/>
                      <a:gd name="connsiteX9" fmla="*/ 3600 w 3600"/>
                      <a:gd name="connsiteY9" fmla="*/ 3600 h 4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00" h="4050">
                        <a:moveTo>
                          <a:pt x="3600" y="3600"/>
                        </a:moveTo>
                        <a:lnTo>
                          <a:pt x="3600" y="4051"/>
                        </a:lnTo>
                        <a:lnTo>
                          <a:pt x="2700" y="3600"/>
                        </a:lnTo>
                        <a:lnTo>
                          <a:pt x="1350" y="2250"/>
                        </a:lnTo>
                        <a:lnTo>
                          <a:pt x="0" y="1350"/>
                        </a:lnTo>
                        <a:lnTo>
                          <a:pt x="450" y="450"/>
                        </a:lnTo>
                        <a:lnTo>
                          <a:pt x="900" y="0"/>
                        </a:lnTo>
                        <a:lnTo>
                          <a:pt x="2250" y="900"/>
                        </a:lnTo>
                        <a:lnTo>
                          <a:pt x="3600" y="2701"/>
                        </a:lnTo>
                        <a:lnTo>
                          <a:pt x="3600" y="360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89" name="Freeform: Shape 1888">
                    <a:extLst>
                      <a:ext uri="{FF2B5EF4-FFF2-40B4-BE49-F238E27FC236}">
                        <a16:creationId xmlns:a16="http://schemas.microsoft.com/office/drawing/2014/main" id="{A73F0CC1-9421-1A07-9533-4317E81C365B}"/>
                      </a:ext>
                    </a:extLst>
                  </p:cNvPr>
                  <p:cNvSpPr/>
                  <p:nvPr/>
                </p:nvSpPr>
                <p:spPr>
                  <a:xfrm>
                    <a:off x="2447405" y="3341217"/>
                    <a:ext cx="4950" cy="5400"/>
                  </a:xfrm>
                  <a:custGeom>
                    <a:avLst/>
                    <a:gdLst>
                      <a:gd name="connsiteX0" fmla="*/ 2701 w 4950"/>
                      <a:gd name="connsiteY0" fmla="*/ 4951 h 5400"/>
                      <a:gd name="connsiteX1" fmla="*/ 2250 w 4950"/>
                      <a:gd name="connsiteY1" fmla="*/ 5400 h 5400"/>
                      <a:gd name="connsiteX2" fmla="*/ 450 w 4950"/>
                      <a:gd name="connsiteY2" fmla="*/ 4501 h 5400"/>
                      <a:gd name="connsiteX3" fmla="*/ 0 w 4950"/>
                      <a:gd name="connsiteY3" fmla="*/ 3600 h 5400"/>
                      <a:gd name="connsiteX4" fmla="*/ 0 w 4950"/>
                      <a:gd name="connsiteY4" fmla="*/ 450 h 5400"/>
                      <a:gd name="connsiteX5" fmla="*/ 1350 w 4950"/>
                      <a:gd name="connsiteY5" fmla="*/ 0 h 5400"/>
                      <a:gd name="connsiteX6" fmla="*/ 3600 w 4950"/>
                      <a:gd name="connsiteY6" fmla="*/ 2700 h 5400"/>
                      <a:gd name="connsiteX7" fmla="*/ 4951 w 4950"/>
                      <a:gd name="connsiteY7" fmla="*/ 3600 h 5400"/>
                      <a:gd name="connsiteX8" fmla="*/ 2701 w 4950"/>
                      <a:gd name="connsiteY8" fmla="*/ 4951 h 5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50" h="5400">
                        <a:moveTo>
                          <a:pt x="2701" y="4951"/>
                        </a:moveTo>
                        <a:lnTo>
                          <a:pt x="2250" y="5400"/>
                        </a:lnTo>
                        <a:lnTo>
                          <a:pt x="450" y="4501"/>
                        </a:lnTo>
                        <a:lnTo>
                          <a:pt x="0" y="3600"/>
                        </a:lnTo>
                        <a:lnTo>
                          <a:pt x="0" y="450"/>
                        </a:lnTo>
                        <a:lnTo>
                          <a:pt x="1350" y="0"/>
                        </a:lnTo>
                        <a:lnTo>
                          <a:pt x="3600" y="2700"/>
                        </a:lnTo>
                        <a:lnTo>
                          <a:pt x="4951" y="3600"/>
                        </a:lnTo>
                        <a:lnTo>
                          <a:pt x="2701" y="49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90" name="Freeform: Shape 1889">
                    <a:extLst>
                      <a:ext uri="{FF2B5EF4-FFF2-40B4-BE49-F238E27FC236}">
                        <a16:creationId xmlns:a16="http://schemas.microsoft.com/office/drawing/2014/main" id="{7DCE1BC3-670A-5693-BFA0-2D38F1DF91BA}"/>
                      </a:ext>
                    </a:extLst>
                  </p:cNvPr>
                  <p:cNvSpPr/>
                  <p:nvPr/>
                </p:nvSpPr>
                <p:spPr>
                  <a:xfrm>
                    <a:off x="2378097" y="3240405"/>
                    <a:ext cx="1350" cy="900"/>
                  </a:xfrm>
                  <a:custGeom>
                    <a:avLst/>
                    <a:gdLst>
                      <a:gd name="connsiteX0" fmla="*/ 900 w 1350"/>
                      <a:gd name="connsiteY0" fmla="*/ 900 h 900"/>
                      <a:gd name="connsiteX1" fmla="*/ 900 w 1350"/>
                      <a:gd name="connsiteY1" fmla="*/ 900 h 900"/>
                      <a:gd name="connsiteX2" fmla="*/ 450 w 1350"/>
                      <a:gd name="connsiteY2" fmla="*/ 900 h 900"/>
                      <a:gd name="connsiteX3" fmla="*/ 0 w 1350"/>
                      <a:gd name="connsiteY3" fmla="*/ 450 h 900"/>
                      <a:gd name="connsiteX4" fmla="*/ 0 w 1350"/>
                      <a:gd name="connsiteY4" fmla="*/ 0 h 900"/>
                      <a:gd name="connsiteX5" fmla="*/ 0 w 1350"/>
                      <a:gd name="connsiteY5" fmla="*/ 0 h 900"/>
                      <a:gd name="connsiteX6" fmla="*/ 0 w 1350"/>
                      <a:gd name="connsiteY6" fmla="*/ 0 h 900"/>
                      <a:gd name="connsiteX7" fmla="*/ 1350 w 1350"/>
                      <a:gd name="connsiteY7" fmla="*/ 0 h 900"/>
                      <a:gd name="connsiteX8" fmla="*/ 1350 w 1350"/>
                      <a:gd name="connsiteY8" fmla="*/ 450 h 900"/>
                      <a:gd name="connsiteX9" fmla="*/ 900 w 1350"/>
                      <a:gd name="connsiteY9" fmla="*/ 900 h 900"/>
                      <a:gd name="connsiteX10" fmla="*/ 900 w 1350"/>
                      <a:gd name="connsiteY10" fmla="*/ 900 h 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50" h="900">
                        <a:moveTo>
                          <a:pt x="900" y="900"/>
                        </a:moveTo>
                        <a:lnTo>
                          <a:pt x="900" y="900"/>
                        </a:lnTo>
                        <a:lnTo>
                          <a:pt x="450" y="900"/>
                        </a:lnTo>
                        <a:lnTo>
                          <a:pt x="0" y="450"/>
                        </a:lnTo>
                        <a:lnTo>
                          <a:pt x="0" y="0"/>
                        </a:lnTo>
                        <a:lnTo>
                          <a:pt x="0" y="0"/>
                        </a:lnTo>
                        <a:lnTo>
                          <a:pt x="0" y="0"/>
                        </a:lnTo>
                        <a:lnTo>
                          <a:pt x="1350" y="0"/>
                        </a:lnTo>
                        <a:lnTo>
                          <a:pt x="1350" y="450"/>
                        </a:lnTo>
                        <a:lnTo>
                          <a:pt x="900" y="900"/>
                        </a:lnTo>
                        <a:lnTo>
                          <a:pt x="900" y="90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91" name="Freeform: Shape 1890">
                    <a:extLst>
                      <a:ext uri="{FF2B5EF4-FFF2-40B4-BE49-F238E27FC236}">
                        <a16:creationId xmlns:a16="http://schemas.microsoft.com/office/drawing/2014/main" id="{7FBD3E99-73F2-A2EE-DFC4-CDD73C44630D}"/>
                      </a:ext>
                    </a:extLst>
                  </p:cNvPr>
                  <p:cNvSpPr/>
                  <p:nvPr/>
                </p:nvSpPr>
                <p:spPr>
                  <a:xfrm>
                    <a:off x="2336241" y="2902413"/>
                    <a:ext cx="4050" cy="3150"/>
                  </a:xfrm>
                  <a:custGeom>
                    <a:avLst/>
                    <a:gdLst>
                      <a:gd name="connsiteX0" fmla="*/ 2701 w 4050"/>
                      <a:gd name="connsiteY0" fmla="*/ 2250 h 3150"/>
                      <a:gd name="connsiteX1" fmla="*/ 900 w 4050"/>
                      <a:gd name="connsiteY1" fmla="*/ 3150 h 3150"/>
                      <a:gd name="connsiteX2" fmla="*/ 450 w 4050"/>
                      <a:gd name="connsiteY2" fmla="*/ 3150 h 3150"/>
                      <a:gd name="connsiteX3" fmla="*/ 0 w 4050"/>
                      <a:gd name="connsiteY3" fmla="*/ 2700 h 3150"/>
                      <a:gd name="connsiteX4" fmla="*/ 1800 w 4050"/>
                      <a:gd name="connsiteY4" fmla="*/ 1800 h 3150"/>
                      <a:gd name="connsiteX5" fmla="*/ 3601 w 4050"/>
                      <a:gd name="connsiteY5" fmla="*/ 0 h 3150"/>
                      <a:gd name="connsiteX6" fmla="*/ 4051 w 4050"/>
                      <a:gd name="connsiteY6" fmla="*/ 0 h 3150"/>
                      <a:gd name="connsiteX7" fmla="*/ 2701 w 4050"/>
                      <a:gd name="connsiteY7" fmla="*/ 2250 h 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0" h="3150">
                        <a:moveTo>
                          <a:pt x="2701" y="2250"/>
                        </a:moveTo>
                        <a:lnTo>
                          <a:pt x="900" y="3150"/>
                        </a:lnTo>
                        <a:lnTo>
                          <a:pt x="450" y="3150"/>
                        </a:lnTo>
                        <a:lnTo>
                          <a:pt x="0" y="2700"/>
                        </a:lnTo>
                        <a:lnTo>
                          <a:pt x="1800" y="1800"/>
                        </a:lnTo>
                        <a:lnTo>
                          <a:pt x="3601" y="0"/>
                        </a:lnTo>
                        <a:lnTo>
                          <a:pt x="4051" y="0"/>
                        </a:lnTo>
                        <a:lnTo>
                          <a:pt x="2701" y="225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92" name="Freeform: Shape 1891">
                    <a:extLst>
                      <a:ext uri="{FF2B5EF4-FFF2-40B4-BE49-F238E27FC236}">
                        <a16:creationId xmlns:a16="http://schemas.microsoft.com/office/drawing/2014/main" id="{D1512772-DE41-FFAB-1FAF-03F20E32F706}"/>
                      </a:ext>
                    </a:extLst>
                  </p:cNvPr>
                  <p:cNvSpPr/>
                  <p:nvPr/>
                </p:nvSpPr>
                <p:spPr>
                  <a:xfrm>
                    <a:off x="2261982" y="3246706"/>
                    <a:ext cx="114764" cy="121965"/>
                  </a:xfrm>
                  <a:custGeom>
                    <a:avLst/>
                    <a:gdLst>
                      <a:gd name="connsiteX0" fmla="*/ 3150 w 114764"/>
                      <a:gd name="connsiteY0" fmla="*/ 119715 h 121965"/>
                      <a:gd name="connsiteX1" fmla="*/ 2250 w 114764"/>
                      <a:gd name="connsiteY1" fmla="*/ 121965 h 121965"/>
                      <a:gd name="connsiteX2" fmla="*/ 1800 w 114764"/>
                      <a:gd name="connsiteY2" fmla="*/ 121065 h 121965"/>
                      <a:gd name="connsiteX3" fmla="*/ 1800 w 114764"/>
                      <a:gd name="connsiteY3" fmla="*/ 119265 h 121965"/>
                      <a:gd name="connsiteX4" fmla="*/ 1350 w 114764"/>
                      <a:gd name="connsiteY4" fmla="*/ 118365 h 121965"/>
                      <a:gd name="connsiteX5" fmla="*/ 450 w 114764"/>
                      <a:gd name="connsiteY5" fmla="*/ 117915 h 121965"/>
                      <a:gd name="connsiteX6" fmla="*/ 0 w 114764"/>
                      <a:gd name="connsiteY6" fmla="*/ 117465 h 121965"/>
                      <a:gd name="connsiteX7" fmla="*/ 0 w 114764"/>
                      <a:gd name="connsiteY7" fmla="*/ 116564 h 121965"/>
                      <a:gd name="connsiteX8" fmla="*/ 3150 w 114764"/>
                      <a:gd name="connsiteY8" fmla="*/ 117915 h 121965"/>
                      <a:gd name="connsiteX9" fmla="*/ 3150 w 114764"/>
                      <a:gd name="connsiteY9" fmla="*/ 119715 h 121965"/>
                      <a:gd name="connsiteX10" fmla="*/ 114764 w 114764"/>
                      <a:gd name="connsiteY10" fmla="*/ 3150 h 121965"/>
                      <a:gd name="connsiteX11" fmla="*/ 114314 w 114764"/>
                      <a:gd name="connsiteY11" fmla="*/ 3600 h 121965"/>
                      <a:gd name="connsiteX12" fmla="*/ 113864 w 114764"/>
                      <a:gd name="connsiteY12" fmla="*/ 3600 h 121965"/>
                      <a:gd name="connsiteX13" fmla="*/ 113414 w 114764"/>
                      <a:gd name="connsiteY13" fmla="*/ 3150 h 121965"/>
                      <a:gd name="connsiteX14" fmla="*/ 113414 w 114764"/>
                      <a:gd name="connsiteY14" fmla="*/ 2250 h 121965"/>
                      <a:gd name="connsiteX15" fmla="*/ 113864 w 114764"/>
                      <a:gd name="connsiteY15" fmla="*/ 2250 h 121965"/>
                      <a:gd name="connsiteX16" fmla="*/ 113864 w 114764"/>
                      <a:gd name="connsiteY16" fmla="*/ 2250 h 121965"/>
                      <a:gd name="connsiteX17" fmla="*/ 113864 w 114764"/>
                      <a:gd name="connsiteY17" fmla="*/ 2250 h 121965"/>
                      <a:gd name="connsiteX18" fmla="*/ 114764 w 114764"/>
                      <a:gd name="connsiteY18" fmla="*/ 3150 h 121965"/>
                      <a:gd name="connsiteX19" fmla="*/ 108464 w 114764"/>
                      <a:gd name="connsiteY19" fmla="*/ 450 h 121965"/>
                      <a:gd name="connsiteX20" fmla="*/ 108464 w 114764"/>
                      <a:gd name="connsiteY20" fmla="*/ 450 h 121965"/>
                      <a:gd name="connsiteX21" fmla="*/ 108013 w 114764"/>
                      <a:gd name="connsiteY21" fmla="*/ 450 h 121965"/>
                      <a:gd name="connsiteX22" fmla="*/ 108013 w 114764"/>
                      <a:gd name="connsiteY22" fmla="*/ 0 h 121965"/>
                      <a:gd name="connsiteX23" fmla="*/ 108464 w 114764"/>
                      <a:gd name="connsiteY23" fmla="*/ 0 h 121965"/>
                      <a:gd name="connsiteX24" fmla="*/ 108464 w 114764"/>
                      <a:gd name="connsiteY24" fmla="*/ 0 h 121965"/>
                      <a:gd name="connsiteX25" fmla="*/ 108464 w 114764"/>
                      <a:gd name="connsiteY25" fmla="*/ 450 h 121965"/>
                      <a:gd name="connsiteX26" fmla="*/ 108464 w 114764"/>
                      <a:gd name="connsiteY26" fmla="*/ 450 h 1219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14764" h="121965">
                        <a:moveTo>
                          <a:pt x="3150" y="119715"/>
                        </a:moveTo>
                        <a:lnTo>
                          <a:pt x="2250" y="121965"/>
                        </a:lnTo>
                        <a:lnTo>
                          <a:pt x="1800" y="121065"/>
                        </a:lnTo>
                        <a:lnTo>
                          <a:pt x="1800" y="119265"/>
                        </a:lnTo>
                        <a:lnTo>
                          <a:pt x="1350" y="118365"/>
                        </a:lnTo>
                        <a:lnTo>
                          <a:pt x="450" y="117915"/>
                        </a:lnTo>
                        <a:lnTo>
                          <a:pt x="0" y="117465"/>
                        </a:lnTo>
                        <a:lnTo>
                          <a:pt x="0" y="116564"/>
                        </a:lnTo>
                        <a:lnTo>
                          <a:pt x="3150" y="117915"/>
                        </a:lnTo>
                        <a:lnTo>
                          <a:pt x="3150" y="119715"/>
                        </a:lnTo>
                        <a:close/>
                        <a:moveTo>
                          <a:pt x="114764" y="3150"/>
                        </a:moveTo>
                        <a:lnTo>
                          <a:pt x="114314" y="3600"/>
                        </a:lnTo>
                        <a:lnTo>
                          <a:pt x="113864" y="3600"/>
                        </a:lnTo>
                        <a:lnTo>
                          <a:pt x="113414" y="3150"/>
                        </a:lnTo>
                        <a:lnTo>
                          <a:pt x="113414" y="2250"/>
                        </a:lnTo>
                        <a:lnTo>
                          <a:pt x="113864" y="2250"/>
                        </a:lnTo>
                        <a:lnTo>
                          <a:pt x="113864" y="2250"/>
                        </a:lnTo>
                        <a:lnTo>
                          <a:pt x="113864" y="2250"/>
                        </a:lnTo>
                        <a:lnTo>
                          <a:pt x="114764" y="3150"/>
                        </a:lnTo>
                        <a:close/>
                        <a:moveTo>
                          <a:pt x="108464" y="450"/>
                        </a:moveTo>
                        <a:lnTo>
                          <a:pt x="108464" y="450"/>
                        </a:lnTo>
                        <a:lnTo>
                          <a:pt x="108013" y="450"/>
                        </a:lnTo>
                        <a:lnTo>
                          <a:pt x="108013" y="0"/>
                        </a:lnTo>
                        <a:lnTo>
                          <a:pt x="108464" y="0"/>
                        </a:lnTo>
                        <a:lnTo>
                          <a:pt x="108464" y="0"/>
                        </a:lnTo>
                        <a:lnTo>
                          <a:pt x="108464" y="450"/>
                        </a:lnTo>
                        <a:lnTo>
                          <a:pt x="108464" y="45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93" name="Freeform: Shape 1892">
                    <a:extLst>
                      <a:ext uri="{FF2B5EF4-FFF2-40B4-BE49-F238E27FC236}">
                        <a16:creationId xmlns:a16="http://schemas.microsoft.com/office/drawing/2014/main" id="{68E7F511-A631-2D7F-68DA-5751174ED192}"/>
                      </a:ext>
                    </a:extLst>
                  </p:cNvPr>
                  <p:cNvSpPr/>
                  <p:nvPr/>
                </p:nvSpPr>
                <p:spPr>
                  <a:xfrm>
                    <a:off x="2036504" y="3034279"/>
                    <a:ext cx="132316" cy="139067"/>
                  </a:xfrm>
                  <a:custGeom>
                    <a:avLst/>
                    <a:gdLst>
                      <a:gd name="connsiteX0" fmla="*/ 37355 w 132316"/>
                      <a:gd name="connsiteY0" fmla="*/ 24753 h 139067"/>
                      <a:gd name="connsiteX1" fmla="*/ 37355 w 132316"/>
                      <a:gd name="connsiteY1" fmla="*/ 24753 h 139067"/>
                      <a:gd name="connsiteX2" fmla="*/ 35104 w 132316"/>
                      <a:gd name="connsiteY2" fmla="*/ 22503 h 139067"/>
                      <a:gd name="connsiteX3" fmla="*/ 33754 w 132316"/>
                      <a:gd name="connsiteY3" fmla="*/ 21603 h 139067"/>
                      <a:gd name="connsiteX4" fmla="*/ 36005 w 132316"/>
                      <a:gd name="connsiteY4" fmla="*/ 19802 h 139067"/>
                      <a:gd name="connsiteX5" fmla="*/ 36905 w 132316"/>
                      <a:gd name="connsiteY5" fmla="*/ 18452 h 139067"/>
                      <a:gd name="connsiteX6" fmla="*/ 36905 w 132316"/>
                      <a:gd name="connsiteY6" fmla="*/ 15302 h 139067"/>
                      <a:gd name="connsiteX7" fmla="*/ 37355 w 132316"/>
                      <a:gd name="connsiteY7" fmla="*/ 13502 h 139067"/>
                      <a:gd name="connsiteX8" fmla="*/ 37355 w 132316"/>
                      <a:gd name="connsiteY8" fmla="*/ 12152 h 139067"/>
                      <a:gd name="connsiteX9" fmla="*/ 37805 w 132316"/>
                      <a:gd name="connsiteY9" fmla="*/ 10801 h 139067"/>
                      <a:gd name="connsiteX10" fmla="*/ 36905 w 132316"/>
                      <a:gd name="connsiteY10" fmla="*/ 9001 h 139067"/>
                      <a:gd name="connsiteX11" fmla="*/ 35104 w 132316"/>
                      <a:gd name="connsiteY11" fmla="*/ 7651 h 139067"/>
                      <a:gd name="connsiteX12" fmla="*/ 31054 w 132316"/>
                      <a:gd name="connsiteY12" fmla="*/ 2250 h 139067"/>
                      <a:gd name="connsiteX13" fmla="*/ 25203 w 132316"/>
                      <a:gd name="connsiteY13" fmla="*/ 900 h 139067"/>
                      <a:gd name="connsiteX14" fmla="*/ 22053 w 132316"/>
                      <a:gd name="connsiteY14" fmla="*/ 900 h 139067"/>
                      <a:gd name="connsiteX15" fmla="*/ 23853 w 132316"/>
                      <a:gd name="connsiteY15" fmla="*/ 0 h 139067"/>
                      <a:gd name="connsiteX16" fmla="*/ 25653 w 132316"/>
                      <a:gd name="connsiteY16" fmla="*/ 0 h 139067"/>
                      <a:gd name="connsiteX17" fmla="*/ 27904 w 132316"/>
                      <a:gd name="connsiteY17" fmla="*/ 450 h 139067"/>
                      <a:gd name="connsiteX18" fmla="*/ 31054 w 132316"/>
                      <a:gd name="connsiteY18" fmla="*/ 900 h 139067"/>
                      <a:gd name="connsiteX19" fmla="*/ 32854 w 132316"/>
                      <a:gd name="connsiteY19" fmla="*/ 2700 h 139067"/>
                      <a:gd name="connsiteX20" fmla="*/ 34654 w 132316"/>
                      <a:gd name="connsiteY20" fmla="*/ 4951 h 139067"/>
                      <a:gd name="connsiteX21" fmla="*/ 36005 w 132316"/>
                      <a:gd name="connsiteY21" fmla="*/ 5851 h 139067"/>
                      <a:gd name="connsiteX22" fmla="*/ 36455 w 132316"/>
                      <a:gd name="connsiteY22" fmla="*/ 6301 h 139067"/>
                      <a:gd name="connsiteX23" fmla="*/ 36455 w 132316"/>
                      <a:gd name="connsiteY23" fmla="*/ 6751 h 139067"/>
                      <a:gd name="connsiteX24" fmla="*/ 36905 w 132316"/>
                      <a:gd name="connsiteY24" fmla="*/ 7201 h 139067"/>
                      <a:gd name="connsiteX25" fmla="*/ 38705 w 132316"/>
                      <a:gd name="connsiteY25" fmla="*/ 8101 h 139067"/>
                      <a:gd name="connsiteX26" fmla="*/ 40955 w 132316"/>
                      <a:gd name="connsiteY26" fmla="*/ 9901 h 139067"/>
                      <a:gd name="connsiteX27" fmla="*/ 41405 w 132316"/>
                      <a:gd name="connsiteY27" fmla="*/ 14402 h 139067"/>
                      <a:gd name="connsiteX28" fmla="*/ 38705 w 132316"/>
                      <a:gd name="connsiteY28" fmla="*/ 16652 h 139067"/>
                      <a:gd name="connsiteX29" fmla="*/ 38255 w 132316"/>
                      <a:gd name="connsiteY29" fmla="*/ 23403 h 139067"/>
                      <a:gd name="connsiteX30" fmla="*/ 37355 w 132316"/>
                      <a:gd name="connsiteY30" fmla="*/ 24753 h 139067"/>
                      <a:gd name="connsiteX31" fmla="*/ 10351 w 132316"/>
                      <a:gd name="connsiteY31" fmla="*/ 5401 h 139067"/>
                      <a:gd name="connsiteX32" fmla="*/ 13052 w 132316"/>
                      <a:gd name="connsiteY32" fmla="*/ 6301 h 139067"/>
                      <a:gd name="connsiteX33" fmla="*/ 14402 w 132316"/>
                      <a:gd name="connsiteY33" fmla="*/ 6301 h 139067"/>
                      <a:gd name="connsiteX34" fmla="*/ 15302 w 132316"/>
                      <a:gd name="connsiteY34" fmla="*/ 5851 h 139067"/>
                      <a:gd name="connsiteX35" fmla="*/ 18902 w 132316"/>
                      <a:gd name="connsiteY35" fmla="*/ 5851 h 139067"/>
                      <a:gd name="connsiteX36" fmla="*/ 22053 w 132316"/>
                      <a:gd name="connsiteY36" fmla="*/ 4951 h 139067"/>
                      <a:gd name="connsiteX37" fmla="*/ 22503 w 132316"/>
                      <a:gd name="connsiteY37" fmla="*/ 6301 h 139067"/>
                      <a:gd name="connsiteX38" fmla="*/ 22503 w 132316"/>
                      <a:gd name="connsiteY38" fmla="*/ 6751 h 139067"/>
                      <a:gd name="connsiteX39" fmla="*/ 15752 w 132316"/>
                      <a:gd name="connsiteY39" fmla="*/ 7201 h 139067"/>
                      <a:gd name="connsiteX40" fmla="*/ 9901 w 132316"/>
                      <a:gd name="connsiteY40" fmla="*/ 9001 h 139067"/>
                      <a:gd name="connsiteX41" fmla="*/ 6751 w 132316"/>
                      <a:gd name="connsiteY41" fmla="*/ 10351 h 139067"/>
                      <a:gd name="connsiteX42" fmla="*/ 5401 w 132316"/>
                      <a:gd name="connsiteY42" fmla="*/ 10351 h 139067"/>
                      <a:gd name="connsiteX43" fmla="*/ 4050 w 132316"/>
                      <a:gd name="connsiteY43" fmla="*/ 9901 h 139067"/>
                      <a:gd name="connsiteX44" fmla="*/ 0 w 132316"/>
                      <a:gd name="connsiteY44" fmla="*/ 6301 h 139067"/>
                      <a:gd name="connsiteX45" fmla="*/ 900 w 132316"/>
                      <a:gd name="connsiteY45" fmla="*/ 6751 h 139067"/>
                      <a:gd name="connsiteX46" fmla="*/ 3600 w 132316"/>
                      <a:gd name="connsiteY46" fmla="*/ 9001 h 139067"/>
                      <a:gd name="connsiteX47" fmla="*/ 5401 w 132316"/>
                      <a:gd name="connsiteY47" fmla="*/ 8551 h 139067"/>
                      <a:gd name="connsiteX48" fmla="*/ 7201 w 132316"/>
                      <a:gd name="connsiteY48" fmla="*/ 7201 h 139067"/>
                      <a:gd name="connsiteX49" fmla="*/ 7651 w 132316"/>
                      <a:gd name="connsiteY49" fmla="*/ 6301 h 139067"/>
                      <a:gd name="connsiteX50" fmla="*/ 7201 w 132316"/>
                      <a:gd name="connsiteY50" fmla="*/ 5851 h 139067"/>
                      <a:gd name="connsiteX51" fmla="*/ 8101 w 132316"/>
                      <a:gd name="connsiteY51" fmla="*/ 4050 h 139067"/>
                      <a:gd name="connsiteX52" fmla="*/ 10351 w 132316"/>
                      <a:gd name="connsiteY52" fmla="*/ 5401 h 139067"/>
                      <a:gd name="connsiteX53" fmla="*/ 49506 w 132316"/>
                      <a:gd name="connsiteY53" fmla="*/ 34204 h 139067"/>
                      <a:gd name="connsiteX54" fmla="*/ 53107 w 132316"/>
                      <a:gd name="connsiteY54" fmla="*/ 36905 h 139067"/>
                      <a:gd name="connsiteX55" fmla="*/ 56257 w 132316"/>
                      <a:gd name="connsiteY55" fmla="*/ 37805 h 139067"/>
                      <a:gd name="connsiteX56" fmla="*/ 59407 w 132316"/>
                      <a:gd name="connsiteY56" fmla="*/ 40955 h 139067"/>
                      <a:gd name="connsiteX57" fmla="*/ 60758 w 132316"/>
                      <a:gd name="connsiteY57" fmla="*/ 42305 h 139067"/>
                      <a:gd name="connsiteX58" fmla="*/ 61208 w 132316"/>
                      <a:gd name="connsiteY58" fmla="*/ 43205 h 139067"/>
                      <a:gd name="connsiteX59" fmla="*/ 60758 w 132316"/>
                      <a:gd name="connsiteY59" fmla="*/ 48156 h 139067"/>
                      <a:gd name="connsiteX60" fmla="*/ 59857 w 132316"/>
                      <a:gd name="connsiteY60" fmla="*/ 50856 h 139067"/>
                      <a:gd name="connsiteX61" fmla="*/ 59857 w 132316"/>
                      <a:gd name="connsiteY61" fmla="*/ 53557 h 139067"/>
                      <a:gd name="connsiteX62" fmla="*/ 58957 w 132316"/>
                      <a:gd name="connsiteY62" fmla="*/ 52657 h 139067"/>
                      <a:gd name="connsiteX63" fmla="*/ 58057 w 132316"/>
                      <a:gd name="connsiteY63" fmla="*/ 50856 h 139067"/>
                      <a:gd name="connsiteX64" fmla="*/ 56707 w 132316"/>
                      <a:gd name="connsiteY64" fmla="*/ 49956 h 139067"/>
                      <a:gd name="connsiteX65" fmla="*/ 56257 w 132316"/>
                      <a:gd name="connsiteY65" fmla="*/ 49506 h 139067"/>
                      <a:gd name="connsiteX66" fmla="*/ 58507 w 132316"/>
                      <a:gd name="connsiteY66" fmla="*/ 49506 h 139067"/>
                      <a:gd name="connsiteX67" fmla="*/ 58507 w 132316"/>
                      <a:gd name="connsiteY67" fmla="*/ 46806 h 139067"/>
                      <a:gd name="connsiteX68" fmla="*/ 59407 w 132316"/>
                      <a:gd name="connsiteY68" fmla="*/ 44555 h 139067"/>
                      <a:gd name="connsiteX69" fmla="*/ 59407 w 132316"/>
                      <a:gd name="connsiteY69" fmla="*/ 42305 h 139067"/>
                      <a:gd name="connsiteX70" fmla="*/ 56707 w 132316"/>
                      <a:gd name="connsiteY70" fmla="*/ 40055 h 139067"/>
                      <a:gd name="connsiteX71" fmla="*/ 54907 w 132316"/>
                      <a:gd name="connsiteY71" fmla="*/ 37805 h 139067"/>
                      <a:gd name="connsiteX72" fmla="*/ 52207 w 132316"/>
                      <a:gd name="connsiteY72" fmla="*/ 36905 h 139067"/>
                      <a:gd name="connsiteX73" fmla="*/ 49506 w 132316"/>
                      <a:gd name="connsiteY73" fmla="*/ 34654 h 139067"/>
                      <a:gd name="connsiteX74" fmla="*/ 48156 w 132316"/>
                      <a:gd name="connsiteY74" fmla="*/ 34204 h 139067"/>
                      <a:gd name="connsiteX75" fmla="*/ 46356 w 132316"/>
                      <a:gd name="connsiteY75" fmla="*/ 34654 h 139067"/>
                      <a:gd name="connsiteX76" fmla="*/ 46806 w 132316"/>
                      <a:gd name="connsiteY76" fmla="*/ 33304 h 139067"/>
                      <a:gd name="connsiteX77" fmla="*/ 47256 w 132316"/>
                      <a:gd name="connsiteY77" fmla="*/ 31504 h 139067"/>
                      <a:gd name="connsiteX78" fmla="*/ 47706 w 132316"/>
                      <a:gd name="connsiteY78" fmla="*/ 31054 h 139067"/>
                      <a:gd name="connsiteX79" fmla="*/ 49506 w 132316"/>
                      <a:gd name="connsiteY79" fmla="*/ 34204 h 139067"/>
                      <a:gd name="connsiteX80" fmla="*/ 26553 w 132316"/>
                      <a:gd name="connsiteY80" fmla="*/ 52657 h 139067"/>
                      <a:gd name="connsiteX81" fmla="*/ 26553 w 132316"/>
                      <a:gd name="connsiteY81" fmla="*/ 55357 h 139067"/>
                      <a:gd name="connsiteX82" fmla="*/ 27003 w 132316"/>
                      <a:gd name="connsiteY82" fmla="*/ 57607 h 139067"/>
                      <a:gd name="connsiteX83" fmla="*/ 27003 w 132316"/>
                      <a:gd name="connsiteY83" fmla="*/ 58507 h 139067"/>
                      <a:gd name="connsiteX84" fmla="*/ 24753 w 132316"/>
                      <a:gd name="connsiteY84" fmla="*/ 59857 h 139067"/>
                      <a:gd name="connsiteX85" fmla="*/ 24303 w 132316"/>
                      <a:gd name="connsiteY85" fmla="*/ 60758 h 139067"/>
                      <a:gd name="connsiteX86" fmla="*/ 22053 w 132316"/>
                      <a:gd name="connsiteY86" fmla="*/ 61658 h 139067"/>
                      <a:gd name="connsiteX87" fmla="*/ 20703 w 132316"/>
                      <a:gd name="connsiteY87" fmla="*/ 62558 h 139067"/>
                      <a:gd name="connsiteX88" fmla="*/ 20253 w 132316"/>
                      <a:gd name="connsiteY88" fmla="*/ 60758 h 139067"/>
                      <a:gd name="connsiteX89" fmla="*/ 18902 w 132316"/>
                      <a:gd name="connsiteY89" fmla="*/ 59857 h 139067"/>
                      <a:gd name="connsiteX90" fmla="*/ 18902 w 132316"/>
                      <a:gd name="connsiteY90" fmla="*/ 58057 h 139067"/>
                      <a:gd name="connsiteX91" fmla="*/ 18002 w 132316"/>
                      <a:gd name="connsiteY91" fmla="*/ 58507 h 139067"/>
                      <a:gd name="connsiteX92" fmla="*/ 16652 w 132316"/>
                      <a:gd name="connsiteY92" fmla="*/ 58057 h 139067"/>
                      <a:gd name="connsiteX93" fmla="*/ 14402 w 132316"/>
                      <a:gd name="connsiteY93" fmla="*/ 56707 h 139067"/>
                      <a:gd name="connsiteX94" fmla="*/ 13052 w 132316"/>
                      <a:gd name="connsiteY94" fmla="*/ 54907 h 139067"/>
                      <a:gd name="connsiteX95" fmla="*/ 15302 w 132316"/>
                      <a:gd name="connsiteY95" fmla="*/ 54457 h 139067"/>
                      <a:gd name="connsiteX96" fmla="*/ 15752 w 132316"/>
                      <a:gd name="connsiteY96" fmla="*/ 55807 h 139067"/>
                      <a:gd name="connsiteX97" fmla="*/ 17552 w 132316"/>
                      <a:gd name="connsiteY97" fmla="*/ 54457 h 139067"/>
                      <a:gd name="connsiteX98" fmla="*/ 17102 w 132316"/>
                      <a:gd name="connsiteY98" fmla="*/ 53557 h 139067"/>
                      <a:gd name="connsiteX99" fmla="*/ 16652 w 132316"/>
                      <a:gd name="connsiteY99" fmla="*/ 53557 h 139067"/>
                      <a:gd name="connsiteX100" fmla="*/ 16202 w 132316"/>
                      <a:gd name="connsiteY100" fmla="*/ 52206 h 139067"/>
                      <a:gd name="connsiteX101" fmla="*/ 18452 w 132316"/>
                      <a:gd name="connsiteY101" fmla="*/ 48606 h 139067"/>
                      <a:gd name="connsiteX102" fmla="*/ 18902 w 132316"/>
                      <a:gd name="connsiteY102" fmla="*/ 46356 h 139067"/>
                      <a:gd name="connsiteX103" fmla="*/ 18002 w 132316"/>
                      <a:gd name="connsiteY103" fmla="*/ 42305 h 139067"/>
                      <a:gd name="connsiteX104" fmla="*/ 18902 w 132316"/>
                      <a:gd name="connsiteY104" fmla="*/ 41855 h 139067"/>
                      <a:gd name="connsiteX105" fmla="*/ 21603 w 132316"/>
                      <a:gd name="connsiteY105" fmla="*/ 43205 h 139067"/>
                      <a:gd name="connsiteX106" fmla="*/ 22953 w 132316"/>
                      <a:gd name="connsiteY106" fmla="*/ 44555 h 139067"/>
                      <a:gd name="connsiteX107" fmla="*/ 22953 w 132316"/>
                      <a:gd name="connsiteY107" fmla="*/ 46356 h 139067"/>
                      <a:gd name="connsiteX108" fmla="*/ 24303 w 132316"/>
                      <a:gd name="connsiteY108" fmla="*/ 47706 h 139067"/>
                      <a:gd name="connsiteX109" fmla="*/ 26103 w 132316"/>
                      <a:gd name="connsiteY109" fmla="*/ 51306 h 139067"/>
                      <a:gd name="connsiteX110" fmla="*/ 26553 w 132316"/>
                      <a:gd name="connsiteY110" fmla="*/ 52657 h 139067"/>
                      <a:gd name="connsiteX111" fmla="*/ 34654 w 132316"/>
                      <a:gd name="connsiteY111" fmla="*/ 45456 h 139067"/>
                      <a:gd name="connsiteX112" fmla="*/ 32404 w 132316"/>
                      <a:gd name="connsiteY112" fmla="*/ 45906 h 139067"/>
                      <a:gd name="connsiteX113" fmla="*/ 30604 w 132316"/>
                      <a:gd name="connsiteY113" fmla="*/ 45456 h 139067"/>
                      <a:gd name="connsiteX114" fmla="*/ 30154 w 132316"/>
                      <a:gd name="connsiteY114" fmla="*/ 45006 h 139067"/>
                      <a:gd name="connsiteX115" fmla="*/ 31054 w 132316"/>
                      <a:gd name="connsiteY115" fmla="*/ 44555 h 139067"/>
                      <a:gd name="connsiteX116" fmla="*/ 32854 w 132316"/>
                      <a:gd name="connsiteY116" fmla="*/ 44105 h 139067"/>
                      <a:gd name="connsiteX117" fmla="*/ 35554 w 132316"/>
                      <a:gd name="connsiteY117" fmla="*/ 44105 h 139067"/>
                      <a:gd name="connsiteX118" fmla="*/ 36905 w 132316"/>
                      <a:gd name="connsiteY118" fmla="*/ 44555 h 139067"/>
                      <a:gd name="connsiteX119" fmla="*/ 36905 w 132316"/>
                      <a:gd name="connsiteY119" fmla="*/ 45006 h 139067"/>
                      <a:gd name="connsiteX120" fmla="*/ 34654 w 132316"/>
                      <a:gd name="connsiteY120" fmla="*/ 45456 h 139067"/>
                      <a:gd name="connsiteX121" fmla="*/ 77860 w 132316"/>
                      <a:gd name="connsiteY121" fmla="*/ 64358 h 139067"/>
                      <a:gd name="connsiteX122" fmla="*/ 77860 w 132316"/>
                      <a:gd name="connsiteY122" fmla="*/ 65708 h 139067"/>
                      <a:gd name="connsiteX123" fmla="*/ 76510 w 132316"/>
                      <a:gd name="connsiteY123" fmla="*/ 65258 h 139067"/>
                      <a:gd name="connsiteX124" fmla="*/ 74259 w 132316"/>
                      <a:gd name="connsiteY124" fmla="*/ 65708 h 139067"/>
                      <a:gd name="connsiteX125" fmla="*/ 73359 w 132316"/>
                      <a:gd name="connsiteY125" fmla="*/ 65708 h 139067"/>
                      <a:gd name="connsiteX126" fmla="*/ 73809 w 132316"/>
                      <a:gd name="connsiteY126" fmla="*/ 64808 h 139067"/>
                      <a:gd name="connsiteX127" fmla="*/ 75159 w 132316"/>
                      <a:gd name="connsiteY127" fmla="*/ 63908 h 139067"/>
                      <a:gd name="connsiteX128" fmla="*/ 75159 w 132316"/>
                      <a:gd name="connsiteY128" fmla="*/ 63008 h 139067"/>
                      <a:gd name="connsiteX129" fmla="*/ 73359 w 132316"/>
                      <a:gd name="connsiteY129" fmla="*/ 61658 h 139067"/>
                      <a:gd name="connsiteX130" fmla="*/ 71109 w 132316"/>
                      <a:gd name="connsiteY130" fmla="*/ 58057 h 139067"/>
                      <a:gd name="connsiteX131" fmla="*/ 70209 w 132316"/>
                      <a:gd name="connsiteY131" fmla="*/ 57157 h 139067"/>
                      <a:gd name="connsiteX132" fmla="*/ 69759 w 132316"/>
                      <a:gd name="connsiteY132" fmla="*/ 55807 h 139067"/>
                      <a:gd name="connsiteX133" fmla="*/ 67959 w 132316"/>
                      <a:gd name="connsiteY133" fmla="*/ 54457 h 139067"/>
                      <a:gd name="connsiteX134" fmla="*/ 68409 w 132316"/>
                      <a:gd name="connsiteY134" fmla="*/ 53557 h 139067"/>
                      <a:gd name="connsiteX135" fmla="*/ 68859 w 132316"/>
                      <a:gd name="connsiteY135" fmla="*/ 53557 h 139067"/>
                      <a:gd name="connsiteX136" fmla="*/ 70209 w 132316"/>
                      <a:gd name="connsiteY136" fmla="*/ 54007 h 139067"/>
                      <a:gd name="connsiteX137" fmla="*/ 72909 w 132316"/>
                      <a:gd name="connsiteY137" fmla="*/ 59407 h 139067"/>
                      <a:gd name="connsiteX138" fmla="*/ 72909 w 132316"/>
                      <a:gd name="connsiteY138" fmla="*/ 59857 h 139067"/>
                      <a:gd name="connsiteX139" fmla="*/ 77860 w 132316"/>
                      <a:gd name="connsiteY139" fmla="*/ 64358 h 139067"/>
                      <a:gd name="connsiteX140" fmla="*/ 28353 w 132316"/>
                      <a:gd name="connsiteY140" fmla="*/ 63008 h 139067"/>
                      <a:gd name="connsiteX141" fmla="*/ 28353 w 132316"/>
                      <a:gd name="connsiteY141" fmla="*/ 63458 h 139067"/>
                      <a:gd name="connsiteX142" fmla="*/ 26103 w 132316"/>
                      <a:gd name="connsiteY142" fmla="*/ 64808 h 139067"/>
                      <a:gd name="connsiteX143" fmla="*/ 27453 w 132316"/>
                      <a:gd name="connsiteY143" fmla="*/ 65708 h 139067"/>
                      <a:gd name="connsiteX144" fmla="*/ 28804 w 132316"/>
                      <a:gd name="connsiteY144" fmla="*/ 63458 h 139067"/>
                      <a:gd name="connsiteX145" fmla="*/ 30154 w 132316"/>
                      <a:gd name="connsiteY145" fmla="*/ 65258 h 139067"/>
                      <a:gd name="connsiteX146" fmla="*/ 30604 w 132316"/>
                      <a:gd name="connsiteY146" fmla="*/ 68859 h 139067"/>
                      <a:gd name="connsiteX147" fmla="*/ 30604 w 132316"/>
                      <a:gd name="connsiteY147" fmla="*/ 69309 h 139067"/>
                      <a:gd name="connsiteX148" fmla="*/ 30604 w 132316"/>
                      <a:gd name="connsiteY148" fmla="*/ 69759 h 139067"/>
                      <a:gd name="connsiteX149" fmla="*/ 30604 w 132316"/>
                      <a:gd name="connsiteY149" fmla="*/ 70209 h 139067"/>
                      <a:gd name="connsiteX150" fmla="*/ 30604 w 132316"/>
                      <a:gd name="connsiteY150" fmla="*/ 71109 h 139067"/>
                      <a:gd name="connsiteX151" fmla="*/ 29254 w 132316"/>
                      <a:gd name="connsiteY151" fmla="*/ 74259 h 139067"/>
                      <a:gd name="connsiteX152" fmla="*/ 25203 w 132316"/>
                      <a:gd name="connsiteY152" fmla="*/ 73809 h 139067"/>
                      <a:gd name="connsiteX153" fmla="*/ 25203 w 132316"/>
                      <a:gd name="connsiteY153" fmla="*/ 71109 h 139067"/>
                      <a:gd name="connsiteX154" fmla="*/ 24753 w 132316"/>
                      <a:gd name="connsiteY154" fmla="*/ 70659 h 139067"/>
                      <a:gd name="connsiteX155" fmla="*/ 23853 w 132316"/>
                      <a:gd name="connsiteY155" fmla="*/ 67058 h 139067"/>
                      <a:gd name="connsiteX156" fmla="*/ 22503 w 132316"/>
                      <a:gd name="connsiteY156" fmla="*/ 65708 h 139067"/>
                      <a:gd name="connsiteX157" fmla="*/ 20703 w 132316"/>
                      <a:gd name="connsiteY157" fmla="*/ 62558 h 139067"/>
                      <a:gd name="connsiteX158" fmla="*/ 21603 w 132316"/>
                      <a:gd name="connsiteY158" fmla="*/ 61658 h 139067"/>
                      <a:gd name="connsiteX159" fmla="*/ 22953 w 132316"/>
                      <a:gd name="connsiteY159" fmla="*/ 62108 h 139067"/>
                      <a:gd name="connsiteX160" fmla="*/ 23853 w 132316"/>
                      <a:gd name="connsiteY160" fmla="*/ 61658 h 139067"/>
                      <a:gd name="connsiteX161" fmla="*/ 25653 w 132316"/>
                      <a:gd name="connsiteY161" fmla="*/ 61208 h 139067"/>
                      <a:gd name="connsiteX162" fmla="*/ 27003 w 132316"/>
                      <a:gd name="connsiteY162" fmla="*/ 60758 h 139067"/>
                      <a:gd name="connsiteX163" fmla="*/ 28353 w 132316"/>
                      <a:gd name="connsiteY163" fmla="*/ 63008 h 139067"/>
                      <a:gd name="connsiteX164" fmla="*/ 96762 w 132316"/>
                      <a:gd name="connsiteY164" fmla="*/ 67508 h 139067"/>
                      <a:gd name="connsiteX165" fmla="*/ 94962 w 132316"/>
                      <a:gd name="connsiteY165" fmla="*/ 70209 h 139067"/>
                      <a:gd name="connsiteX166" fmla="*/ 94062 w 132316"/>
                      <a:gd name="connsiteY166" fmla="*/ 70209 h 139067"/>
                      <a:gd name="connsiteX167" fmla="*/ 94512 w 132316"/>
                      <a:gd name="connsiteY167" fmla="*/ 67058 h 139067"/>
                      <a:gd name="connsiteX168" fmla="*/ 95862 w 132316"/>
                      <a:gd name="connsiteY168" fmla="*/ 66608 h 139067"/>
                      <a:gd name="connsiteX169" fmla="*/ 96312 w 132316"/>
                      <a:gd name="connsiteY169" fmla="*/ 66608 h 139067"/>
                      <a:gd name="connsiteX170" fmla="*/ 96762 w 132316"/>
                      <a:gd name="connsiteY170" fmla="*/ 67508 h 139067"/>
                      <a:gd name="connsiteX171" fmla="*/ 70659 w 132316"/>
                      <a:gd name="connsiteY171" fmla="*/ 81460 h 139067"/>
                      <a:gd name="connsiteX172" fmla="*/ 69759 w 132316"/>
                      <a:gd name="connsiteY172" fmla="*/ 81460 h 139067"/>
                      <a:gd name="connsiteX173" fmla="*/ 67959 w 132316"/>
                      <a:gd name="connsiteY173" fmla="*/ 81010 h 139067"/>
                      <a:gd name="connsiteX174" fmla="*/ 64358 w 132316"/>
                      <a:gd name="connsiteY174" fmla="*/ 78310 h 139067"/>
                      <a:gd name="connsiteX175" fmla="*/ 62558 w 132316"/>
                      <a:gd name="connsiteY175" fmla="*/ 77860 h 139067"/>
                      <a:gd name="connsiteX176" fmla="*/ 63008 w 132316"/>
                      <a:gd name="connsiteY176" fmla="*/ 76059 h 139067"/>
                      <a:gd name="connsiteX177" fmla="*/ 64358 w 132316"/>
                      <a:gd name="connsiteY177" fmla="*/ 76510 h 139067"/>
                      <a:gd name="connsiteX178" fmla="*/ 67508 w 132316"/>
                      <a:gd name="connsiteY178" fmla="*/ 78760 h 139067"/>
                      <a:gd name="connsiteX179" fmla="*/ 68859 w 132316"/>
                      <a:gd name="connsiteY179" fmla="*/ 80110 h 139067"/>
                      <a:gd name="connsiteX180" fmla="*/ 70659 w 132316"/>
                      <a:gd name="connsiteY180" fmla="*/ 81460 h 139067"/>
                      <a:gd name="connsiteX181" fmla="*/ 87761 w 132316"/>
                      <a:gd name="connsiteY181" fmla="*/ 94512 h 139067"/>
                      <a:gd name="connsiteX182" fmla="*/ 87761 w 132316"/>
                      <a:gd name="connsiteY182" fmla="*/ 94962 h 139067"/>
                      <a:gd name="connsiteX183" fmla="*/ 85061 w 132316"/>
                      <a:gd name="connsiteY183" fmla="*/ 90461 h 139067"/>
                      <a:gd name="connsiteX184" fmla="*/ 81910 w 132316"/>
                      <a:gd name="connsiteY184" fmla="*/ 89561 h 139067"/>
                      <a:gd name="connsiteX185" fmla="*/ 80110 w 132316"/>
                      <a:gd name="connsiteY185" fmla="*/ 88661 h 139067"/>
                      <a:gd name="connsiteX186" fmla="*/ 80560 w 132316"/>
                      <a:gd name="connsiteY186" fmla="*/ 88211 h 139067"/>
                      <a:gd name="connsiteX187" fmla="*/ 81910 w 132316"/>
                      <a:gd name="connsiteY187" fmla="*/ 87761 h 139067"/>
                      <a:gd name="connsiteX188" fmla="*/ 82360 w 132316"/>
                      <a:gd name="connsiteY188" fmla="*/ 86411 h 139067"/>
                      <a:gd name="connsiteX189" fmla="*/ 81910 w 132316"/>
                      <a:gd name="connsiteY189" fmla="*/ 85060 h 139067"/>
                      <a:gd name="connsiteX190" fmla="*/ 80110 w 132316"/>
                      <a:gd name="connsiteY190" fmla="*/ 81910 h 139067"/>
                      <a:gd name="connsiteX191" fmla="*/ 79210 w 132316"/>
                      <a:gd name="connsiteY191" fmla="*/ 79660 h 139067"/>
                      <a:gd name="connsiteX192" fmla="*/ 78760 w 132316"/>
                      <a:gd name="connsiteY192" fmla="*/ 79210 h 139067"/>
                      <a:gd name="connsiteX193" fmla="*/ 78760 w 132316"/>
                      <a:gd name="connsiteY193" fmla="*/ 77410 h 139067"/>
                      <a:gd name="connsiteX194" fmla="*/ 81010 w 132316"/>
                      <a:gd name="connsiteY194" fmla="*/ 80110 h 139067"/>
                      <a:gd name="connsiteX195" fmla="*/ 81910 w 132316"/>
                      <a:gd name="connsiteY195" fmla="*/ 82810 h 139067"/>
                      <a:gd name="connsiteX196" fmla="*/ 83260 w 132316"/>
                      <a:gd name="connsiteY196" fmla="*/ 85060 h 139067"/>
                      <a:gd name="connsiteX197" fmla="*/ 84161 w 132316"/>
                      <a:gd name="connsiteY197" fmla="*/ 89111 h 139067"/>
                      <a:gd name="connsiteX198" fmla="*/ 86861 w 132316"/>
                      <a:gd name="connsiteY198" fmla="*/ 90461 h 139067"/>
                      <a:gd name="connsiteX199" fmla="*/ 88661 w 132316"/>
                      <a:gd name="connsiteY199" fmla="*/ 92262 h 139067"/>
                      <a:gd name="connsiteX200" fmla="*/ 87761 w 132316"/>
                      <a:gd name="connsiteY200" fmla="*/ 94512 h 139067"/>
                      <a:gd name="connsiteX201" fmla="*/ 104413 w 132316"/>
                      <a:gd name="connsiteY201" fmla="*/ 98112 h 139067"/>
                      <a:gd name="connsiteX202" fmla="*/ 104863 w 132316"/>
                      <a:gd name="connsiteY202" fmla="*/ 98562 h 139067"/>
                      <a:gd name="connsiteX203" fmla="*/ 103513 w 132316"/>
                      <a:gd name="connsiteY203" fmla="*/ 99462 h 139067"/>
                      <a:gd name="connsiteX204" fmla="*/ 100362 w 132316"/>
                      <a:gd name="connsiteY204" fmla="*/ 98112 h 139067"/>
                      <a:gd name="connsiteX205" fmla="*/ 99462 w 132316"/>
                      <a:gd name="connsiteY205" fmla="*/ 98112 h 139067"/>
                      <a:gd name="connsiteX206" fmla="*/ 99012 w 132316"/>
                      <a:gd name="connsiteY206" fmla="*/ 96762 h 139067"/>
                      <a:gd name="connsiteX207" fmla="*/ 98562 w 132316"/>
                      <a:gd name="connsiteY207" fmla="*/ 95862 h 139067"/>
                      <a:gd name="connsiteX208" fmla="*/ 98562 w 132316"/>
                      <a:gd name="connsiteY208" fmla="*/ 94962 h 139067"/>
                      <a:gd name="connsiteX209" fmla="*/ 100362 w 132316"/>
                      <a:gd name="connsiteY209" fmla="*/ 95412 h 139067"/>
                      <a:gd name="connsiteX210" fmla="*/ 101263 w 132316"/>
                      <a:gd name="connsiteY210" fmla="*/ 96762 h 139067"/>
                      <a:gd name="connsiteX211" fmla="*/ 104413 w 132316"/>
                      <a:gd name="connsiteY211" fmla="*/ 98112 h 139067"/>
                      <a:gd name="connsiteX212" fmla="*/ 101263 w 132316"/>
                      <a:gd name="connsiteY212" fmla="*/ 109814 h 139067"/>
                      <a:gd name="connsiteX213" fmla="*/ 99913 w 132316"/>
                      <a:gd name="connsiteY213" fmla="*/ 110714 h 139067"/>
                      <a:gd name="connsiteX214" fmla="*/ 100362 w 132316"/>
                      <a:gd name="connsiteY214" fmla="*/ 109364 h 139067"/>
                      <a:gd name="connsiteX215" fmla="*/ 103063 w 132316"/>
                      <a:gd name="connsiteY215" fmla="*/ 107563 h 139067"/>
                      <a:gd name="connsiteX216" fmla="*/ 104863 w 132316"/>
                      <a:gd name="connsiteY216" fmla="*/ 105763 h 139067"/>
                      <a:gd name="connsiteX217" fmla="*/ 105763 w 132316"/>
                      <a:gd name="connsiteY217" fmla="*/ 105313 h 139067"/>
                      <a:gd name="connsiteX218" fmla="*/ 106213 w 132316"/>
                      <a:gd name="connsiteY218" fmla="*/ 104863 h 139067"/>
                      <a:gd name="connsiteX219" fmla="*/ 107563 w 132316"/>
                      <a:gd name="connsiteY219" fmla="*/ 104413 h 139067"/>
                      <a:gd name="connsiteX220" fmla="*/ 108014 w 132316"/>
                      <a:gd name="connsiteY220" fmla="*/ 103063 h 139067"/>
                      <a:gd name="connsiteX221" fmla="*/ 108014 w 132316"/>
                      <a:gd name="connsiteY221" fmla="*/ 102163 h 139067"/>
                      <a:gd name="connsiteX222" fmla="*/ 106663 w 132316"/>
                      <a:gd name="connsiteY222" fmla="*/ 100812 h 139067"/>
                      <a:gd name="connsiteX223" fmla="*/ 106663 w 132316"/>
                      <a:gd name="connsiteY223" fmla="*/ 99913 h 139067"/>
                      <a:gd name="connsiteX224" fmla="*/ 107113 w 132316"/>
                      <a:gd name="connsiteY224" fmla="*/ 99012 h 139067"/>
                      <a:gd name="connsiteX225" fmla="*/ 109364 w 132316"/>
                      <a:gd name="connsiteY225" fmla="*/ 98562 h 139067"/>
                      <a:gd name="connsiteX226" fmla="*/ 108914 w 132316"/>
                      <a:gd name="connsiteY226" fmla="*/ 99913 h 139067"/>
                      <a:gd name="connsiteX227" fmla="*/ 109814 w 132316"/>
                      <a:gd name="connsiteY227" fmla="*/ 103063 h 139067"/>
                      <a:gd name="connsiteX228" fmla="*/ 106663 w 132316"/>
                      <a:gd name="connsiteY228" fmla="*/ 107113 h 139067"/>
                      <a:gd name="connsiteX229" fmla="*/ 103963 w 132316"/>
                      <a:gd name="connsiteY229" fmla="*/ 108463 h 139067"/>
                      <a:gd name="connsiteX230" fmla="*/ 101263 w 132316"/>
                      <a:gd name="connsiteY230" fmla="*/ 109814 h 139067"/>
                      <a:gd name="connsiteX231" fmla="*/ 126016 w 132316"/>
                      <a:gd name="connsiteY231" fmla="*/ 104863 h 139067"/>
                      <a:gd name="connsiteX232" fmla="*/ 127366 w 132316"/>
                      <a:gd name="connsiteY232" fmla="*/ 105313 h 139067"/>
                      <a:gd name="connsiteX233" fmla="*/ 128266 w 132316"/>
                      <a:gd name="connsiteY233" fmla="*/ 105313 h 139067"/>
                      <a:gd name="connsiteX234" fmla="*/ 130516 w 132316"/>
                      <a:gd name="connsiteY234" fmla="*/ 106213 h 139067"/>
                      <a:gd name="connsiteX235" fmla="*/ 131866 w 132316"/>
                      <a:gd name="connsiteY235" fmla="*/ 107113 h 139067"/>
                      <a:gd name="connsiteX236" fmla="*/ 132317 w 132316"/>
                      <a:gd name="connsiteY236" fmla="*/ 107563 h 139067"/>
                      <a:gd name="connsiteX237" fmla="*/ 131416 w 132316"/>
                      <a:gd name="connsiteY237" fmla="*/ 108463 h 139067"/>
                      <a:gd name="connsiteX238" fmla="*/ 129166 w 132316"/>
                      <a:gd name="connsiteY238" fmla="*/ 106663 h 139067"/>
                      <a:gd name="connsiteX239" fmla="*/ 127366 w 132316"/>
                      <a:gd name="connsiteY239" fmla="*/ 106663 h 139067"/>
                      <a:gd name="connsiteX240" fmla="*/ 124666 w 132316"/>
                      <a:gd name="connsiteY240" fmla="*/ 106663 h 139067"/>
                      <a:gd name="connsiteX241" fmla="*/ 123765 w 132316"/>
                      <a:gd name="connsiteY241" fmla="*/ 106213 h 139067"/>
                      <a:gd name="connsiteX242" fmla="*/ 124666 w 132316"/>
                      <a:gd name="connsiteY242" fmla="*/ 104413 h 139067"/>
                      <a:gd name="connsiteX243" fmla="*/ 126016 w 132316"/>
                      <a:gd name="connsiteY243" fmla="*/ 104863 h 139067"/>
                      <a:gd name="connsiteX244" fmla="*/ 128716 w 132316"/>
                      <a:gd name="connsiteY244" fmla="*/ 126016 h 139067"/>
                      <a:gd name="connsiteX245" fmla="*/ 126016 w 132316"/>
                      <a:gd name="connsiteY245" fmla="*/ 126916 h 139067"/>
                      <a:gd name="connsiteX246" fmla="*/ 125566 w 132316"/>
                      <a:gd name="connsiteY246" fmla="*/ 125566 h 139067"/>
                      <a:gd name="connsiteX247" fmla="*/ 126916 w 132316"/>
                      <a:gd name="connsiteY247" fmla="*/ 124666 h 139067"/>
                      <a:gd name="connsiteX248" fmla="*/ 128716 w 132316"/>
                      <a:gd name="connsiteY248" fmla="*/ 126016 h 139067"/>
                      <a:gd name="connsiteX249" fmla="*/ 126466 w 132316"/>
                      <a:gd name="connsiteY249" fmla="*/ 133217 h 139067"/>
                      <a:gd name="connsiteX250" fmla="*/ 126016 w 132316"/>
                      <a:gd name="connsiteY250" fmla="*/ 135017 h 139067"/>
                      <a:gd name="connsiteX251" fmla="*/ 123765 w 132316"/>
                      <a:gd name="connsiteY251" fmla="*/ 138167 h 139067"/>
                      <a:gd name="connsiteX252" fmla="*/ 118815 w 132316"/>
                      <a:gd name="connsiteY252" fmla="*/ 139067 h 139067"/>
                      <a:gd name="connsiteX253" fmla="*/ 113414 w 132316"/>
                      <a:gd name="connsiteY253" fmla="*/ 139067 h 139067"/>
                      <a:gd name="connsiteX254" fmla="*/ 112964 w 132316"/>
                      <a:gd name="connsiteY254" fmla="*/ 138167 h 139067"/>
                      <a:gd name="connsiteX255" fmla="*/ 112964 w 132316"/>
                      <a:gd name="connsiteY255" fmla="*/ 137267 h 139067"/>
                      <a:gd name="connsiteX256" fmla="*/ 113414 w 132316"/>
                      <a:gd name="connsiteY256" fmla="*/ 135917 h 139067"/>
                      <a:gd name="connsiteX257" fmla="*/ 113414 w 132316"/>
                      <a:gd name="connsiteY257" fmla="*/ 135467 h 139067"/>
                      <a:gd name="connsiteX258" fmla="*/ 112964 w 132316"/>
                      <a:gd name="connsiteY258" fmla="*/ 135017 h 139067"/>
                      <a:gd name="connsiteX259" fmla="*/ 114764 w 132316"/>
                      <a:gd name="connsiteY259" fmla="*/ 134567 h 139067"/>
                      <a:gd name="connsiteX260" fmla="*/ 116114 w 132316"/>
                      <a:gd name="connsiteY260" fmla="*/ 133217 h 139067"/>
                      <a:gd name="connsiteX261" fmla="*/ 118365 w 132316"/>
                      <a:gd name="connsiteY261" fmla="*/ 132767 h 139067"/>
                      <a:gd name="connsiteX262" fmla="*/ 121065 w 132316"/>
                      <a:gd name="connsiteY262" fmla="*/ 133667 h 139067"/>
                      <a:gd name="connsiteX263" fmla="*/ 122415 w 132316"/>
                      <a:gd name="connsiteY263" fmla="*/ 133667 h 139067"/>
                      <a:gd name="connsiteX264" fmla="*/ 124666 w 132316"/>
                      <a:gd name="connsiteY264" fmla="*/ 132316 h 139067"/>
                      <a:gd name="connsiteX265" fmla="*/ 126466 w 132316"/>
                      <a:gd name="connsiteY265" fmla="*/ 130066 h 139067"/>
                      <a:gd name="connsiteX266" fmla="*/ 127366 w 132316"/>
                      <a:gd name="connsiteY266" fmla="*/ 130516 h 139067"/>
                      <a:gd name="connsiteX267" fmla="*/ 126466 w 132316"/>
                      <a:gd name="connsiteY267" fmla="*/ 133217 h 139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Lst>
                    <a:rect l="l" t="t" r="r" b="b"/>
                    <a:pathLst>
                      <a:path w="132316" h="139067">
                        <a:moveTo>
                          <a:pt x="37355" y="24753"/>
                        </a:moveTo>
                        <a:lnTo>
                          <a:pt x="37355" y="24753"/>
                        </a:lnTo>
                        <a:lnTo>
                          <a:pt x="35104" y="22503"/>
                        </a:lnTo>
                        <a:lnTo>
                          <a:pt x="33754" y="21603"/>
                        </a:lnTo>
                        <a:lnTo>
                          <a:pt x="36005" y="19802"/>
                        </a:lnTo>
                        <a:lnTo>
                          <a:pt x="36905" y="18452"/>
                        </a:lnTo>
                        <a:lnTo>
                          <a:pt x="36905" y="15302"/>
                        </a:lnTo>
                        <a:lnTo>
                          <a:pt x="37355" y="13502"/>
                        </a:lnTo>
                        <a:lnTo>
                          <a:pt x="37355" y="12152"/>
                        </a:lnTo>
                        <a:lnTo>
                          <a:pt x="37805" y="10801"/>
                        </a:lnTo>
                        <a:lnTo>
                          <a:pt x="36905" y="9001"/>
                        </a:lnTo>
                        <a:lnTo>
                          <a:pt x="35104" y="7651"/>
                        </a:lnTo>
                        <a:lnTo>
                          <a:pt x="31054" y="2250"/>
                        </a:lnTo>
                        <a:lnTo>
                          <a:pt x="25203" y="900"/>
                        </a:lnTo>
                        <a:lnTo>
                          <a:pt x="22053" y="900"/>
                        </a:lnTo>
                        <a:lnTo>
                          <a:pt x="23853" y="0"/>
                        </a:lnTo>
                        <a:lnTo>
                          <a:pt x="25653" y="0"/>
                        </a:lnTo>
                        <a:lnTo>
                          <a:pt x="27904" y="450"/>
                        </a:lnTo>
                        <a:lnTo>
                          <a:pt x="31054" y="900"/>
                        </a:lnTo>
                        <a:lnTo>
                          <a:pt x="32854" y="2700"/>
                        </a:lnTo>
                        <a:lnTo>
                          <a:pt x="34654" y="4951"/>
                        </a:lnTo>
                        <a:lnTo>
                          <a:pt x="36005" y="5851"/>
                        </a:lnTo>
                        <a:lnTo>
                          <a:pt x="36455" y="6301"/>
                        </a:lnTo>
                        <a:lnTo>
                          <a:pt x="36455" y="6751"/>
                        </a:lnTo>
                        <a:lnTo>
                          <a:pt x="36905" y="7201"/>
                        </a:lnTo>
                        <a:lnTo>
                          <a:pt x="38705" y="8101"/>
                        </a:lnTo>
                        <a:lnTo>
                          <a:pt x="40955" y="9901"/>
                        </a:lnTo>
                        <a:lnTo>
                          <a:pt x="41405" y="14402"/>
                        </a:lnTo>
                        <a:lnTo>
                          <a:pt x="38705" y="16652"/>
                        </a:lnTo>
                        <a:lnTo>
                          <a:pt x="38255" y="23403"/>
                        </a:lnTo>
                        <a:lnTo>
                          <a:pt x="37355" y="24753"/>
                        </a:lnTo>
                        <a:close/>
                        <a:moveTo>
                          <a:pt x="10351" y="5401"/>
                        </a:moveTo>
                        <a:lnTo>
                          <a:pt x="13052" y="6301"/>
                        </a:lnTo>
                        <a:lnTo>
                          <a:pt x="14402" y="6301"/>
                        </a:lnTo>
                        <a:lnTo>
                          <a:pt x="15302" y="5851"/>
                        </a:lnTo>
                        <a:lnTo>
                          <a:pt x="18902" y="5851"/>
                        </a:lnTo>
                        <a:lnTo>
                          <a:pt x="22053" y="4951"/>
                        </a:lnTo>
                        <a:lnTo>
                          <a:pt x="22503" y="6301"/>
                        </a:lnTo>
                        <a:lnTo>
                          <a:pt x="22503" y="6751"/>
                        </a:lnTo>
                        <a:lnTo>
                          <a:pt x="15752" y="7201"/>
                        </a:lnTo>
                        <a:lnTo>
                          <a:pt x="9901" y="9001"/>
                        </a:lnTo>
                        <a:lnTo>
                          <a:pt x="6751" y="10351"/>
                        </a:lnTo>
                        <a:lnTo>
                          <a:pt x="5401" y="10351"/>
                        </a:lnTo>
                        <a:lnTo>
                          <a:pt x="4050" y="9901"/>
                        </a:lnTo>
                        <a:lnTo>
                          <a:pt x="0" y="6301"/>
                        </a:lnTo>
                        <a:lnTo>
                          <a:pt x="900" y="6751"/>
                        </a:lnTo>
                        <a:lnTo>
                          <a:pt x="3600" y="9001"/>
                        </a:lnTo>
                        <a:lnTo>
                          <a:pt x="5401" y="8551"/>
                        </a:lnTo>
                        <a:lnTo>
                          <a:pt x="7201" y="7201"/>
                        </a:lnTo>
                        <a:lnTo>
                          <a:pt x="7651" y="6301"/>
                        </a:lnTo>
                        <a:lnTo>
                          <a:pt x="7201" y="5851"/>
                        </a:lnTo>
                        <a:lnTo>
                          <a:pt x="8101" y="4050"/>
                        </a:lnTo>
                        <a:lnTo>
                          <a:pt x="10351" y="5401"/>
                        </a:lnTo>
                        <a:close/>
                        <a:moveTo>
                          <a:pt x="49506" y="34204"/>
                        </a:moveTo>
                        <a:lnTo>
                          <a:pt x="53107" y="36905"/>
                        </a:lnTo>
                        <a:lnTo>
                          <a:pt x="56257" y="37805"/>
                        </a:lnTo>
                        <a:lnTo>
                          <a:pt x="59407" y="40955"/>
                        </a:lnTo>
                        <a:lnTo>
                          <a:pt x="60758" y="42305"/>
                        </a:lnTo>
                        <a:lnTo>
                          <a:pt x="61208" y="43205"/>
                        </a:lnTo>
                        <a:lnTo>
                          <a:pt x="60758" y="48156"/>
                        </a:lnTo>
                        <a:lnTo>
                          <a:pt x="59857" y="50856"/>
                        </a:lnTo>
                        <a:lnTo>
                          <a:pt x="59857" y="53557"/>
                        </a:lnTo>
                        <a:lnTo>
                          <a:pt x="58957" y="52657"/>
                        </a:lnTo>
                        <a:lnTo>
                          <a:pt x="58057" y="50856"/>
                        </a:lnTo>
                        <a:lnTo>
                          <a:pt x="56707" y="49956"/>
                        </a:lnTo>
                        <a:lnTo>
                          <a:pt x="56257" y="49506"/>
                        </a:lnTo>
                        <a:lnTo>
                          <a:pt x="58507" y="49506"/>
                        </a:lnTo>
                        <a:lnTo>
                          <a:pt x="58507" y="46806"/>
                        </a:lnTo>
                        <a:lnTo>
                          <a:pt x="59407" y="44555"/>
                        </a:lnTo>
                        <a:lnTo>
                          <a:pt x="59407" y="42305"/>
                        </a:lnTo>
                        <a:lnTo>
                          <a:pt x="56707" y="40055"/>
                        </a:lnTo>
                        <a:lnTo>
                          <a:pt x="54907" y="37805"/>
                        </a:lnTo>
                        <a:lnTo>
                          <a:pt x="52207" y="36905"/>
                        </a:lnTo>
                        <a:lnTo>
                          <a:pt x="49506" y="34654"/>
                        </a:lnTo>
                        <a:lnTo>
                          <a:pt x="48156" y="34204"/>
                        </a:lnTo>
                        <a:lnTo>
                          <a:pt x="46356" y="34654"/>
                        </a:lnTo>
                        <a:lnTo>
                          <a:pt x="46806" y="33304"/>
                        </a:lnTo>
                        <a:lnTo>
                          <a:pt x="47256" y="31504"/>
                        </a:lnTo>
                        <a:lnTo>
                          <a:pt x="47706" y="31054"/>
                        </a:lnTo>
                        <a:lnTo>
                          <a:pt x="49506" y="34204"/>
                        </a:lnTo>
                        <a:close/>
                        <a:moveTo>
                          <a:pt x="26553" y="52657"/>
                        </a:moveTo>
                        <a:lnTo>
                          <a:pt x="26553" y="55357"/>
                        </a:lnTo>
                        <a:lnTo>
                          <a:pt x="27003" y="57607"/>
                        </a:lnTo>
                        <a:lnTo>
                          <a:pt x="27003" y="58507"/>
                        </a:lnTo>
                        <a:lnTo>
                          <a:pt x="24753" y="59857"/>
                        </a:lnTo>
                        <a:lnTo>
                          <a:pt x="24303" y="60758"/>
                        </a:lnTo>
                        <a:lnTo>
                          <a:pt x="22053" y="61658"/>
                        </a:lnTo>
                        <a:lnTo>
                          <a:pt x="20703" y="62558"/>
                        </a:lnTo>
                        <a:lnTo>
                          <a:pt x="20253" y="60758"/>
                        </a:lnTo>
                        <a:lnTo>
                          <a:pt x="18902" y="59857"/>
                        </a:lnTo>
                        <a:lnTo>
                          <a:pt x="18902" y="58057"/>
                        </a:lnTo>
                        <a:lnTo>
                          <a:pt x="18002" y="58507"/>
                        </a:lnTo>
                        <a:lnTo>
                          <a:pt x="16652" y="58057"/>
                        </a:lnTo>
                        <a:lnTo>
                          <a:pt x="14402" y="56707"/>
                        </a:lnTo>
                        <a:lnTo>
                          <a:pt x="13052" y="54907"/>
                        </a:lnTo>
                        <a:lnTo>
                          <a:pt x="15302" y="54457"/>
                        </a:lnTo>
                        <a:lnTo>
                          <a:pt x="15752" y="55807"/>
                        </a:lnTo>
                        <a:lnTo>
                          <a:pt x="17552" y="54457"/>
                        </a:lnTo>
                        <a:lnTo>
                          <a:pt x="17102" y="53557"/>
                        </a:lnTo>
                        <a:lnTo>
                          <a:pt x="16652" y="53557"/>
                        </a:lnTo>
                        <a:lnTo>
                          <a:pt x="16202" y="52206"/>
                        </a:lnTo>
                        <a:lnTo>
                          <a:pt x="18452" y="48606"/>
                        </a:lnTo>
                        <a:lnTo>
                          <a:pt x="18902" y="46356"/>
                        </a:lnTo>
                        <a:lnTo>
                          <a:pt x="18002" y="42305"/>
                        </a:lnTo>
                        <a:lnTo>
                          <a:pt x="18902" y="41855"/>
                        </a:lnTo>
                        <a:lnTo>
                          <a:pt x="21603" y="43205"/>
                        </a:lnTo>
                        <a:lnTo>
                          <a:pt x="22953" y="44555"/>
                        </a:lnTo>
                        <a:lnTo>
                          <a:pt x="22953" y="46356"/>
                        </a:lnTo>
                        <a:lnTo>
                          <a:pt x="24303" y="47706"/>
                        </a:lnTo>
                        <a:lnTo>
                          <a:pt x="26103" y="51306"/>
                        </a:lnTo>
                        <a:lnTo>
                          <a:pt x="26553" y="52657"/>
                        </a:lnTo>
                        <a:close/>
                        <a:moveTo>
                          <a:pt x="34654" y="45456"/>
                        </a:moveTo>
                        <a:lnTo>
                          <a:pt x="32404" y="45906"/>
                        </a:lnTo>
                        <a:lnTo>
                          <a:pt x="30604" y="45456"/>
                        </a:lnTo>
                        <a:lnTo>
                          <a:pt x="30154" y="45006"/>
                        </a:lnTo>
                        <a:lnTo>
                          <a:pt x="31054" y="44555"/>
                        </a:lnTo>
                        <a:lnTo>
                          <a:pt x="32854" y="44105"/>
                        </a:lnTo>
                        <a:lnTo>
                          <a:pt x="35554" y="44105"/>
                        </a:lnTo>
                        <a:lnTo>
                          <a:pt x="36905" y="44555"/>
                        </a:lnTo>
                        <a:lnTo>
                          <a:pt x="36905" y="45006"/>
                        </a:lnTo>
                        <a:lnTo>
                          <a:pt x="34654" y="45456"/>
                        </a:lnTo>
                        <a:close/>
                        <a:moveTo>
                          <a:pt x="77860" y="64358"/>
                        </a:moveTo>
                        <a:lnTo>
                          <a:pt x="77860" y="65708"/>
                        </a:lnTo>
                        <a:lnTo>
                          <a:pt x="76510" y="65258"/>
                        </a:lnTo>
                        <a:lnTo>
                          <a:pt x="74259" y="65708"/>
                        </a:lnTo>
                        <a:lnTo>
                          <a:pt x="73359" y="65708"/>
                        </a:lnTo>
                        <a:lnTo>
                          <a:pt x="73809" y="64808"/>
                        </a:lnTo>
                        <a:lnTo>
                          <a:pt x="75159" y="63908"/>
                        </a:lnTo>
                        <a:lnTo>
                          <a:pt x="75159" y="63008"/>
                        </a:lnTo>
                        <a:lnTo>
                          <a:pt x="73359" y="61658"/>
                        </a:lnTo>
                        <a:lnTo>
                          <a:pt x="71109" y="58057"/>
                        </a:lnTo>
                        <a:lnTo>
                          <a:pt x="70209" y="57157"/>
                        </a:lnTo>
                        <a:lnTo>
                          <a:pt x="69759" y="55807"/>
                        </a:lnTo>
                        <a:lnTo>
                          <a:pt x="67959" y="54457"/>
                        </a:lnTo>
                        <a:lnTo>
                          <a:pt x="68409" y="53557"/>
                        </a:lnTo>
                        <a:lnTo>
                          <a:pt x="68859" y="53557"/>
                        </a:lnTo>
                        <a:lnTo>
                          <a:pt x="70209" y="54007"/>
                        </a:lnTo>
                        <a:lnTo>
                          <a:pt x="72909" y="59407"/>
                        </a:lnTo>
                        <a:lnTo>
                          <a:pt x="72909" y="59857"/>
                        </a:lnTo>
                        <a:lnTo>
                          <a:pt x="77860" y="64358"/>
                        </a:lnTo>
                        <a:close/>
                        <a:moveTo>
                          <a:pt x="28353" y="63008"/>
                        </a:moveTo>
                        <a:lnTo>
                          <a:pt x="28353" y="63458"/>
                        </a:lnTo>
                        <a:lnTo>
                          <a:pt x="26103" y="64808"/>
                        </a:lnTo>
                        <a:lnTo>
                          <a:pt x="27453" y="65708"/>
                        </a:lnTo>
                        <a:lnTo>
                          <a:pt x="28804" y="63458"/>
                        </a:lnTo>
                        <a:lnTo>
                          <a:pt x="30154" y="65258"/>
                        </a:lnTo>
                        <a:lnTo>
                          <a:pt x="30604" y="68859"/>
                        </a:lnTo>
                        <a:lnTo>
                          <a:pt x="30604" y="69309"/>
                        </a:lnTo>
                        <a:lnTo>
                          <a:pt x="30604" y="69759"/>
                        </a:lnTo>
                        <a:lnTo>
                          <a:pt x="30604" y="70209"/>
                        </a:lnTo>
                        <a:lnTo>
                          <a:pt x="30604" y="71109"/>
                        </a:lnTo>
                        <a:lnTo>
                          <a:pt x="29254" y="74259"/>
                        </a:lnTo>
                        <a:lnTo>
                          <a:pt x="25203" y="73809"/>
                        </a:lnTo>
                        <a:lnTo>
                          <a:pt x="25203" y="71109"/>
                        </a:lnTo>
                        <a:lnTo>
                          <a:pt x="24753" y="70659"/>
                        </a:lnTo>
                        <a:lnTo>
                          <a:pt x="23853" y="67058"/>
                        </a:lnTo>
                        <a:lnTo>
                          <a:pt x="22503" y="65708"/>
                        </a:lnTo>
                        <a:lnTo>
                          <a:pt x="20703" y="62558"/>
                        </a:lnTo>
                        <a:lnTo>
                          <a:pt x="21603" y="61658"/>
                        </a:lnTo>
                        <a:lnTo>
                          <a:pt x="22953" y="62108"/>
                        </a:lnTo>
                        <a:lnTo>
                          <a:pt x="23853" y="61658"/>
                        </a:lnTo>
                        <a:lnTo>
                          <a:pt x="25653" y="61208"/>
                        </a:lnTo>
                        <a:lnTo>
                          <a:pt x="27003" y="60758"/>
                        </a:lnTo>
                        <a:lnTo>
                          <a:pt x="28353" y="63008"/>
                        </a:lnTo>
                        <a:close/>
                        <a:moveTo>
                          <a:pt x="96762" y="67508"/>
                        </a:moveTo>
                        <a:lnTo>
                          <a:pt x="94962" y="70209"/>
                        </a:lnTo>
                        <a:lnTo>
                          <a:pt x="94062" y="70209"/>
                        </a:lnTo>
                        <a:lnTo>
                          <a:pt x="94512" y="67058"/>
                        </a:lnTo>
                        <a:lnTo>
                          <a:pt x="95862" y="66608"/>
                        </a:lnTo>
                        <a:lnTo>
                          <a:pt x="96312" y="66608"/>
                        </a:lnTo>
                        <a:lnTo>
                          <a:pt x="96762" y="67508"/>
                        </a:lnTo>
                        <a:close/>
                        <a:moveTo>
                          <a:pt x="70659" y="81460"/>
                        </a:moveTo>
                        <a:lnTo>
                          <a:pt x="69759" y="81460"/>
                        </a:lnTo>
                        <a:lnTo>
                          <a:pt x="67959" y="81010"/>
                        </a:lnTo>
                        <a:lnTo>
                          <a:pt x="64358" y="78310"/>
                        </a:lnTo>
                        <a:lnTo>
                          <a:pt x="62558" y="77860"/>
                        </a:lnTo>
                        <a:lnTo>
                          <a:pt x="63008" y="76059"/>
                        </a:lnTo>
                        <a:lnTo>
                          <a:pt x="64358" y="76510"/>
                        </a:lnTo>
                        <a:lnTo>
                          <a:pt x="67508" y="78760"/>
                        </a:lnTo>
                        <a:lnTo>
                          <a:pt x="68859" y="80110"/>
                        </a:lnTo>
                        <a:lnTo>
                          <a:pt x="70659" y="81460"/>
                        </a:lnTo>
                        <a:close/>
                        <a:moveTo>
                          <a:pt x="87761" y="94512"/>
                        </a:moveTo>
                        <a:lnTo>
                          <a:pt x="87761" y="94962"/>
                        </a:lnTo>
                        <a:lnTo>
                          <a:pt x="85061" y="90461"/>
                        </a:lnTo>
                        <a:lnTo>
                          <a:pt x="81910" y="89561"/>
                        </a:lnTo>
                        <a:lnTo>
                          <a:pt x="80110" y="88661"/>
                        </a:lnTo>
                        <a:lnTo>
                          <a:pt x="80560" y="88211"/>
                        </a:lnTo>
                        <a:lnTo>
                          <a:pt x="81910" y="87761"/>
                        </a:lnTo>
                        <a:lnTo>
                          <a:pt x="82360" y="86411"/>
                        </a:lnTo>
                        <a:lnTo>
                          <a:pt x="81910" y="85060"/>
                        </a:lnTo>
                        <a:lnTo>
                          <a:pt x="80110" y="81910"/>
                        </a:lnTo>
                        <a:lnTo>
                          <a:pt x="79210" y="79660"/>
                        </a:lnTo>
                        <a:lnTo>
                          <a:pt x="78760" y="79210"/>
                        </a:lnTo>
                        <a:lnTo>
                          <a:pt x="78760" y="77410"/>
                        </a:lnTo>
                        <a:lnTo>
                          <a:pt x="81010" y="80110"/>
                        </a:lnTo>
                        <a:lnTo>
                          <a:pt x="81910" y="82810"/>
                        </a:lnTo>
                        <a:lnTo>
                          <a:pt x="83260" y="85060"/>
                        </a:lnTo>
                        <a:lnTo>
                          <a:pt x="84161" y="89111"/>
                        </a:lnTo>
                        <a:lnTo>
                          <a:pt x="86861" y="90461"/>
                        </a:lnTo>
                        <a:lnTo>
                          <a:pt x="88661" y="92262"/>
                        </a:lnTo>
                        <a:lnTo>
                          <a:pt x="87761" y="94512"/>
                        </a:lnTo>
                        <a:close/>
                        <a:moveTo>
                          <a:pt x="104413" y="98112"/>
                        </a:moveTo>
                        <a:lnTo>
                          <a:pt x="104863" y="98562"/>
                        </a:lnTo>
                        <a:lnTo>
                          <a:pt x="103513" y="99462"/>
                        </a:lnTo>
                        <a:lnTo>
                          <a:pt x="100362" y="98112"/>
                        </a:lnTo>
                        <a:lnTo>
                          <a:pt x="99462" y="98112"/>
                        </a:lnTo>
                        <a:lnTo>
                          <a:pt x="99012" y="96762"/>
                        </a:lnTo>
                        <a:lnTo>
                          <a:pt x="98562" y="95862"/>
                        </a:lnTo>
                        <a:lnTo>
                          <a:pt x="98562" y="94962"/>
                        </a:lnTo>
                        <a:lnTo>
                          <a:pt x="100362" y="95412"/>
                        </a:lnTo>
                        <a:lnTo>
                          <a:pt x="101263" y="96762"/>
                        </a:lnTo>
                        <a:lnTo>
                          <a:pt x="104413" y="98112"/>
                        </a:lnTo>
                        <a:close/>
                        <a:moveTo>
                          <a:pt x="101263" y="109814"/>
                        </a:moveTo>
                        <a:lnTo>
                          <a:pt x="99913" y="110714"/>
                        </a:lnTo>
                        <a:lnTo>
                          <a:pt x="100362" y="109364"/>
                        </a:lnTo>
                        <a:lnTo>
                          <a:pt x="103063" y="107563"/>
                        </a:lnTo>
                        <a:lnTo>
                          <a:pt x="104863" y="105763"/>
                        </a:lnTo>
                        <a:lnTo>
                          <a:pt x="105763" y="105313"/>
                        </a:lnTo>
                        <a:lnTo>
                          <a:pt x="106213" y="104863"/>
                        </a:lnTo>
                        <a:lnTo>
                          <a:pt x="107563" y="104413"/>
                        </a:lnTo>
                        <a:lnTo>
                          <a:pt x="108014" y="103063"/>
                        </a:lnTo>
                        <a:lnTo>
                          <a:pt x="108014" y="102163"/>
                        </a:lnTo>
                        <a:lnTo>
                          <a:pt x="106663" y="100812"/>
                        </a:lnTo>
                        <a:lnTo>
                          <a:pt x="106663" y="99913"/>
                        </a:lnTo>
                        <a:lnTo>
                          <a:pt x="107113" y="99012"/>
                        </a:lnTo>
                        <a:lnTo>
                          <a:pt x="109364" y="98562"/>
                        </a:lnTo>
                        <a:lnTo>
                          <a:pt x="108914" y="99913"/>
                        </a:lnTo>
                        <a:lnTo>
                          <a:pt x="109814" y="103063"/>
                        </a:lnTo>
                        <a:lnTo>
                          <a:pt x="106663" y="107113"/>
                        </a:lnTo>
                        <a:lnTo>
                          <a:pt x="103963" y="108463"/>
                        </a:lnTo>
                        <a:lnTo>
                          <a:pt x="101263" y="109814"/>
                        </a:lnTo>
                        <a:close/>
                        <a:moveTo>
                          <a:pt x="126016" y="104863"/>
                        </a:moveTo>
                        <a:lnTo>
                          <a:pt x="127366" y="105313"/>
                        </a:lnTo>
                        <a:lnTo>
                          <a:pt x="128266" y="105313"/>
                        </a:lnTo>
                        <a:lnTo>
                          <a:pt x="130516" y="106213"/>
                        </a:lnTo>
                        <a:lnTo>
                          <a:pt x="131866" y="107113"/>
                        </a:lnTo>
                        <a:lnTo>
                          <a:pt x="132317" y="107563"/>
                        </a:lnTo>
                        <a:lnTo>
                          <a:pt x="131416" y="108463"/>
                        </a:lnTo>
                        <a:lnTo>
                          <a:pt x="129166" y="106663"/>
                        </a:lnTo>
                        <a:lnTo>
                          <a:pt x="127366" y="106663"/>
                        </a:lnTo>
                        <a:lnTo>
                          <a:pt x="124666" y="106663"/>
                        </a:lnTo>
                        <a:lnTo>
                          <a:pt x="123765" y="106213"/>
                        </a:lnTo>
                        <a:lnTo>
                          <a:pt x="124666" y="104413"/>
                        </a:lnTo>
                        <a:lnTo>
                          <a:pt x="126016" y="104863"/>
                        </a:lnTo>
                        <a:close/>
                        <a:moveTo>
                          <a:pt x="128716" y="126016"/>
                        </a:moveTo>
                        <a:lnTo>
                          <a:pt x="126016" y="126916"/>
                        </a:lnTo>
                        <a:lnTo>
                          <a:pt x="125566" y="125566"/>
                        </a:lnTo>
                        <a:lnTo>
                          <a:pt x="126916" y="124666"/>
                        </a:lnTo>
                        <a:lnTo>
                          <a:pt x="128716" y="126016"/>
                        </a:lnTo>
                        <a:close/>
                        <a:moveTo>
                          <a:pt x="126466" y="133217"/>
                        </a:moveTo>
                        <a:lnTo>
                          <a:pt x="126016" y="135017"/>
                        </a:lnTo>
                        <a:lnTo>
                          <a:pt x="123765" y="138167"/>
                        </a:lnTo>
                        <a:lnTo>
                          <a:pt x="118815" y="139067"/>
                        </a:lnTo>
                        <a:lnTo>
                          <a:pt x="113414" y="139067"/>
                        </a:lnTo>
                        <a:lnTo>
                          <a:pt x="112964" y="138167"/>
                        </a:lnTo>
                        <a:lnTo>
                          <a:pt x="112964" y="137267"/>
                        </a:lnTo>
                        <a:lnTo>
                          <a:pt x="113414" y="135917"/>
                        </a:lnTo>
                        <a:lnTo>
                          <a:pt x="113414" y="135467"/>
                        </a:lnTo>
                        <a:lnTo>
                          <a:pt x="112964" y="135017"/>
                        </a:lnTo>
                        <a:lnTo>
                          <a:pt x="114764" y="134567"/>
                        </a:lnTo>
                        <a:lnTo>
                          <a:pt x="116114" y="133217"/>
                        </a:lnTo>
                        <a:lnTo>
                          <a:pt x="118365" y="132767"/>
                        </a:lnTo>
                        <a:lnTo>
                          <a:pt x="121065" y="133667"/>
                        </a:lnTo>
                        <a:lnTo>
                          <a:pt x="122415" y="133667"/>
                        </a:lnTo>
                        <a:lnTo>
                          <a:pt x="124666" y="132316"/>
                        </a:lnTo>
                        <a:lnTo>
                          <a:pt x="126466" y="130066"/>
                        </a:lnTo>
                        <a:lnTo>
                          <a:pt x="127366" y="130516"/>
                        </a:lnTo>
                        <a:lnTo>
                          <a:pt x="126466" y="133217"/>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97" name="Freeform: Shape 1896">
                    <a:extLst>
                      <a:ext uri="{FF2B5EF4-FFF2-40B4-BE49-F238E27FC236}">
                        <a16:creationId xmlns:a16="http://schemas.microsoft.com/office/drawing/2014/main" id="{D00647B4-1CE6-02A0-6C9B-E12AA0BD90A5}"/>
                      </a:ext>
                    </a:extLst>
                  </p:cNvPr>
                  <p:cNvSpPr/>
                  <p:nvPr/>
                </p:nvSpPr>
                <p:spPr>
                  <a:xfrm>
                    <a:off x="2245330" y="3361020"/>
                    <a:ext cx="8101" cy="7651"/>
                  </a:xfrm>
                  <a:custGeom>
                    <a:avLst/>
                    <a:gdLst>
                      <a:gd name="connsiteX0" fmla="*/ 8101 w 8101"/>
                      <a:gd name="connsiteY0" fmla="*/ 7201 h 7651"/>
                      <a:gd name="connsiteX1" fmla="*/ 7201 w 8101"/>
                      <a:gd name="connsiteY1" fmla="*/ 7651 h 7651"/>
                      <a:gd name="connsiteX2" fmla="*/ 3150 w 8101"/>
                      <a:gd name="connsiteY2" fmla="*/ 5401 h 7651"/>
                      <a:gd name="connsiteX3" fmla="*/ 0 w 8101"/>
                      <a:gd name="connsiteY3" fmla="*/ 1800 h 7651"/>
                      <a:gd name="connsiteX4" fmla="*/ 0 w 8101"/>
                      <a:gd name="connsiteY4" fmla="*/ 0 h 7651"/>
                      <a:gd name="connsiteX5" fmla="*/ 900 w 8101"/>
                      <a:gd name="connsiteY5" fmla="*/ 0 h 7651"/>
                      <a:gd name="connsiteX6" fmla="*/ 1800 w 8101"/>
                      <a:gd name="connsiteY6" fmla="*/ 450 h 7651"/>
                      <a:gd name="connsiteX7" fmla="*/ 3150 w 8101"/>
                      <a:gd name="connsiteY7" fmla="*/ 2701 h 7651"/>
                      <a:gd name="connsiteX8" fmla="*/ 7201 w 8101"/>
                      <a:gd name="connsiteY8" fmla="*/ 4051 h 7651"/>
                      <a:gd name="connsiteX9" fmla="*/ 8101 w 8101"/>
                      <a:gd name="connsiteY9" fmla="*/ 7201 h 76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101" h="7651">
                        <a:moveTo>
                          <a:pt x="8101" y="7201"/>
                        </a:moveTo>
                        <a:lnTo>
                          <a:pt x="7201" y="7651"/>
                        </a:lnTo>
                        <a:lnTo>
                          <a:pt x="3150" y="5401"/>
                        </a:lnTo>
                        <a:lnTo>
                          <a:pt x="0" y="1800"/>
                        </a:lnTo>
                        <a:lnTo>
                          <a:pt x="0" y="0"/>
                        </a:lnTo>
                        <a:lnTo>
                          <a:pt x="900" y="0"/>
                        </a:lnTo>
                        <a:lnTo>
                          <a:pt x="1800" y="450"/>
                        </a:lnTo>
                        <a:lnTo>
                          <a:pt x="3150" y="2701"/>
                        </a:lnTo>
                        <a:lnTo>
                          <a:pt x="7201" y="4051"/>
                        </a:lnTo>
                        <a:lnTo>
                          <a:pt x="8101" y="720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898" name="Freeform: Shape 1897">
                    <a:extLst>
                      <a:ext uri="{FF2B5EF4-FFF2-40B4-BE49-F238E27FC236}">
                        <a16:creationId xmlns:a16="http://schemas.microsoft.com/office/drawing/2014/main" id="{EE3F5299-52B3-17E4-A86B-719459AC719D}"/>
                      </a:ext>
                    </a:extLst>
                  </p:cNvPr>
                  <p:cNvSpPr/>
                  <p:nvPr/>
                </p:nvSpPr>
                <p:spPr>
                  <a:xfrm>
                    <a:off x="2407800" y="3291261"/>
                    <a:ext cx="4950" cy="8551"/>
                  </a:xfrm>
                  <a:custGeom>
                    <a:avLst/>
                    <a:gdLst>
                      <a:gd name="connsiteX0" fmla="*/ 4051 w 4950"/>
                      <a:gd name="connsiteY0" fmla="*/ 8101 h 8551"/>
                      <a:gd name="connsiteX1" fmla="*/ 2250 w 4950"/>
                      <a:gd name="connsiteY1" fmla="*/ 8551 h 8551"/>
                      <a:gd name="connsiteX2" fmla="*/ 1350 w 4950"/>
                      <a:gd name="connsiteY2" fmla="*/ 4951 h 8551"/>
                      <a:gd name="connsiteX3" fmla="*/ 0 w 4950"/>
                      <a:gd name="connsiteY3" fmla="*/ 2250 h 8551"/>
                      <a:gd name="connsiteX4" fmla="*/ 450 w 4950"/>
                      <a:gd name="connsiteY4" fmla="*/ 450 h 8551"/>
                      <a:gd name="connsiteX5" fmla="*/ 900 w 4950"/>
                      <a:gd name="connsiteY5" fmla="*/ 0 h 8551"/>
                      <a:gd name="connsiteX6" fmla="*/ 3600 w 4950"/>
                      <a:gd name="connsiteY6" fmla="*/ 900 h 8551"/>
                      <a:gd name="connsiteX7" fmla="*/ 4501 w 4950"/>
                      <a:gd name="connsiteY7" fmla="*/ 2250 h 8551"/>
                      <a:gd name="connsiteX8" fmla="*/ 4951 w 4950"/>
                      <a:gd name="connsiteY8" fmla="*/ 5401 h 8551"/>
                      <a:gd name="connsiteX9" fmla="*/ 4051 w 4950"/>
                      <a:gd name="connsiteY9" fmla="*/ 8101 h 8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950" h="8551">
                        <a:moveTo>
                          <a:pt x="4051" y="8101"/>
                        </a:moveTo>
                        <a:lnTo>
                          <a:pt x="2250" y="8551"/>
                        </a:lnTo>
                        <a:lnTo>
                          <a:pt x="1350" y="4951"/>
                        </a:lnTo>
                        <a:lnTo>
                          <a:pt x="0" y="2250"/>
                        </a:lnTo>
                        <a:lnTo>
                          <a:pt x="450" y="450"/>
                        </a:lnTo>
                        <a:lnTo>
                          <a:pt x="900" y="0"/>
                        </a:lnTo>
                        <a:lnTo>
                          <a:pt x="3600" y="900"/>
                        </a:lnTo>
                        <a:lnTo>
                          <a:pt x="4501" y="2250"/>
                        </a:lnTo>
                        <a:lnTo>
                          <a:pt x="4951" y="5401"/>
                        </a:lnTo>
                        <a:lnTo>
                          <a:pt x="4051" y="810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00" name="Freeform: Shape 1899">
                    <a:extLst>
                      <a:ext uri="{FF2B5EF4-FFF2-40B4-BE49-F238E27FC236}">
                        <a16:creationId xmlns:a16="http://schemas.microsoft.com/office/drawing/2014/main" id="{A97C74D1-5285-A589-C24D-BB3531A7F44E}"/>
                      </a:ext>
                    </a:extLst>
                  </p:cNvPr>
                  <p:cNvSpPr/>
                  <p:nvPr/>
                </p:nvSpPr>
                <p:spPr>
                  <a:xfrm>
                    <a:off x="2401500" y="3364620"/>
                    <a:ext cx="4050" cy="4950"/>
                  </a:xfrm>
                  <a:custGeom>
                    <a:avLst/>
                    <a:gdLst>
                      <a:gd name="connsiteX0" fmla="*/ 1350 w 4050"/>
                      <a:gd name="connsiteY0" fmla="*/ 4951 h 4950"/>
                      <a:gd name="connsiteX1" fmla="*/ 0 w 4050"/>
                      <a:gd name="connsiteY1" fmla="*/ 4951 h 4950"/>
                      <a:gd name="connsiteX2" fmla="*/ 450 w 4050"/>
                      <a:gd name="connsiteY2" fmla="*/ 4051 h 4950"/>
                      <a:gd name="connsiteX3" fmla="*/ 450 w 4050"/>
                      <a:gd name="connsiteY3" fmla="*/ 2701 h 4950"/>
                      <a:gd name="connsiteX4" fmla="*/ 1350 w 4050"/>
                      <a:gd name="connsiteY4" fmla="*/ 900 h 4950"/>
                      <a:gd name="connsiteX5" fmla="*/ 2701 w 4050"/>
                      <a:gd name="connsiteY5" fmla="*/ 0 h 4950"/>
                      <a:gd name="connsiteX6" fmla="*/ 4051 w 4050"/>
                      <a:gd name="connsiteY6" fmla="*/ 450 h 4950"/>
                      <a:gd name="connsiteX7" fmla="*/ 3601 w 4050"/>
                      <a:gd name="connsiteY7" fmla="*/ 4051 h 4950"/>
                      <a:gd name="connsiteX8" fmla="*/ 1350 w 4050"/>
                      <a:gd name="connsiteY8" fmla="*/ 4951 h 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050" h="4950">
                        <a:moveTo>
                          <a:pt x="1350" y="4951"/>
                        </a:moveTo>
                        <a:lnTo>
                          <a:pt x="0" y="4951"/>
                        </a:lnTo>
                        <a:lnTo>
                          <a:pt x="450" y="4051"/>
                        </a:lnTo>
                        <a:lnTo>
                          <a:pt x="450" y="2701"/>
                        </a:lnTo>
                        <a:lnTo>
                          <a:pt x="1350" y="900"/>
                        </a:lnTo>
                        <a:lnTo>
                          <a:pt x="2701" y="0"/>
                        </a:lnTo>
                        <a:lnTo>
                          <a:pt x="4051" y="450"/>
                        </a:lnTo>
                        <a:lnTo>
                          <a:pt x="3601" y="4051"/>
                        </a:lnTo>
                        <a:lnTo>
                          <a:pt x="1350" y="49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02" name="Freeform: Shape 1901">
                    <a:extLst>
                      <a:ext uri="{FF2B5EF4-FFF2-40B4-BE49-F238E27FC236}">
                        <a16:creationId xmlns:a16="http://schemas.microsoft.com/office/drawing/2014/main" id="{4341C870-C73A-705A-013F-10C943EFA6DB}"/>
                      </a:ext>
                    </a:extLst>
                  </p:cNvPr>
                  <p:cNvSpPr/>
                  <p:nvPr/>
                </p:nvSpPr>
                <p:spPr>
                  <a:xfrm>
                    <a:off x="2401050" y="3272359"/>
                    <a:ext cx="13051" cy="13051"/>
                  </a:xfrm>
                  <a:custGeom>
                    <a:avLst/>
                    <a:gdLst>
                      <a:gd name="connsiteX0" fmla="*/ 9901 w 13051"/>
                      <a:gd name="connsiteY0" fmla="*/ 5401 h 13051"/>
                      <a:gd name="connsiteX1" fmla="*/ 7201 w 13051"/>
                      <a:gd name="connsiteY1" fmla="*/ 5851 h 13051"/>
                      <a:gd name="connsiteX2" fmla="*/ 5401 w 13051"/>
                      <a:gd name="connsiteY2" fmla="*/ 5851 h 13051"/>
                      <a:gd name="connsiteX3" fmla="*/ 4951 w 13051"/>
                      <a:gd name="connsiteY3" fmla="*/ 4501 h 13051"/>
                      <a:gd name="connsiteX4" fmla="*/ 5851 w 13051"/>
                      <a:gd name="connsiteY4" fmla="*/ 3150 h 13051"/>
                      <a:gd name="connsiteX5" fmla="*/ 5401 w 13051"/>
                      <a:gd name="connsiteY5" fmla="*/ 1350 h 13051"/>
                      <a:gd name="connsiteX6" fmla="*/ 5851 w 13051"/>
                      <a:gd name="connsiteY6" fmla="*/ 450 h 13051"/>
                      <a:gd name="connsiteX7" fmla="*/ 6751 w 13051"/>
                      <a:gd name="connsiteY7" fmla="*/ 0 h 13051"/>
                      <a:gd name="connsiteX8" fmla="*/ 8101 w 13051"/>
                      <a:gd name="connsiteY8" fmla="*/ 900 h 13051"/>
                      <a:gd name="connsiteX9" fmla="*/ 8101 w 13051"/>
                      <a:gd name="connsiteY9" fmla="*/ 2250 h 13051"/>
                      <a:gd name="connsiteX10" fmla="*/ 9001 w 13051"/>
                      <a:gd name="connsiteY10" fmla="*/ 3150 h 13051"/>
                      <a:gd name="connsiteX11" fmla="*/ 13052 w 13051"/>
                      <a:gd name="connsiteY11" fmla="*/ 5401 h 13051"/>
                      <a:gd name="connsiteX12" fmla="*/ 9901 w 13051"/>
                      <a:gd name="connsiteY12" fmla="*/ 5401 h 13051"/>
                      <a:gd name="connsiteX13" fmla="*/ 4501 w 13051"/>
                      <a:gd name="connsiteY13" fmla="*/ 10352 h 13051"/>
                      <a:gd name="connsiteX14" fmla="*/ 2700 w 13051"/>
                      <a:gd name="connsiteY14" fmla="*/ 11251 h 13051"/>
                      <a:gd name="connsiteX15" fmla="*/ 1800 w 13051"/>
                      <a:gd name="connsiteY15" fmla="*/ 10801 h 13051"/>
                      <a:gd name="connsiteX16" fmla="*/ 900 w 13051"/>
                      <a:gd name="connsiteY16" fmla="*/ 9001 h 13051"/>
                      <a:gd name="connsiteX17" fmla="*/ 0 w 13051"/>
                      <a:gd name="connsiteY17" fmla="*/ 3601 h 13051"/>
                      <a:gd name="connsiteX18" fmla="*/ 450 w 13051"/>
                      <a:gd name="connsiteY18" fmla="*/ 2701 h 13051"/>
                      <a:gd name="connsiteX19" fmla="*/ 900 w 13051"/>
                      <a:gd name="connsiteY19" fmla="*/ 2250 h 13051"/>
                      <a:gd name="connsiteX20" fmla="*/ 3150 w 13051"/>
                      <a:gd name="connsiteY20" fmla="*/ 2701 h 13051"/>
                      <a:gd name="connsiteX21" fmla="*/ 4051 w 13051"/>
                      <a:gd name="connsiteY21" fmla="*/ 3601 h 13051"/>
                      <a:gd name="connsiteX22" fmla="*/ 4951 w 13051"/>
                      <a:gd name="connsiteY22" fmla="*/ 4051 h 13051"/>
                      <a:gd name="connsiteX23" fmla="*/ 4501 w 13051"/>
                      <a:gd name="connsiteY23" fmla="*/ 4951 h 13051"/>
                      <a:gd name="connsiteX24" fmla="*/ 4951 w 13051"/>
                      <a:gd name="connsiteY24" fmla="*/ 9001 h 13051"/>
                      <a:gd name="connsiteX25" fmla="*/ 4501 w 13051"/>
                      <a:gd name="connsiteY25" fmla="*/ 10352 h 13051"/>
                      <a:gd name="connsiteX26" fmla="*/ 12152 w 13051"/>
                      <a:gd name="connsiteY26" fmla="*/ 13052 h 13051"/>
                      <a:gd name="connsiteX27" fmla="*/ 10801 w 13051"/>
                      <a:gd name="connsiteY27" fmla="*/ 13052 h 13051"/>
                      <a:gd name="connsiteX28" fmla="*/ 10351 w 13051"/>
                      <a:gd name="connsiteY28" fmla="*/ 13052 h 13051"/>
                      <a:gd name="connsiteX29" fmla="*/ 10351 w 13051"/>
                      <a:gd name="connsiteY29" fmla="*/ 11702 h 13051"/>
                      <a:gd name="connsiteX30" fmla="*/ 11251 w 13051"/>
                      <a:gd name="connsiteY30" fmla="*/ 10801 h 13051"/>
                      <a:gd name="connsiteX31" fmla="*/ 11701 w 13051"/>
                      <a:gd name="connsiteY31" fmla="*/ 10801 h 13051"/>
                      <a:gd name="connsiteX32" fmla="*/ 12602 w 13051"/>
                      <a:gd name="connsiteY32" fmla="*/ 11702 h 13051"/>
                      <a:gd name="connsiteX33" fmla="*/ 12602 w 13051"/>
                      <a:gd name="connsiteY33" fmla="*/ 12602 h 13051"/>
                      <a:gd name="connsiteX34" fmla="*/ 12152 w 13051"/>
                      <a:gd name="connsiteY34" fmla="*/ 13052 h 13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13051" h="13051">
                        <a:moveTo>
                          <a:pt x="9901" y="5401"/>
                        </a:moveTo>
                        <a:lnTo>
                          <a:pt x="7201" y="5851"/>
                        </a:lnTo>
                        <a:lnTo>
                          <a:pt x="5401" y="5851"/>
                        </a:lnTo>
                        <a:lnTo>
                          <a:pt x="4951" y="4501"/>
                        </a:lnTo>
                        <a:lnTo>
                          <a:pt x="5851" y="3150"/>
                        </a:lnTo>
                        <a:lnTo>
                          <a:pt x="5401" y="1350"/>
                        </a:lnTo>
                        <a:lnTo>
                          <a:pt x="5851" y="450"/>
                        </a:lnTo>
                        <a:lnTo>
                          <a:pt x="6751" y="0"/>
                        </a:lnTo>
                        <a:lnTo>
                          <a:pt x="8101" y="900"/>
                        </a:lnTo>
                        <a:lnTo>
                          <a:pt x="8101" y="2250"/>
                        </a:lnTo>
                        <a:lnTo>
                          <a:pt x="9001" y="3150"/>
                        </a:lnTo>
                        <a:lnTo>
                          <a:pt x="13052" y="5401"/>
                        </a:lnTo>
                        <a:lnTo>
                          <a:pt x="9901" y="5401"/>
                        </a:lnTo>
                        <a:close/>
                        <a:moveTo>
                          <a:pt x="4501" y="10352"/>
                        </a:moveTo>
                        <a:lnTo>
                          <a:pt x="2700" y="11251"/>
                        </a:lnTo>
                        <a:lnTo>
                          <a:pt x="1800" y="10801"/>
                        </a:lnTo>
                        <a:lnTo>
                          <a:pt x="900" y="9001"/>
                        </a:lnTo>
                        <a:lnTo>
                          <a:pt x="0" y="3601"/>
                        </a:lnTo>
                        <a:lnTo>
                          <a:pt x="450" y="2701"/>
                        </a:lnTo>
                        <a:lnTo>
                          <a:pt x="900" y="2250"/>
                        </a:lnTo>
                        <a:lnTo>
                          <a:pt x="3150" y="2701"/>
                        </a:lnTo>
                        <a:lnTo>
                          <a:pt x="4051" y="3601"/>
                        </a:lnTo>
                        <a:lnTo>
                          <a:pt x="4951" y="4051"/>
                        </a:lnTo>
                        <a:lnTo>
                          <a:pt x="4501" y="4951"/>
                        </a:lnTo>
                        <a:lnTo>
                          <a:pt x="4951" y="9001"/>
                        </a:lnTo>
                        <a:lnTo>
                          <a:pt x="4501" y="10352"/>
                        </a:lnTo>
                        <a:close/>
                        <a:moveTo>
                          <a:pt x="12152" y="13052"/>
                        </a:moveTo>
                        <a:lnTo>
                          <a:pt x="10801" y="13052"/>
                        </a:lnTo>
                        <a:lnTo>
                          <a:pt x="10351" y="13052"/>
                        </a:lnTo>
                        <a:lnTo>
                          <a:pt x="10351" y="11702"/>
                        </a:lnTo>
                        <a:lnTo>
                          <a:pt x="11251" y="10801"/>
                        </a:lnTo>
                        <a:lnTo>
                          <a:pt x="11701" y="10801"/>
                        </a:lnTo>
                        <a:lnTo>
                          <a:pt x="12602" y="11702"/>
                        </a:lnTo>
                        <a:lnTo>
                          <a:pt x="12602" y="12602"/>
                        </a:lnTo>
                        <a:lnTo>
                          <a:pt x="12152" y="13052"/>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07" name="Freeform: Shape 1906">
                    <a:extLst>
                      <a:ext uri="{FF2B5EF4-FFF2-40B4-BE49-F238E27FC236}">
                        <a16:creationId xmlns:a16="http://schemas.microsoft.com/office/drawing/2014/main" id="{D1951AE2-71D8-E39A-B9CE-110779D8E9F6}"/>
                      </a:ext>
                    </a:extLst>
                  </p:cNvPr>
                  <p:cNvSpPr/>
                  <p:nvPr/>
                </p:nvSpPr>
                <p:spPr>
                  <a:xfrm>
                    <a:off x="2379447" y="3252106"/>
                    <a:ext cx="5850" cy="6300"/>
                  </a:xfrm>
                  <a:custGeom>
                    <a:avLst/>
                    <a:gdLst>
                      <a:gd name="connsiteX0" fmla="*/ 4050 w 5850"/>
                      <a:gd name="connsiteY0" fmla="*/ 3601 h 6300"/>
                      <a:gd name="connsiteX1" fmla="*/ 3600 w 5850"/>
                      <a:gd name="connsiteY1" fmla="*/ 4051 h 6300"/>
                      <a:gd name="connsiteX2" fmla="*/ 2700 w 5850"/>
                      <a:gd name="connsiteY2" fmla="*/ 2701 h 6300"/>
                      <a:gd name="connsiteX3" fmla="*/ 1350 w 5850"/>
                      <a:gd name="connsiteY3" fmla="*/ 2250 h 6300"/>
                      <a:gd name="connsiteX4" fmla="*/ 0 w 5850"/>
                      <a:gd name="connsiteY4" fmla="*/ 1350 h 6300"/>
                      <a:gd name="connsiteX5" fmla="*/ 0 w 5850"/>
                      <a:gd name="connsiteY5" fmla="*/ 1350 h 6300"/>
                      <a:gd name="connsiteX6" fmla="*/ 0 w 5850"/>
                      <a:gd name="connsiteY6" fmla="*/ 900 h 6300"/>
                      <a:gd name="connsiteX7" fmla="*/ 450 w 5850"/>
                      <a:gd name="connsiteY7" fmla="*/ 450 h 6300"/>
                      <a:gd name="connsiteX8" fmla="*/ 1350 w 5850"/>
                      <a:gd name="connsiteY8" fmla="*/ 0 h 6300"/>
                      <a:gd name="connsiteX9" fmla="*/ 3150 w 5850"/>
                      <a:gd name="connsiteY9" fmla="*/ 900 h 6300"/>
                      <a:gd name="connsiteX10" fmla="*/ 4050 w 5850"/>
                      <a:gd name="connsiteY10" fmla="*/ 2250 h 6300"/>
                      <a:gd name="connsiteX11" fmla="*/ 4951 w 5850"/>
                      <a:gd name="connsiteY11" fmla="*/ 2701 h 6300"/>
                      <a:gd name="connsiteX12" fmla="*/ 4050 w 5850"/>
                      <a:gd name="connsiteY12" fmla="*/ 3601 h 6300"/>
                      <a:gd name="connsiteX13" fmla="*/ 5851 w 5850"/>
                      <a:gd name="connsiteY13" fmla="*/ 5851 h 6300"/>
                      <a:gd name="connsiteX14" fmla="*/ 4951 w 5850"/>
                      <a:gd name="connsiteY14" fmla="*/ 6301 h 6300"/>
                      <a:gd name="connsiteX15" fmla="*/ 4050 w 5850"/>
                      <a:gd name="connsiteY15" fmla="*/ 5851 h 6300"/>
                      <a:gd name="connsiteX16" fmla="*/ 4050 w 5850"/>
                      <a:gd name="connsiteY16" fmla="*/ 4501 h 6300"/>
                      <a:gd name="connsiteX17" fmla="*/ 4951 w 5850"/>
                      <a:gd name="connsiteY17" fmla="*/ 4501 h 6300"/>
                      <a:gd name="connsiteX18" fmla="*/ 5851 w 5850"/>
                      <a:gd name="connsiteY18" fmla="*/ 5401 h 6300"/>
                      <a:gd name="connsiteX19" fmla="*/ 5851 w 5850"/>
                      <a:gd name="connsiteY19" fmla="*/ 5851 h 6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850" h="6300">
                        <a:moveTo>
                          <a:pt x="4050" y="3601"/>
                        </a:moveTo>
                        <a:lnTo>
                          <a:pt x="3600" y="4051"/>
                        </a:lnTo>
                        <a:lnTo>
                          <a:pt x="2700" y="2701"/>
                        </a:lnTo>
                        <a:lnTo>
                          <a:pt x="1350" y="2250"/>
                        </a:lnTo>
                        <a:lnTo>
                          <a:pt x="0" y="1350"/>
                        </a:lnTo>
                        <a:lnTo>
                          <a:pt x="0" y="1350"/>
                        </a:lnTo>
                        <a:lnTo>
                          <a:pt x="0" y="900"/>
                        </a:lnTo>
                        <a:lnTo>
                          <a:pt x="450" y="450"/>
                        </a:lnTo>
                        <a:lnTo>
                          <a:pt x="1350" y="0"/>
                        </a:lnTo>
                        <a:lnTo>
                          <a:pt x="3150" y="900"/>
                        </a:lnTo>
                        <a:lnTo>
                          <a:pt x="4050" y="2250"/>
                        </a:lnTo>
                        <a:lnTo>
                          <a:pt x="4951" y="2701"/>
                        </a:lnTo>
                        <a:lnTo>
                          <a:pt x="4050" y="3601"/>
                        </a:lnTo>
                        <a:close/>
                        <a:moveTo>
                          <a:pt x="5851" y="5851"/>
                        </a:moveTo>
                        <a:lnTo>
                          <a:pt x="4951" y="6301"/>
                        </a:lnTo>
                        <a:lnTo>
                          <a:pt x="4050" y="5851"/>
                        </a:lnTo>
                        <a:lnTo>
                          <a:pt x="4050" y="4501"/>
                        </a:lnTo>
                        <a:lnTo>
                          <a:pt x="4951" y="4501"/>
                        </a:lnTo>
                        <a:lnTo>
                          <a:pt x="5851" y="5401"/>
                        </a:lnTo>
                        <a:lnTo>
                          <a:pt x="5851" y="58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08" name="Freeform: Shape 1907">
                    <a:extLst>
                      <a:ext uri="{FF2B5EF4-FFF2-40B4-BE49-F238E27FC236}">
                        <a16:creationId xmlns:a16="http://schemas.microsoft.com/office/drawing/2014/main" id="{61599532-F2A1-BCE6-B145-E510CB44C92D}"/>
                      </a:ext>
                    </a:extLst>
                  </p:cNvPr>
                  <p:cNvSpPr/>
                  <p:nvPr/>
                </p:nvSpPr>
                <p:spPr>
                  <a:xfrm>
                    <a:off x="1985198" y="3199900"/>
                    <a:ext cx="35554" cy="10351"/>
                  </a:xfrm>
                  <a:custGeom>
                    <a:avLst/>
                    <a:gdLst>
                      <a:gd name="connsiteX0" fmla="*/ 33754 w 35554"/>
                      <a:gd name="connsiteY0" fmla="*/ 900 h 10351"/>
                      <a:gd name="connsiteX1" fmla="*/ 32854 w 35554"/>
                      <a:gd name="connsiteY1" fmla="*/ 1350 h 10351"/>
                      <a:gd name="connsiteX2" fmla="*/ 31954 w 35554"/>
                      <a:gd name="connsiteY2" fmla="*/ 1350 h 10351"/>
                      <a:gd name="connsiteX3" fmla="*/ 33754 w 35554"/>
                      <a:gd name="connsiteY3" fmla="*/ 450 h 10351"/>
                      <a:gd name="connsiteX4" fmla="*/ 34204 w 35554"/>
                      <a:gd name="connsiteY4" fmla="*/ 0 h 10351"/>
                      <a:gd name="connsiteX5" fmla="*/ 34654 w 35554"/>
                      <a:gd name="connsiteY5" fmla="*/ 0 h 10351"/>
                      <a:gd name="connsiteX6" fmla="*/ 35104 w 35554"/>
                      <a:gd name="connsiteY6" fmla="*/ 0 h 10351"/>
                      <a:gd name="connsiteX7" fmla="*/ 35554 w 35554"/>
                      <a:gd name="connsiteY7" fmla="*/ 0 h 10351"/>
                      <a:gd name="connsiteX8" fmla="*/ 35554 w 35554"/>
                      <a:gd name="connsiteY8" fmla="*/ 0 h 10351"/>
                      <a:gd name="connsiteX9" fmla="*/ 33754 w 35554"/>
                      <a:gd name="connsiteY9" fmla="*/ 900 h 10351"/>
                      <a:gd name="connsiteX10" fmla="*/ 30154 w 35554"/>
                      <a:gd name="connsiteY10" fmla="*/ 900 h 10351"/>
                      <a:gd name="connsiteX11" fmla="*/ 30154 w 35554"/>
                      <a:gd name="connsiteY11" fmla="*/ 900 h 10351"/>
                      <a:gd name="connsiteX12" fmla="*/ 29254 w 35554"/>
                      <a:gd name="connsiteY12" fmla="*/ 900 h 10351"/>
                      <a:gd name="connsiteX13" fmla="*/ 27903 w 35554"/>
                      <a:gd name="connsiteY13" fmla="*/ 1800 h 10351"/>
                      <a:gd name="connsiteX14" fmla="*/ 27453 w 35554"/>
                      <a:gd name="connsiteY14" fmla="*/ 1800 h 10351"/>
                      <a:gd name="connsiteX15" fmla="*/ 27453 w 35554"/>
                      <a:gd name="connsiteY15" fmla="*/ 1350 h 10351"/>
                      <a:gd name="connsiteX16" fmla="*/ 27903 w 35554"/>
                      <a:gd name="connsiteY16" fmla="*/ 900 h 10351"/>
                      <a:gd name="connsiteX17" fmla="*/ 28353 w 35554"/>
                      <a:gd name="connsiteY17" fmla="*/ 900 h 10351"/>
                      <a:gd name="connsiteX18" fmla="*/ 28804 w 35554"/>
                      <a:gd name="connsiteY18" fmla="*/ 900 h 10351"/>
                      <a:gd name="connsiteX19" fmla="*/ 29704 w 35554"/>
                      <a:gd name="connsiteY19" fmla="*/ 900 h 10351"/>
                      <a:gd name="connsiteX20" fmla="*/ 30154 w 35554"/>
                      <a:gd name="connsiteY20" fmla="*/ 900 h 10351"/>
                      <a:gd name="connsiteX21" fmla="*/ 30154 w 35554"/>
                      <a:gd name="connsiteY21" fmla="*/ 900 h 10351"/>
                      <a:gd name="connsiteX22" fmla="*/ 30154 w 35554"/>
                      <a:gd name="connsiteY22" fmla="*/ 900 h 10351"/>
                      <a:gd name="connsiteX23" fmla="*/ 900 w 35554"/>
                      <a:gd name="connsiteY23" fmla="*/ 9001 h 10351"/>
                      <a:gd name="connsiteX24" fmla="*/ 1800 w 35554"/>
                      <a:gd name="connsiteY24" fmla="*/ 9451 h 10351"/>
                      <a:gd name="connsiteX25" fmla="*/ 2700 w 35554"/>
                      <a:gd name="connsiteY25" fmla="*/ 9001 h 10351"/>
                      <a:gd name="connsiteX26" fmla="*/ 3150 w 35554"/>
                      <a:gd name="connsiteY26" fmla="*/ 8551 h 10351"/>
                      <a:gd name="connsiteX27" fmla="*/ 6301 w 35554"/>
                      <a:gd name="connsiteY27" fmla="*/ 9001 h 10351"/>
                      <a:gd name="connsiteX28" fmla="*/ 6751 w 35554"/>
                      <a:gd name="connsiteY28" fmla="*/ 9901 h 10351"/>
                      <a:gd name="connsiteX29" fmla="*/ 4050 w 35554"/>
                      <a:gd name="connsiteY29" fmla="*/ 9901 h 10351"/>
                      <a:gd name="connsiteX30" fmla="*/ 3150 w 35554"/>
                      <a:gd name="connsiteY30" fmla="*/ 10351 h 10351"/>
                      <a:gd name="connsiteX31" fmla="*/ 2700 w 35554"/>
                      <a:gd name="connsiteY31" fmla="*/ 10351 h 10351"/>
                      <a:gd name="connsiteX32" fmla="*/ 450 w 35554"/>
                      <a:gd name="connsiteY32" fmla="*/ 10351 h 10351"/>
                      <a:gd name="connsiteX33" fmla="*/ 0 w 35554"/>
                      <a:gd name="connsiteY33" fmla="*/ 8101 h 10351"/>
                      <a:gd name="connsiteX34" fmla="*/ 450 w 35554"/>
                      <a:gd name="connsiteY34" fmla="*/ 7651 h 10351"/>
                      <a:gd name="connsiteX35" fmla="*/ 900 w 35554"/>
                      <a:gd name="connsiteY35" fmla="*/ 9001 h 10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35554" h="10351">
                        <a:moveTo>
                          <a:pt x="33754" y="900"/>
                        </a:moveTo>
                        <a:lnTo>
                          <a:pt x="32854" y="1350"/>
                        </a:lnTo>
                        <a:lnTo>
                          <a:pt x="31954" y="1350"/>
                        </a:lnTo>
                        <a:lnTo>
                          <a:pt x="33754" y="450"/>
                        </a:lnTo>
                        <a:lnTo>
                          <a:pt x="34204" y="0"/>
                        </a:lnTo>
                        <a:lnTo>
                          <a:pt x="34654" y="0"/>
                        </a:lnTo>
                        <a:lnTo>
                          <a:pt x="35104" y="0"/>
                        </a:lnTo>
                        <a:lnTo>
                          <a:pt x="35554" y="0"/>
                        </a:lnTo>
                        <a:lnTo>
                          <a:pt x="35554" y="0"/>
                        </a:lnTo>
                        <a:lnTo>
                          <a:pt x="33754" y="900"/>
                        </a:lnTo>
                        <a:close/>
                        <a:moveTo>
                          <a:pt x="30154" y="900"/>
                        </a:moveTo>
                        <a:lnTo>
                          <a:pt x="30154" y="900"/>
                        </a:lnTo>
                        <a:lnTo>
                          <a:pt x="29254" y="900"/>
                        </a:lnTo>
                        <a:lnTo>
                          <a:pt x="27903" y="1800"/>
                        </a:lnTo>
                        <a:lnTo>
                          <a:pt x="27453" y="1800"/>
                        </a:lnTo>
                        <a:lnTo>
                          <a:pt x="27453" y="1350"/>
                        </a:lnTo>
                        <a:lnTo>
                          <a:pt x="27903" y="900"/>
                        </a:lnTo>
                        <a:lnTo>
                          <a:pt x="28353" y="900"/>
                        </a:lnTo>
                        <a:lnTo>
                          <a:pt x="28804" y="900"/>
                        </a:lnTo>
                        <a:lnTo>
                          <a:pt x="29704" y="900"/>
                        </a:lnTo>
                        <a:lnTo>
                          <a:pt x="30154" y="900"/>
                        </a:lnTo>
                        <a:lnTo>
                          <a:pt x="30154" y="900"/>
                        </a:lnTo>
                        <a:lnTo>
                          <a:pt x="30154" y="900"/>
                        </a:lnTo>
                        <a:close/>
                        <a:moveTo>
                          <a:pt x="900" y="9001"/>
                        </a:moveTo>
                        <a:lnTo>
                          <a:pt x="1800" y="9451"/>
                        </a:lnTo>
                        <a:lnTo>
                          <a:pt x="2700" y="9001"/>
                        </a:lnTo>
                        <a:lnTo>
                          <a:pt x="3150" y="8551"/>
                        </a:lnTo>
                        <a:lnTo>
                          <a:pt x="6301" y="9001"/>
                        </a:lnTo>
                        <a:lnTo>
                          <a:pt x="6751" y="9901"/>
                        </a:lnTo>
                        <a:lnTo>
                          <a:pt x="4050" y="9901"/>
                        </a:lnTo>
                        <a:lnTo>
                          <a:pt x="3150" y="10351"/>
                        </a:lnTo>
                        <a:lnTo>
                          <a:pt x="2700" y="10351"/>
                        </a:lnTo>
                        <a:lnTo>
                          <a:pt x="450" y="10351"/>
                        </a:lnTo>
                        <a:lnTo>
                          <a:pt x="0" y="8101"/>
                        </a:lnTo>
                        <a:lnTo>
                          <a:pt x="450" y="7651"/>
                        </a:lnTo>
                        <a:lnTo>
                          <a:pt x="900" y="900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09" name="Freeform: Shape 1908">
                    <a:extLst>
                      <a:ext uri="{FF2B5EF4-FFF2-40B4-BE49-F238E27FC236}">
                        <a16:creationId xmlns:a16="http://schemas.microsoft.com/office/drawing/2014/main" id="{FF87C614-AF3E-BCE9-8B1B-A358B9C192F9}"/>
                      </a:ext>
                    </a:extLst>
                  </p:cNvPr>
                  <p:cNvSpPr/>
                  <p:nvPr/>
                </p:nvSpPr>
                <p:spPr>
                  <a:xfrm>
                    <a:off x="2415901" y="3324565"/>
                    <a:ext cx="4050" cy="8100"/>
                  </a:xfrm>
                  <a:custGeom>
                    <a:avLst/>
                    <a:gdLst>
                      <a:gd name="connsiteX0" fmla="*/ 4051 w 4050"/>
                      <a:gd name="connsiteY0" fmla="*/ 5851 h 8100"/>
                      <a:gd name="connsiteX1" fmla="*/ 2701 w 4050"/>
                      <a:gd name="connsiteY1" fmla="*/ 8101 h 8100"/>
                      <a:gd name="connsiteX2" fmla="*/ 450 w 4050"/>
                      <a:gd name="connsiteY2" fmla="*/ 6751 h 8100"/>
                      <a:gd name="connsiteX3" fmla="*/ 0 w 4050"/>
                      <a:gd name="connsiteY3" fmla="*/ 4951 h 8100"/>
                      <a:gd name="connsiteX4" fmla="*/ 0 w 4050"/>
                      <a:gd name="connsiteY4" fmla="*/ 4050 h 8100"/>
                      <a:gd name="connsiteX5" fmla="*/ 1350 w 4050"/>
                      <a:gd name="connsiteY5" fmla="*/ 1800 h 8100"/>
                      <a:gd name="connsiteX6" fmla="*/ 2250 w 4050"/>
                      <a:gd name="connsiteY6" fmla="*/ 450 h 8100"/>
                      <a:gd name="connsiteX7" fmla="*/ 3150 w 4050"/>
                      <a:gd name="connsiteY7" fmla="*/ 0 h 8100"/>
                      <a:gd name="connsiteX8" fmla="*/ 3600 w 4050"/>
                      <a:gd name="connsiteY8" fmla="*/ 1800 h 8100"/>
                      <a:gd name="connsiteX9" fmla="*/ 4051 w 4050"/>
                      <a:gd name="connsiteY9" fmla="*/ 5851 h 8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50" h="8100">
                        <a:moveTo>
                          <a:pt x="4051" y="5851"/>
                        </a:moveTo>
                        <a:lnTo>
                          <a:pt x="2701" y="8101"/>
                        </a:lnTo>
                        <a:lnTo>
                          <a:pt x="450" y="6751"/>
                        </a:lnTo>
                        <a:lnTo>
                          <a:pt x="0" y="4951"/>
                        </a:lnTo>
                        <a:lnTo>
                          <a:pt x="0" y="4050"/>
                        </a:lnTo>
                        <a:lnTo>
                          <a:pt x="1350" y="1800"/>
                        </a:lnTo>
                        <a:lnTo>
                          <a:pt x="2250" y="450"/>
                        </a:lnTo>
                        <a:lnTo>
                          <a:pt x="3150" y="0"/>
                        </a:lnTo>
                        <a:lnTo>
                          <a:pt x="3600" y="1800"/>
                        </a:lnTo>
                        <a:lnTo>
                          <a:pt x="4051" y="58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10" name="Freeform: Shape 1909">
                    <a:extLst>
                      <a:ext uri="{FF2B5EF4-FFF2-40B4-BE49-F238E27FC236}">
                        <a16:creationId xmlns:a16="http://schemas.microsoft.com/office/drawing/2014/main" id="{865A859D-68C6-503E-F4E8-6CAED2D75554}"/>
                      </a:ext>
                    </a:extLst>
                  </p:cNvPr>
                  <p:cNvSpPr/>
                  <p:nvPr/>
                </p:nvSpPr>
                <p:spPr>
                  <a:xfrm>
                    <a:off x="2373146" y="3236354"/>
                    <a:ext cx="2250" cy="900"/>
                  </a:xfrm>
                  <a:custGeom>
                    <a:avLst/>
                    <a:gdLst>
                      <a:gd name="connsiteX0" fmla="*/ 2250 w 2250"/>
                      <a:gd name="connsiteY0" fmla="*/ 900 h 900"/>
                      <a:gd name="connsiteX1" fmla="*/ 0 w 2250"/>
                      <a:gd name="connsiteY1" fmla="*/ 900 h 900"/>
                      <a:gd name="connsiteX2" fmla="*/ 0 w 2250"/>
                      <a:gd name="connsiteY2" fmla="*/ 450 h 900"/>
                      <a:gd name="connsiteX3" fmla="*/ 900 w 2250"/>
                      <a:gd name="connsiteY3" fmla="*/ 0 h 900"/>
                      <a:gd name="connsiteX4" fmla="*/ 1800 w 2250"/>
                      <a:gd name="connsiteY4" fmla="*/ 0 h 900"/>
                      <a:gd name="connsiteX5" fmla="*/ 2250 w 2250"/>
                      <a:gd name="connsiteY5" fmla="*/ 0 h 900"/>
                      <a:gd name="connsiteX6" fmla="*/ 2250 w 2250"/>
                      <a:gd name="connsiteY6" fmla="*/ 900 h 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 h="900">
                        <a:moveTo>
                          <a:pt x="2250" y="900"/>
                        </a:moveTo>
                        <a:lnTo>
                          <a:pt x="0" y="900"/>
                        </a:lnTo>
                        <a:lnTo>
                          <a:pt x="0" y="450"/>
                        </a:lnTo>
                        <a:lnTo>
                          <a:pt x="900" y="0"/>
                        </a:lnTo>
                        <a:lnTo>
                          <a:pt x="1800" y="0"/>
                        </a:lnTo>
                        <a:lnTo>
                          <a:pt x="2250" y="0"/>
                        </a:lnTo>
                        <a:lnTo>
                          <a:pt x="2250" y="90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11" name="Freeform: Shape 1910">
                    <a:extLst>
                      <a:ext uri="{FF2B5EF4-FFF2-40B4-BE49-F238E27FC236}">
                        <a16:creationId xmlns:a16="http://schemas.microsoft.com/office/drawing/2014/main" id="{CD99F76D-AE84-2B54-AE4B-5A9B3AFF0409}"/>
                      </a:ext>
                    </a:extLst>
                  </p:cNvPr>
                  <p:cNvSpPr/>
                  <p:nvPr/>
                </p:nvSpPr>
                <p:spPr>
                  <a:xfrm>
                    <a:off x="2413651" y="3307913"/>
                    <a:ext cx="8100" cy="9451"/>
                  </a:xfrm>
                  <a:custGeom>
                    <a:avLst/>
                    <a:gdLst>
                      <a:gd name="connsiteX0" fmla="*/ 8101 w 8100"/>
                      <a:gd name="connsiteY0" fmla="*/ 7651 h 9451"/>
                      <a:gd name="connsiteX1" fmla="*/ 8101 w 8100"/>
                      <a:gd name="connsiteY1" fmla="*/ 9001 h 9451"/>
                      <a:gd name="connsiteX2" fmla="*/ 7651 w 8100"/>
                      <a:gd name="connsiteY2" fmla="*/ 9451 h 9451"/>
                      <a:gd name="connsiteX3" fmla="*/ 6751 w 8100"/>
                      <a:gd name="connsiteY3" fmla="*/ 8551 h 9451"/>
                      <a:gd name="connsiteX4" fmla="*/ 3150 w 8100"/>
                      <a:gd name="connsiteY4" fmla="*/ 8551 h 9451"/>
                      <a:gd name="connsiteX5" fmla="*/ 2701 w 8100"/>
                      <a:gd name="connsiteY5" fmla="*/ 7651 h 9451"/>
                      <a:gd name="connsiteX6" fmla="*/ 2701 w 8100"/>
                      <a:gd name="connsiteY6" fmla="*/ 7201 h 9451"/>
                      <a:gd name="connsiteX7" fmla="*/ 4501 w 8100"/>
                      <a:gd name="connsiteY7" fmla="*/ 5851 h 9451"/>
                      <a:gd name="connsiteX8" fmla="*/ 2701 w 8100"/>
                      <a:gd name="connsiteY8" fmla="*/ 5401 h 9451"/>
                      <a:gd name="connsiteX9" fmla="*/ 1800 w 8100"/>
                      <a:gd name="connsiteY9" fmla="*/ 4501 h 9451"/>
                      <a:gd name="connsiteX10" fmla="*/ 0 w 8100"/>
                      <a:gd name="connsiteY10" fmla="*/ 1350 h 9451"/>
                      <a:gd name="connsiteX11" fmla="*/ 0 w 8100"/>
                      <a:gd name="connsiteY11" fmla="*/ 450 h 9451"/>
                      <a:gd name="connsiteX12" fmla="*/ 900 w 8100"/>
                      <a:gd name="connsiteY12" fmla="*/ 0 h 9451"/>
                      <a:gd name="connsiteX13" fmla="*/ 2250 w 8100"/>
                      <a:gd name="connsiteY13" fmla="*/ 0 h 9451"/>
                      <a:gd name="connsiteX14" fmla="*/ 4501 w 8100"/>
                      <a:gd name="connsiteY14" fmla="*/ 900 h 9451"/>
                      <a:gd name="connsiteX15" fmla="*/ 6301 w 8100"/>
                      <a:gd name="connsiteY15" fmla="*/ 2250 h 9451"/>
                      <a:gd name="connsiteX16" fmla="*/ 6751 w 8100"/>
                      <a:gd name="connsiteY16" fmla="*/ 2250 h 9451"/>
                      <a:gd name="connsiteX17" fmla="*/ 6751 w 8100"/>
                      <a:gd name="connsiteY17" fmla="*/ 2700 h 9451"/>
                      <a:gd name="connsiteX18" fmla="*/ 6301 w 8100"/>
                      <a:gd name="connsiteY18" fmla="*/ 3600 h 9451"/>
                      <a:gd name="connsiteX19" fmla="*/ 7201 w 8100"/>
                      <a:gd name="connsiteY19" fmla="*/ 4501 h 9451"/>
                      <a:gd name="connsiteX20" fmla="*/ 7651 w 8100"/>
                      <a:gd name="connsiteY20" fmla="*/ 4951 h 9451"/>
                      <a:gd name="connsiteX21" fmla="*/ 8101 w 8100"/>
                      <a:gd name="connsiteY21" fmla="*/ 7651 h 9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8100" h="9451">
                        <a:moveTo>
                          <a:pt x="8101" y="7651"/>
                        </a:moveTo>
                        <a:lnTo>
                          <a:pt x="8101" y="9001"/>
                        </a:lnTo>
                        <a:lnTo>
                          <a:pt x="7651" y="9451"/>
                        </a:lnTo>
                        <a:lnTo>
                          <a:pt x="6751" y="8551"/>
                        </a:lnTo>
                        <a:lnTo>
                          <a:pt x="3150" y="8551"/>
                        </a:lnTo>
                        <a:lnTo>
                          <a:pt x="2701" y="7651"/>
                        </a:lnTo>
                        <a:lnTo>
                          <a:pt x="2701" y="7201"/>
                        </a:lnTo>
                        <a:lnTo>
                          <a:pt x="4501" y="5851"/>
                        </a:lnTo>
                        <a:lnTo>
                          <a:pt x="2701" y="5401"/>
                        </a:lnTo>
                        <a:lnTo>
                          <a:pt x="1800" y="4501"/>
                        </a:lnTo>
                        <a:lnTo>
                          <a:pt x="0" y="1350"/>
                        </a:lnTo>
                        <a:lnTo>
                          <a:pt x="0" y="450"/>
                        </a:lnTo>
                        <a:lnTo>
                          <a:pt x="900" y="0"/>
                        </a:lnTo>
                        <a:lnTo>
                          <a:pt x="2250" y="0"/>
                        </a:lnTo>
                        <a:lnTo>
                          <a:pt x="4501" y="900"/>
                        </a:lnTo>
                        <a:lnTo>
                          <a:pt x="6301" y="2250"/>
                        </a:lnTo>
                        <a:lnTo>
                          <a:pt x="6751" y="2250"/>
                        </a:lnTo>
                        <a:lnTo>
                          <a:pt x="6751" y="2700"/>
                        </a:lnTo>
                        <a:lnTo>
                          <a:pt x="6301" y="3600"/>
                        </a:lnTo>
                        <a:lnTo>
                          <a:pt x="7201" y="4501"/>
                        </a:lnTo>
                        <a:lnTo>
                          <a:pt x="7651" y="4951"/>
                        </a:lnTo>
                        <a:lnTo>
                          <a:pt x="8101" y="76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12" name="Freeform: Shape 1911">
                    <a:extLst>
                      <a:ext uri="{FF2B5EF4-FFF2-40B4-BE49-F238E27FC236}">
                        <a16:creationId xmlns:a16="http://schemas.microsoft.com/office/drawing/2014/main" id="{4ADE556E-181D-E597-4A11-AA9FD688047F}"/>
                      </a:ext>
                    </a:extLst>
                  </p:cNvPr>
                  <p:cNvSpPr/>
                  <p:nvPr/>
                </p:nvSpPr>
                <p:spPr>
                  <a:xfrm>
                    <a:off x="2392048" y="3264708"/>
                    <a:ext cx="1350" cy="3150"/>
                  </a:xfrm>
                  <a:custGeom>
                    <a:avLst/>
                    <a:gdLst>
                      <a:gd name="connsiteX0" fmla="*/ 1350 w 1350"/>
                      <a:gd name="connsiteY0" fmla="*/ 1800 h 3150"/>
                      <a:gd name="connsiteX1" fmla="*/ 1350 w 1350"/>
                      <a:gd name="connsiteY1" fmla="*/ 3150 h 3150"/>
                      <a:gd name="connsiteX2" fmla="*/ 0 w 1350"/>
                      <a:gd name="connsiteY2" fmla="*/ 2700 h 3150"/>
                      <a:gd name="connsiteX3" fmla="*/ 0 w 1350"/>
                      <a:gd name="connsiteY3" fmla="*/ 1350 h 3150"/>
                      <a:gd name="connsiteX4" fmla="*/ 450 w 1350"/>
                      <a:gd name="connsiteY4" fmla="*/ 0 h 3150"/>
                      <a:gd name="connsiteX5" fmla="*/ 900 w 1350"/>
                      <a:gd name="connsiteY5" fmla="*/ 0 h 3150"/>
                      <a:gd name="connsiteX6" fmla="*/ 1350 w 1350"/>
                      <a:gd name="connsiteY6" fmla="*/ 1800 h 3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50" h="3150">
                        <a:moveTo>
                          <a:pt x="1350" y="1800"/>
                        </a:moveTo>
                        <a:lnTo>
                          <a:pt x="1350" y="3150"/>
                        </a:lnTo>
                        <a:lnTo>
                          <a:pt x="0" y="2700"/>
                        </a:lnTo>
                        <a:lnTo>
                          <a:pt x="0" y="1350"/>
                        </a:lnTo>
                        <a:lnTo>
                          <a:pt x="450" y="0"/>
                        </a:lnTo>
                        <a:lnTo>
                          <a:pt x="900" y="0"/>
                        </a:lnTo>
                        <a:lnTo>
                          <a:pt x="1350" y="180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16" name="Freeform: Shape 1915">
                    <a:extLst>
                      <a:ext uri="{FF2B5EF4-FFF2-40B4-BE49-F238E27FC236}">
                        <a16:creationId xmlns:a16="http://schemas.microsoft.com/office/drawing/2014/main" id="{AB1611FA-3734-7C2F-B4C8-EE50A057696C}"/>
                      </a:ext>
                    </a:extLst>
                  </p:cNvPr>
                  <p:cNvSpPr/>
                  <p:nvPr/>
                </p:nvSpPr>
                <p:spPr>
                  <a:xfrm>
                    <a:off x="2516264" y="2495112"/>
                    <a:ext cx="5400" cy="10801"/>
                  </a:xfrm>
                  <a:custGeom>
                    <a:avLst/>
                    <a:gdLst>
                      <a:gd name="connsiteX0" fmla="*/ 2250 w 5400"/>
                      <a:gd name="connsiteY0" fmla="*/ 8101 h 10801"/>
                      <a:gd name="connsiteX1" fmla="*/ 450 w 5400"/>
                      <a:gd name="connsiteY1" fmla="*/ 9451 h 10801"/>
                      <a:gd name="connsiteX2" fmla="*/ 0 w 5400"/>
                      <a:gd name="connsiteY2" fmla="*/ 8551 h 10801"/>
                      <a:gd name="connsiteX3" fmla="*/ 0 w 5400"/>
                      <a:gd name="connsiteY3" fmla="*/ 7651 h 10801"/>
                      <a:gd name="connsiteX4" fmla="*/ 900 w 5400"/>
                      <a:gd name="connsiteY4" fmla="*/ 5400 h 10801"/>
                      <a:gd name="connsiteX5" fmla="*/ 900 w 5400"/>
                      <a:gd name="connsiteY5" fmla="*/ 4951 h 10801"/>
                      <a:gd name="connsiteX6" fmla="*/ 0 w 5400"/>
                      <a:gd name="connsiteY6" fmla="*/ 900 h 10801"/>
                      <a:gd name="connsiteX7" fmla="*/ 0 w 5400"/>
                      <a:gd name="connsiteY7" fmla="*/ 450 h 10801"/>
                      <a:gd name="connsiteX8" fmla="*/ 450 w 5400"/>
                      <a:gd name="connsiteY8" fmla="*/ 0 h 10801"/>
                      <a:gd name="connsiteX9" fmla="*/ 2250 w 5400"/>
                      <a:gd name="connsiteY9" fmla="*/ 900 h 10801"/>
                      <a:gd name="connsiteX10" fmla="*/ 2250 w 5400"/>
                      <a:gd name="connsiteY10" fmla="*/ 1800 h 10801"/>
                      <a:gd name="connsiteX11" fmla="*/ 1350 w 5400"/>
                      <a:gd name="connsiteY11" fmla="*/ 4501 h 10801"/>
                      <a:gd name="connsiteX12" fmla="*/ 1800 w 5400"/>
                      <a:gd name="connsiteY12" fmla="*/ 6301 h 10801"/>
                      <a:gd name="connsiteX13" fmla="*/ 2701 w 5400"/>
                      <a:gd name="connsiteY13" fmla="*/ 7651 h 10801"/>
                      <a:gd name="connsiteX14" fmla="*/ 2250 w 5400"/>
                      <a:gd name="connsiteY14" fmla="*/ 8101 h 10801"/>
                      <a:gd name="connsiteX15" fmla="*/ 4501 w 5400"/>
                      <a:gd name="connsiteY15" fmla="*/ 10801 h 10801"/>
                      <a:gd name="connsiteX16" fmla="*/ 4501 w 5400"/>
                      <a:gd name="connsiteY16" fmla="*/ 10801 h 10801"/>
                      <a:gd name="connsiteX17" fmla="*/ 2701 w 5400"/>
                      <a:gd name="connsiteY17" fmla="*/ 10801 h 10801"/>
                      <a:gd name="connsiteX18" fmla="*/ 3601 w 5400"/>
                      <a:gd name="connsiteY18" fmla="*/ 9901 h 10801"/>
                      <a:gd name="connsiteX19" fmla="*/ 4051 w 5400"/>
                      <a:gd name="connsiteY19" fmla="*/ 9451 h 10801"/>
                      <a:gd name="connsiteX20" fmla="*/ 4951 w 5400"/>
                      <a:gd name="connsiteY20" fmla="*/ 9451 h 10801"/>
                      <a:gd name="connsiteX21" fmla="*/ 5401 w 5400"/>
                      <a:gd name="connsiteY21" fmla="*/ 9901 h 10801"/>
                      <a:gd name="connsiteX22" fmla="*/ 5401 w 5400"/>
                      <a:gd name="connsiteY22" fmla="*/ 10801 h 10801"/>
                      <a:gd name="connsiteX23" fmla="*/ 4501 w 5400"/>
                      <a:gd name="connsiteY23" fmla="*/ 10801 h 10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5400" h="10801">
                        <a:moveTo>
                          <a:pt x="2250" y="8101"/>
                        </a:moveTo>
                        <a:lnTo>
                          <a:pt x="450" y="9451"/>
                        </a:lnTo>
                        <a:lnTo>
                          <a:pt x="0" y="8551"/>
                        </a:lnTo>
                        <a:lnTo>
                          <a:pt x="0" y="7651"/>
                        </a:lnTo>
                        <a:lnTo>
                          <a:pt x="900" y="5400"/>
                        </a:lnTo>
                        <a:lnTo>
                          <a:pt x="900" y="4951"/>
                        </a:lnTo>
                        <a:lnTo>
                          <a:pt x="0" y="900"/>
                        </a:lnTo>
                        <a:lnTo>
                          <a:pt x="0" y="450"/>
                        </a:lnTo>
                        <a:lnTo>
                          <a:pt x="450" y="0"/>
                        </a:lnTo>
                        <a:lnTo>
                          <a:pt x="2250" y="900"/>
                        </a:lnTo>
                        <a:lnTo>
                          <a:pt x="2250" y="1800"/>
                        </a:lnTo>
                        <a:lnTo>
                          <a:pt x="1350" y="4501"/>
                        </a:lnTo>
                        <a:lnTo>
                          <a:pt x="1800" y="6301"/>
                        </a:lnTo>
                        <a:lnTo>
                          <a:pt x="2701" y="7651"/>
                        </a:lnTo>
                        <a:lnTo>
                          <a:pt x="2250" y="8101"/>
                        </a:lnTo>
                        <a:close/>
                        <a:moveTo>
                          <a:pt x="4501" y="10801"/>
                        </a:moveTo>
                        <a:lnTo>
                          <a:pt x="4501" y="10801"/>
                        </a:lnTo>
                        <a:lnTo>
                          <a:pt x="2701" y="10801"/>
                        </a:lnTo>
                        <a:lnTo>
                          <a:pt x="3601" y="9901"/>
                        </a:lnTo>
                        <a:lnTo>
                          <a:pt x="4051" y="9451"/>
                        </a:lnTo>
                        <a:lnTo>
                          <a:pt x="4951" y="9451"/>
                        </a:lnTo>
                        <a:lnTo>
                          <a:pt x="5401" y="9901"/>
                        </a:lnTo>
                        <a:lnTo>
                          <a:pt x="5401" y="10801"/>
                        </a:lnTo>
                        <a:lnTo>
                          <a:pt x="4501" y="1080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19" name="Freeform: Shape 1918">
                    <a:extLst>
                      <a:ext uri="{FF2B5EF4-FFF2-40B4-BE49-F238E27FC236}">
                        <a16:creationId xmlns:a16="http://schemas.microsoft.com/office/drawing/2014/main" id="{E4B9558D-990D-6E94-86D0-D405DABC012E}"/>
                      </a:ext>
                    </a:extLst>
                  </p:cNvPr>
                  <p:cNvSpPr/>
                  <p:nvPr/>
                </p:nvSpPr>
                <p:spPr>
                  <a:xfrm>
                    <a:off x="2373146" y="3237254"/>
                    <a:ext cx="2250" cy="900"/>
                  </a:xfrm>
                  <a:custGeom>
                    <a:avLst/>
                    <a:gdLst>
                      <a:gd name="connsiteX0" fmla="*/ 0 w 2250"/>
                      <a:gd name="connsiteY0" fmla="*/ 0 h 900"/>
                      <a:gd name="connsiteX1" fmla="*/ 2250 w 2250"/>
                      <a:gd name="connsiteY1" fmla="*/ 0 h 900"/>
                      <a:gd name="connsiteX2" fmla="*/ 2250 w 2250"/>
                      <a:gd name="connsiteY2" fmla="*/ 450 h 900"/>
                      <a:gd name="connsiteX3" fmla="*/ 1800 w 2250"/>
                      <a:gd name="connsiteY3" fmla="*/ 900 h 900"/>
                      <a:gd name="connsiteX4" fmla="*/ 450 w 2250"/>
                      <a:gd name="connsiteY4" fmla="*/ 450 h 900"/>
                      <a:gd name="connsiteX5" fmla="*/ 0 w 2250"/>
                      <a:gd name="connsiteY5" fmla="*/ 0 h 900"/>
                      <a:gd name="connsiteX6" fmla="*/ 0 w 2250"/>
                      <a:gd name="connsiteY6" fmla="*/ 0 h 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50" h="900">
                        <a:moveTo>
                          <a:pt x="0" y="0"/>
                        </a:moveTo>
                        <a:lnTo>
                          <a:pt x="2250" y="0"/>
                        </a:lnTo>
                        <a:lnTo>
                          <a:pt x="2250" y="450"/>
                        </a:lnTo>
                        <a:lnTo>
                          <a:pt x="1800" y="900"/>
                        </a:lnTo>
                        <a:lnTo>
                          <a:pt x="450" y="450"/>
                        </a:lnTo>
                        <a:lnTo>
                          <a:pt x="0" y="0"/>
                        </a:lnTo>
                        <a:lnTo>
                          <a:pt x="0" y="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20" name="Freeform: Shape 1919">
                    <a:extLst>
                      <a:ext uri="{FF2B5EF4-FFF2-40B4-BE49-F238E27FC236}">
                        <a16:creationId xmlns:a16="http://schemas.microsoft.com/office/drawing/2014/main" id="{EC57B5AB-3F7C-6C93-2B91-1EADA5734C3A}"/>
                      </a:ext>
                    </a:extLst>
                  </p:cNvPr>
                  <p:cNvSpPr/>
                  <p:nvPr/>
                </p:nvSpPr>
                <p:spPr>
                  <a:xfrm>
                    <a:off x="2177372" y="3150393"/>
                    <a:ext cx="14401" cy="4950"/>
                  </a:xfrm>
                  <a:custGeom>
                    <a:avLst/>
                    <a:gdLst>
                      <a:gd name="connsiteX0" fmla="*/ 9901 w 14401"/>
                      <a:gd name="connsiteY0" fmla="*/ 2250 h 4950"/>
                      <a:gd name="connsiteX1" fmla="*/ 9901 w 14401"/>
                      <a:gd name="connsiteY1" fmla="*/ 2250 h 4950"/>
                      <a:gd name="connsiteX2" fmla="*/ 8101 w 14401"/>
                      <a:gd name="connsiteY2" fmla="*/ 1800 h 4950"/>
                      <a:gd name="connsiteX3" fmla="*/ 8101 w 14401"/>
                      <a:gd name="connsiteY3" fmla="*/ 1350 h 4950"/>
                      <a:gd name="connsiteX4" fmla="*/ 7651 w 14401"/>
                      <a:gd name="connsiteY4" fmla="*/ 1350 h 4950"/>
                      <a:gd name="connsiteX5" fmla="*/ 6751 w 14401"/>
                      <a:gd name="connsiteY5" fmla="*/ 900 h 4950"/>
                      <a:gd name="connsiteX6" fmla="*/ 6751 w 14401"/>
                      <a:gd name="connsiteY6" fmla="*/ 0 h 4950"/>
                      <a:gd name="connsiteX7" fmla="*/ 8551 w 14401"/>
                      <a:gd name="connsiteY7" fmla="*/ 0 h 4950"/>
                      <a:gd name="connsiteX8" fmla="*/ 9001 w 14401"/>
                      <a:gd name="connsiteY8" fmla="*/ 2250 h 4950"/>
                      <a:gd name="connsiteX9" fmla="*/ 9901 w 14401"/>
                      <a:gd name="connsiteY9" fmla="*/ 2250 h 4950"/>
                      <a:gd name="connsiteX10" fmla="*/ 14402 w 14401"/>
                      <a:gd name="connsiteY10" fmla="*/ 4051 h 4950"/>
                      <a:gd name="connsiteX11" fmla="*/ 14402 w 14401"/>
                      <a:gd name="connsiteY11" fmla="*/ 4051 h 4950"/>
                      <a:gd name="connsiteX12" fmla="*/ 13052 w 14401"/>
                      <a:gd name="connsiteY12" fmla="*/ 3600 h 4950"/>
                      <a:gd name="connsiteX13" fmla="*/ 10801 w 14401"/>
                      <a:gd name="connsiteY13" fmla="*/ 3600 h 4950"/>
                      <a:gd name="connsiteX14" fmla="*/ 10351 w 14401"/>
                      <a:gd name="connsiteY14" fmla="*/ 2250 h 4950"/>
                      <a:gd name="connsiteX15" fmla="*/ 11251 w 14401"/>
                      <a:gd name="connsiteY15" fmla="*/ 2250 h 4950"/>
                      <a:gd name="connsiteX16" fmla="*/ 13952 w 14401"/>
                      <a:gd name="connsiteY16" fmla="*/ 2700 h 4950"/>
                      <a:gd name="connsiteX17" fmla="*/ 14402 w 14401"/>
                      <a:gd name="connsiteY17" fmla="*/ 3600 h 4950"/>
                      <a:gd name="connsiteX18" fmla="*/ 14402 w 14401"/>
                      <a:gd name="connsiteY18" fmla="*/ 4051 h 4950"/>
                      <a:gd name="connsiteX19" fmla="*/ 450 w 14401"/>
                      <a:gd name="connsiteY19" fmla="*/ 1800 h 4950"/>
                      <a:gd name="connsiteX20" fmla="*/ 2700 w 14401"/>
                      <a:gd name="connsiteY20" fmla="*/ 3150 h 4950"/>
                      <a:gd name="connsiteX21" fmla="*/ 4051 w 14401"/>
                      <a:gd name="connsiteY21" fmla="*/ 3150 h 4950"/>
                      <a:gd name="connsiteX22" fmla="*/ 4051 w 14401"/>
                      <a:gd name="connsiteY22" fmla="*/ 3600 h 4950"/>
                      <a:gd name="connsiteX23" fmla="*/ 3150 w 14401"/>
                      <a:gd name="connsiteY23" fmla="*/ 4051 h 4950"/>
                      <a:gd name="connsiteX24" fmla="*/ 3150 w 14401"/>
                      <a:gd name="connsiteY24" fmla="*/ 4501 h 4950"/>
                      <a:gd name="connsiteX25" fmla="*/ 900 w 14401"/>
                      <a:gd name="connsiteY25" fmla="*/ 4951 h 4950"/>
                      <a:gd name="connsiteX26" fmla="*/ 0 w 14401"/>
                      <a:gd name="connsiteY26" fmla="*/ 4951 h 4950"/>
                      <a:gd name="connsiteX27" fmla="*/ 0 w 14401"/>
                      <a:gd name="connsiteY27" fmla="*/ 4051 h 4950"/>
                      <a:gd name="connsiteX28" fmla="*/ 450 w 14401"/>
                      <a:gd name="connsiteY28" fmla="*/ 1800 h 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4401" h="4950">
                        <a:moveTo>
                          <a:pt x="9901" y="2250"/>
                        </a:moveTo>
                        <a:lnTo>
                          <a:pt x="9901" y="2250"/>
                        </a:lnTo>
                        <a:lnTo>
                          <a:pt x="8101" y="1800"/>
                        </a:lnTo>
                        <a:lnTo>
                          <a:pt x="8101" y="1350"/>
                        </a:lnTo>
                        <a:lnTo>
                          <a:pt x="7651" y="1350"/>
                        </a:lnTo>
                        <a:lnTo>
                          <a:pt x="6751" y="900"/>
                        </a:lnTo>
                        <a:lnTo>
                          <a:pt x="6751" y="0"/>
                        </a:lnTo>
                        <a:lnTo>
                          <a:pt x="8551" y="0"/>
                        </a:lnTo>
                        <a:lnTo>
                          <a:pt x="9001" y="2250"/>
                        </a:lnTo>
                        <a:lnTo>
                          <a:pt x="9901" y="2250"/>
                        </a:lnTo>
                        <a:close/>
                        <a:moveTo>
                          <a:pt x="14402" y="4051"/>
                        </a:moveTo>
                        <a:lnTo>
                          <a:pt x="14402" y="4051"/>
                        </a:lnTo>
                        <a:lnTo>
                          <a:pt x="13052" y="3600"/>
                        </a:lnTo>
                        <a:lnTo>
                          <a:pt x="10801" y="3600"/>
                        </a:lnTo>
                        <a:lnTo>
                          <a:pt x="10351" y="2250"/>
                        </a:lnTo>
                        <a:lnTo>
                          <a:pt x="11251" y="2250"/>
                        </a:lnTo>
                        <a:lnTo>
                          <a:pt x="13952" y="2700"/>
                        </a:lnTo>
                        <a:lnTo>
                          <a:pt x="14402" y="3600"/>
                        </a:lnTo>
                        <a:lnTo>
                          <a:pt x="14402" y="4051"/>
                        </a:lnTo>
                        <a:close/>
                        <a:moveTo>
                          <a:pt x="450" y="1800"/>
                        </a:moveTo>
                        <a:lnTo>
                          <a:pt x="2700" y="3150"/>
                        </a:lnTo>
                        <a:lnTo>
                          <a:pt x="4051" y="3150"/>
                        </a:lnTo>
                        <a:lnTo>
                          <a:pt x="4051" y="3600"/>
                        </a:lnTo>
                        <a:lnTo>
                          <a:pt x="3150" y="4051"/>
                        </a:lnTo>
                        <a:lnTo>
                          <a:pt x="3150" y="4501"/>
                        </a:lnTo>
                        <a:lnTo>
                          <a:pt x="900" y="4951"/>
                        </a:lnTo>
                        <a:lnTo>
                          <a:pt x="0" y="4951"/>
                        </a:lnTo>
                        <a:lnTo>
                          <a:pt x="0" y="4051"/>
                        </a:lnTo>
                        <a:lnTo>
                          <a:pt x="450" y="180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21" name="Freeform: Shape 1920">
                    <a:extLst>
                      <a:ext uri="{FF2B5EF4-FFF2-40B4-BE49-F238E27FC236}">
                        <a16:creationId xmlns:a16="http://schemas.microsoft.com/office/drawing/2014/main" id="{90A17954-600F-DF29-BDC6-A9A4E1CE2351}"/>
                      </a:ext>
                    </a:extLst>
                  </p:cNvPr>
                  <p:cNvSpPr/>
                  <p:nvPr/>
                </p:nvSpPr>
                <p:spPr>
                  <a:xfrm>
                    <a:off x="2398799" y="3384423"/>
                    <a:ext cx="28803" cy="27003"/>
                  </a:xfrm>
                  <a:custGeom>
                    <a:avLst/>
                    <a:gdLst>
                      <a:gd name="connsiteX0" fmla="*/ 24303 w 28803"/>
                      <a:gd name="connsiteY0" fmla="*/ 3150 h 27003"/>
                      <a:gd name="connsiteX1" fmla="*/ 22953 w 28803"/>
                      <a:gd name="connsiteY1" fmla="*/ 3150 h 27003"/>
                      <a:gd name="connsiteX2" fmla="*/ 22953 w 28803"/>
                      <a:gd name="connsiteY2" fmla="*/ 2250 h 27003"/>
                      <a:gd name="connsiteX3" fmla="*/ 24753 w 28803"/>
                      <a:gd name="connsiteY3" fmla="*/ 900 h 27003"/>
                      <a:gd name="connsiteX4" fmla="*/ 27904 w 28803"/>
                      <a:gd name="connsiteY4" fmla="*/ 0 h 27003"/>
                      <a:gd name="connsiteX5" fmla="*/ 28804 w 28803"/>
                      <a:gd name="connsiteY5" fmla="*/ 0 h 27003"/>
                      <a:gd name="connsiteX6" fmla="*/ 28353 w 28803"/>
                      <a:gd name="connsiteY6" fmla="*/ 1350 h 27003"/>
                      <a:gd name="connsiteX7" fmla="*/ 24303 w 28803"/>
                      <a:gd name="connsiteY7" fmla="*/ 3150 h 27003"/>
                      <a:gd name="connsiteX8" fmla="*/ 18902 w 28803"/>
                      <a:gd name="connsiteY8" fmla="*/ 25203 h 27003"/>
                      <a:gd name="connsiteX9" fmla="*/ 15302 w 28803"/>
                      <a:gd name="connsiteY9" fmla="*/ 26553 h 27003"/>
                      <a:gd name="connsiteX10" fmla="*/ 6301 w 28803"/>
                      <a:gd name="connsiteY10" fmla="*/ 27003 h 27003"/>
                      <a:gd name="connsiteX11" fmla="*/ 2700 w 28803"/>
                      <a:gd name="connsiteY11" fmla="*/ 26553 h 27003"/>
                      <a:gd name="connsiteX12" fmla="*/ 0 w 28803"/>
                      <a:gd name="connsiteY12" fmla="*/ 27003 h 27003"/>
                      <a:gd name="connsiteX13" fmla="*/ 5401 w 28803"/>
                      <a:gd name="connsiteY13" fmla="*/ 24303 h 27003"/>
                      <a:gd name="connsiteX14" fmla="*/ 5851 w 28803"/>
                      <a:gd name="connsiteY14" fmla="*/ 23403 h 27003"/>
                      <a:gd name="connsiteX15" fmla="*/ 8101 w 28803"/>
                      <a:gd name="connsiteY15" fmla="*/ 23403 h 27003"/>
                      <a:gd name="connsiteX16" fmla="*/ 8551 w 28803"/>
                      <a:gd name="connsiteY16" fmla="*/ 22953 h 27003"/>
                      <a:gd name="connsiteX17" fmla="*/ 9451 w 28803"/>
                      <a:gd name="connsiteY17" fmla="*/ 17102 h 27003"/>
                      <a:gd name="connsiteX18" fmla="*/ 9001 w 28803"/>
                      <a:gd name="connsiteY18" fmla="*/ 15752 h 27003"/>
                      <a:gd name="connsiteX19" fmla="*/ 8551 w 28803"/>
                      <a:gd name="connsiteY19" fmla="*/ 14852 h 27003"/>
                      <a:gd name="connsiteX20" fmla="*/ 7651 w 28803"/>
                      <a:gd name="connsiteY20" fmla="*/ 14402 h 27003"/>
                      <a:gd name="connsiteX21" fmla="*/ 5851 w 28803"/>
                      <a:gd name="connsiteY21" fmla="*/ 13502 h 27003"/>
                      <a:gd name="connsiteX22" fmla="*/ 5401 w 28803"/>
                      <a:gd name="connsiteY22" fmla="*/ 13052 h 27003"/>
                      <a:gd name="connsiteX23" fmla="*/ 6751 w 28803"/>
                      <a:gd name="connsiteY23" fmla="*/ 12602 h 27003"/>
                      <a:gd name="connsiteX24" fmla="*/ 9451 w 28803"/>
                      <a:gd name="connsiteY24" fmla="*/ 12152 h 27003"/>
                      <a:gd name="connsiteX25" fmla="*/ 11251 w 28803"/>
                      <a:gd name="connsiteY25" fmla="*/ 11251 h 27003"/>
                      <a:gd name="connsiteX26" fmla="*/ 15302 w 28803"/>
                      <a:gd name="connsiteY26" fmla="*/ 11251 h 27003"/>
                      <a:gd name="connsiteX27" fmla="*/ 17102 w 28803"/>
                      <a:gd name="connsiteY27" fmla="*/ 10801 h 27003"/>
                      <a:gd name="connsiteX28" fmla="*/ 20702 w 28803"/>
                      <a:gd name="connsiteY28" fmla="*/ 10801 h 27003"/>
                      <a:gd name="connsiteX29" fmla="*/ 18902 w 28803"/>
                      <a:gd name="connsiteY29" fmla="*/ 13502 h 27003"/>
                      <a:gd name="connsiteX30" fmla="*/ 18002 w 28803"/>
                      <a:gd name="connsiteY30" fmla="*/ 14402 h 27003"/>
                      <a:gd name="connsiteX31" fmla="*/ 18452 w 28803"/>
                      <a:gd name="connsiteY31" fmla="*/ 16652 h 27003"/>
                      <a:gd name="connsiteX32" fmla="*/ 18002 w 28803"/>
                      <a:gd name="connsiteY32" fmla="*/ 18452 h 27003"/>
                      <a:gd name="connsiteX33" fmla="*/ 18452 w 28803"/>
                      <a:gd name="connsiteY33" fmla="*/ 20702 h 27003"/>
                      <a:gd name="connsiteX34" fmla="*/ 19352 w 28803"/>
                      <a:gd name="connsiteY34" fmla="*/ 22053 h 27003"/>
                      <a:gd name="connsiteX35" fmla="*/ 18902 w 28803"/>
                      <a:gd name="connsiteY35" fmla="*/ 23403 h 27003"/>
                      <a:gd name="connsiteX36" fmla="*/ 18902 w 28803"/>
                      <a:gd name="connsiteY36" fmla="*/ 25203 h 27003"/>
                      <a:gd name="connsiteX37" fmla="*/ 18902 w 28803"/>
                      <a:gd name="connsiteY37" fmla="*/ 25203 h 27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803" h="27003">
                        <a:moveTo>
                          <a:pt x="24303" y="3150"/>
                        </a:moveTo>
                        <a:lnTo>
                          <a:pt x="22953" y="3150"/>
                        </a:lnTo>
                        <a:lnTo>
                          <a:pt x="22953" y="2250"/>
                        </a:lnTo>
                        <a:lnTo>
                          <a:pt x="24753" y="900"/>
                        </a:lnTo>
                        <a:lnTo>
                          <a:pt x="27904" y="0"/>
                        </a:lnTo>
                        <a:lnTo>
                          <a:pt x="28804" y="0"/>
                        </a:lnTo>
                        <a:lnTo>
                          <a:pt x="28353" y="1350"/>
                        </a:lnTo>
                        <a:lnTo>
                          <a:pt x="24303" y="3150"/>
                        </a:lnTo>
                        <a:close/>
                        <a:moveTo>
                          <a:pt x="18902" y="25203"/>
                        </a:moveTo>
                        <a:lnTo>
                          <a:pt x="15302" y="26553"/>
                        </a:lnTo>
                        <a:lnTo>
                          <a:pt x="6301" y="27003"/>
                        </a:lnTo>
                        <a:lnTo>
                          <a:pt x="2700" y="26553"/>
                        </a:lnTo>
                        <a:lnTo>
                          <a:pt x="0" y="27003"/>
                        </a:lnTo>
                        <a:lnTo>
                          <a:pt x="5401" y="24303"/>
                        </a:lnTo>
                        <a:lnTo>
                          <a:pt x="5851" y="23403"/>
                        </a:lnTo>
                        <a:lnTo>
                          <a:pt x="8101" y="23403"/>
                        </a:lnTo>
                        <a:lnTo>
                          <a:pt x="8551" y="22953"/>
                        </a:lnTo>
                        <a:lnTo>
                          <a:pt x="9451" y="17102"/>
                        </a:lnTo>
                        <a:lnTo>
                          <a:pt x="9001" y="15752"/>
                        </a:lnTo>
                        <a:lnTo>
                          <a:pt x="8551" y="14852"/>
                        </a:lnTo>
                        <a:lnTo>
                          <a:pt x="7651" y="14402"/>
                        </a:lnTo>
                        <a:lnTo>
                          <a:pt x="5851" y="13502"/>
                        </a:lnTo>
                        <a:lnTo>
                          <a:pt x="5401" y="13052"/>
                        </a:lnTo>
                        <a:lnTo>
                          <a:pt x="6751" y="12602"/>
                        </a:lnTo>
                        <a:lnTo>
                          <a:pt x="9451" y="12152"/>
                        </a:lnTo>
                        <a:lnTo>
                          <a:pt x="11251" y="11251"/>
                        </a:lnTo>
                        <a:lnTo>
                          <a:pt x="15302" y="11251"/>
                        </a:lnTo>
                        <a:lnTo>
                          <a:pt x="17102" y="10801"/>
                        </a:lnTo>
                        <a:lnTo>
                          <a:pt x="20702" y="10801"/>
                        </a:lnTo>
                        <a:lnTo>
                          <a:pt x="18902" y="13502"/>
                        </a:lnTo>
                        <a:lnTo>
                          <a:pt x="18002" y="14402"/>
                        </a:lnTo>
                        <a:lnTo>
                          <a:pt x="18452" y="16652"/>
                        </a:lnTo>
                        <a:lnTo>
                          <a:pt x="18002" y="18452"/>
                        </a:lnTo>
                        <a:lnTo>
                          <a:pt x="18452" y="20702"/>
                        </a:lnTo>
                        <a:lnTo>
                          <a:pt x="19352" y="22053"/>
                        </a:lnTo>
                        <a:lnTo>
                          <a:pt x="18902" y="23403"/>
                        </a:lnTo>
                        <a:lnTo>
                          <a:pt x="18902" y="25203"/>
                        </a:lnTo>
                        <a:lnTo>
                          <a:pt x="18902" y="25203"/>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34" name="Freeform: Shape 1933">
                    <a:extLst>
                      <a:ext uri="{FF2B5EF4-FFF2-40B4-BE49-F238E27FC236}">
                        <a16:creationId xmlns:a16="http://schemas.microsoft.com/office/drawing/2014/main" id="{C031E922-63ED-C46C-10E7-964C8D14D161}"/>
                      </a:ext>
                    </a:extLst>
                  </p:cNvPr>
                  <p:cNvSpPr/>
                  <p:nvPr/>
                </p:nvSpPr>
                <p:spPr>
                  <a:xfrm>
                    <a:off x="2075659" y="2729591"/>
                    <a:ext cx="4500" cy="5850"/>
                  </a:xfrm>
                  <a:custGeom>
                    <a:avLst/>
                    <a:gdLst>
                      <a:gd name="connsiteX0" fmla="*/ 1800 w 4500"/>
                      <a:gd name="connsiteY0" fmla="*/ 3150 h 5850"/>
                      <a:gd name="connsiteX1" fmla="*/ 1350 w 4500"/>
                      <a:gd name="connsiteY1" fmla="*/ 2250 h 5850"/>
                      <a:gd name="connsiteX2" fmla="*/ 450 w 4500"/>
                      <a:gd name="connsiteY2" fmla="*/ 1800 h 5850"/>
                      <a:gd name="connsiteX3" fmla="*/ 0 w 4500"/>
                      <a:gd name="connsiteY3" fmla="*/ 1800 h 5850"/>
                      <a:gd name="connsiteX4" fmla="*/ 1800 w 4500"/>
                      <a:gd name="connsiteY4" fmla="*/ 0 h 5850"/>
                      <a:gd name="connsiteX5" fmla="*/ 3150 w 4500"/>
                      <a:gd name="connsiteY5" fmla="*/ 1800 h 5850"/>
                      <a:gd name="connsiteX6" fmla="*/ 4501 w 4500"/>
                      <a:gd name="connsiteY6" fmla="*/ 3600 h 5850"/>
                      <a:gd name="connsiteX7" fmla="*/ 2700 w 4500"/>
                      <a:gd name="connsiteY7" fmla="*/ 5851 h 5850"/>
                      <a:gd name="connsiteX8" fmla="*/ 1800 w 4500"/>
                      <a:gd name="connsiteY8" fmla="*/ 3150 h 5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500" h="5850">
                        <a:moveTo>
                          <a:pt x="1800" y="3150"/>
                        </a:moveTo>
                        <a:lnTo>
                          <a:pt x="1350" y="2250"/>
                        </a:lnTo>
                        <a:lnTo>
                          <a:pt x="450" y="1800"/>
                        </a:lnTo>
                        <a:lnTo>
                          <a:pt x="0" y="1800"/>
                        </a:lnTo>
                        <a:lnTo>
                          <a:pt x="1800" y="0"/>
                        </a:lnTo>
                        <a:lnTo>
                          <a:pt x="3150" y="1800"/>
                        </a:lnTo>
                        <a:lnTo>
                          <a:pt x="4501" y="3600"/>
                        </a:lnTo>
                        <a:lnTo>
                          <a:pt x="2700" y="5851"/>
                        </a:lnTo>
                        <a:lnTo>
                          <a:pt x="1800" y="3150"/>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23" name="Freeform: Shape 1922">
                    <a:extLst>
                      <a:ext uri="{FF2B5EF4-FFF2-40B4-BE49-F238E27FC236}">
                        <a16:creationId xmlns:a16="http://schemas.microsoft.com/office/drawing/2014/main" id="{34E5ACDE-0A05-E1EA-BA54-03CC7F07DF7E}"/>
                      </a:ext>
                    </a:extLst>
                  </p:cNvPr>
                  <p:cNvSpPr/>
                  <p:nvPr/>
                </p:nvSpPr>
                <p:spPr>
                  <a:xfrm>
                    <a:off x="2410951" y="3340767"/>
                    <a:ext cx="4500" cy="13951"/>
                  </a:xfrm>
                  <a:custGeom>
                    <a:avLst/>
                    <a:gdLst>
                      <a:gd name="connsiteX0" fmla="*/ 3150 w 4500"/>
                      <a:gd name="connsiteY0" fmla="*/ 4051 h 13951"/>
                      <a:gd name="connsiteX1" fmla="*/ 2700 w 4500"/>
                      <a:gd name="connsiteY1" fmla="*/ 4501 h 13951"/>
                      <a:gd name="connsiteX2" fmla="*/ 1350 w 4500"/>
                      <a:gd name="connsiteY2" fmla="*/ 3150 h 13951"/>
                      <a:gd name="connsiteX3" fmla="*/ 1350 w 4500"/>
                      <a:gd name="connsiteY3" fmla="*/ 1350 h 13951"/>
                      <a:gd name="connsiteX4" fmla="*/ 2250 w 4500"/>
                      <a:gd name="connsiteY4" fmla="*/ 450 h 13951"/>
                      <a:gd name="connsiteX5" fmla="*/ 3150 w 4500"/>
                      <a:gd name="connsiteY5" fmla="*/ 0 h 13951"/>
                      <a:gd name="connsiteX6" fmla="*/ 4050 w 4500"/>
                      <a:gd name="connsiteY6" fmla="*/ 0 h 13951"/>
                      <a:gd name="connsiteX7" fmla="*/ 4501 w 4500"/>
                      <a:gd name="connsiteY7" fmla="*/ 1350 h 13951"/>
                      <a:gd name="connsiteX8" fmla="*/ 4501 w 4500"/>
                      <a:gd name="connsiteY8" fmla="*/ 3150 h 13951"/>
                      <a:gd name="connsiteX9" fmla="*/ 3150 w 4500"/>
                      <a:gd name="connsiteY9" fmla="*/ 4051 h 13951"/>
                      <a:gd name="connsiteX10" fmla="*/ 2250 w 4500"/>
                      <a:gd name="connsiteY10" fmla="*/ 7651 h 13951"/>
                      <a:gd name="connsiteX11" fmla="*/ 2250 w 4500"/>
                      <a:gd name="connsiteY11" fmla="*/ 7651 h 13951"/>
                      <a:gd name="connsiteX12" fmla="*/ 2250 w 4500"/>
                      <a:gd name="connsiteY12" fmla="*/ 7651 h 13951"/>
                      <a:gd name="connsiteX13" fmla="*/ 2250 w 4500"/>
                      <a:gd name="connsiteY13" fmla="*/ 7651 h 13951"/>
                      <a:gd name="connsiteX14" fmla="*/ 2250 w 4500"/>
                      <a:gd name="connsiteY14" fmla="*/ 7651 h 13951"/>
                      <a:gd name="connsiteX15" fmla="*/ 1800 w 4500"/>
                      <a:gd name="connsiteY15" fmla="*/ 7651 h 13951"/>
                      <a:gd name="connsiteX16" fmla="*/ 1800 w 4500"/>
                      <a:gd name="connsiteY16" fmla="*/ 7651 h 13951"/>
                      <a:gd name="connsiteX17" fmla="*/ 1350 w 4500"/>
                      <a:gd name="connsiteY17" fmla="*/ 7651 h 13951"/>
                      <a:gd name="connsiteX18" fmla="*/ 1350 w 4500"/>
                      <a:gd name="connsiteY18" fmla="*/ 7651 h 13951"/>
                      <a:gd name="connsiteX19" fmla="*/ 1800 w 4500"/>
                      <a:gd name="connsiteY19" fmla="*/ 7651 h 13951"/>
                      <a:gd name="connsiteX20" fmla="*/ 2250 w 4500"/>
                      <a:gd name="connsiteY20" fmla="*/ 7651 h 13951"/>
                      <a:gd name="connsiteX21" fmla="*/ 2250 w 4500"/>
                      <a:gd name="connsiteY21" fmla="*/ 7651 h 13951"/>
                      <a:gd name="connsiteX22" fmla="*/ 2250 w 4500"/>
                      <a:gd name="connsiteY22" fmla="*/ 7651 h 13951"/>
                      <a:gd name="connsiteX23" fmla="*/ 1800 w 4500"/>
                      <a:gd name="connsiteY23" fmla="*/ 7201 h 13951"/>
                      <a:gd name="connsiteX24" fmla="*/ 1800 w 4500"/>
                      <a:gd name="connsiteY24" fmla="*/ 7201 h 13951"/>
                      <a:gd name="connsiteX25" fmla="*/ 2250 w 4500"/>
                      <a:gd name="connsiteY25" fmla="*/ 6751 h 13951"/>
                      <a:gd name="connsiteX26" fmla="*/ 2700 w 4500"/>
                      <a:gd name="connsiteY26" fmla="*/ 6751 h 13951"/>
                      <a:gd name="connsiteX27" fmla="*/ 2700 w 4500"/>
                      <a:gd name="connsiteY27" fmla="*/ 6751 h 13951"/>
                      <a:gd name="connsiteX28" fmla="*/ 2700 w 4500"/>
                      <a:gd name="connsiteY28" fmla="*/ 6751 h 13951"/>
                      <a:gd name="connsiteX29" fmla="*/ 2700 w 4500"/>
                      <a:gd name="connsiteY29" fmla="*/ 6751 h 13951"/>
                      <a:gd name="connsiteX30" fmla="*/ 2700 w 4500"/>
                      <a:gd name="connsiteY30" fmla="*/ 6751 h 13951"/>
                      <a:gd name="connsiteX31" fmla="*/ 2250 w 4500"/>
                      <a:gd name="connsiteY31" fmla="*/ 7201 h 13951"/>
                      <a:gd name="connsiteX32" fmla="*/ 2250 w 4500"/>
                      <a:gd name="connsiteY32" fmla="*/ 7651 h 13951"/>
                      <a:gd name="connsiteX33" fmla="*/ 0 w 4500"/>
                      <a:gd name="connsiteY33" fmla="*/ 13952 h 13951"/>
                      <a:gd name="connsiteX34" fmla="*/ 0 w 4500"/>
                      <a:gd name="connsiteY34" fmla="*/ 13952 h 13951"/>
                      <a:gd name="connsiteX35" fmla="*/ 0 w 4500"/>
                      <a:gd name="connsiteY35" fmla="*/ 13952 h 13951"/>
                      <a:gd name="connsiteX36" fmla="*/ 0 w 4500"/>
                      <a:gd name="connsiteY36" fmla="*/ 13952 h 13951"/>
                      <a:gd name="connsiteX37" fmla="*/ 0 w 4500"/>
                      <a:gd name="connsiteY37" fmla="*/ 13952 h 13951"/>
                      <a:gd name="connsiteX38" fmla="*/ 0 w 4500"/>
                      <a:gd name="connsiteY38" fmla="*/ 13952 h 13951"/>
                      <a:gd name="connsiteX39" fmla="*/ 0 w 4500"/>
                      <a:gd name="connsiteY39" fmla="*/ 13502 h 13951"/>
                      <a:gd name="connsiteX40" fmla="*/ 0 w 4500"/>
                      <a:gd name="connsiteY40" fmla="*/ 13502 h 13951"/>
                      <a:gd name="connsiteX41" fmla="*/ 0 w 4500"/>
                      <a:gd name="connsiteY41" fmla="*/ 13502 h 13951"/>
                      <a:gd name="connsiteX42" fmla="*/ 0 w 4500"/>
                      <a:gd name="connsiteY42" fmla="*/ 13502 h 13951"/>
                      <a:gd name="connsiteX43" fmla="*/ 0 w 4500"/>
                      <a:gd name="connsiteY43" fmla="*/ 13502 h 13951"/>
                      <a:gd name="connsiteX44" fmla="*/ 0 w 4500"/>
                      <a:gd name="connsiteY44" fmla="*/ 13502 h 13951"/>
                      <a:gd name="connsiteX45" fmla="*/ 0 w 4500"/>
                      <a:gd name="connsiteY45" fmla="*/ 13952 h 13951"/>
                      <a:gd name="connsiteX46" fmla="*/ 0 w 4500"/>
                      <a:gd name="connsiteY46" fmla="*/ 13952 h 13951"/>
                      <a:gd name="connsiteX47" fmla="*/ 0 w 4500"/>
                      <a:gd name="connsiteY47" fmla="*/ 13952 h 13951"/>
                      <a:gd name="connsiteX48" fmla="*/ 0 w 4500"/>
                      <a:gd name="connsiteY48" fmla="*/ 13952 h 1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500" h="13951">
                        <a:moveTo>
                          <a:pt x="3150" y="4051"/>
                        </a:moveTo>
                        <a:lnTo>
                          <a:pt x="2700" y="4501"/>
                        </a:lnTo>
                        <a:lnTo>
                          <a:pt x="1350" y="3150"/>
                        </a:lnTo>
                        <a:lnTo>
                          <a:pt x="1350" y="1350"/>
                        </a:lnTo>
                        <a:lnTo>
                          <a:pt x="2250" y="450"/>
                        </a:lnTo>
                        <a:lnTo>
                          <a:pt x="3150" y="0"/>
                        </a:lnTo>
                        <a:lnTo>
                          <a:pt x="4050" y="0"/>
                        </a:lnTo>
                        <a:lnTo>
                          <a:pt x="4501" y="1350"/>
                        </a:lnTo>
                        <a:lnTo>
                          <a:pt x="4501" y="3150"/>
                        </a:lnTo>
                        <a:lnTo>
                          <a:pt x="3150" y="4051"/>
                        </a:lnTo>
                        <a:close/>
                        <a:moveTo>
                          <a:pt x="2250" y="7651"/>
                        </a:moveTo>
                        <a:lnTo>
                          <a:pt x="2250" y="7651"/>
                        </a:lnTo>
                        <a:lnTo>
                          <a:pt x="2250" y="7651"/>
                        </a:lnTo>
                        <a:lnTo>
                          <a:pt x="2250" y="7651"/>
                        </a:lnTo>
                        <a:lnTo>
                          <a:pt x="2250" y="7651"/>
                        </a:lnTo>
                        <a:lnTo>
                          <a:pt x="1800" y="7651"/>
                        </a:lnTo>
                        <a:lnTo>
                          <a:pt x="1800" y="7651"/>
                        </a:lnTo>
                        <a:lnTo>
                          <a:pt x="1350" y="7651"/>
                        </a:lnTo>
                        <a:lnTo>
                          <a:pt x="1350" y="7651"/>
                        </a:lnTo>
                        <a:lnTo>
                          <a:pt x="1800" y="7651"/>
                        </a:lnTo>
                        <a:lnTo>
                          <a:pt x="2250" y="7651"/>
                        </a:lnTo>
                        <a:lnTo>
                          <a:pt x="2250" y="7651"/>
                        </a:lnTo>
                        <a:lnTo>
                          <a:pt x="2250" y="7651"/>
                        </a:lnTo>
                        <a:lnTo>
                          <a:pt x="1800" y="7201"/>
                        </a:lnTo>
                        <a:lnTo>
                          <a:pt x="1800" y="7201"/>
                        </a:lnTo>
                        <a:lnTo>
                          <a:pt x="2250" y="6751"/>
                        </a:lnTo>
                        <a:lnTo>
                          <a:pt x="2700" y="6751"/>
                        </a:lnTo>
                        <a:lnTo>
                          <a:pt x="2700" y="6751"/>
                        </a:lnTo>
                        <a:lnTo>
                          <a:pt x="2700" y="6751"/>
                        </a:lnTo>
                        <a:lnTo>
                          <a:pt x="2700" y="6751"/>
                        </a:lnTo>
                        <a:lnTo>
                          <a:pt x="2700" y="6751"/>
                        </a:lnTo>
                        <a:lnTo>
                          <a:pt x="2250" y="7201"/>
                        </a:lnTo>
                        <a:lnTo>
                          <a:pt x="2250" y="7651"/>
                        </a:lnTo>
                        <a:close/>
                        <a:moveTo>
                          <a:pt x="0" y="13952"/>
                        </a:moveTo>
                        <a:lnTo>
                          <a:pt x="0" y="13952"/>
                        </a:lnTo>
                        <a:lnTo>
                          <a:pt x="0" y="13952"/>
                        </a:lnTo>
                        <a:lnTo>
                          <a:pt x="0" y="13952"/>
                        </a:lnTo>
                        <a:lnTo>
                          <a:pt x="0" y="13952"/>
                        </a:lnTo>
                        <a:lnTo>
                          <a:pt x="0" y="13952"/>
                        </a:lnTo>
                        <a:lnTo>
                          <a:pt x="0" y="13502"/>
                        </a:lnTo>
                        <a:lnTo>
                          <a:pt x="0" y="13502"/>
                        </a:lnTo>
                        <a:lnTo>
                          <a:pt x="0" y="13502"/>
                        </a:lnTo>
                        <a:lnTo>
                          <a:pt x="0" y="13502"/>
                        </a:lnTo>
                        <a:lnTo>
                          <a:pt x="0" y="13502"/>
                        </a:lnTo>
                        <a:lnTo>
                          <a:pt x="0" y="13502"/>
                        </a:lnTo>
                        <a:lnTo>
                          <a:pt x="0" y="13952"/>
                        </a:lnTo>
                        <a:lnTo>
                          <a:pt x="0" y="13952"/>
                        </a:lnTo>
                        <a:lnTo>
                          <a:pt x="0" y="13952"/>
                        </a:lnTo>
                        <a:lnTo>
                          <a:pt x="0" y="13952"/>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24" name="Freeform: Shape 1923">
                    <a:extLst>
                      <a:ext uri="{FF2B5EF4-FFF2-40B4-BE49-F238E27FC236}">
                        <a16:creationId xmlns:a16="http://schemas.microsoft.com/office/drawing/2014/main" id="{C3F87851-5E7A-079E-CA1D-C1A33DA7EB59}"/>
                      </a:ext>
                    </a:extLst>
                  </p:cNvPr>
                  <p:cNvSpPr/>
                  <p:nvPr/>
                </p:nvSpPr>
                <p:spPr>
                  <a:xfrm>
                    <a:off x="2339392" y="3222402"/>
                    <a:ext cx="9451" cy="7200"/>
                  </a:xfrm>
                  <a:custGeom>
                    <a:avLst/>
                    <a:gdLst>
                      <a:gd name="connsiteX0" fmla="*/ 9001 w 9451"/>
                      <a:gd name="connsiteY0" fmla="*/ 0 h 7200"/>
                      <a:gd name="connsiteX1" fmla="*/ 9451 w 9451"/>
                      <a:gd name="connsiteY1" fmla="*/ 900 h 7200"/>
                      <a:gd name="connsiteX2" fmla="*/ 9451 w 9451"/>
                      <a:gd name="connsiteY2" fmla="*/ 900 h 7200"/>
                      <a:gd name="connsiteX3" fmla="*/ 8101 w 9451"/>
                      <a:gd name="connsiteY3" fmla="*/ 450 h 7200"/>
                      <a:gd name="connsiteX4" fmla="*/ 7201 w 9451"/>
                      <a:gd name="connsiteY4" fmla="*/ 450 h 7200"/>
                      <a:gd name="connsiteX5" fmla="*/ 6751 w 9451"/>
                      <a:gd name="connsiteY5" fmla="*/ 450 h 7200"/>
                      <a:gd name="connsiteX6" fmla="*/ 6751 w 9451"/>
                      <a:gd name="connsiteY6" fmla="*/ 0 h 7200"/>
                      <a:gd name="connsiteX7" fmla="*/ 8551 w 9451"/>
                      <a:gd name="connsiteY7" fmla="*/ 0 h 7200"/>
                      <a:gd name="connsiteX8" fmla="*/ 9001 w 9451"/>
                      <a:gd name="connsiteY8" fmla="*/ 0 h 7200"/>
                      <a:gd name="connsiteX9" fmla="*/ 6751 w 9451"/>
                      <a:gd name="connsiteY9" fmla="*/ 5851 h 7200"/>
                      <a:gd name="connsiteX10" fmla="*/ 6301 w 9451"/>
                      <a:gd name="connsiteY10" fmla="*/ 5851 h 7200"/>
                      <a:gd name="connsiteX11" fmla="*/ 5851 w 9451"/>
                      <a:gd name="connsiteY11" fmla="*/ 5851 h 7200"/>
                      <a:gd name="connsiteX12" fmla="*/ 5851 w 9451"/>
                      <a:gd name="connsiteY12" fmla="*/ 5401 h 7200"/>
                      <a:gd name="connsiteX13" fmla="*/ 6301 w 9451"/>
                      <a:gd name="connsiteY13" fmla="*/ 4501 h 7200"/>
                      <a:gd name="connsiteX14" fmla="*/ 8551 w 9451"/>
                      <a:gd name="connsiteY14" fmla="*/ 4501 h 7200"/>
                      <a:gd name="connsiteX15" fmla="*/ 6751 w 9451"/>
                      <a:gd name="connsiteY15" fmla="*/ 5851 h 7200"/>
                      <a:gd name="connsiteX16" fmla="*/ 2250 w 9451"/>
                      <a:gd name="connsiteY16" fmla="*/ 7201 h 7200"/>
                      <a:gd name="connsiteX17" fmla="*/ 450 w 9451"/>
                      <a:gd name="connsiteY17" fmla="*/ 7201 h 7200"/>
                      <a:gd name="connsiteX18" fmla="*/ 0 w 9451"/>
                      <a:gd name="connsiteY18" fmla="*/ 6751 h 7200"/>
                      <a:gd name="connsiteX19" fmla="*/ 900 w 9451"/>
                      <a:gd name="connsiteY19" fmla="*/ 5851 h 7200"/>
                      <a:gd name="connsiteX20" fmla="*/ 2701 w 9451"/>
                      <a:gd name="connsiteY20" fmla="*/ 5851 h 7200"/>
                      <a:gd name="connsiteX21" fmla="*/ 3150 w 9451"/>
                      <a:gd name="connsiteY21" fmla="*/ 5851 h 7200"/>
                      <a:gd name="connsiteX22" fmla="*/ 2250 w 9451"/>
                      <a:gd name="connsiteY22" fmla="*/ 7201 h 7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9451" h="7200">
                        <a:moveTo>
                          <a:pt x="9001" y="0"/>
                        </a:moveTo>
                        <a:lnTo>
                          <a:pt x="9451" y="900"/>
                        </a:lnTo>
                        <a:lnTo>
                          <a:pt x="9451" y="900"/>
                        </a:lnTo>
                        <a:lnTo>
                          <a:pt x="8101" y="450"/>
                        </a:lnTo>
                        <a:lnTo>
                          <a:pt x="7201" y="450"/>
                        </a:lnTo>
                        <a:lnTo>
                          <a:pt x="6751" y="450"/>
                        </a:lnTo>
                        <a:lnTo>
                          <a:pt x="6751" y="0"/>
                        </a:lnTo>
                        <a:lnTo>
                          <a:pt x="8551" y="0"/>
                        </a:lnTo>
                        <a:lnTo>
                          <a:pt x="9001" y="0"/>
                        </a:lnTo>
                        <a:close/>
                        <a:moveTo>
                          <a:pt x="6751" y="5851"/>
                        </a:moveTo>
                        <a:lnTo>
                          <a:pt x="6301" y="5851"/>
                        </a:lnTo>
                        <a:lnTo>
                          <a:pt x="5851" y="5851"/>
                        </a:lnTo>
                        <a:lnTo>
                          <a:pt x="5851" y="5401"/>
                        </a:lnTo>
                        <a:lnTo>
                          <a:pt x="6301" y="4501"/>
                        </a:lnTo>
                        <a:lnTo>
                          <a:pt x="8551" y="4501"/>
                        </a:lnTo>
                        <a:lnTo>
                          <a:pt x="6751" y="5851"/>
                        </a:lnTo>
                        <a:close/>
                        <a:moveTo>
                          <a:pt x="2250" y="7201"/>
                        </a:moveTo>
                        <a:lnTo>
                          <a:pt x="450" y="7201"/>
                        </a:lnTo>
                        <a:lnTo>
                          <a:pt x="0" y="6751"/>
                        </a:lnTo>
                        <a:lnTo>
                          <a:pt x="900" y="5851"/>
                        </a:lnTo>
                        <a:lnTo>
                          <a:pt x="2701" y="5851"/>
                        </a:lnTo>
                        <a:lnTo>
                          <a:pt x="3150" y="5851"/>
                        </a:lnTo>
                        <a:lnTo>
                          <a:pt x="2250" y="720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sp>
                <p:nvSpPr>
                  <p:cNvPr id="1925" name="Freeform: Shape 1924">
                    <a:extLst>
                      <a:ext uri="{FF2B5EF4-FFF2-40B4-BE49-F238E27FC236}">
                        <a16:creationId xmlns:a16="http://schemas.microsoft.com/office/drawing/2014/main" id="{AFA05DFF-1C9C-2A08-91F7-C293F06C9F6C}"/>
                      </a:ext>
                    </a:extLst>
                  </p:cNvPr>
                  <p:cNvSpPr/>
                  <p:nvPr/>
                </p:nvSpPr>
                <p:spPr>
                  <a:xfrm>
                    <a:off x="2332191" y="3230053"/>
                    <a:ext cx="9901" cy="14851"/>
                  </a:xfrm>
                  <a:custGeom>
                    <a:avLst/>
                    <a:gdLst>
                      <a:gd name="connsiteX0" fmla="*/ 4050 w 9901"/>
                      <a:gd name="connsiteY0" fmla="*/ 1350 h 14851"/>
                      <a:gd name="connsiteX1" fmla="*/ 2250 w 9901"/>
                      <a:gd name="connsiteY1" fmla="*/ 1350 h 14851"/>
                      <a:gd name="connsiteX2" fmla="*/ 0 w 9901"/>
                      <a:gd name="connsiteY2" fmla="*/ 450 h 14851"/>
                      <a:gd name="connsiteX3" fmla="*/ 1800 w 9901"/>
                      <a:gd name="connsiteY3" fmla="*/ 0 h 14851"/>
                      <a:gd name="connsiteX4" fmla="*/ 2700 w 9901"/>
                      <a:gd name="connsiteY4" fmla="*/ 450 h 14851"/>
                      <a:gd name="connsiteX5" fmla="*/ 4050 w 9901"/>
                      <a:gd name="connsiteY5" fmla="*/ 1350 h 14851"/>
                      <a:gd name="connsiteX6" fmla="*/ 8101 w 9901"/>
                      <a:gd name="connsiteY6" fmla="*/ 900 h 14851"/>
                      <a:gd name="connsiteX7" fmla="*/ 6751 w 9901"/>
                      <a:gd name="connsiteY7" fmla="*/ 1350 h 14851"/>
                      <a:gd name="connsiteX8" fmla="*/ 5851 w 9901"/>
                      <a:gd name="connsiteY8" fmla="*/ 1350 h 14851"/>
                      <a:gd name="connsiteX9" fmla="*/ 5401 w 9901"/>
                      <a:gd name="connsiteY9" fmla="*/ 1350 h 14851"/>
                      <a:gd name="connsiteX10" fmla="*/ 6301 w 9901"/>
                      <a:gd name="connsiteY10" fmla="*/ 450 h 14851"/>
                      <a:gd name="connsiteX11" fmla="*/ 8101 w 9901"/>
                      <a:gd name="connsiteY11" fmla="*/ 900 h 14851"/>
                      <a:gd name="connsiteX12" fmla="*/ 5851 w 9901"/>
                      <a:gd name="connsiteY12" fmla="*/ 13051 h 14851"/>
                      <a:gd name="connsiteX13" fmla="*/ 7651 w 9901"/>
                      <a:gd name="connsiteY13" fmla="*/ 13952 h 14851"/>
                      <a:gd name="connsiteX14" fmla="*/ 9901 w 9901"/>
                      <a:gd name="connsiteY14" fmla="*/ 13952 h 14851"/>
                      <a:gd name="connsiteX15" fmla="*/ 7651 w 9901"/>
                      <a:gd name="connsiteY15" fmla="*/ 14852 h 14851"/>
                      <a:gd name="connsiteX16" fmla="*/ 3150 w 9901"/>
                      <a:gd name="connsiteY16" fmla="*/ 14852 h 14851"/>
                      <a:gd name="connsiteX17" fmla="*/ 3150 w 9901"/>
                      <a:gd name="connsiteY17" fmla="*/ 13502 h 14851"/>
                      <a:gd name="connsiteX18" fmla="*/ 5851 w 9901"/>
                      <a:gd name="connsiteY18" fmla="*/ 13051 h 148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9901" h="14851">
                        <a:moveTo>
                          <a:pt x="4050" y="1350"/>
                        </a:moveTo>
                        <a:lnTo>
                          <a:pt x="2250" y="1350"/>
                        </a:lnTo>
                        <a:lnTo>
                          <a:pt x="0" y="450"/>
                        </a:lnTo>
                        <a:lnTo>
                          <a:pt x="1800" y="0"/>
                        </a:lnTo>
                        <a:lnTo>
                          <a:pt x="2700" y="450"/>
                        </a:lnTo>
                        <a:lnTo>
                          <a:pt x="4050" y="1350"/>
                        </a:lnTo>
                        <a:close/>
                        <a:moveTo>
                          <a:pt x="8101" y="900"/>
                        </a:moveTo>
                        <a:lnTo>
                          <a:pt x="6751" y="1350"/>
                        </a:lnTo>
                        <a:lnTo>
                          <a:pt x="5851" y="1350"/>
                        </a:lnTo>
                        <a:lnTo>
                          <a:pt x="5401" y="1350"/>
                        </a:lnTo>
                        <a:lnTo>
                          <a:pt x="6301" y="450"/>
                        </a:lnTo>
                        <a:lnTo>
                          <a:pt x="8101" y="900"/>
                        </a:lnTo>
                        <a:close/>
                        <a:moveTo>
                          <a:pt x="5851" y="13051"/>
                        </a:moveTo>
                        <a:lnTo>
                          <a:pt x="7651" y="13952"/>
                        </a:lnTo>
                        <a:lnTo>
                          <a:pt x="9901" y="13952"/>
                        </a:lnTo>
                        <a:lnTo>
                          <a:pt x="7651" y="14852"/>
                        </a:lnTo>
                        <a:lnTo>
                          <a:pt x="3150" y="14852"/>
                        </a:lnTo>
                        <a:lnTo>
                          <a:pt x="3150" y="13502"/>
                        </a:lnTo>
                        <a:lnTo>
                          <a:pt x="5851" y="13051"/>
                        </a:lnTo>
                        <a:close/>
                      </a:path>
                    </a:pathLst>
                  </a:custGeom>
                  <a:grpFill/>
                  <a:ln w="6350" cap="flat">
                    <a:solidFill>
                      <a:schemeClr val="bg1"/>
                    </a:solidFill>
                    <a:prstDash val="solid"/>
                    <a:miter/>
                  </a:ln>
                </p:spPr>
                <p:txBody>
                  <a:bodyPr rtlCol="0" anchor="ctr"/>
                  <a:lstStyle/>
                  <a:p>
                    <a:endParaRPr lang="en-US">
                      <a:solidFill>
                        <a:srgbClr val="FF0000"/>
                      </a:solidFill>
                    </a:endParaRPr>
                  </a:p>
                </p:txBody>
              </p:sp>
            </p:grpSp>
            <p:sp>
              <p:nvSpPr>
                <p:cNvPr id="3268" name="object 5">
                  <a:extLst>
                    <a:ext uri="{FF2B5EF4-FFF2-40B4-BE49-F238E27FC236}">
                      <a16:creationId xmlns:a16="http://schemas.microsoft.com/office/drawing/2014/main" id="{7D5C933C-2647-0F05-7B9F-E6A73FF08D2C}"/>
                    </a:ext>
                  </a:extLst>
                </p:cNvPr>
                <p:cNvSpPr txBox="1"/>
                <p:nvPr/>
              </p:nvSpPr>
              <p:spPr>
                <a:xfrm>
                  <a:off x="5937594" y="5044126"/>
                  <a:ext cx="547370" cy="466474"/>
                </a:xfrm>
                <a:prstGeom prst="rect">
                  <a:avLst/>
                </a:prstGeom>
              </p:spPr>
              <p:txBody>
                <a:bodyPr vert="horz" wrap="square" lIns="0" tIns="13970" rIns="0" bIns="0" rtlCol="0">
                  <a:spAutoFit/>
                </a:bodyPr>
                <a:lstStyle/>
                <a:p>
                  <a:pPr marL="12700" marR="5080" indent="1270" algn="ctr">
                    <a:lnSpc>
                      <a:spcPct val="100000"/>
                    </a:lnSpc>
                    <a:spcBef>
                      <a:spcPts val="110"/>
                    </a:spcBef>
                  </a:pPr>
                  <a:r>
                    <a:rPr sz="900" b="1" spc="-10" dirty="0">
                      <a:latin typeface="ABBvoice"/>
                      <a:cs typeface="ABBvoice"/>
                    </a:rPr>
                    <a:t>British Columbia </a:t>
                  </a:r>
                  <a:r>
                    <a:rPr lang="en-US" sz="1100" spc="-25" dirty="0">
                      <a:solidFill>
                        <a:srgbClr val="FF000F"/>
                      </a:solidFill>
                      <a:latin typeface="ABBvoice"/>
                      <a:cs typeface="ABBvoice"/>
                    </a:rPr>
                    <a:t>1</a:t>
                  </a:r>
                  <a:endParaRPr sz="1100" dirty="0">
                    <a:latin typeface="ABBvoice"/>
                    <a:cs typeface="ABBvoice"/>
                  </a:endParaRPr>
                </a:p>
              </p:txBody>
            </p:sp>
            <p:sp>
              <p:nvSpPr>
                <p:cNvPr id="3269" name="object 6">
                  <a:extLst>
                    <a:ext uri="{FF2B5EF4-FFF2-40B4-BE49-F238E27FC236}">
                      <a16:creationId xmlns:a16="http://schemas.microsoft.com/office/drawing/2014/main" id="{0E05F10B-EC4F-3E58-98DF-FC15DD5BF505}"/>
                    </a:ext>
                  </a:extLst>
                </p:cNvPr>
                <p:cNvSpPr txBox="1"/>
                <p:nvPr/>
              </p:nvSpPr>
              <p:spPr>
                <a:xfrm>
                  <a:off x="6604654" y="5288318"/>
                  <a:ext cx="424180" cy="330835"/>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Alberta</a:t>
                  </a:r>
                  <a:endParaRPr sz="900" b="1" dirty="0">
                    <a:latin typeface="ABBvoice"/>
                    <a:cs typeface="ABBvoice"/>
                  </a:endParaRPr>
                </a:p>
                <a:p>
                  <a:pPr algn="ctr">
                    <a:lnSpc>
                      <a:spcPts val="1315"/>
                    </a:lnSpc>
                  </a:pPr>
                  <a:r>
                    <a:rPr lang="en-US" sz="1100" spc="-25" dirty="0">
                      <a:solidFill>
                        <a:srgbClr val="FF000F"/>
                      </a:solidFill>
                      <a:latin typeface="ABBvoice"/>
                      <a:cs typeface="ABBvoice"/>
                    </a:rPr>
                    <a:t>8</a:t>
                  </a:r>
                  <a:endParaRPr sz="1100" dirty="0">
                    <a:latin typeface="ABBvoice"/>
                    <a:cs typeface="ABBvoice"/>
                  </a:endParaRPr>
                </a:p>
              </p:txBody>
            </p:sp>
            <p:sp>
              <p:nvSpPr>
                <p:cNvPr id="3271" name="object 10">
                  <a:extLst>
                    <a:ext uri="{FF2B5EF4-FFF2-40B4-BE49-F238E27FC236}">
                      <a16:creationId xmlns:a16="http://schemas.microsoft.com/office/drawing/2014/main" id="{3A471FDE-9D82-ED01-F1BE-8103AC9A08BE}"/>
                    </a:ext>
                  </a:extLst>
                </p:cNvPr>
                <p:cNvSpPr txBox="1"/>
                <p:nvPr/>
              </p:nvSpPr>
              <p:spPr>
                <a:xfrm>
                  <a:off x="6958734" y="5593323"/>
                  <a:ext cx="812800" cy="330835"/>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Saskatchewan</a:t>
                  </a:r>
                  <a:endParaRPr sz="900" b="1" dirty="0">
                    <a:latin typeface="ABBvoice"/>
                    <a:cs typeface="ABBvoice"/>
                  </a:endParaRPr>
                </a:p>
                <a:p>
                  <a:pPr algn="ctr">
                    <a:lnSpc>
                      <a:spcPts val="1315"/>
                    </a:lnSpc>
                  </a:pPr>
                  <a:r>
                    <a:rPr lang="en-US" sz="1100" dirty="0">
                      <a:solidFill>
                        <a:srgbClr val="FF000F"/>
                      </a:solidFill>
                      <a:latin typeface="ABBvoice"/>
                      <a:cs typeface="ABBvoice"/>
                    </a:rPr>
                    <a:t>1</a:t>
                  </a:r>
                  <a:endParaRPr sz="1100" dirty="0">
                    <a:latin typeface="ABBvoice"/>
                    <a:cs typeface="ABBvoice"/>
                  </a:endParaRPr>
                </a:p>
              </p:txBody>
            </p:sp>
            <p:sp>
              <p:nvSpPr>
                <p:cNvPr id="3272" name="object 7">
                  <a:extLst>
                    <a:ext uri="{FF2B5EF4-FFF2-40B4-BE49-F238E27FC236}">
                      <a16:creationId xmlns:a16="http://schemas.microsoft.com/office/drawing/2014/main" id="{B62180FB-F08E-EFDE-BF18-CE233086B663}"/>
                    </a:ext>
                  </a:extLst>
                </p:cNvPr>
                <p:cNvSpPr txBox="1"/>
                <p:nvPr/>
              </p:nvSpPr>
              <p:spPr>
                <a:xfrm>
                  <a:off x="7550856" y="5174012"/>
                  <a:ext cx="546735" cy="330835"/>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Manitoba</a:t>
                  </a:r>
                  <a:endParaRPr sz="900" b="1" dirty="0">
                    <a:latin typeface="ABBvoice"/>
                    <a:cs typeface="ABBvoice"/>
                  </a:endParaRPr>
                </a:p>
                <a:p>
                  <a:pPr marL="1270" algn="ctr">
                    <a:lnSpc>
                      <a:spcPts val="1315"/>
                    </a:lnSpc>
                  </a:pPr>
                  <a:r>
                    <a:rPr lang="en-US" sz="1100" spc="-25" dirty="0">
                      <a:solidFill>
                        <a:srgbClr val="FF000F"/>
                      </a:solidFill>
                      <a:latin typeface="ABBvoice"/>
                      <a:cs typeface="ABBvoice"/>
                    </a:rPr>
                    <a:t>1</a:t>
                  </a:r>
                  <a:endParaRPr sz="1100" dirty="0">
                    <a:latin typeface="ABBvoice"/>
                    <a:cs typeface="ABBvoice"/>
                  </a:endParaRPr>
                </a:p>
              </p:txBody>
            </p:sp>
            <p:sp>
              <p:nvSpPr>
                <p:cNvPr id="3273" name="object 9">
                  <a:extLst>
                    <a:ext uri="{FF2B5EF4-FFF2-40B4-BE49-F238E27FC236}">
                      <a16:creationId xmlns:a16="http://schemas.microsoft.com/office/drawing/2014/main" id="{95ED123B-EE41-3298-2E00-854F759EA119}"/>
                    </a:ext>
                  </a:extLst>
                </p:cNvPr>
                <p:cNvSpPr txBox="1"/>
                <p:nvPr/>
              </p:nvSpPr>
              <p:spPr>
                <a:xfrm>
                  <a:off x="8116409" y="5622185"/>
                  <a:ext cx="447040" cy="331470"/>
                </a:xfrm>
                <a:prstGeom prst="rect">
                  <a:avLst/>
                </a:prstGeom>
              </p:spPr>
              <p:txBody>
                <a:bodyPr vert="horz" wrap="square" lIns="0" tIns="13970" rIns="0" bIns="0" rtlCol="0">
                  <a:spAutoFit/>
                </a:bodyPr>
                <a:lstStyle/>
                <a:p>
                  <a:pPr algn="ctr">
                    <a:lnSpc>
                      <a:spcPts val="1075"/>
                    </a:lnSpc>
                    <a:spcBef>
                      <a:spcPts val="110"/>
                    </a:spcBef>
                  </a:pPr>
                  <a:r>
                    <a:rPr sz="900" b="1" spc="-10" dirty="0">
                      <a:latin typeface="ABBvoice"/>
                      <a:cs typeface="ABBvoice"/>
                    </a:rPr>
                    <a:t>Ontario</a:t>
                  </a:r>
                  <a:endParaRPr sz="900" b="1" dirty="0">
                    <a:latin typeface="ABBvoice"/>
                    <a:cs typeface="ABBvoice"/>
                  </a:endParaRPr>
                </a:p>
                <a:p>
                  <a:pPr algn="ctr">
                    <a:lnSpc>
                      <a:spcPts val="1315"/>
                    </a:lnSpc>
                  </a:pPr>
                  <a:r>
                    <a:rPr lang="en-US" sz="1100" spc="-25" dirty="0">
                      <a:solidFill>
                        <a:srgbClr val="FF000F"/>
                      </a:solidFill>
                      <a:latin typeface="ABBvoice"/>
                      <a:cs typeface="ABBvoice"/>
                    </a:rPr>
                    <a:t>7</a:t>
                  </a:r>
                  <a:endParaRPr sz="1100" dirty="0">
                    <a:latin typeface="ABBvoice"/>
                    <a:cs typeface="ABBvoice"/>
                  </a:endParaRPr>
                </a:p>
              </p:txBody>
            </p:sp>
            <p:sp>
              <p:nvSpPr>
                <p:cNvPr id="3274" name="object 8">
                  <a:extLst>
                    <a:ext uri="{FF2B5EF4-FFF2-40B4-BE49-F238E27FC236}">
                      <a16:creationId xmlns:a16="http://schemas.microsoft.com/office/drawing/2014/main" id="{13BFD4B1-7088-3914-2F9E-08C0CD945180}"/>
                    </a:ext>
                  </a:extLst>
                </p:cNvPr>
                <p:cNvSpPr txBox="1"/>
                <p:nvPr/>
              </p:nvSpPr>
              <p:spPr>
                <a:xfrm>
                  <a:off x="9001307" y="5427270"/>
                  <a:ext cx="444500" cy="331470"/>
                </a:xfrm>
                <a:prstGeom prst="rect">
                  <a:avLst/>
                </a:prstGeom>
              </p:spPr>
              <p:txBody>
                <a:bodyPr vert="horz" wrap="square" lIns="0" tIns="13970" rIns="0" bIns="0" rtlCol="0">
                  <a:spAutoFit/>
                </a:bodyPr>
                <a:lstStyle/>
                <a:p>
                  <a:pPr marL="12700">
                    <a:lnSpc>
                      <a:spcPts val="1075"/>
                    </a:lnSpc>
                    <a:spcBef>
                      <a:spcPts val="110"/>
                    </a:spcBef>
                  </a:pPr>
                  <a:r>
                    <a:rPr sz="900" b="1" spc="-10" dirty="0">
                      <a:latin typeface="ABBvoice"/>
                      <a:cs typeface="ABBvoice"/>
                    </a:rPr>
                    <a:t>Quebec</a:t>
                  </a:r>
                  <a:endParaRPr sz="900" b="1" dirty="0">
                    <a:latin typeface="ABBvoice"/>
                    <a:cs typeface="ABBvoice"/>
                  </a:endParaRPr>
                </a:p>
                <a:p>
                  <a:pPr marL="43815">
                    <a:lnSpc>
                      <a:spcPts val="1315"/>
                    </a:lnSpc>
                  </a:pPr>
                  <a:r>
                    <a:rPr lang="en-US" sz="1100" spc="-20" dirty="0">
                      <a:solidFill>
                        <a:srgbClr val="FF000F"/>
                      </a:solidFill>
                      <a:latin typeface="ABBvoice"/>
                      <a:cs typeface="ABBvoice"/>
                    </a:rPr>
                    <a:t>13</a:t>
                  </a:r>
                  <a:endParaRPr sz="1100" dirty="0">
                    <a:latin typeface="ABBvoice"/>
                    <a:cs typeface="ABBvoice"/>
                  </a:endParaRPr>
                </a:p>
              </p:txBody>
            </p:sp>
            <p:cxnSp>
              <p:nvCxnSpPr>
                <p:cNvPr id="3277" name="Straight Connector 3276">
                  <a:extLst>
                    <a:ext uri="{FF2B5EF4-FFF2-40B4-BE49-F238E27FC236}">
                      <a16:creationId xmlns:a16="http://schemas.microsoft.com/office/drawing/2014/main" id="{8605E42B-D70C-23DD-8AAE-D79B1A184B04}"/>
                    </a:ext>
                  </a:extLst>
                </p:cNvPr>
                <p:cNvCxnSpPr>
                  <a:cxnSpLocks/>
                  <a:endCxn id="3275" idx="1"/>
                </p:cNvCxnSpPr>
                <p:nvPr/>
              </p:nvCxnSpPr>
              <p:spPr>
                <a:xfrm>
                  <a:off x="9659463" y="6397421"/>
                  <a:ext cx="253231" cy="144035"/>
                </a:xfrm>
                <a:prstGeom prst="line">
                  <a:avLst/>
                </a:prstGeom>
              </p:spPr>
              <p:style>
                <a:lnRef idx="1">
                  <a:schemeClr val="dk1"/>
                </a:lnRef>
                <a:fillRef idx="0">
                  <a:schemeClr val="dk1"/>
                </a:fillRef>
                <a:effectRef idx="0">
                  <a:schemeClr val="dk1"/>
                </a:effectRef>
                <a:fontRef idx="minor">
                  <a:schemeClr val="tx1"/>
                </a:fontRef>
              </p:style>
            </p:cxnSp>
            <p:cxnSp>
              <p:nvCxnSpPr>
                <p:cNvPr id="3280" name="Straight Connector 3279">
                  <a:extLst>
                    <a:ext uri="{FF2B5EF4-FFF2-40B4-BE49-F238E27FC236}">
                      <a16:creationId xmlns:a16="http://schemas.microsoft.com/office/drawing/2014/main" id="{F832BEF0-386B-AAB7-2B24-D7858356B32F}"/>
                    </a:ext>
                  </a:extLst>
                </p:cNvPr>
                <p:cNvCxnSpPr>
                  <a:cxnSpLocks/>
                  <a:stCxn id="1981" idx="605"/>
                  <a:endCxn id="3279" idx="1"/>
                </p:cNvCxnSpPr>
                <p:nvPr/>
              </p:nvCxnSpPr>
              <p:spPr>
                <a:xfrm flipV="1">
                  <a:off x="9863476" y="5517889"/>
                  <a:ext cx="277263" cy="101279"/>
                </a:xfrm>
                <a:prstGeom prst="line">
                  <a:avLst/>
                </a:prstGeom>
              </p:spPr>
              <p:style>
                <a:lnRef idx="1">
                  <a:schemeClr val="dk1"/>
                </a:lnRef>
                <a:fillRef idx="0">
                  <a:schemeClr val="dk1"/>
                </a:fillRef>
                <a:effectRef idx="0">
                  <a:schemeClr val="dk1"/>
                </a:effectRef>
                <a:fontRef idx="minor">
                  <a:schemeClr val="tx1"/>
                </a:fontRef>
              </p:style>
            </p:cxnSp>
            <p:cxnSp>
              <p:nvCxnSpPr>
                <p:cNvPr id="3283" name="Straight Connector 3282">
                  <a:extLst>
                    <a:ext uri="{FF2B5EF4-FFF2-40B4-BE49-F238E27FC236}">
                      <a16:creationId xmlns:a16="http://schemas.microsoft.com/office/drawing/2014/main" id="{E9C37F71-E8CA-2231-A6EF-559228FE5504}"/>
                    </a:ext>
                  </a:extLst>
                </p:cNvPr>
                <p:cNvCxnSpPr>
                  <a:cxnSpLocks/>
                  <a:stCxn id="1981" idx="869"/>
                  <a:endCxn id="3279" idx="2"/>
                </p:cNvCxnSpPr>
                <p:nvPr/>
              </p:nvCxnSpPr>
              <p:spPr>
                <a:xfrm flipV="1">
                  <a:off x="10212713" y="5751451"/>
                  <a:ext cx="339823" cy="273585"/>
                </a:xfrm>
                <a:prstGeom prst="line">
                  <a:avLst/>
                </a:prstGeom>
              </p:spPr>
              <p:style>
                <a:lnRef idx="1">
                  <a:schemeClr val="dk1"/>
                </a:lnRef>
                <a:fillRef idx="0">
                  <a:schemeClr val="dk1"/>
                </a:fillRef>
                <a:effectRef idx="0">
                  <a:schemeClr val="dk1"/>
                </a:effectRef>
                <a:fontRef idx="minor">
                  <a:schemeClr val="tx1"/>
                </a:fontRef>
              </p:style>
            </p:cxnSp>
          </p:grpSp>
        </p:grpSp>
      </p:grpSp>
      <p:sp>
        <p:nvSpPr>
          <p:cNvPr id="3515" name="Text Placeholder 3">
            <a:extLst>
              <a:ext uri="{FF2B5EF4-FFF2-40B4-BE49-F238E27FC236}">
                <a16:creationId xmlns:a16="http://schemas.microsoft.com/office/drawing/2014/main" id="{463F37B1-A588-BCD2-B64E-967CF9D8CFBF}"/>
              </a:ext>
            </a:extLst>
          </p:cNvPr>
          <p:cNvSpPr txBox="1">
            <a:spLocks/>
          </p:cNvSpPr>
          <p:nvPr/>
        </p:nvSpPr>
        <p:spPr>
          <a:xfrm>
            <a:off x="622763" y="4491707"/>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Manitoba</a:t>
            </a:r>
            <a:br>
              <a:rPr lang="en-US" b="1" dirty="0">
                <a:solidFill>
                  <a:schemeClr val="bg2"/>
                </a:solidFill>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1 sales &amp; service location</a:t>
            </a:r>
            <a:endParaRPr lang="en-US" sz="1050" dirty="0">
              <a:latin typeface="ABBvoice" panose="020D0603020503020204" pitchFamily="34" charset="0"/>
              <a:ea typeface="ABBvoice" panose="020D0603020503020204" pitchFamily="34" charset="0"/>
              <a:cs typeface="ABBvoice" panose="020D0603020503020204" pitchFamily="34" charset="0"/>
            </a:endParaRPr>
          </a:p>
        </p:txBody>
      </p:sp>
      <p:sp>
        <p:nvSpPr>
          <p:cNvPr id="3516" name="Text Placeholder 3">
            <a:extLst>
              <a:ext uri="{FF2B5EF4-FFF2-40B4-BE49-F238E27FC236}">
                <a16:creationId xmlns:a16="http://schemas.microsoft.com/office/drawing/2014/main" id="{DD91643A-BB33-9EB6-136E-49285641E355}"/>
              </a:ext>
            </a:extLst>
          </p:cNvPr>
          <p:cNvSpPr txBox="1">
            <a:spLocks/>
          </p:cNvSpPr>
          <p:nvPr/>
        </p:nvSpPr>
        <p:spPr>
          <a:xfrm>
            <a:off x="622763" y="5075775"/>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Ontario</a:t>
            </a:r>
            <a:br>
              <a:rPr lang="en-US" b="1" dirty="0">
                <a:solidFill>
                  <a:schemeClr val="bg2"/>
                </a:solidFill>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4 manufacturing &amp; assembly facility</a:t>
            </a:r>
          </a:p>
          <a:p>
            <a:r>
              <a:rPr lang="en-US" sz="1100" dirty="0">
                <a:latin typeface="ABBvoice" panose="020D0603020503020204" pitchFamily="34" charset="0"/>
                <a:ea typeface="ABBvoice" panose="020D0603020503020204" pitchFamily="34" charset="0"/>
                <a:cs typeface="ABBvoice" panose="020D0603020503020204" pitchFamily="34" charset="0"/>
              </a:rPr>
              <a:t>7 sales &amp; service location</a:t>
            </a:r>
          </a:p>
          <a:p>
            <a:r>
              <a:rPr lang="en-US" sz="1100" dirty="0">
                <a:latin typeface="ABBvoice" panose="020D0603020503020204" pitchFamily="34" charset="0"/>
                <a:ea typeface="ABBvoice" panose="020D0603020503020204" pitchFamily="34" charset="0"/>
                <a:cs typeface="ABBvoice" panose="020D0603020503020204" pitchFamily="34" charset="0"/>
              </a:rPr>
              <a:t>1 distribution centers</a:t>
            </a:r>
          </a:p>
          <a:p>
            <a:endParaRPr lang="en-US" sz="1050" dirty="0">
              <a:latin typeface="ABBvoice" panose="020D0603020503020204" pitchFamily="34" charset="0"/>
              <a:ea typeface="ABBvoice" panose="020D0603020503020204" pitchFamily="34" charset="0"/>
              <a:cs typeface="ABBvoice" panose="020D0603020503020204" pitchFamily="34" charset="0"/>
            </a:endParaRPr>
          </a:p>
        </p:txBody>
      </p:sp>
      <p:sp>
        <p:nvSpPr>
          <p:cNvPr id="3517" name="Text Placeholder 3">
            <a:extLst>
              <a:ext uri="{FF2B5EF4-FFF2-40B4-BE49-F238E27FC236}">
                <a16:creationId xmlns:a16="http://schemas.microsoft.com/office/drawing/2014/main" id="{304EA6B8-A6CF-39A8-06E7-C775C4B5107A}"/>
              </a:ext>
            </a:extLst>
          </p:cNvPr>
          <p:cNvSpPr txBox="1">
            <a:spLocks/>
          </p:cNvSpPr>
          <p:nvPr/>
        </p:nvSpPr>
        <p:spPr>
          <a:xfrm>
            <a:off x="3157893" y="2017028"/>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Quebec</a:t>
            </a:r>
            <a:br>
              <a:rPr lang="en-US" b="1" dirty="0">
                <a:solidFill>
                  <a:schemeClr val="bg2"/>
                </a:solidFill>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8</a:t>
            </a:r>
            <a:r>
              <a:rPr lang="en-US" sz="1100" b="1" dirty="0">
                <a:solidFill>
                  <a:schemeClr val="bg2"/>
                </a:solidFill>
                <a:latin typeface="ABBvoice" panose="020D0603020503020204" pitchFamily="34" charset="0"/>
                <a:ea typeface="ABBvoice" panose="020D0603020503020204" pitchFamily="34" charset="0"/>
                <a:cs typeface="ABBvoice" panose="020D0603020503020204" pitchFamily="34" charset="0"/>
              </a:rPr>
              <a:t> </a:t>
            </a:r>
            <a:r>
              <a:rPr lang="en-US" sz="1100" dirty="0">
                <a:latin typeface="ABBvoice" panose="020D0603020503020204" pitchFamily="34" charset="0"/>
                <a:ea typeface="ABBvoice" panose="020D0603020503020204" pitchFamily="34" charset="0"/>
                <a:cs typeface="ABBvoice" panose="020D0603020503020204" pitchFamily="34" charset="0"/>
              </a:rPr>
              <a:t>manufacturing &amp; assembly facility</a:t>
            </a:r>
          </a:p>
          <a:p>
            <a:r>
              <a:rPr lang="en-US" sz="1100" dirty="0">
                <a:latin typeface="ABBvoice" panose="020D0603020503020204" pitchFamily="34" charset="0"/>
                <a:ea typeface="ABBvoice" panose="020D0603020503020204" pitchFamily="34" charset="0"/>
                <a:cs typeface="ABBvoice" panose="020D0603020503020204" pitchFamily="34" charset="0"/>
              </a:rPr>
              <a:t>4 sales &amp; service locations</a:t>
            </a:r>
          </a:p>
          <a:p>
            <a:r>
              <a:rPr lang="en-US" sz="1100" dirty="0">
                <a:latin typeface="ABBvoice" panose="020D0603020503020204" pitchFamily="34" charset="0"/>
                <a:ea typeface="ABBvoice" panose="020D0603020503020204" pitchFamily="34" charset="0"/>
                <a:cs typeface="ABBvoice" panose="020D0603020503020204" pitchFamily="34" charset="0"/>
              </a:rPr>
              <a:t>3 distribution centers</a:t>
            </a:r>
          </a:p>
          <a:p>
            <a:endParaRPr lang="en-US" sz="1050" dirty="0">
              <a:latin typeface="ABBvoice" panose="020D0603020503020204" pitchFamily="34" charset="0"/>
              <a:ea typeface="ABBvoice" panose="020D0603020503020204" pitchFamily="34" charset="0"/>
              <a:cs typeface="ABBvoice" panose="020D0603020503020204" pitchFamily="34" charset="0"/>
            </a:endParaRPr>
          </a:p>
        </p:txBody>
      </p:sp>
      <p:sp>
        <p:nvSpPr>
          <p:cNvPr id="3518" name="Text Placeholder 3">
            <a:extLst>
              <a:ext uri="{FF2B5EF4-FFF2-40B4-BE49-F238E27FC236}">
                <a16:creationId xmlns:a16="http://schemas.microsoft.com/office/drawing/2014/main" id="{6F1E0DA6-4FA9-779D-80A6-6E6CBD06D491}"/>
              </a:ext>
            </a:extLst>
          </p:cNvPr>
          <p:cNvSpPr txBox="1">
            <a:spLocks/>
          </p:cNvSpPr>
          <p:nvPr/>
        </p:nvSpPr>
        <p:spPr>
          <a:xfrm>
            <a:off x="3157893" y="3066459"/>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Nova Scotia</a:t>
            </a:r>
            <a:br>
              <a:rPr lang="en-US" b="1" dirty="0">
                <a:solidFill>
                  <a:schemeClr val="bg2"/>
                </a:solidFill>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1 sales &amp; service location</a:t>
            </a:r>
            <a:endParaRPr lang="en-US" sz="1050" dirty="0">
              <a:latin typeface="ABBvoice" panose="020D0603020503020204" pitchFamily="34" charset="0"/>
              <a:ea typeface="ABBvoice" panose="020D0603020503020204" pitchFamily="34" charset="0"/>
              <a:cs typeface="ABBvoice" panose="020D0603020503020204" pitchFamily="34" charset="0"/>
            </a:endParaRPr>
          </a:p>
        </p:txBody>
      </p:sp>
      <p:sp>
        <p:nvSpPr>
          <p:cNvPr id="3519" name="Text Placeholder 3">
            <a:extLst>
              <a:ext uri="{FF2B5EF4-FFF2-40B4-BE49-F238E27FC236}">
                <a16:creationId xmlns:a16="http://schemas.microsoft.com/office/drawing/2014/main" id="{328B6CAC-4B9E-99C5-56FE-30DF83A95720}"/>
              </a:ext>
            </a:extLst>
          </p:cNvPr>
          <p:cNvSpPr txBox="1">
            <a:spLocks/>
          </p:cNvSpPr>
          <p:nvPr/>
        </p:nvSpPr>
        <p:spPr>
          <a:xfrm>
            <a:off x="3157893" y="3833576"/>
            <a:ext cx="2518493" cy="669576"/>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r>
              <a:rPr lang="en-US" b="1" dirty="0">
                <a:solidFill>
                  <a:srgbClr val="FF0000"/>
                </a:solidFill>
                <a:latin typeface="ABBvoice" panose="020D0603020503020204" pitchFamily="34" charset="0"/>
                <a:ea typeface="ABBvoice" panose="020D0603020503020204" pitchFamily="34" charset="0"/>
                <a:cs typeface="ABBvoice" panose="020D0603020503020204" pitchFamily="34" charset="0"/>
              </a:rPr>
              <a:t>Newfoundland and Labrador</a:t>
            </a:r>
            <a:br>
              <a:rPr lang="en-US" b="1" dirty="0">
                <a:solidFill>
                  <a:schemeClr val="bg2"/>
                </a:solidFill>
                <a:latin typeface="ABBvoice" panose="020D0603020503020204" pitchFamily="34" charset="0"/>
                <a:ea typeface="ABBvoice" panose="020D0603020503020204" pitchFamily="34" charset="0"/>
                <a:cs typeface="ABBvoice" panose="020D0603020503020204" pitchFamily="34" charset="0"/>
              </a:rPr>
            </a:br>
            <a:r>
              <a:rPr lang="en-US" sz="1100" dirty="0">
                <a:latin typeface="ABBvoice" panose="020D0603020503020204" pitchFamily="34" charset="0"/>
                <a:ea typeface="ABBvoice" panose="020D0603020503020204" pitchFamily="34" charset="0"/>
                <a:cs typeface="ABBvoice" panose="020D0603020503020204" pitchFamily="34" charset="0"/>
              </a:rPr>
              <a:t>1 sales &amp; service location</a:t>
            </a:r>
            <a:endParaRPr lang="en-US" sz="1050" dirty="0">
              <a:latin typeface="ABBvoice" panose="020D0603020503020204" pitchFamily="34" charset="0"/>
              <a:ea typeface="ABBvoice" panose="020D0603020503020204" pitchFamily="34" charset="0"/>
              <a:cs typeface="ABBvoice" panose="020D0603020503020204" pitchFamily="34" charset="0"/>
            </a:endParaRPr>
          </a:p>
        </p:txBody>
      </p:sp>
      <p:sp>
        <p:nvSpPr>
          <p:cNvPr id="4" name="object 2">
            <a:extLst>
              <a:ext uri="{FF2B5EF4-FFF2-40B4-BE49-F238E27FC236}">
                <a16:creationId xmlns:a16="http://schemas.microsoft.com/office/drawing/2014/main" id="{A7379292-6A19-5C19-4711-DD476FC9A15A}"/>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Tree>
    <p:custDataLst>
      <p:custData r:id="rId1"/>
      <p:custData r:id="rId2"/>
    </p:custDataLst>
    <p:extLst>
      <p:ext uri="{BB962C8B-B14F-4D97-AF65-F5344CB8AC3E}">
        <p14:creationId xmlns:p14="http://schemas.microsoft.com/office/powerpoint/2010/main" val="16665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208CD94-214D-C269-B8D9-258D3DEED78E}"/>
              </a:ext>
            </a:extLst>
          </p:cNvPr>
          <p:cNvSpPr/>
          <p:nvPr/>
        </p:nvSpPr>
        <p:spPr bwMode="gray">
          <a:xfrm>
            <a:off x="0" y="-16934"/>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 name="Title 2">
            <a:extLst>
              <a:ext uri="{FF2B5EF4-FFF2-40B4-BE49-F238E27FC236}">
                <a16:creationId xmlns:a16="http://schemas.microsoft.com/office/drawing/2014/main" id="{FDAEB5F4-D346-4967-8C4B-E4E6C98CC097}"/>
              </a:ext>
            </a:extLst>
          </p:cNvPr>
          <p:cNvSpPr>
            <a:spLocks noGrp="1"/>
          </p:cNvSpPr>
          <p:nvPr>
            <p:ph type="title"/>
          </p:nvPr>
        </p:nvSpPr>
        <p:spPr>
          <a:xfrm>
            <a:off x="426401" y="682313"/>
            <a:ext cx="11520000" cy="396000"/>
          </a:xfrm>
        </p:spPr>
        <p:txBody>
          <a:bodyPr/>
          <a:lstStyle/>
          <a:p>
            <a:r>
              <a:rPr lang="en-US" sz="2800" noProof="0" dirty="0"/>
              <a:t>Fully decentralized business model with around 20 divisions</a:t>
            </a:r>
          </a:p>
        </p:txBody>
      </p:sp>
      <p:sp>
        <p:nvSpPr>
          <p:cNvPr id="4" name="Date Placeholder 3">
            <a:extLst>
              <a:ext uri="{FF2B5EF4-FFF2-40B4-BE49-F238E27FC236}">
                <a16:creationId xmlns:a16="http://schemas.microsoft.com/office/drawing/2014/main" id="{067FE808-58C8-4026-9A4F-263637688B48}"/>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March 4, 2021</a:t>
            </a:r>
          </a:p>
        </p:txBody>
      </p:sp>
      <p:sp>
        <p:nvSpPr>
          <p:cNvPr id="7" name="Subtitle 6">
            <a:extLst>
              <a:ext uri="{FF2B5EF4-FFF2-40B4-BE49-F238E27FC236}">
                <a16:creationId xmlns:a16="http://schemas.microsoft.com/office/drawing/2014/main" id="{27AF37CB-D426-4FE2-A42F-945963A77AD5}"/>
              </a:ext>
            </a:extLst>
          </p:cNvPr>
          <p:cNvSpPr>
            <a:spLocks noGrp="1"/>
          </p:cNvSpPr>
          <p:nvPr>
            <p:ph type="subTitle" idx="13"/>
          </p:nvPr>
        </p:nvSpPr>
        <p:spPr/>
        <p:txBody>
          <a:bodyPr/>
          <a:lstStyle/>
          <a:p>
            <a:r>
              <a:rPr lang="en-US" noProof="0"/>
              <a:t> </a:t>
            </a:r>
          </a:p>
        </p:txBody>
      </p:sp>
      <p:sp>
        <p:nvSpPr>
          <p:cNvPr id="5" name="Rectangle 4">
            <a:extLst>
              <a:ext uri="{FF2B5EF4-FFF2-40B4-BE49-F238E27FC236}">
                <a16:creationId xmlns:a16="http://schemas.microsoft.com/office/drawing/2014/main" id="{188C2B40-C944-4D42-931A-E84BA1314A9D}"/>
              </a:ext>
            </a:extLst>
          </p:cNvPr>
          <p:cNvSpPr/>
          <p:nvPr/>
        </p:nvSpPr>
        <p:spPr bwMode="gray">
          <a:xfrm>
            <a:off x="0" y="5943600"/>
            <a:ext cx="12192000" cy="9429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33" name="Text Placeholder 11">
            <a:extLst>
              <a:ext uri="{FF2B5EF4-FFF2-40B4-BE49-F238E27FC236}">
                <a16:creationId xmlns:a16="http://schemas.microsoft.com/office/drawing/2014/main" id="{978E76DB-3DED-44D5-AAA1-ABD0D2120321}"/>
              </a:ext>
            </a:extLst>
          </p:cNvPr>
          <p:cNvSpPr txBox="1">
            <a:spLocks/>
          </p:cNvSpPr>
          <p:nvPr/>
        </p:nvSpPr>
        <p:spPr bwMode="gray">
          <a:xfrm>
            <a:off x="329807" y="3754524"/>
            <a:ext cx="1129776" cy="229467"/>
          </a:xfrm>
          <a:prstGeom prst="rect">
            <a:avLst/>
          </a:prstGeom>
          <a:noFill/>
          <a:ln w="12700">
            <a:noFill/>
          </a:ln>
        </p:spPr>
        <p:txBody>
          <a:bodyPr vert="horz" lIns="0" tIns="0" rIns="0" bIns="0" rtlCol="0" anchor="t">
            <a:noAutofit/>
          </a:bodyPr>
          <a:lstStyle>
            <a:defPPr>
              <a:defRPr lang="en-US"/>
            </a:defPPr>
            <a:lvl1pPr marL="0" indent="0" algn="l" defTabSz="914400"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ts val="0"/>
              </a:spcBef>
              <a:buNone/>
              <a:defRPr sz="1600" b="1" kern="1200">
                <a:solidFill>
                  <a:schemeClr val="tx2"/>
                </a:solidFill>
                <a:latin typeface="+mn-lt"/>
                <a:ea typeface="+mn-ea"/>
                <a:cs typeface="+mn-cs"/>
              </a:defRPr>
            </a:lvl2pPr>
            <a:lvl3pPr marL="0" indent="0" algn="l" defTabSz="914400" rtl="0" eaLnBrk="1" latinLnBrk="0" hangingPunct="1">
              <a:spcBef>
                <a:spcPts val="0"/>
              </a:spcBef>
              <a:buNone/>
              <a:defRPr sz="1600" b="1" kern="1200">
                <a:solidFill>
                  <a:schemeClr val="tx2"/>
                </a:solidFill>
                <a:latin typeface="+mn-lt"/>
                <a:ea typeface="+mn-ea"/>
                <a:cs typeface="+mn-cs"/>
              </a:defRPr>
            </a:lvl3pPr>
            <a:lvl4pPr marL="0" indent="0" algn="l" defTabSz="914400" rtl="0" eaLnBrk="1" latinLnBrk="0" hangingPunct="1">
              <a:spcBef>
                <a:spcPts val="0"/>
              </a:spcBef>
              <a:buNone/>
              <a:defRPr sz="1600" b="1" kern="1200">
                <a:solidFill>
                  <a:schemeClr val="tx2"/>
                </a:solidFill>
                <a:latin typeface="+mn-lt"/>
                <a:ea typeface="+mn-ea"/>
                <a:cs typeface="+mn-cs"/>
              </a:defRPr>
            </a:lvl4pPr>
            <a:lvl5pPr marL="0" indent="0" algn="l" defTabSz="914400" rtl="0" eaLnBrk="1" latinLnBrk="0" hangingPunct="1">
              <a:spcBef>
                <a:spcPts val="0"/>
              </a:spcBef>
              <a:buNone/>
              <a:defRPr sz="1600" b="1" kern="1200">
                <a:solidFill>
                  <a:schemeClr val="tx2"/>
                </a:solidFill>
                <a:latin typeface="+mn-lt"/>
                <a:ea typeface="+mn-ea"/>
                <a:cs typeface="+mn-cs"/>
              </a:defRPr>
            </a:lvl5pPr>
            <a:lvl6pPr marL="0" indent="0" algn="l" defTabSz="914400" rtl="0" eaLnBrk="1" latinLnBrk="0" hangingPunct="1">
              <a:spcBef>
                <a:spcPts val="0"/>
              </a:spcBef>
              <a:buNone/>
              <a:defRPr sz="1600" b="1" kern="1200">
                <a:solidFill>
                  <a:schemeClr val="tx2"/>
                </a:solidFill>
                <a:latin typeface="+mn-lt"/>
                <a:ea typeface="+mn-ea"/>
                <a:cs typeface="+mn-cs"/>
              </a:defRPr>
            </a:lvl6pPr>
            <a:lvl7pPr marL="0" indent="0" algn="l" defTabSz="914400" rtl="0" eaLnBrk="1" latinLnBrk="0" hangingPunct="1">
              <a:spcBef>
                <a:spcPts val="0"/>
              </a:spcBef>
              <a:buNone/>
              <a:defRPr sz="1600" b="1" kern="1200">
                <a:solidFill>
                  <a:schemeClr val="tx2"/>
                </a:solidFill>
                <a:latin typeface="+mn-lt"/>
                <a:ea typeface="+mn-ea"/>
                <a:cs typeface="+mn-cs"/>
              </a:defRPr>
            </a:lvl7pPr>
            <a:lvl8pPr marL="0" indent="0" algn="l" defTabSz="914400" rtl="0" eaLnBrk="1" latinLnBrk="0" hangingPunct="1">
              <a:spcBef>
                <a:spcPts val="0"/>
              </a:spcBef>
              <a:buNone/>
              <a:defRPr sz="1600" b="1" kern="1200">
                <a:solidFill>
                  <a:schemeClr val="tx2"/>
                </a:solidFill>
                <a:latin typeface="+mn-lt"/>
                <a:ea typeface="+mn-ea"/>
                <a:cs typeface="+mn-cs"/>
              </a:defRPr>
            </a:lvl8pPr>
            <a:lvl9pPr marL="0" indent="0" algn="l" defTabSz="914400" rtl="0" eaLnBrk="1" latinLnBrk="0" hangingPunct="1">
              <a:spcBef>
                <a:spcPts val="0"/>
              </a:spcBef>
              <a:buNone/>
              <a:defRPr sz="1600" b="1"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200" normalizeH="0" baseline="0" noProof="0">
                <a:ln>
                  <a:noFill/>
                </a:ln>
                <a:solidFill>
                  <a:srgbClr val="D90000"/>
                </a:solidFill>
                <a:effectLst/>
                <a:uLnTx/>
                <a:uFillTx/>
                <a:latin typeface="ABBvoice"/>
                <a:ea typeface="ABBvoice Light" panose="020D0403020503020204" pitchFamily="34" charset="0"/>
                <a:cs typeface="ABBvoice Light" panose="020D0403020503020204" pitchFamily="34" charset="0"/>
              </a:rPr>
              <a:t>DIVISION</a:t>
            </a:r>
          </a:p>
        </p:txBody>
      </p:sp>
      <p:sp>
        <p:nvSpPr>
          <p:cNvPr id="34" name="Text Placeholder 11">
            <a:extLst>
              <a:ext uri="{FF2B5EF4-FFF2-40B4-BE49-F238E27FC236}">
                <a16:creationId xmlns:a16="http://schemas.microsoft.com/office/drawing/2014/main" id="{31CDD180-BECB-4F79-80C6-2C4B4A09B5F2}"/>
              </a:ext>
            </a:extLst>
          </p:cNvPr>
          <p:cNvSpPr txBox="1">
            <a:spLocks/>
          </p:cNvSpPr>
          <p:nvPr/>
        </p:nvSpPr>
        <p:spPr bwMode="gray">
          <a:xfrm>
            <a:off x="329807" y="2024516"/>
            <a:ext cx="1309722" cy="396000"/>
          </a:xfrm>
          <a:prstGeom prst="rect">
            <a:avLst/>
          </a:prstGeom>
          <a:noFill/>
          <a:ln w="12700">
            <a:noFill/>
          </a:ln>
        </p:spPr>
        <p:txBody>
          <a:bodyPr vert="horz" lIns="0" tIns="0" rIns="0" bIns="0" rtlCol="0" anchor="t">
            <a:noAutofit/>
          </a:bodyPr>
          <a:lstStyle>
            <a:defPPr>
              <a:defRPr lang="en-US"/>
            </a:defPPr>
            <a:lvl1pPr marL="0" indent="0" algn="l" defTabSz="914400" rtl="0" eaLnBrk="1" latinLnBrk="0" hangingPunct="1">
              <a:spcBef>
                <a:spcPts val="0"/>
              </a:spcBef>
              <a:buFont typeface="Arial" panose="020B0604020202020204" pitchFamily="34" charset="0"/>
              <a:buNone/>
              <a:defRPr sz="1600" b="1" kern="1200">
                <a:solidFill>
                  <a:schemeClr val="tx2"/>
                </a:solidFill>
                <a:latin typeface="+mn-lt"/>
                <a:ea typeface="+mn-ea"/>
                <a:cs typeface="+mn-cs"/>
              </a:defRPr>
            </a:lvl1pPr>
            <a:lvl2pPr marL="0" indent="0" algn="l" defTabSz="914400" rtl="0" eaLnBrk="1" latinLnBrk="0" hangingPunct="1">
              <a:spcBef>
                <a:spcPts val="0"/>
              </a:spcBef>
              <a:buNone/>
              <a:defRPr sz="1600" b="1" kern="1200">
                <a:solidFill>
                  <a:schemeClr val="tx2"/>
                </a:solidFill>
                <a:latin typeface="+mn-lt"/>
                <a:ea typeface="+mn-ea"/>
                <a:cs typeface="+mn-cs"/>
              </a:defRPr>
            </a:lvl2pPr>
            <a:lvl3pPr marL="0" indent="0" algn="l" defTabSz="914400" rtl="0" eaLnBrk="1" latinLnBrk="0" hangingPunct="1">
              <a:spcBef>
                <a:spcPts val="0"/>
              </a:spcBef>
              <a:buNone/>
              <a:defRPr sz="1600" b="1" kern="1200">
                <a:solidFill>
                  <a:schemeClr val="tx2"/>
                </a:solidFill>
                <a:latin typeface="+mn-lt"/>
                <a:ea typeface="+mn-ea"/>
                <a:cs typeface="+mn-cs"/>
              </a:defRPr>
            </a:lvl3pPr>
            <a:lvl4pPr marL="0" indent="0" algn="l" defTabSz="914400" rtl="0" eaLnBrk="1" latinLnBrk="0" hangingPunct="1">
              <a:spcBef>
                <a:spcPts val="0"/>
              </a:spcBef>
              <a:buNone/>
              <a:defRPr sz="1600" b="1" kern="1200">
                <a:solidFill>
                  <a:schemeClr val="tx2"/>
                </a:solidFill>
                <a:latin typeface="+mn-lt"/>
                <a:ea typeface="+mn-ea"/>
                <a:cs typeface="+mn-cs"/>
              </a:defRPr>
            </a:lvl4pPr>
            <a:lvl5pPr marL="0" indent="0" algn="l" defTabSz="914400" rtl="0" eaLnBrk="1" latinLnBrk="0" hangingPunct="1">
              <a:spcBef>
                <a:spcPts val="0"/>
              </a:spcBef>
              <a:buNone/>
              <a:defRPr sz="1600" b="1" kern="1200">
                <a:solidFill>
                  <a:schemeClr val="tx2"/>
                </a:solidFill>
                <a:latin typeface="+mn-lt"/>
                <a:ea typeface="+mn-ea"/>
                <a:cs typeface="+mn-cs"/>
              </a:defRPr>
            </a:lvl5pPr>
            <a:lvl6pPr marL="0" indent="0" algn="l" defTabSz="914400" rtl="0" eaLnBrk="1" latinLnBrk="0" hangingPunct="1">
              <a:spcBef>
                <a:spcPts val="0"/>
              </a:spcBef>
              <a:buNone/>
              <a:defRPr sz="1600" b="1" kern="1200">
                <a:solidFill>
                  <a:schemeClr val="tx2"/>
                </a:solidFill>
                <a:latin typeface="+mn-lt"/>
                <a:ea typeface="+mn-ea"/>
                <a:cs typeface="+mn-cs"/>
              </a:defRPr>
            </a:lvl6pPr>
            <a:lvl7pPr marL="0" indent="0" algn="l" defTabSz="914400" rtl="0" eaLnBrk="1" latinLnBrk="0" hangingPunct="1">
              <a:spcBef>
                <a:spcPts val="0"/>
              </a:spcBef>
              <a:buNone/>
              <a:defRPr sz="1600" b="1" kern="1200">
                <a:solidFill>
                  <a:schemeClr val="tx2"/>
                </a:solidFill>
                <a:latin typeface="+mn-lt"/>
                <a:ea typeface="+mn-ea"/>
                <a:cs typeface="+mn-cs"/>
              </a:defRPr>
            </a:lvl7pPr>
            <a:lvl8pPr marL="0" indent="0" algn="l" defTabSz="914400" rtl="0" eaLnBrk="1" latinLnBrk="0" hangingPunct="1">
              <a:spcBef>
                <a:spcPts val="0"/>
              </a:spcBef>
              <a:buNone/>
              <a:defRPr sz="1600" b="1" kern="1200">
                <a:solidFill>
                  <a:schemeClr val="tx2"/>
                </a:solidFill>
                <a:latin typeface="+mn-lt"/>
                <a:ea typeface="+mn-ea"/>
                <a:cs typeface="+mn-cs"/>
              </a:defRPr>
            </a:lvl8pPr>
            <a:lvl9pPr marL="0" indent="0" algn="l" defTabSz="914400" rtl="0" eaLnBrk="1" latinLnBrk="0" hangingPunct="1">
              <a:spcBef>
                <a:spcPts val="0"/>
              </a:spcBef>
              <a:buNone/>
              <a:defRPr sz="1600" b="1" kern="1200">
                <a:solidFill>
                  <a:schemeClr val="tx2"/>
                </a:solidFill>
                <a:latin typeface="+mn-lt"/>
                <a:ea typeface="+mn-ea"/>
                <a:cs typeface="+mn-cs"/>
              </a:defRPr>
            </a:lvl9p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kumimoji="0" lang="en-US" sz="1400" b="1" i="0" u="none" strike="noStrike" kern="1200" cap="none" spc="200" normalizeH="0" baseline="0" noProof="0">
                <a:ln>
                  <a:noFill/>
                </a:ln>
                <a:solidFill>
                  <a:srgbClr val="000000"/>
                </a:solidFill>
                <a:effectLst/>
                <a:uLnTx/>
                <a:uFillTx/>
                <a:latin typeface="ABBvoice"/>
                <a:ea typeface="ABBvoice Light" panose="020D0403020503020204" pitchFamily="34" charset="0"/>
                <a:cs typeface="ABBvoice Light" panose="020D0403020503020204" pitchFamily="34" charset="0"/>
              </a:rPr>
              <a:t>BUSINESS AREA</a:t>
            </a:r>
          </a:p>
        </p:txBody>
      </p:sp>
      <p:grpSp>
        <p:nvGrpSpPr>
          <p:cNvPr id="31" name="Group 30">
            <a:extLst>
              <a:ext uri="{FF2B5EF4-FFF2-40B4-BE49-F238E27FC236}">
                <a16:creationId xmlns:a16="http://schemas.microsoft.com/office/drawing/2014/main" id="{A1525E6A-1FE1-4155-90EC-07DDA614DE47}"/>
              </a:ext>
            </a:extLst>
          </p:cNvPr>
          <p:cNvGrpSpPr/>
          <p:nvPr/>
        </p:nvGrpSpPr>
        <p:grpSpPr>
          <a:xfrm>
            <a:off x="6873414" y="1934103"/>
            <a:ext cx="2412000" cy="4705316"/>
            <a:chOff x="4300208" y="1934103"/>
            <a:chExt cx="2412000" cy="4705316"/>
          </a:xfrm>
        </p:grpSpPr>
        <p:sp>
          <p:nvSpPr>
            <p:cNvPr id="40" name="Rectangle 39">
              <a:extLst>
                <a:ext uri="{FF2B5EF4-FFF2-40B4-BE49-F238E27FC236}">
                  <a16:creationId xmlns:a16="http://schemas.microsoft.com/office/drawing/2014/main" id="{65B135C9-CFF9-44E2-8775-6988031ECBD4}"/>
                </a:ext>
              </a:extLst>
            </p:cNvPr>
            <p:cNvSpPr/>
            <p:nvPr/>
          </p:nvSpPr>
          <p:spPr bwMode="gray">
            <a:xfrm>
              <a:off x="4300208" y="1934103"/>
              <a:ext cx="2412000" cy="47053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17" name="Rektangel 16">
              <a:extLst>
                <a:ext uri="{FF2B5EF4-FFF2-40B4-BE49-F238E27FC236}">
                  <a16:creationId xmlns:a16="http://schemas.microsoft.com/office/drawing/2014/main" id="{2A5CB7CE-DA62-4178-8A87-2079FEB1B8DA}"/>
                </a:ext>
              </a:extLst>
            </p:cNvPr>
            <p:cNvSpPr/>
            <p:nvPr/>
          </p:nvSpPr>
          <p:spPr>
            <a:xfrm rot="5400000">
              <a:off x="5361543" y="2787518"/>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Energy Industries</a:t>
              </a:r>
            </a:p>
          </p:txBody>
        </p:sp>
        <p:sp>
          <p:nvSpPr>
            <p:cNvPr id="18" name="Rektangel 16">
              <a:extLst>
                <a:ext uri="{FF2B5EF4-FFF2-40B4-BE49-F238E27FC236}">
                  <a16:creationId xmlns:a16="http://schemas.microsoft.com/office/drawing/2014/main" id="{89E8A302-31DE-4AC2-86C4-F40D2D82436B}"/>
                </a:ext>
              </a:extLst>
            </p:cNvPr>
            <p:cNvSpPr/>
            <p:nvPr/>
          </p:nvSpPr>
          <p:spPr>
            <a:xfrm rot="5400000">
              <a:off x="5364093" y="3143622"/>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Process Industries</a:t>
              </a:r>
            </a:p>
          </p:txBody>
        </p:sp>
        <p:sp>
          <p:nvSpPr>
            <p:cNvPr id="19" name="Rektangel 16">
              <a:extLst>
                <a:ext uri="{FF2B5EF4-FFF2-40B4-BE49-F238E27FC236}">
                  <a16:creationId xmlns:a16="http://schemas.microsoft.com/office/drawing/2014/main" id="{A8E052D7-E164-4E48-8D13-9101A8D4B31D}"/>
                </a:ext>
              </a:extLst>
            </p:cNvPr>
            <p:cNvSpPr/>
            <p:nvPr/>
          </p:nvSpPr>
          <p:spPr>
            <a:xfrm rot="5400000">
              <a:off x="5361543" y="3499726"/>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Marine &amp; Ports</a:t>
              </a:r>
            </a:p>
          </p:txBody>
        </p:sp>
        <p:sp>
          <p:nvSpPr>
            <p:cNvPr id="21" name="Rektangel 16">
              <a:extLst>
                <a:ext uri="{FF2B5EF4-FFF2-40B4-BE49-F238E27FC236}">
                  <a16:creationId xmlns:a16="http://schemas.microsoft.com/office/drawing/2014/main" id="{8CC1C893-C747-4A5D-B27C-2A6DFC2ED093}"/>
                </a:ext>
              </a:extLst>
            </p:cNvPr>
            <p:cNvSpPr/>
            <p:nvPr/>
          </p:nvSpPr>
          <p:spPr>
            <a:xfrm rot="5400000">
              <a:off x="5365210" y="3859509"/>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Measurement &amp; Analytics</a:t>
              </a:r>
            </a:p>
          </p:txBody>
        </p:sp>
        <p:sp>
          <p:nvSpPr>
            <p:cNvPr id="36" name="Rektangel 8">
              <a:extLst>
                <a:ext uri="{FF2B5EF4-FFF2-40B4-BE49-F238E27FC236}">
                  <a16:creationId xmlns:a16="http://schemas.microsoft.com/office/drawing/2014/main" id="{EE301173-56D3-450B-A222-5D078764E649}"/>
                </a:ext>
              </a:extLst>
            </p:cNvPr>
            <p:cNvSpPr/>
            <p:nvPr/>
          </p:nvSpPr>
          <p:spPr>
            <a:xfrm>
              <a:off x="4417871" y="1948427"/>
              <a:ext cx="2176674" cy="54817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ABBvoice"/>
                  <a:ea typeface="ABBvoice Light" panose="020D0403020503020204" pitchFamily="34" charset="0"/>
                  <a:cs typeface="ABBvoice Light" panose="020D0403020503020204" pitchFamily="34" charset="0"/>
                </a:rPr>
                <a:t>Process Automation</a:t>
              </a:r>
            </a:p>
          </p:txBody>
        </p:sp>
      </p:grpSp>
      <p:sp>
        <p:nvSpPr>
          <p:cNvPr id="41" name="Rectangle 40">
            <a:extLst>
              <a:ext uri="{FF2B5EF4-FFF2-40B4-BE49-F238E27FC236}">
                <a16:creationId xmlns:a16="http://schemas.microsoft.com/office/drawing/2014/main" id="{ED4F7BAC-99D0-4870-9081-50A82A421915}"/>
              </a:ext>
            </a:extLst>
          </p:cNvPr>
          <p:cNvSpPr/>
          <p:nvPr/>
        </p:nvSpPr>
        <p:spPr bwMode="gray">
          <a:xfrm>
            <a:off x="4300208" y="1934103"/>
            <a:ext cx="2412000" cy="4705316"/>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2" name="Rektangel 16">
            <a:extLst>
              <a:ext uri="{FF2B5EF4-FFF2-40B4-BE49-F238E27FC236}">
                <a16:creationId xmlns:a16="http://schemas.microsoft.com/office/drawing/2014/main" id="{F2FC4018-0DC3-47FA-BE83-391D10B4FA43}"/>
              </a:ext>
            </a:extLst>
          </p:cNvPr>
          <p:cNvSpPr/>
          <p:nvPr/>
        </p:nvSpPr>
        <p:spPr>
          <a:xfrm rot="5400000">
            <a:off x="5357945" y="2787518"/>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IEC LV Motors</a:t>
            </a:r>
          </a:p>
        </p:txBody>
      </p:sp>
      <p:sp>
        <p:nvSpPr>
          <p:cNvPr id="23" name="Rektangel 16">
            <a:extLst>
              <a:ext uri="{FF2B5EF4-FFF2-40B4-BE49-F238E27FC236}">
                <a16:creationId xmlns:a16="http://schemas.microsoft.com/office/drawing/2014/main" id="{C0B95BAB-5E5D-4AEA-9FA5-0798F6FDD7BF}"/>
              </a:ext>
            </a:extLst>
          </p:cNvPr>
          <p:cNvSpPr/>
          <p:nvPr/>
        </p:nvSpPr>
        <p:spPr>
          <a:xfrm rot="5400000">
            <a:off x="5357945" y="3855830"/>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Drive Products</a:t>
            </a:r>
          </a:p>
        </p:txBody>
      </p:sp>
      <p:sp>
        <p:nvSpPr>
          <p:cNvPr id="24" name="Rektangel 16">
            <a:extLst>
              <a:ext uri="{FF2B5EF4-FFF2-40B4-BE49-F238E27FC236}">
                <a16:creationId xmlns:a16="http://schemas.microsoft.com/office/drawing/2014/main" id="{155D1B95-8F58-4AC8-98C4-6A526C4D2ECD}"/>
              </a:ext>
            </a:extLst>
          </p:cNvPr>
          <p:cNvSpPr/>
          <p:nvPr/>
        </p:nvSpPr>
        <p:spPr>
          <a:xfrm rot="5400000">
            <a:off x="5357945" y="4211934"/>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System Drives</a:t>
            </a:r>
          </a:p>
        </p:txBody>
      </p:sp>
      <p:sp>
        <p:nvSpPr>
          <p:cNvPr id="25" name="Rektangel 16">
            <a:extLst>
              <a:ext uri="{FF2B5EF4-FFF2-40B4-BE49-F238E27FC236}">
                <a16:creationId xmlns:a16="http://schemas.microsoft.com/office/drawing/2014/main" id="{1D9B17AC-1783-4067-8DE9-59566A7FB8D2}"/>
              </a:ext>
            </a:extLst>
          </p:cNvPr>
          <p:cNvSpPr/>
          <p:nvPr/>
        </p:nvSpPr>
        <p:spPr>
          <a:xfrm rot="5400000">
            <a:off x="5357945" y="4568038"/>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Motion Service</a:t>
            </a:r>
          </a:p>
        </p:txBody>
      </p:sp>
      <p:sp>
        <p:nvSpPr>
          <p:cNvPr id="26" name="Rektangel 16">
            <a:extLst>
              <a:ext uri="{FF2B5EF4-FFF2-40B4-BE49-F238E27FC236}">
                <a16:creationId xmlns:a16="http://schemas.microsoft.com/office/drawing/2014/main" id="{11789B2B-B691-4753-A1EA-488E0738FE24}"/>
              </a:ext>
            </a:extLst>
          </p:cNvPr>
          <p:cNvSpPr/>
          <p:nvPr/>
        </p:nvSpPr>
        <p:spPr>
          <a:xfrm rot="5400000">
            <a:off x="5357945" y="4924142"/>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Traction</a:t>
            </a:r>
          </a:p>
        </p:txBody>
      </p:sp>
      <p:sp>
        <p:nvSpPr>
          <p:cNvPr id="37" name="Rektangel 8">
            <a:extLst>
              <a:ext uri="{FF2B5EF4-FFF2-40B4-BE49-F238E27FC236}">
                <a16:creationId xmlns:a16="http://schemas.microsoft.com/office/drawing/2014/main" id="{3B39EAE7-1DEA-4A03-94F0-78E3F1B19566}"/>
              </a:ext>
            </a:extLst>
          </p:cNvPr>
          <p:cNvSpPr/>
          <p:nvPr/>
        </p:nvSpPr>
        <p:spPr>
          <a:xfrm>
            <a:off x="4418452" y="1948427"/>
            <a:ext cx="2175512" cy="54817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ABBvoice"/>
                <a:ea typeface="ABBvoice Light" panose="020D0403020503020204" pitchFamily="34" charset="0"/>
                <a:cs typeface="ABBvoice Light" panose="020D0403020503020204" pitchFamily="34" charset="0"/>
              </a:rPr>
              <a:t>Motion</a:t>
            </a:r>
          </a:p>
        </p:txBody>
      </p:sp>
      <p:sp>
        <p:nvSpPr>
          <p:cNvPr id="44" name="Rektangel 16">
            <a:extLst>
              <a:ext uri="{FF2B5EF4-FFF2-40B4-BE49-F238E27FC236}">
                <a16:creationId xmlns:a16="http://schemas.microsoft.com/office/drawing/2014/main" id="{9076549D-5E60-4E4F-B64F-CAAA595BA45D}"/>
              </a:ext>
            </a:extLst>
          </p:cNvPr>
          <p:cNvSpPr/>
          <p:nvPr/>
        </p:nvSpPr>
        <p:spPr>
          <a:xfrm rot="5400000">
            <a:off x="5357945" y="3143622"/>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Large Motors &amp; Generators</a:t>
            </a:r>
          </a:p>
        </p:txBody>
      </p:sp>
      <p:sp>
        <p:nvSpPr>
          <p:cNvPr id="45" name="Rektangel 16">
            <a:extLst>
              <a:ext uri="{FF2B5EF4-FFF2-40B4-BE49-F238E27FC236}">
                <a16:creationId xmlns:a16="http://schemas.microsoft.com/office/drawing/2014/main" id="{15EB91C4-4F32-47EF-B496-D51CEEF2BEA3}"/>
              </a:ext>
            </a:extLst>
          </p:cNvPr>
          <p:cNvSpPr/>
          <p:nvPr/>
        </p:nvSpPr>
        <p:spPr>
          <a:xfrm rot="5400000">
            <a:off x="5357945" y="3499726"/>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NEMA Motors</a:t>
            </a:r>
          </a:p>
        </p:txBody>
      </p:sp>
      <p:pic>
        <p:nvPicPr>
          <p:cNvPr id="52" name="Picture 51">
            <a:extLst>
              <a:ext uri="{FF2B5EF4-FFF2-40B4-BE49-F238E27FC236}">
                <a16:creationId xmlns:a16="http://schemas.microsoft.com/office/drawing/2014/main" id="{6F4F86D1-7EE8-4200-8C07-5CEC176EA601}"/>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4417871" y="2475145"/>
            <a:ext cx="2196548" cy="1129568"/>
          </a:xfrm>
          <a:prstGeom prst="rect">
            <a:avLst/>
          </a:prstGeom>
        </p:spPr>
      </p:pic>
      <p:grpSp>
        <p:nvGrpSpPr>
          <p:cNvPr id="55" name="Group 54">
            <a:extLst>
              <a:ext uri="{FF2B5EF4-FFF2-40B4-BE49-F238E27FC236}">
                <a16:creationId xmlns:a16="http://schemas.microsoft.com/office/drawing/2014/main" id="{691C6479-FD9E-4FA9-B5DE-31730A8E3102}"/>
              </a:ext>
            </a:extLst>
          </p:cNvPr>
          <p:cNvGrpSpPr/>
          <p:nvPr/>
        </p:nvGrpSpPr>
        <p:grpSpPr>
          <a:xfrm>
            <a:off x="9446620" y="1934103"/>
            <a:ext cx="2412000" cy="4704822"/>
            <a:chOff x="9446620" y="1934103"/>
            <a:chExt cx="2412000" cy="4704822"/>
          </a:xfrm>
        </p:grpSpPr>
        <p:sp>
          <p:nvSpPr>
            <p:cNvPr id="42" name="Rectangle 41">
              <a:extLst>
                <a:ext uri="{FF2B5EF4-FFF2-40B4-BE49-F238E27FC236}">
                  <a16:creationId xmlns:a16="http://schemas.microsoft.com/office/drawing/2014/main" id="{42EF2DC4-AC40-454E-BAAA-1704C27CA853}"/>
                </a:ext>
              </a:extLst>
            </p:cNvPr>
            <p:cNvSpPr/>
            <p:nvPr/>
          </p:nvSpPr>
          <p:spPr bwMode="gray">
            <a:xfrm>
              <a:off x="9446620" y="1934103"/>
              <a:ext cx="2412000" cy="470482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8" name="Rektangel 16">
              <a:extLst>
                <a:ext uri="{FF2B5EF4-FFF2-40B4-BE49-F238E27FC236}">
                  <a16:creationId xmlns:a16="http://schemas.microsoft.com/office/drawing/2014/main" id="{96AD559F-6A05-441A-B973-F39677A5A1BD}"/>
                </a:ext>
              </a:extLst>
            </p:cNvPr>
            <p:cNvSpPr/>
            <p:nvPr/>
          </p:nvSpPr>
          <p:spPr>
            <a:xfrm rot="5400000">
              <a:off x="10504357" y="2787518"/>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Robotics</a:t>
              </a:r>
            </a:p>
          </p:txBody>
        </p:sp>
        <p:sp>
          <p:nvSpPr>
            <p:cNvPr id="29" name="Rektangel 16">
              <a:extLst>
                <a:ext uri="{FF2B5EF4-FFF2-40B4-BE49-F238E27FC236}">
                  <a16:creationId xmlns:a16="http://schemas.microsoft.com/office/drawing/2014/main" id="{F3C3E2FB-7A74-42CD-8419-2E7D4B34B97C}"/>
                </a:ext>
              </a:extLst>
            </p:cNvPr>
            <p:cNvSpPr/>
            <p:nvPr/>
          </p:nvSpPr>
          <p:spPr>
            <a:xfrm rot="5400000">
              <a:off x="10504357" y="3143622"/>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Machine Automation</a:t>
              </a:r>
            </a:p>
          </p:txBody>
        </p:sp>
        <p:sp>
          <p:nvSpPr>
            <p:cNvPr id="39" name="Rektangel 10">
              <a:extLst>
                <a:ext uri="{FF2B5EF4-FFF2-40B4-BE49-F238E27FC236}">
                  <a16:creationId xmlns:a16="http://schemas.microsoft.com/office/drawing/2014/main" id="{88B40AAA-335C-4093-87E5-33FB58993F8E}"/>
                </a:ext>
              </a:extLst>
            </p:cNvPr>
            <p:cNvSpPr/>
            <p:nvPr/>
          </p:nvSpPr>
          <p:spPr>
            <a:xfrm>
              <a:off x="9556918" y="1948427"/>
              <a:ext cx="2191405" cy="54817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ABBvoice"/>
                  <a:ea typeface="ABBvoice Light" panose="020D0403020503020204" pitchFamily="34" charset="0"/>
                  <a:cs typeface="ABBvoice Light" panose="020D0403020503020204" pitchFamily="34" charset="0"/>
                </a:rPr>
                <a:t>Robotics &amp; </a:t>
              </a:r>
              <a:br>
                <a:rPr kumimoji="0" lang="sv-SE" sz="1400" b="1" i="0" u="none" strike="noStrike" kern="1200" cap="none" spc="0" normalizeH="0" baseline="0" noProof="0">
                  <a:ln>
                    <a:noFill/>
                  </a:ln>
                  <a:solidFill>
                    <a:srgbClr val="000000"/>
                  </a:solidFill>
                  <a:effectLst/>
                  <a:uLnTx/>
                  <a:uFillTx/>
                  <a:latin typeface="ABBvoice"/>
                  <a:ea typeface="ABBvoice Light" panose="020D0403020503020204" pitchFamily="34" charset="0"/>
                  <a:cs typeface="ABBvoice Light" panose="020D0403020503020204" pitchFamily="34" charset="0"/>
                </a:rPr>
              </a:br>
              <a:r>
                <a:rPr kumimoji="0" lang="sv-SE" sz="1400" b="1" i="0" u="none" strike="noStrike" kern="1200" cap="none" spc="0" normalizeH="0" baseline="0" noProof="0">
                  <a:ln>
                    <a:noFill/>
                  </a:ln>
                  <a:solidFill>
                    <a:srgbClr val="000000"/>
                  </a:solidFill>
                  <a:effectLst/>
                  <a:uLnTx/>
                  <a:uFillTx/>
                  <a:latin typeface="ABBvoice"/>
                  <a:ea typeface="ABBvoice Light" panose="020D0403020503020204" pitchFamily="34" charset="0"/>
                  <a:cs typeface="ABBvoice Light" panose="020D0403020503020204" pitchFamily="34" charset="0"/>
                </a:rPr>
                <a:t>Discrete Automation</a:t>
              </a:r>
            </a:p>
          </p:txBody>
        </p:sp>
        <p:pic>
          <p:nvPicPr>
            <p:cNvPr id="54" name="Picture 4">
              <a:extLst>
                <a:ext uri="{FF2B5EF4-FFF2-40B4-BE49-F238E27FC236}">
                  <a16:creationId xmlns:a16="http://schemas.microsoft.com/office/drawing/2014/main" id="{E77F7523-76D4-4689-AA22-57C18EE3DF0B}"/>
                </a:ext>
              </a:extLst>
            </p:cNvPr>
            <p:cNvPicPr>
              <a:picLocks noChangeAspect="1" noChangeArrowheads="1"/>
            </p:cNvPicPr>
            <p:nvPr/>
          </p:nvPicPr>
          <p:blipFill rotWithShape="1">
            <a:blip r:embed="rId3">
              <a:extLst>
                <a:ext uri="{28A0092B-C50C-407E-A947-70E740481C1C}">
                  <a14:useLocalDpi xmlns:a14="http://schemas.microsoft.com/office/drawing/2010/main"/>
                </a:ext>
              </a:extLst>
            </a:blip>
            <a:srcRect/>
            <a:stretch/>
          </p:blipFill>
          <p:spPr bwMode="auto">
            <a:xfrm>
              <a:off x="9549552" y="2475144"/>
              <a:ext cx="2191405" cy="1129569"/>
            </a:xfrm>
            <a:prstGeom prst="rect">
              <a:avLst/>
            </a:prstGeom>
            <a:noFill/>
            <a:extLst>
              <a:ext uri="{909E8E84-426E-40DD-AFC4-6F175D3DCCD1}">
                <a14:hiddenFill xmlns:a14="http://schemas.microsoft.com/office/drawing/2010/main">
                  <a:solidFill>
                    <a:srgbClr val="FFFFFF"/>
                  </a:solidFill>
                </a14:hiddenFill>
              </a:ext>
            </a:extLst>
          </p:spPr>
        </p:pic>
      </p:grpSp>
      <p:pic>
        <p:nvPicPr>
          <p:cNvPr id="47" name="Picture 19">
            <a:extLst>
              <a:ext uri="{FF2B5EF4-FFF2-40B4-BE49-F238E27FC236}">
                <a16:creationId xmlns:a16="http://schemas.microsoft.com/office/drawing/2014/main" id="{EF548D11-FD1B-44DA-8AF8-5C4818F47501}"/>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FD86A690-78FD-4655-99DD-30AECE40D244}"/>
              </a:ext>
            </a:extLst>
          </p:cNvPr>
          <p:cNvSpPr/>
          <p:nvPr/>
        </p:nvSpPr>
        <p:spPr bwMode="gray">
          <a:xfrm>
            <a:off x="1727002" y="1934103"/>
            <a:ext cx="2412000" cy="366460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12" name="Rektangel 16">
            <a:extLst>
              <a:ext uri="{FF2B5EF4-FFF2-40B4-BE49-F238E27FC236}">
                <a16:creationId xmlns:a16="http://schemas.microsoft.com/office/drawing/2014/main" id="{435694C9-A8D8-44F0-B1C3-4779E829C216}"/>
              </a:ext>
            </a:extLst>
          </p:cNvPr>
          <p:cNvSpPr/>
          <p:nvPr/>
        </p:nvSpPr>
        <p:spPr>
          <a:xfrm rot="5400000">
            <a:off x="2783988" y="2787519"/>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Distribution Solutions</a:t>
            </a:r>
          </a:p>
        </p:txBody>
      </p:sp>
      <p:sp>
        <p:nvSpPr>
          <p:cNvPr id="13" name="Rektangel 16">
            <a:extLst>
              <a:ext uri="{FF2B5EF4-FFF2-40B4-BE49-F238E27FC236}">
                <a16:creationId xmlns:a16="http://schemas.microsoft.com/office/drawing/2014/main" id="{FD665C16-D59F-4098-A384-7BE3EFD57927}"/>
              </a:ext>
            </a:extLst>
          </p:cNvPr>
          <p:cNvSpPr/>
          <p:nvPr/>
        </p:nvSpPr>
        <p:spPr>
          <a:xfrm rot="5400000">
            <a:off x="2783621" y="3143622"/>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Smart Power</a:t>
            </a:r>
          </a:p>
        </p:txBody>
      </p:sp>
      <p:sp>
        <p:nvSpPr>
          <p:cNvPr id="14" name="Rektangel 16">
            <a:extLst>
              <a:ext uri="{FF2B5EF4-FFF2-40B4-BE49-F238E27FC236}">
                <a16:creationId xmlns:a16="http://schemas.microsoft.com/office/drawing/2014/main" id="{569AAAFC-C817-4EFB-8BDD-04FA9B7CA535}"/>
              </a:ext>
            </a:extLst>
          </p:cNvPr>
          <p:cNvSpPr/>
          <p:nvPr/>
        </p:nvSpPr>
        <p:spPr>
          <a:xfrm rot="5400000">
            <a:off x="2781072" y="3499726"/>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Smart Buildings</a:t>
            </a:r>
          </a:p>
        </p:txBody>
      </p:sp>
      <p:sp>
        <p:nvSpPr>
          <p:cNvPr id="15" name="Rektangel 16">
            <a:extLst>
              <a:ext uri="{FF2B5EF4-FFF2-40B4-BE49-F238E27FC236}">
                <a16:creationId xmlns:a16="http://schemas.microsoft.com/office/drawing/2014/main" id="{D7747352-2512-47AD-8156-13BD602B3BE9}"/>
              </a:ext>
            </a:extLst>
          </p:cNvPr>
          <p:cNvSpPr/>
          <p:nvPr/>
        </p:nvSpPr>
        <p:spPr>
          <a:xfrm rot="5400000">
            <a:off x="2781072" y="3855830"/>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Installation Products</a:t>
            </a:r>
          </a:p>
        </p:txBody>
      </p:sp>
      <p:sp>
        <p:nvSpPr>
          <p:cNvPr id="38" name="Rektangel 8">
            <a:extLst>
              <a:ext uri="{FF2B5EF4-FFF2-40B4-BE49-F238E27FC236}">
                <a16:creationId xmlns:a16="http://schemas.microsoft.com/office/drawing/2014/main" id="{0C2242C9-ACC9-4C2F-A764-B8062899941F}"/>
              </a:ext>
            </a:extLst>
          </p:cNvPr>
          <p:cNvSpPr/>
          <p:nvPr/>
        </p:nvSpPr>
        <p:spPr>
          <a:xfrm>
            <a:off x="1848332" y="1948427"/>
            <a:ext cx="2169340" cy="548178"/>
          </a:xfrm>
          <a:prstGeom prst="rect">
            <a:avLst/>
          </a:prstGeom>
          <a:no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ABBvoice"/>
                <a:ea typeface="ABBvoice Light" panose="020D0403020503020204" pitchFamily="34" charset="0"/>
                <a:cs typeface="ABBvoice Light" panose="020D0403020503020204" pitchFamily="34" charset="0"/>
              </a:rPr>
              <a:t>Electrification</a:t>
            </a:r>
          </a:p>
        </p:txBody>
      </p:sp>
      <p:sp>
        <p:nvSpPr>
          <p:cNvPr id="43" name="Rektangel 16">
            <a:extLst>
              <a:ext uri="{FF2B5EF4-FFF2-40B4-BE49-F238E27FC236}">
                <a16:creationId xmlns:a16="http://schemas.microsoft.com/office/drawing/2014/main" id="{C6744AC0-E43C-4CC9-9B75-6D2A851B614F}"/>
              </a:ext>
            </a:extLst>
          </p:cNvPr>
          <p:cNvSpPr/>
          <p:nvPr/>
        </p:nvSpPr>
        <p:spPr>
          <a:xfrm rot="5400000">
            <a:off x="2776938" y="5131253"/>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E-mobility</a:t>
            </a:r>
            <a:r>
              <a:rPr kumimoji="0" lang="en-US" sz="1200" b="1" i="0" u="none" strike="noStrike" kern="1200" cap="none" spc="0" normalizeH="0" baseline="3000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1</a:t>
            </a:r>
          </a:p>
        </p:txBody>
      </p:sp>
      <p:pic>
        <p:nvPicPr>
          <p:cNvPr id="49" name="Picture 48">
            <a:extLst>
              <a:ext uri="{FF2B5EF4-FFF2-40B4-BE49-F238E27FC236}">
                <a16:creationId xmlns:a16="http://schemas.microsoft.com/office/drawing/2014/main" id="{A07B74B8-B96A-4E11-AB6D-2728855ED2BB}"/>
              </a:ext>
            </a:extLst>
          </p:cNvPr>
          <p:cNvPicPr>
            <a:picLocks noChangeAspect="1"/>
          </p:cNvPicPr>
          <p:nvPr/>
        </p:nvPicPr>
        <p:blipFill rotWithShape="1">
          <a:blip r:embed="rId5"/>
          <a:srcRect t="19350" r="7936" b="16642"/>
          <a:stretch/>
        </p:blipFill>
        <p:spPr>
          <a:xfrm>
            <a:off x="1847751" y="2475144"/>
            <a:ext cx="2166204" cy="1129568"/>
          </a:xfrm>
          <a:prstGeom prst="rect">
            <a:avLst/>
          </a:prstGeom>
        </p:spPr>
      </p:pic>
      <p:sp>
        <p:nvSpPr>
          <p:cNvPr id="46" name="Rektangel 16">
            <a:extLst>
              <a:ext uri="{FF2B5EF4-FFF2-40B4-BE49-F238E27FC236}">
                <a16:creationId xmlns:a16="http://schemas.microsoft.com/office/drawing/2014/main" id="{A667AC75-AD0C-475C-8EFA-BABB19951D73}"/>
              </a:ext>
            </a:extLst>
          </p:cNvPr>
          <p:cNvSpPr/>
          <p:nvPr/>
        </p:nvSpPr>
        <p:spPr>
          <a:xfrm rot="5400000">
            <a:off x="2776938" y="4208037"/>
            <a:ext cx="298800" cy="2174400"/>
          </a:xfrm>
          <a:prstGeom prst="rect">
            <a:avLst/>
          </a:prstGeom>
          <a:solidFill>
            <a:schemeClr val="bg1"/>
          </a:solidFill>
          <a:ln w="19050">
            <a:solidFill>
              <a:schemeClr val="accent4"/>
            </a:solidFill>
          </a:ln>
          <a:effectLst/>
        </p:spPr>
        <p:style>
          <a:lnRef idx="2">
            <a:schemeClr val="accent1">
              <a:shade val="50000"/>
            </a:schemeClr>
          </a:lnRef>
          <a:fillRef idx="1">
            <a:schemeClr val="accent1"/>
          </a:fillRef>
          <a:effectRef idx="0">
            <a:schemeClr val="accent1"/>
          </a:effectRef>
          <a:fontRef idx="minor">
            <a:schemeClr val="lt1"/>
          </a:fontRef>
        </p:style>
        <p:txBody>
          <a:bodyPr vert="vert270" lIns="0" tIns="0" rIns="0" bIns="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rPr>
              <a:t>Service</a:t>
            </a:r>
            <a:endParaRPr kumimoji="0" lang="en-US" sz="1200" b="1" i="0" u="none" strike="noStrike" kern="1200" cap="none" spc="0" normalizeH="0" baseline="30000" noProof="0">
              <a:ln>
                <a:noFill/>
              </a:ln>
              <a:solidFill>
                <a:srgbClr val="D90000"/>
              </a:solidFill>
              <a:effectLst/>
              <a:uLnTx/>
              <a:uFillTx/>
              <a:latin typeface="ABBvoice" panose="020D0603020503020204" pitchFamily="34" charset="0"/>
              <a:ea typeface="ABBvoice" panose="020D0603020503020204" pitchFamily="34" charset="0"/>
              <a:cs typeface="ABBvoice" panose="020D0603020503020204" pitchFamily="34" charset="0"/>
            </a:endParaRPr>
          </a:p>
        </p:txBody>
      </p:sp>
      <p:pic>
        <p:nvPicPr>
          <p:cNvPr id="9" name="Imagen 8">
            <a:extLst>
              <a:ext uri="{FF2B5EF4-FFF2-40B4-BE49-F238E27FC236}">
                <a16:creationId xmlns:a16="http://schemas.microsoft.com/office/drawing/2014/main" id="{87FAE0CB-0167-466A-9888-AFEE4A1B748E}"/>
              </a:ext>
            </a:extLst>
          </p:cNvPr>
          <p:cNvPicPr>
            <a:picLocks noChangeAspect="1"/>
          </p:cNvPicPr>
          <p:nvPr/>
        </p:nvPicPr>
        <p:blipFill rotWithShape="1">
          <a:blip r:embed="rId6"/>
          <a:srcRect b="7878"/>
          <a:stretch/>
        </p:blipFill>
        <p:spPr>
          <a:xfrm>
            <a:off x="7000616" y="2471990"/>
            <a:ext cx="2174400" cy="1128198"/>
          </a:xfrm>
          <a:prstGeom prst="rect">
            <a:avLst/>
          </a:prstGeom>
        </p:spPr>
      </p:pic>
      <p:sp>
        <p:nvSpPr>
          <p:cNvPr id="48" name="Title 1">
            <a:extLst>
              <a:ext uri="{FF2B5EF4-FFF2-40B4-BE49-F238E27FC236}">
                <a16:creationId xmlns:a16="http://schemas.microsoft.com/office/drawing/2014/main" id="{5DCDE250-743E-443A-9FDE-428573E15B7C}"/>
              </a:ext>
            </a:extLst>
          </p:cNvPr>
          <p:cNvSpPr txBox="1">
            <a:spLocks/>
          </p:cNvSpPr>
          <p:nvPr/>
        </p:nvSpPr>
        <p:spPr bwMode="gray">
          <a:xfrm>
            <a:off x="333264" y="6533034"/>
            <a:ext cx="8952150" cy="245315"/>
          </a:xfrm>
          <a:prstGeom prst="rect">
            <a:avLst/>
          </a:prstGeom>
        </p:spPr>
        <p:txBody>
          <a:bodyPr vert="horz" lIns="0" tIns="0" rIns="0" bIns="0" rtlCol="0" anchor="b">
            <a:noAutofit/>
          </a:bodyPr>
          <a:lstStyle>
            <a:lvl1pPr algn="l" defTabSz="914491" rtl="0" eaLnBrk="1" latinLnBrk="0" hangingPunct="1">
              <a:spcBef>
                <a:spcPct val="0"/>
              </a:spcBef>
              <a:buNone/>
              <a:defRPr sz="3200" b="1" kern="1200">
                <a:solidFill>
                  <a:schemeClr val="bg1"/>
                </a:solidFill>
                <a:latin typeface="+mj-lt"/>
                <a:ea typeface="+mj-ea"/>
                <a:cs typeface="+mj-cs"/>
              </a:defRPr>
            </a:lvl1pPr>
          </a:lstStyle>
          <a:p>
            <a:pPr marL="0" marR="0" lvl="0" indent="0" algn="l" defTabSz="914491" rtl="0" eaLnBrk="1" fontAlgn="auto" latinLnBrk="0" hangingPunct="1">
              <a:lnSpc>
                <a:spcPct val="100000"/>
              </a:lnSpc>
              <a:spcBef>
                <a:spcPct val="0"/>
              </a:spcBef>
              <a:spcAft>
                <a:spcPts val="0"/>
              </a:spcAft>
              <a:buClrTx/>
              <a:buSzTx/>
              <a:buFontTx/>
              <a:buNone/>
              <a:tabLst/>
              <a:defRPr/>
            </a:pPr>
            <a:r>
              <a:rPr kumimoji="0" lang="en-US" sz="800" b="0" i="0" u="none" strike="noStrike" kern="1200" cap="none" spc="0" normalizeH="0" baseline="0" noProof="0">
                <a:ln>
                  <a:noFill/>
                </a:ln>
                <a:solidFill>
                  <a:srgbClr val="FFFFFF">
                    <a:lumMod val="65000"/>
                  </a:srgbClr>
                </a:solidFill>
                <a:effectLst/>
                <a:uLnTx/>
                <a:uFillTx/>
                <a:latin typeface="ABBvoice"/>
                <a:ea typeface="ABBvoice"/>
                <a:cs typeface="ABBvoice"/>
              </a:rPr>
              <a:t>1. Reported as part of “Corporate and Other” as of Q1 2023.</a:t>
            </a:r>
          </a:p>
        </p:txBody>
      </p:sp>
      <p:sp>
        <p:nvSpPr>
          <p:cNvPr id="6" name="object 2">
            <a:extLst>
              <a:ext uri="{FF2B5EF4-FFF2-40B4-BE49-F238E27FC236}">
                <a16:creationId xmlns:a16="http://schemas.microsoft.com/office/drawing/2014/main" id="{F09624D9-CDF1-C358-E870-8168E709E75C}"/>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Tree>
    <p:extLst>
      <p:ext uri="{BB962C8B-B14F-4D97-AF65-F5344CB8AC3E}">
        <p14:creationId xmlns:p14="http://schemas.microsoft.com/office/powerpoint/2010/main" val="34506242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1149"/>
            <a:ext cx="2781300" cy="443070"/>
          </a:xfrm>
          <a:prstGeom prst="rect">
            <a:avLst/>
          </a:prstGeom>
        </p:spPr>
        <p:txBody>
          <a:bodyPr vert="horz" wrap="square" lIns="0" tIns="12065" rIns="0" bIns="0" rtlCol="0">
            <a:spAutoFit/>
          </a:bodyPr>
          <a:lstStyle/>
          <a:p>
            <a:pPr>
              <a:lnSpc>
                <a:spcPct val="100000"/>
              </a:lnSpc>
              <a:spcBef>
                <a:spcPts val="95"/>
              </a:spcBef>
            </a:pPr>
            <a:r>
              <a:rPr sz="2800" b="1" spc="-10">
                <a:latin typeface="ABBvoice"/>
                <a:cs typeface="ABBvoice"/>
              </a:rPr>
              <a:t>Electrification</a:t>
            </a:r>
          </a:p>
        </p:txBody>
      </p:sp>
      <p:pic>
        <p:nvPicPr>
          <p:cNvPr id="4" name="object 4"/>
          <p:cNvPicPr/>
          <p:nvPr/>
        </p:nvPicPr>
        <p:blipFill>
          <a:blip r:embed="rId2" cstate="print"/>
          <a:stretch>
            <a:fillRect/>
          </a:stretch>
        </p:blipFill>
        <p:spPr>
          <a:xfrm>
            <a:off x="6096000" y="0"/>
            <a:ext cx="6092952" cy="6857998"/>
          </a:xfrm>
          <a:prstGeom prst="rect">
            <a:avLst/>
          </a:prstGeom>
        </p:spPr>
      </p:pic>
      <p:sp>
        <p:nvSpPr>
          <p:cNvPr id="5" name="object 5"/>
          <p:cNvSpPr txBox="1"/>
          <p:nvPr/>
        </p:nvSpPr>
        <p:spPr>
          <a:xfrm>
            <a:off x="404266" y="1520139"/>
            <a:ext cx="5222875" cy="1540510"/>
          </a:xfrm>
          <a:prstGeom prst="rect">
            <a:avLst/>
          </a:prstGeom>
        </p:spPr>
        <p:txBody>
          <a:bodyPr vert="horz" wrap="square" lIns="0" tIns="12700" rIns="0" bIns="0" rtlCol="0">
            <a:spAutoFit/>
          </a:bodyPr>
          <a:lstStyle/>
          <a:p>
            <a:pPr marL="12700">
              <a:lnSpc>
                <a:spcPct val="100000"/>
              </a:lnSpc>
              <a:spcBef>
                <a:spcPts val="100"/>
              </a:spcBef>
            </a:pPr>
            <a:r>
              <a:rPr sz="1800" b="1" dirty="0">
                <a:latin typeface="ABBvoice"/>
                <a:cs typeface="ABBvoice"/>
              </a:rPr>
              <a:t>Writing</a:t>
            </a:r>
            <a:r>
              <a:rPr sz="1800" b="1" spc="-15" dirty="0">
                <a:latin typeface="ABBvoice"/>
                <a:cs typeface="ABBvoice"/>
              </a:rPr>
              <a:t> </a:t>
            </a:r>
            <a:r>
              <a:rPr sz="1800" b="1" dirty="0">
                <a:latin typeface="ABBvoice"/>
                <a:cs typeface="ABBvoice"/>
              </a:rPr>
              <a:t>the</a:t>
            </a:r>
            <a:r>
              <a:rPr sz="1800" b="1" spc="-25" dirty="0">
                <a:latin typeface="ABBvoice"/>
                <a:cs typeface="ABBvoice"/>
              </a:rPr>
              <a:t> </a:t>
            </a:r>
            <a:r>
              <a:rPr sz="1800" b="1" dirty="0">
                <a:latin typeface="ABBvoice"/>
                <a:cs typeface="ABBvoice"/>
              </a:rPr>
              <a:t>future</a:t>
            </a:r>
            <a:r>
              <a:rPr sz="1800" b="1" spc="-25" dirty="0">
                <a:latin typeface="ABBvoice"/>
                <a:cs typeface="ABBvoice"/>
              </a:rPr>
              <a:t> </a:t>
            </a:r>
            <a:r>
              <a:rPr sz="1800" b="1" dirty="0">
                <a:latin typeface="ABBvoice"/>
                <a:cs typeface="ABBvoice"/>
              </a:rPr>
              <a:t>of</a:t>
            </a:r>
            <a:r>
              <a:rPr sz="1800" b="1" spc="-20" dirty="0">
                <a:latin typeface="ABBvoice"/>
                <a:cs typeface="ABBvoice"/>
              </a:rPr>
              <a:t> </a:t>
            </a:r>
            <a:r>
              <a:rPr sz="1800" b="1" dirty="0">
                <a:latin typeface="ABBvoice"/>
                <a:cs typeface="ABBvoice"/>
              </a:rPr>
              <a:t>safe,</a:t>
            </a:r>
            <a:r>
              <a:rPr sz="1800" b="1" spc="-15" dirty="0">
                <a:latin typeface="ABBvoice"/>
                <a:cs typeface="ABBvoice"/>
              </a:rPr>
              <a:t> </a:t>
            </a:r>
            <a:r>
              <a:rPr sz="1800" b="1" dirty="0">
                <a:latin typeface="ABBvoice"/>
                <a:cs typeface="ABBvoice"/>
              </a:rPr>
              <a:t>smart</a:t>
            </a:r>
            <a:r>
              <a:rPr sz="1800" b="1" spc="-5" dirty="0">
                <a:latin typeface="ABBvoice"/>
                <a:cs typeface="ABBvoice"/>
              </a:rPr>
              <a:t> </a:t>
            </a:r>
            <a:r>
              <a:rPr sz="1800" b="1" spc="-25" dirty="0">
                <a:latin typeface="ABBvoice"/>
                <a:cs typeface="ABBvoice"/>
              </a:rPr>
              <a:t>and</a:t>
            </a:r>
            <a:endParaRPr sz="1800" dirty="0">
              <a:latin typeface="ABBvoice"/>
              <a:cs typeface="ABBvoice"/>
            </a:endParaRPr>
          </a:p>
          <a:p>
            <a:pPr marL="12700">
              <a:lnSpc>
                <a:spcPct val="100000"/>
              </a:lnSpc>
              <a:spcBef>
                <a:spcPts val="5"/>
              </a:spcBef>
            </a:pPr>
            <a:r>
              <a:rPr sz="1800" b="1" dirty="0">
                <a:latin typeface="ABBvoice"/>
                <a:cs typeface="ABBvoice"/>
              </a:rPr>
              <a:t>sustainable </a:t>
            </a:r>
            <a:r>
              <a:rPr sz="1800" b="1" spc="-10" dirty="0">
                <a:latin typeface="ABBvoice"/>
                <a:cs typeface="ABBvoice"/>
              </a:rPr>
              <a:t>electrification.</a:t>
            </a:r>
            <a:endParaRPr sz="1800" dirty="0">
              <a:latin typeface="ABBvoice"/>
              <a:cs typeface="ABBvoice"/>
            </a:endParaRPr>
          </a:p>
          <a:p>
            <a:pPr>
              <a:lnSpc>
                <a:spcPct val="100000"/>
              </a:lnSpc>
              <a:spcBef>
                <a:spcPts val="15"/>
              </a:spcBef>
            </a:pPr>
            <a:endParaRPr sz="2000" dirty="0">
              <a:latin typeface="ABBvoice"/>
              <a:cs typeface="ABBvoice"/>
            </a:endParaRPr>
          </a:p>
          <a:p>
            <a:pPr marL="12700" marR="5080">
              <a:lnSpc>
                <a:spcPct val="100000"/>
              </a:lnSpc>
              <a:spcBef>
                <a:spcPts val="5"/>
              </a:spcBef>
            </a:pPr>
            <a:r>
              <a:rPr sz="1400" dirty="0">
                <a:latin typeface="ABBvoice"/>
                <a:cs typeface="ABBvoice"/>
              </a:rPr>
              <a:t>ABB's</a:t>
            </a:r>
            <a:r>
              <a:rPr sz="1400" spc="-35" dirty="0">
                <a:latin typeface="ABBvoice"/>
                <a:cs typeface="ABBvoice"/>
              </a:rPr>
              <a:t> </a:t>
            </a:r>
            <a:r>
              <a:rPr sz="1400" dirty="0">
                <a:latin typeface="ABBvoice"/>
                <a:cs typeface="ABBvoice"/>
              </a:rPr>
              <a:t>Electrification</a:t>
            </a:r>
            <a:r>
              <a:rPr sz="1400" spc="5" dirty="0">
                <a:latin typeface="ABBvoice"/>
                <a:cs typeface="ABBvoice"/>
              </a:rPr>
              <a:t> </a:t>
            </a:r>
            <a:r>
              <a:rPr sz="1400" dirty="0">
                <a:latin typeface="ABBvoice"/>
                <a:cs typeface="ABBvoice"/>
              </a:rPr>
              <a:t>business</a:t>
            </a:r>
            <a:r>
              <a:rPr sz="1400" spc="-20" dirty="0">
                <a:latin typeface="ABBvoice"/>
                <a:cs typeface="ABBvoice"/>
              </a:rPr>
              <a:t> </a:t>
            </a:r>
            <a:r>
              <a:rPr sz="1400" dirty="0">
                <a:latin typeface="ABBvoice"/>
                <a:cs typeface="ABBvoice"/>
              </a:rPr>
              <a:t>offers</a:t>
            </a:r>
            <a:r>
              <a:rPr sz="1400" spc="-55" dirty="0">
                <a:latin typeface="ABBvoice"/>
                <a:cs typeface="ABBvoice"/>
              </a:rPr>
              <a:t> </a:t>
            </a:r>
            <a:r>
              <a:rPr sz="1400" dirty="0">
                <a:latin typeface="ABBvoice"/>
                <a:cs typeface="ABBvoice"/>
              </a:rPr>
              <a:t>a</a:t>
            </a:r>
            <a:r>
              <a:rPr sz="1400" spc="-45" dirty="0">
                <a:latin typeface="ABBvoice"/>
                <a:cs typeface="ABBvoice"/>
              </a:rPr>
              <a:t> </a:t>
            </a:r>
            <a:r>
              <a:rPr sz="1400" spc="-20" dirty="0">
                <a:latin typeface="ABBvoice"/>
                <a:cs typeface="ABBvoice"/>
              </a:rPr>
              <a:t>wide-</a:t>
            </a:r>
            <a:r>
              <a:rPr sz="1400" dirty="0">
                <a:latin typeface="ABBvoice"/>
                <a:cs typeface="ABBvoice"/>
              </a:rPr>
              <a:t>ranging</a:t>
            </a:r>
            <a:r>
              <a:rPr sz="1400" spc="15" dirty="0">
                <a:latin typeface="ABBvoice"/>
                <a:cs typeface="ABBvoice"/>
              </a:rPr>
              <a:t> </a:t>
            </a:r>
            <a:r>
              <a:rPr sz="1400" spc="-10" dirty="0">
                <a:latin typeface="ABBvoice"/>
                <a:cs typeface="ABBvoice"/>
              </a:rPr>
              <a:t>portfolio </a:t>
            </a:r>
            <a:r>
              <a:rPr sz="1400" dirty="0">
                <a:latin typeface="ABBvoice"/>
                <a:cs typeface="ABBvoice"/>
              </a:rPr>
              <a:t>of</a:t>
            </a:r>
            <a:r>
              <a:rPr sz="1400" spc="-55" dirty="0">
                <a:latin typeface="ABBvoice"/>
                <a:cs typeface="ABBvoice"/>
              </a:rPr>
              <a:t> </a:t>
            </a:r>
            <a:r>
              <a:rPr sz="1400" dirty="0">
                <a:latin typeface="ABBvoice"/>
                <a:cs typeface="ABBvoice"/>
              </a:rPr>
              <a:t>products,</a:t>
            </a:r>
            <a:r>
              <a:rPr sz="1400" spc="-20" dirty="0">
                <a:latin typeface="ABBvoice"/>
                <a:cs typeface="ABBvoice"/>
              </a:rPr>
              <a:t> </a:t>
            </a:r>
            <a:r>
              <a:rPr sz="1400" dirty="0">
                <a:latin typeface="ABBvoice"/>
                <a:cs typeface="ABBvoice"/>
              </a:rPr>
              <a:t>digital</a:t>
            </a:r>
            <a:r>
              <a:rPr sz="1400" spc="-25" dirty="0">
                <a:latin typeface="ABBvoice"/>
                <a:cs typeface="ABBvoice"/>
              </a:rPr>
              <a:t> </a:t>
            </a:r>
            <a:r>
              <a:rPr sz="1400" dirty="0">
                <a:latin typeface="ABBvoice"/>
                <a:cs typeface="ABBvoice"/>
              </a:rPr>
              <a:t>solutions</a:t>
            </a:r>
            <a:r>
              <a:rPr sz="1400" spc="-20" dirty="0">
                <a:latin typeface="ABBvoice"/>
                <a:cs typeface="ABBvoice"/>
              </a:rPr>
              <a:t> </a:t>
            </a:r>
            <a:r>
              <a:rPr sz="1400" dirty="0">
                <a:latin typeface="ABBvoice"/>
                <a:cs typeface="ABBvoice"/>
              </a:rPr>
              <a:t>and</a:t>
            </a:r>
            <a:r>
              <a:rPr sz="1400" spc="-30" dirty="0">
                <a:latin typeface="ABBvoice"/>
                <a:cs typeface="ABBvoice"/>
              </a:rPr>
              <a:t> </a:t>
            </a:r>
            <a:r>
              <a:rPr sz="1400" dirty="0">
                <a:latin typeface="ABBvoice"/>
                <a:cs typeface="ABBvoice"/>
              </a:rPr>
              <a:t>services,</a:t>
            </a:r>
            <a:r>
              <a:rPr sz="1400" spc="-45" dirty="0">
                <a:latin typeface="ABBvoice"/>
                <a:cs typeface="ABBvoice"/>
              </a:rPr>
              <a:t> </a:t>
            </a:r>
            <a:r>
              <a:rPr sz="1400" dirty="0">
                <a:latin typeface="ABBvoice"/>
                <a:cs typeface="ABBvoice"/>
              </a:rPr>
              <a:t>from</a:t>
            </a:r>
            <a:r>
              <a:rPr sz="1400" spc="-70" dirty="0">
                <a:latin typeface="ABBvoice"/>
                <a:cs typeface="ABBvoice"/>
              </a:rPr>
              <a:t> </a:t>
            </a:r>
            <a:r>
              <a:rPr sz="1400" dirty="0">
                <a:latin typeface="ABBvoice"/>
                <a:cs typeface="ABBvoice"/>
              </a:rPr>
              <a:t>substation</a:t>
            </a:r>
            <a:r>
              <a:rPr sz="1400" spc="15" dirty="0">
                <a:latin typeface="ABBvoice"/>
                <a:cs typeface="ABBvoice"/>
              </a:rPr>
              <a:t> </a:t>
            </a:r>
            <a:r>
              <a:rPr sz="1400" spc="-25" dirty="0">
                <a:latin typeface="ABBvoice"/>
                <a:cs typeface="ABBvoice"/>
              </a:rPr>
              <a:t>to </a:t>
            </a:r>
            <a:r>
              <a:rPr sz="1400" dirty="0">
                <a:latin typeface="ABBvoice"/>
                <a:cs typeface="ABBvoice"/>
              </a:rPr>
              <a:t>socket,</a:t>
            </a:r>
            <a:r>
              <a:rPr sz="1400" spc="-55" dirty="0">
                <a:latin typeface="ABBvoice"/>
                <a:cs typeface="ABBvoice"/>
              </a:rPr>
              <a:t> </a:t>
            </a:r>
            <a:r>
              <a:rPr sz="1400" dirty="0">
                <a:latin typeface="ABBvoice"/>
                <a:cs typeface="ABBvoice"/>
              </a:rPr>
              <a:t>enabling</a:t>
            </a:r>
            <a:r>
              <a:rPr sz="1400" spc="-25" dirty="0">
                <a:latin typeface="ABBvoice"/>
                <a:cs typeface="ABBvoice"/>
              </a:rPr>
              <a:t> </a:t>
            </a:r>
            <a:r>
              <a:rPr sz="1400" dirty="0">
                <a:latin typeface="ABBvoice"/>
                <a:cs typeface="ABBvoice"/>
              </a:rPr>
              <a:t>safe,</a:t>
            </a:r>
            <a:r>
              <a:rPr sz="1400" spc="-50" dirty="0">
                <a:latin typeface="ABBvoice"/>
                <a:cs typeface="ABBvoice"/>
              </a:rPr>
              <a:t> </a:t>
            </a:r>
            <a:r>
              <a:rPr sz="1400" dirty="0">
                <a:latin typeface="ABBvoice"/>
                <a:cs typeface="ABBvoice"/>
              </a:rPr>
              <a:t>smart</a:t>
            </a:r>
            <a:r>
              <a:rPr sz="1400" spc="-20" dirty="0">
                <a:latin typeface="ABBvoice"/>
                <a:cs typeface="ABBvoice"/>
              </a:rPr>
              <a:t> </a:t>
            </a:r>
            <a:r>
              <a:rPr sz="1400" dirty="0">
                <a:latin typeface="ABBvoice"/>
                <a:cs typeface="ABBvoice"/>
              </a:rPr>
              <a:t>and</a:t>
            </a:r>
            <a:r>
              <a:rPr sz="1400" spc="-60" dirty="0">
                <a:latin typeface="ABBvoice"/>
                <a:cs typeface="ABBvoice"/>
              </a:rPr>
              <a:t> </a:t>
            </a:r>
            <a:r>
              <a:rPr sz="1400" dirty="0">
                <a:latin typeface="ABBvoice"/>
                <a:cs typeface="ABBvoice"/>
              </a:rPr>
              <a:t>sustainable</a:t>
            </a:r>
            <a:r>
              <a:rPr sz="1400" spc="20" dirty="0">
                <a:latin typeface="ABBvoice"/>
                <a:cs typeface="ABBvoice"/>
              </a:rPr>
              <a:t> </a:t>
            </a:r>
            <a:r>
              <a:rPr sz="1400" spc="-10" dirty="0">
                <a:latin typeface="ABBvoice"/>
                <a:cs typeface="ABBvoice"/>
              </a:rPr>
              <a:t>electrification.</a:t>
            </a:r>
            <a:endParaRPr sz="1400" dirty="0">
              <a:latin typeface="ABBvoice"/>
              <a:cs typeface="ABBvoice"/>
            </a:endParaRPr>
          </a:p>
        </p:txBody>
      </p:sp>
      <p:graphicFrame>
        <p:nvGraphicFramePr>
          <p:cNvPr id="6" name="object 6"/>
          <p:cNvGraphicFramePr>
            <a:graphicFrameLocks noGrp="1"/>
          </p:cNvGraphicFramePr>
          <p:nvPr>
            <p:extLst>
              <p:ext uri="{D42A27DB-BD31-4B8C-83A1-F6EECF244321}">
                <p14:modId xmlns:p14="http://schemas.microsoft.com/office/powerpoint/2010/main" val="823193592"/>
              </p:ext>
            </p:extLst>
          </p:nvPr>
        </p:nvGraphicFramePr>
        <p:xfrm>
          <a:off x="2006092" y="4448270"/>
          <a:ext cx="2552065" cy="1210310"/>
        </p:xfrm>
        <a:graphic>
          <a:graphicData uri="http://schemas.openxmlformats.org/drawingml/2006/table">
            <a:tbl>
              <a:tblPr firstRow="1" bandRow="1">
                <a:tableStyleId>{2D5ABB26-0587-4C30-8999-92F81FD0307C}</a:tableStyleId>
              </a:tblPr>
              <a:tblGrid>
                <a:gridCol w="2552065">
                  <a:extLst>
                    <a:ext uri="{9D8B030D-6E8A-4147-A177-3AD203B41FA5}">
                      <a16:colId xmlns:a16="http://schemas.microsoft.com/office/drawing/2014/main" val="20000"/>
                    </a:ext>
                  </a:extLst>
                </a:gridCol>
              </a:tblGrid>
              <a:tr h="594360">
                <a:tc>
                  <a:txBody>
                    <a:bodyPr/>
                    <a:lstStyle/>
                    <a:p>
                      <a:pPr marL="31750">
                        <a:lnSpc>
                          <a:spcPts val="1830"/>
                        </a:lnSpc>
                      </a:pPr>
                      <a:endParaRPr sz="2000" dirty="0">
                        <a:latin typeface="ABBvoice"/>
                        <a:cs typeface="ABBvoice"/>
                      </a:endParaRPr>
                    </a:p>
                  </a:txBody>
                  <a:tcPr marL="0" marR="0" marT="0" marB="0"/>
                </a:tc>
                <a:extLst>
                  <a:ext uri="{0D108BD9-81ED-4DB2-BD59-A6C34878D82A}">
                    <a16:rowId xmlns:a16="http://schemas.microsoft.com/office/drawing/2014/main" val="10000"/>
                  </a:ext>
                </a:extLst>
              </a:tr>
              <a:tr h="594360">
                <a:tc>
                  <a:txBody>
                    <a:bodyPr/>
                    <a:lstStyle/>
                    <a:p>
                      <a:pPr>
                        <a:lnSpc>
                          <a:spcPct val="100000"/>
                        </a:lnSpc>
                        <a:spcBef>
                          <a:spcPts val="50"/>
                        </a:spcBef>
                      </a:pPr>
                      <a:endParaRPr sz="2000" dirty="0">
                        <a:latin typeface="ABBvoice"/>
                        <a:cs typeface="Times New Roman"/>
                      </a:endParaRPr>
                    </a:p>
                    <a:p>
                      <a:pPr marL="31750">
                        <a:lnSpc>
                          <a:spcPct val="100000"/>
                        </a:lnSpc>
                        <a:tabLst>
                          <a:tab pos="1795780" algn="l"/>
                        </a:tabLst>
                      </a:pPr>
                      <a:r>
                        <a:rPr lang="en-US" sz="2000" b="1" spc="-10" dirty="0">
                          <a:latin typeface="ABBvoice"/>
                          <a:cs typeface="ABBvoice"/>
                        </a:rPr>
                        <a:t>Employees</a:t>
                      </a:r>
                      <a:r>
                        <a:rPr sz="2000" b="1" dirty="0">
                          <a:latin typeface="ABBvoice"/>
                          <a:cs typeface="ABBvoice"/>
                        </a:rPr>
                        <a:t>	</a:t>
                      </a:r>
                      <a:r>
                        <a:rPr lang="fr-CA" sz="2000" spc="-10" dirty="0">
                          <a:latin typeface="ABBvoice"/>
                          <a:cs typeface="ABBvoice"/>
                        </a:rPr>
                        <a:t>1970</a:t>
                      </a:r>
                      <a:endParaRPr sz="2000" dirty="0">
                        <a:latin typeface="ABBvoice"/>
                        <a:cs typeface="ABBvoice"/>
                      </a:endParaRPr>
                    </a:p>
                  </a:txBody>
                  <a:tcPr marL="0" marR="0" marT="6350" marB="0"/>
                </a:tc>
                <a:extLst>
                  <a:ext uri="{0D108BD9-81ED-4DB2-BD59-A6C34878D82A}">
                    <a16:rowId xmlns:a16="http://schemas.microsoft.com/office/drawing/2014/main" val="10001"/>
                  </a:ext>
                </a:extLst>
              </a:tr>
            </a:tbl>
          </a:graphicData>
        </a:graphic>
      </p:graphicFrame>
      <p:pic>
        <p:nvPicPr>
          <p:cNvPr id="8" name="object 8"/>
          <p:cNvPicPr/>
          <p:nvPr/>
        </p:nvPicPr>
        <p:blipFill>
          <a:blip r:embed="rId3" cstate="print"/>
          <a:stretch>
            <a:fillRect/>
          </a:stretch>
        </p:blipFill>
        <p:spPr>
          <a:xfrm>
            <a:off x="966216" y="5175796"/>
            <a:ext cx="685424" cy="535445"/>
          </a:xfrm>
          <a:prstGeom prst="rect">
            <a:avLst/>
          </a:prstGeom>
        </p:spPr>
      </p:pic>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4"/>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0800"/>
            <a:ext cx="11783873" cy="443070"/>
          </a:xfrm>
          <a:prstGeom prst="rect">
            <a:avLst/>
          </a:prstGeom>
        </p:spPr>
        <p:txBody>
          <a:bodyPr vert="horz" wrap="square" lIns="0" tIns="12065" rIns="0" bIns="0" rtlCol="0">
            <a:spAutoFit/>
          </a:bodyPr>
          <a:lstStyle/>
          <a:p>
            <a:pPr>
              <a:lnSpc>
                <a:spcPct val="100000"/>
              </a:lnSpc>
              <a:spcBef>
                <a:spcPts val="95"/>
              </a:spcBef>
            </a:pPr>
            <a:r>
              <a:rPr sz="2800" b="1" spc="-10" dirty="0">
                <a:latin typeface="ABBvoice"/>
                <a:cs typeface="ABBvoice"/>
              </a:rPr>
              <a:t>Electrification</a:t>
            </a:r>
            <a:r>
              <a:rPr sz="2800" b="1" spc="5" dirty="0">
                <a:latin typeface="ABBvoice"/>
                <a:cs typeface="ABBvoice"/>
              </a:rPr>
              <a:t> </a:t>
            </a:r>
            <a:r>
              <a:rPr sz="2800" b="1" dirty="0">
                <a:latin typeface="ABBvoice"/>
                <a:cs typeface="ABBvoice"/>
              </a:rPr>
              <a:t>in</a:t>
            </a:r>
            <a:r>
              <a:rPr sz="2800" b="1" spc="-60" dirty="0">
                <a:latin typeface="ABBvoice"/>
                <a:cs typeface="ABBvoice"/>
              </a:rPr>
              <a:t> </a:t>
            </a:r>
            <a:r>
              <a:rPr sz="2800" b="1" spc="-10" dirty="0">
                <a:latin typeface="ABBvoice"/>
                <a:cs typeface="ABBvoice"/>
              </a:rPr>
              <a:t>Canada</a:t>
            </a:r>
          </a:p>
        </p:txBody>
      </p:sp>
      <p:sp>
        <p:nvSpPr>
          <p:cNvPr id="4" name="object 4"/>
          <p:cNvSpPr/>
          <p:nvPr/>
        </p:nvSpPr>
        <p:spPr>
          <a:xfrm>
            <a:off x="4422647" y="2298192"/>
            <a:ext cx="7422515" cy="0"/>
          </a:xfrm>
          <a:custGeom>
            <a:avLst/>
            <a:gdLst/>
            <a:ahLst/>
            <a:cxnLst/>
            <a:rect l="l" t="t" r="r" b="b"/>
            <a:pathLst>
              <a:path w="7422515">
                <a:moveTo>
                  <a:pt x="0" y="0"/>
                </a:moveTo>
                <a:lnTo>
                  <a:pt x="7422260" y="0"/>
                </a:lnTo>
              </a:path>
            </a:pathLst>
          </a:custGeom>
          <a:ln w="12700">
            <a:solidFill>
              <a:srgbClr val="000000"/>
            </a:solidFill>
          </a:ln>
        </p:spPr>
        <p:txBody>
          <a:bodyPr wrap="square" lIns="0" tIns="0" rIns="0" bIns="0" rtlCol="0"/>
          <a:lstStyle/>
          <a:p>
            <a:endParaRPr/>
          </a:p>
        </p:txBody>
      </p:sp>
      <p:sp>
        <p:nvSpPr>
          <p:cNvPr id="5" name="object 5"/>
          <p:cNvSpPr/>
          <p:nvPr/>
        </p:nvSpPr>
        <p:spPr>
          <a:xfrm>
            <a:off x="332231" y="2298192"/>
            <a:ext cx="3623945" cy="0"/>
          </a:xfrm>
          <a:custGeom>
            <a:avLst/>
            <a:gdLst/>
            <a:ahLst/>
            <a:cxnLst/>
            <a:rect l="l" t="t" r="r" b="b"/>
            <a:pathLst>
              <a:path w="3623945">
                <a:moveTo>
                  <a:pt x="0" y="0"/>
                </a:moveTo>
                <a:lnTo>
                  <a:pt x="3623564" y="0"/>
                </a:lnTo>
              </a:path>
            </a:pathLst>
          </a:custGeom>
          <a:ln w="12700">
            <a:solidFill>
              <a:srgbClr val="000000"/>
            </a:solidFill>
          </a:ln>
        </p:spPr>
        <p:txBody>
          <a:bodyPr wrap="square" lIns="0" tIns="0" rIns="0" bIns="0" rtlCol="0"/>
          <a:lstStyle/>
          <a:p>
            <a:endParaRPr/>
          </a:p>
        </p:txBody>
      </p:sp>
      <p:sp>
        <p:nvSpPr>
          <p:cNvPr id="6" name="object 6"/>
          <p:cNvSpPr txBox="1"/>
          <p:nvPr/>
        </p:nvSpPr>
        <p:spPr>
          <a:xfrm>
            <a:off x="7526781" y="2865881"/>
            <a:ext cx="1284605" cy="259686"/>
          </a:xfrm>
          <a:prstGeom prst="rect">
            <a:avLst/>
          </a:prstGeom>
        </p:spPr>
        <p:txBody>
          <a:bodyPr vert="horz" wrap="square" lIns="0" tIns="13335" rIns="0" bIns="0" rtlCol="0">
            <a:spAutoFit/>
          </a:bodyPr>
          <a:lstStyle/>
          <a:p>
            <a:pPr marL="12700">
              <a:lnSpc>
                <a:spcPct val="100000"/>
              </a:lnSpc>
              <a:spcBef>
                <a:spcPts val="105"/>
              </a:spcBef>
            </a:pPr>
            <a:r>
              <a:rPr sz="1600" b="1">
                <a:latin typeface="ABBvoice"/>
                <a:cs typeface="ABBvoice"/>
              </a:rPr>
              <a:t>Data</a:t>
            </a:r>
            <a:r>
              <a:rPr sz="1600" b="1" spc="-35">
                <a:latin typeface="ABBvoice"/>
                <a:cs typeface="ABBvoice"/>
              </a:rPr>
              <a:t> </a:t>
            </a:r>
            <a:r>
              <a:rPr sz="1600" b="1" spc="-10">
                <a:latin typeface="ABBvoice"/>
                <a:cs typeface="ABBvoice"/>
              </a:rPr>
              <a:t>centers</a:t>
            </a:r>
            <a:endParaRPr sz="1600">
              <a:latin typeface="ABBvoice"/>
              <a:cs typeface="ABBvoice"/>
            </a:endParaRPr>
          </a:p>
        </p:txBody>
      </p:sp>
      <p:pic>
        <p:nvPicPr>
          <p:cNvPr id="7" name="object 7"/>
          <p:cNvPicPr/>
          <p:nvPr/>
        </p:nvPicPr>
        <p:blipFill>
          <a:blip r:embed="rId2" cstate="print"/>
          <a:stretch>
            <a:fillRect/>
          </a:stretch>
        </p:blipFill>
        <p:spPr>
          <a:xfrm>
            <a:off x="6986016" y="3343655"/>
            <a:ext cx="2365247" cy="2551176"/>
          </a:xfrm>
          <a:prstGeom prst="rect">
            <a:avLst/>
          </a:prstGeom>
        </p:spPr>
      </p:pic>
      <p:sp>
        <p:nvSpPr>
          <p:cNvPr id="8" name="object 8"/>
          <p:cNvSpPr txBox="1"/>
          <p:nvPr/>
        </p:nvSpPr>
        <p:spPr>
          <a:xfrm>
            <a:off x="4551679" y="2865881"/>
            <a:ext cx="2153285" cy="259686"/>
          </a:xfrm>
          <a:prstGeom prst="rect">
            <a:avLst/>
          </a:prstGeom>
        </p:spPr>
        <p:txBody>
          <a:bodyPr vert="horz" wrap="square" lIns="0" tIns="13335" rIns="0" bIns="0" rtlCol="0">
            <a:spAutoFit/>
          </a:bodyPr>
          <a:lstStyle/>
          <a:p>
            <a:pPr marL="12700">
              <a:lnSpc>
                <a:spcPct val="100000"/>
              </a:lnSpc>
              <a:spcBef>
                <a:spcPts val="105"/>
              </a:spcBef>
            </a:pPr>
            <a:r>
              <a:rPr sz="1600" b="1">
                <a:latin typeface="ABBvoice"/>
                <a:cs typeface="ABBvoice"/>
              </a:rPr>
              <a:t>Commercial</a:t>
            </a:r>
            <a:r>
              <a:rPr sz="1600" b="1" spc="-65">
                <a:latin typeface="ABBvoice"/>
                <a:cs typeface="ABBvoice"/>
              </a:rPr>
              <a:t> </a:t>
            </a:r>
            <a:r>
              <a:rPr sz="1600" b="1" spc="-10">
                <a:latin typeface="ABBvoice"/>
                <a:cs typeface="ABBvoice"/>
              </a:rPr>
              <a:t>buildings</a:t>
            </a:r>
            <a:endParaRPr sz="1600">
              <a:latin typeface="ABBvoice"/>
              <a:cs typeface="ABBvoice"/>
            </a:endParaRPr>
          </a:p>
        </p:txBody>
      </p:sp>
      <p:pic>
        <p:nvPicPr>
          <p:cNvPr id="9" name="object 9"/>
          <p:cNvPicPr/>
          <p:nvPr/>
        </p:nvPicPr>
        <p:blipFill>
          <a:blip r:embed="rId3" cstate="print"/>
          <a:stretch>
            <a:fillRect/>
          </a:stretch>
        </p:blipFill>
        <p:spPr>
          <a:xfrm>
            <a:off x="4443984" y="3343655"/>
            <a:ext cx="2368295" cy="2551176"/>
          </a:xfrm>
          <a:prstGeom prst="rect">
            <a:avLst/>
          </a:prstGeom>
        </p:spPr>
      </p:pic>
      <p:sp>
        <p:nvSpPr>
          <p:cNvPr id="11" name="object 11"/>
          <p:cNvSpPr txBox="1"/>
          <p:nvPr/>
        </p:nvSpPr>
        <p:spPr>
          <a:xfrm>
            <a:off x="10112120" y="2865881"/>
            <a:ext cx="1042035" cy="259686"/>
          </a:xfrm>
          <a:prstGeom prst="rect">
            <a:avLst/>
          </a:prstGeom>
        </p:spPr>
        <p:txBody>
          <a:bodyPr vert="horz" wrap="square" lIns="0" tIns="13335" rIns="0" bIns="0" rtlCol="0">
            <a:spAutoFit/>
          </a:bodyPr>
          <a:lstStyle/>
          <a:p>
            <a:pPr marL="12700">
              <a:lnSpc>
                <a:spcPct val="100000"/>
              </a:lnSpc>
              <a:spcBef>
                <a:spcPts val="105"/>
              </a:spcBef>
            </a:pPr>
            <a:r>
              <a:rPr lang="en-US" sz="1600" b="1" spc="-10">
                <a:latin typeface="ABBvoice"/>
                <a:cs typeface="ABBvoice"/>
              </a:rPr>
              <a:t>Utilities</a:t>
            </a:r>
            <a:endParaRPr sz="1600">
              <a:latin typeface="ABBvoice"/>
              <a:cs typeface="ABBvoice"/>
            </a:endParaRPr>
          </a:p>
        </p:txBody>
      </p:sp>
      <p:sp>
        <p:nvSpPr>
          <p:cNvPr id="12" name="object 12"/>
          <p:cNvSpPr txBox="1"/>
          <p:nvPr/>
        </p:nvSpPr>
        <p:spPr>
          <a:xfrm>
            <a:off x="382625" y="1892883"/>
            <a:ext cx="1657350" cy="300355"/>
          </a:xfrm>
          <a:prstGeom prst="rect">
            <a:avLst/>
          </a:prstGeom>
        </p:spPr>
        <p:txBody>
          <a:bodyPr vert="horz" wrap="square" lIns="0" tIns="12700" rIns="0" bIns="0" rtlCol="0">
            <a:spAutoFit/>
          </a:bodyPr>
          <a:lstStyle/>
          <a:p>
            <a:pPr marL="12700">
              <a:lnSpc>
                <a:spcPct val="100000"/>
              </a:lnSpc>
              <a:spcBef>
                <a:spcPts val="100"/>
              </a:spcBef>
            </a:pPr>
            <a:r>
              <a:rPr sz="1800" b="1">
                <a:solidFill>
                  <a:srgbClr val="D90000"/>
                </a:solidFill>
                <a:latin typeface="ABBvoice"/>
                <a:cs typeface="ABBvoice"/>
              </a:rPr>
              <a:t>OUR</a:t>
            </a:r>
            <a:r>
              <a:rPr sz="1800" b="1" spc="-15">
                <a:solidFill>
                  <a:srgbClr val="D90000"/>
                </a:solidFill>
                <a:latin typeface="ABBvoice"/>
                <a:cs typeface="ABBvoice"/>
              </a:rPr>
              <a:t> </a:t>
            </a:r>
            <a:r>
              <a:rPr sz="1800" b="1" spc="-10">
                <a:solidFill>
                  <a:srgbClr val="D90000"/>
                </a:solidFill>
                <a:latin typeface="ABBvoice"/>
                <a:cs typeface="ABBvoice"/>
              </a:rPr>
              <a:t>BUSINESS</a:t>
            </a:r>
            <a:endParaRPr sz="1800">
              <a:latin typeface="ABBvoice"/>
              <a:cs typeface="ABBvoice"/>
            </a:endParaRPr>
          </a:p>
        </p:txBody>
      </p:sp>
      <p:sp>
        <p:nvSpPr>
          <p:cNvPr id="13" name="object 13"/>
          <p:cNvSpPr txBox="1"/>
          <p:nvPr/>
        </p:nvSpPr>
        <p:spPr>
          <a:xfrm>
            <a:off x="4482465" y="1873452"/>
            <a:ext cx="3743960" cy="300355"/>
          </a:xfrm>
          <a:prstGeom prst="rect">
            <a:avLst/>
          </a:prstGeom>
        </p:spPr>
        <p:txBody>
          <a:bodyPr vert="horz" wrap="square" lIns="0" tIns="12700" rIns="0" bIns="0" rtlCol="0">
            <a:spAutoFit/>
          </a:bodyPr>
          <a:lstStyle/>
          <a:p>
            <a:pPr marL="12700">
              <a:lnSpc>
                <a:spcPct val="100000"/>
              </a:lnSpc>
              <a:spcBef>
                <a:spcPts val="100"/>
              </a:spcBef>
            </a:pPr>
            <a:r>
              <a:rPr sz="1800" b="1" dirty="0">
                <a:solidFill>
                  <a:srgbClr val="D90000"/>
                </a:solidFill>
                <a:latin typeface="ABBvoice"/>
                <a:cs typeface="ABBvoice"/>
              </a:rPr>
              <a:t>SELECTED</a:t>
            </a:r>
            <a:r>
              <a:rPr sz="1800" b="1" spc="-40" dirty="0">
                <a:solidFill>
                  <a:srgbClr val="D90000"/>
                </a:solidFill>
                <a:latin typeface="ABBvoice"/>
                <a:cs typeface="ABBvoice"/>
              </a:rPr>
              <a:t> </a:t>
            </a:r>
            <a:r>
              <a:rPr sz="1800" b="1" dirty="0">
                <a:solidFill>
                  <a:srgbClr val="D90000"/>
                </a:solidFill>
                <a:latin typeface="ABBvoice"/>
                <a:cs typeface="ABBvoice"/>
              </a:rPr>
              <a:t>CUSTOMER</a:t>
            </a:r>
            <a:r>
              <a:rPr sz="1800" b="1" spc="-40" dirty="0">
                <a:solidFill>
                  <a:srgbClr val="D90000"/>
                </a:solidFill>
                <a:latin typeface="ABBvoice"/>
                <a:cs typeface="ABBvoice"/>
              </a:rPr>
              <a:t> </a:t>
            </a:r>
            <a:r>
              <a:rPr sz="1800" b="1" spc="-10" dirty="0">
                <a:solidFill>
                  <a:srgbClr val="D90000"/>
                </a:solidFill>
                <a:latin typeface="ABBvoice"/>
                <a:cs typeface="ABBvoice"/>
              </a:rPr>
              <a:t>SEGMENTS</a:t>
            </a:r>
            <a:endParaRPr sz="1800" dirty="0">
              <a:latin typeface="ABBvoice"/>
              <a:cs typeface="ABBvoice"/>
            </a:endParaRPr>
          </a:p>
        </p:txBody>
      </p:sp>
      <p:sp>
        <p:nvSpPr>
          <p:cNvPr id="14" name="object 14"/>
          <p:cNvSpPr txBox="1"/>
          <p:nvPr/>
        </p:nvSpPr>
        <p:spPr>
          <a:xfrm>
            <a:off x="363727" y="2342555"/>
            <a:ext cx="2791460" cy="1567737"/>
          </a:xfrm>
          <a:prstGeom prst="rect">
            <a:avLst/>
          </a:prstGeom>
        </p:spPr>
        <p:txBody>
          <a:bodyPr vert="horz" wrap="square" lIns="0" tIns="51435" rIns="0" bIns="0" rtlCol="0" anchor="t">
            <a:spAutoFit/>
          </a:bodyPr>
          <a:lstStyle/>
          <a:p>
            <a:pPr marL="12700">
              <a:lnSpc>
                <a:spcPct val="100000"/>
              </a:lnSpc>
              <a:spcBef>
                <a:spcPts val="405"/>
              </a:spcBef>
            </a:pPr>
            <a:r>
              <a:rPr sz="1350" b="1" dirty="0">
                <a:latin typeface="ABBvoice"/>
                <a:cs typeface="ABBvoice"/>
              </a:rPr>
              <a:t>Canada</a:t>
            </a:r>
            <a:r>
              <a:rPr sz="1350" b="1" spc="-60" dirty="0">
                <a:latin typeface="ABBvoice"/>
                <a:cs typeface="ABBvoice"/>
              </a:rPr>
              <a:t> </a:t>
            </a:r>
            <a:r>
              <a:rPr sz="1350" b="1" spc="-35" dirty="0">
                <a:latin typeface="ABBvoice"/>
                <a:cs typeface="ABBvoice"/>
              </a:rPr>
              <a:t>#2</a:t>
            </a:r>
            <a:endParaRPr sz="1350" dirty="0">
              <a:latin typeface="ABBvoice"/>
              <a:cs typeface="ABBvoice"/>
            </a:endParaRPr>
          </a:p>
          <a:p>
            <a:pPr marL="12700">
              <a:lnSpc>
                <a:spcPct val="100000"/>
              </a:lnSpc>
              <a:spcBef>
                <a:spcPts val="300"/>
              </a:spcBef>
            </a:pPr>
            <a:r>
              <a:rPr sz="1350" dirty="0">
                <a:latin typeface="ABBvoice"/>
                <a:cs typeface="ABBvoice"/>
              </a:rPr>
              <a:t>#4</a:t>
            </a:r>
            <a:r>
              <a:rPr sz="1350" spc="-45" dirty="0">
                <a:latin typeface="ABBvoice"/>
                <a:cs typeface="ABBvoice"/>
              </a:rPr>
              <a:t> </a:t>
            </a:r>
            <a:r>
              <a:rPr sz="1350" dirty="0">
                <a:latin typeface="ABBvoice"/>
                <a:cs typeface="ABBvoice"/>
              </a:rPr>
              <a:t>Low</a:t>
            </a:r>
            <a:r>
              <a:rPr sz="1350" spc="-5" dirty="0">
                <a:latin typeface="ABBvoice"/>
                <a:cs typeface="ABBvoice"/>
              </a:rPr>
              <a:t> </a:t>
            </a:r>
            <a:r>
              <a:rPr sz="1350" spc="-10" dirty="0">
                <a:latin typeface="ABBvoice"/>
                <a:cs typeface="ABBvoice"/>
              </a:rPr>
              <a:t>voltage</a:t>
            </a:r>
            <a:endParaRPr sz="1350" dirty="0">
              <a:latin typeface="ABBvoice"/>
              <a:cs typeface="ABBvoice"/>
            </a:endParaRPr>
          </a:p>
          <a:p>
            <a:pPr marL="12700">
              <a:spcBef>
                <a:spcPts val="300"/>
              </a:spcBef>
            </a:pPr>
            <a:r>
              <a:rPr sz="1350" dirty="0">
                <a:latin typeface="ABBvoice"/>
                <a:cs typeface="ABBvoice"/>
              </a:rPr>
              <a:t>#3</a:t>
            </a:r>
            <a:r>
              <a:rPr lang="en-US" sz="1350" spc="-40" dirty="0">
                <a:latin typeface="ABBvoice"/>
                <a:cs typeface="ABBvoice"/>
              </a:rPr>
              <a:t> in MCCB</a:t>
            </a:r>
            <a:endParaRPr sz="1350" dirty="0">
              <a:latin typeface="ABBvoice"/>
              <a:cs typeface="ABBvoice"/>
            </a:endParaRPr>
          </a:p>
          <a:p>
            <a:pPr marL="12700">
              <a:spcBef>
                <a:spcPts val="300"/>
              </a:spcBef>
            </a:pPr>
            <a:r>
              <a:rPr lang="en-US" sz="1350" dirty="0">
                <a:latin typeface="ABBvoice"/>
                <a:cs typeface="ABBvoice"/>
              </a:rPr>
              <a:t>#3</a:t>
            </a:r>
            <a:r>
              <a:rPr lang="en-US" sz="1350" spc="-25" dirty="0">
                <a:latin typeface="ABBvoice"/>
                <a:cs typeface="ABBvoice"/>
              </a:rPr>
              <a:t> in ACB</a:t>
            </a:r>
            <a:endParaRPr lang="en-US" sz="1350" dirty="0">
              <a:latin typeface="ABBvoice"/>
              <a:cs typeface="ABBvoice"/>
            </a:endParaRPr>
          </a:p>
          <a:p>
            <a:pPr marL="12700">
              <a:spcBef>
                <a:spcPts val="300"/>
              </a:spcBef>
            </a:pPr>
            <a:r>
              <a:rPr lang="en-US" sz="1350" dirty="0">
                <a:latin typeface="ABBvoice"/>
                <a:cs typeface="ABBvoice"/>
              </a:rPr>
              <a:t>#1</a:t>
            </a:r>
            <a:r>
              <a:rPr lang="en-US" sz="1350" spc="-25" dirty="0">
                <a:latin typeface="ABBvoice"/>
                <a:cs typeface="ABBvoice"/>
              </a:rPr>
              <a:t> </a:t>
            </a:r>
            <a:r>
              <a:rPr lang="en-US" sz="1350" spc="-10" dirty="0">
                <a:latin typeface="ABBvoice"/>
                <a:cs typeface="ABBvoice"/>
              </a:rPr>
              <a:t>Installation</a:t>
            </a:r>
            <a:r>
              <a:rPr lang="en-US" sz="1350" spc="25" dirty="0">
                <a:latin typeface="ABBvoice"/>
                <a:cs typeface="ABBvoice"/>
              </a:rPr>
              <a:t> </a:t>
            </a:r>
            <a:r>
              <a:rPr lang="en-US" sz="1350" spc="-10" dirty="0">
                <a:latin typeface="ABBvoice"/>
                <a:cs typeface="ABBvoice"/>
              </a:rPr>
              <a:t>products</a:t>
            </a:r>
            <a:endParaRPr lang="en-US" sz="1350" dirty="0">
              <a:latin typeface="ABBvoice"/>
              <a:cs typeface="ABBvoice"/>
            </a:endParaRPr>
          </a:p>
          <a:p>
            <a:pPr marL="12700">
              <a:lnSpc>
                <a:spcPct val="100000"/>
              </a:lnSpc>
              <a:spcBef>
                <a:spcPts val="900"/>
              </a:spcBef>
            </a:pPr>
            <a:r>
              <a:rPr lang="en-US" sz="1350" b="1" dirty="0">
                <a:solidFill>
                  <a:srgbClr val="363636"/>
                </a:solidFill>
                <a:latin typeface="ABBvoice"/>
                <a:cs typeface="ABBvoice"/>
              </a:rPr>
              <a:t>2,012</a:t>
            </a:r>
            <a:r>
              <a:rPr sz="1350" b="1" spc="-30" dirty="0">
                <a:solidFill>
                  <a:srgbClr val="363636"/>
                </a:solidFill>
                <a:latin typeface="ABBvoice"/>
                <a:cs typeface="ABBvoice"/>
              </a:rPr>
              <a:t> </a:t>
            </a:r>
            <a:r>
              <a:rPr sz="1350" b="1" spc="-10" dirty="0">
                <a:latin typeface="Arial"/>
                <a:cs typeface="Arial"/>
              </a:rPr>
              <a:t>employees</a:t>
            </a:r>
            <a:endParaRPr sz="1350" dirty="0">
              <a:latin typeface="Arial"/>
              <a:cs typeface="Arial"/>
            </a:endParaRPr>
          </a:p>
        </p:txBody>
      </p:sp>
      <p:sp>
        <p:nvSpPr>
          <p:cNvPr id="15" name="object 15"/>
          <p:cNvSpPr txBox="1"/>
          <p:nvPr/>
        </p:nvSpPr>
        <p:spPr>
          <a:xfrm>
            <a:off x="363727" y="3963026"/>
            <a:ext cx="3758565" cy="2818130"/>
          </a:xfrm>
          <a:prstGeom prst="rect">
            <a:avLst/>
          </a:prstGeom>
        </p:spPr>
        <p:txBody>
          <a:bodyPr vert="horz" wrap="square" lIns="0" tIns="46990" rIns="0" bIns="0" rtlCol="0">
            <a:spAutoFit/>
          </a:bodyPr>
          <a:lstStyle/>
          <a:p>
            <a:pPr marL="12700">
              <a:lnSpc>
                <a:spcPct val="100000"/>
              </a:lnSpc>
              <a:spcBef>
                <a:spcPts val="370"/>
              </a:spcBef>
            </a:pPr>
            <a:r>
              <a:rPr sz="1350" b="1" spc="-10" dirty="0">
                <a:latin typeface="ABBvoice"/>
                <a:cs typeface="ABBvoice"/>
              </a:rPr>
              <a:t>Offering</a:t>
            </a:r>
            <a:endParaRPr sz="1350" dirty="0">
              <a:latin typeface="ABBvoice"/>
              <a:cs typeface="ABBvoice"/>
            </a:endParaRPr>
          </a:p>
          <a:p>
            <a:pPr marL="176530" marR="271145" indent="-164465">
              <a:lnSpc>
                <a:spcPct val="116799"/>
              </a:lnSpc>
              <a:buChar char="–"/>
              <a:tabLst>
                <a:tab pos="180340" algn="l"/>
              </a:tabLst>
            </a:pPr>
            <a:r>
              <a:rPr sz="1350" dirty="0">
                <a:latin typeface="ABBvoice"/>
                <a:cs typeface="ABBvoice"/>
              </a:rPr>
              <a:t>Electrical</a:t>
            </a:r>
            <a:r>
              <a:rPr sz="1350" spc="-35" dirty="0">
                <a:latin typeface="ABBvoice"/>
                <a:cs typeface="ABBvoice"/>
              </a:rPr>
              <a:t> </a:t>
            </a:r>
            <a:r>
              <a:rPr sz="1350" spc="-10" dirty="0">
                <a:latin typeface="ABBvoice"/>
                <a:cs typeface="ABBvoice"/>
              </a:rPr>
              <a:t>distribution,</a:t>
            </a:r>
            <a:r>
              <a:rPr sz="1350" spc="-30" dirty="0">
                <a:latin typeface="ABBvoice"/>
                <a:cs typeface="ABBvoice"/>
              </a:rPr>
              <a:t> </a:t>
            </a:r>
            <a:r>
              <a:rPr sz="1350" dirty="0">
                <a:latin typeface="ABBvoice"/>
                <a:cs typeface="ABBvoice"/>
              </a:rPr>
              <a:t>control</a:t>
            </a:r>
            <a:r>
              <a:rPr sz="1350" spc="-35" dirty="0">
                <a:latin typeface="ABBvoice"/>
                <a:cs typeface="ABBvoice"/>
              </a:rPr>
              <a:t> </a:t>
            </a:r>
            <a:r>
              <a:rPr sz="1350" dirty="0">
                <a:latin typeface="ABBvoice"/>
                <a:cs typeface="ABBvoice"/>
              </a:rPr>
              <a:t>and</a:t>
            </a:r>
            <a:r>
              <a:rPr sz="1350" spc="-30" dirty="0">
                <a:latin typeface="ABBvoice"/>
                <a:cs typeface="ABBvoice"/>
              </a:rPr>
              <a:t> </a:t>
            </a:r>
            <a:r>
              <a:rPr sz="1350" spc="-10" dirty="0">
                <a:latin typeface="ABBvoice"/>
                <a:cs typeface="ABBvoice"/>
              </a:rPr>
              <a:t>power solutions</a:t>
            </a:r>
            <a:endParaRPr sz="1350" dirty="0">
              <a:latin typeface="ABBvoice"/>
              <a:cs typeface="ABBvoice"/>
            </a:endParaRPr>
          </a:p>
          <a:p>
            <a:pPr marL="192405" indent="-180340">
              <a:lnSpc>
                <a:spcPct val="100000"/>
              </a:lnSpc>
              <a:spcBef>
                <a:spcPts val="275"/>
              </a:spcBef>
              <a:buChar char="–"/>
              <a:tabLst>
                <a:tab pos="193040" algn="l"/>
              </a:tabLst>
            </a:pPr>
            <a:r>
              <a:rPr sz="1350" dirty="0">
                <a:latin typeface="ABBvoice"/>
                <a:cs typeface="ABBvoice"/>
              </a:rPr>
              <a:t>Building</a:t>
            </a:r>
            <a:r>
              <a:rPr sz="1350" spc="-40" dirty="0">
                <a:latin typeface="ABBvoice"/>
                <a:cs typeface="ABBvoice"/>
              </a:rPr>
              <a:t> </a:t>
            </a:r>
            <a:r>
              <a:rPr sz="1350" dirty="0">
                <a:latin typeface="ABBvoice"/>
                <a:cs typeface="ABBvoice"/>
              </a:rPr>
              <a:t>and</a:t>
            </a:r>
            <a:r>
              <a:rPr sz="1350" spc="-40" dirty="0">
                <a:latin typeface="ABBvoice"/>
                <a:cs typeface="ABBvoice"/>
              </a:rPr>
              <a:t> </a:t>
            </a:r>
            <a:r>
              <a:rPr sz="1350" dirty="0">
                <a:latin typeface="ABBvoice"/>
                <a:cs typeface="ABBvoice"/>
              </a:rPr>
              <a:t>living</a:t>
            </a:r>
            <a:r>
              <a:rPr sz="1350" spc="-45" dirty="0">
                <a:latin typeface="ABBvoice"/>
                <a:cs typeface="ABBvoice"/>
              </a:rPr>
              <a:t> </a:t>
            </a:r>
            <a:r>
              <a:rPr sz="1350" spc="-10" dirty="0">
                <a:latin typeface="ABBvoice"/>
                <a:cs typeface="ABBvoice"/>
              </a:rPr>
              <a:t>solutions</a:t>
            </a:r>
            <a:endParaRPr sz="1350" dirty="0">
              <a:latin typeface="ABBvoice"/>
              <a:cs typeface="ABBvoice"/>
            </a:endParaRPr>
          </a:p>
          <a:p>
            <a:pPr marL="12700" marR="797560" indent="126364">
              <a:lnSpc>
                <a:spcPts val="2000"/>
              </a:lnSpc>
              <a:spcBef>
                <a:spcPts val="50"/>
              </a:spcBef>
              <a:buChar char="–"/>
              <a:tabLst>
                <a:tab pos="139065" algn="l"/>
              </a:tabLst>
            </a:pPr>
            <a:r>
              <a:rPr sz="1350" dirty="0">
                <a:latin typeface="ABBvoice"/>
                <a:cs typeface="ABBvoice"/>
              </a:rPr>
              <a:t>Installation</a:t>
            </a:r>
            <a:r>
              <a:rPr sz="1350" spc="-55" dirty="0">
                <a:latin typeface="ABBvoice"/>
                <a:cs typeface="ABBvoice"/>
              </a:rPr>
              <a:t> </a:t>
            </a:r>
            <a:r>
              <a:rPr sz="1350" dirty="0">
                <a:latin typeface="ABBvoice"/>
                <a:cs typeface="ABBvoice"/>
              </a:rPr>
              <a:t>products</a:t>
            </a:r>
            <a:r>
              <a:rPr sz="1350" spc="-55" dirty="0">
                <a:latin typeface="ABBvoice"/>
                <a:cs typeface="ABBvoice"/>
              </a:rPr>
              <a:t> </a:t>
            </a:r>
            <a:r>
              <a:rPr sz="1350" dirty="0">
                <a:latin typeface="ABBvoice"/>
                <a:cs typeface="ABBvoice"/>
              </a:rPr>
              <a:t>for</a:t>
            </a:r>
            <a:r>
              <a:rPr sz="1350" spc="-55" dirty="0">
                <a:latin typeface="ABBvoice"/>
                <a:cs typeface="ABBvoice"/>
              </a:rPr>
              <a:t> </a:t>
            </a:r>
            <a:r>
              <a:rPr sz="1350" spc="-10" dirty="0">
                <a:latin typeface="ABBvoice"/>
                <a:cs typeface="ABBvoice"/>
              </a:rPr>
              <a:t>industrial, commercial,</a:t>
            </a:r>
            <a:r>
              <a:rPr sz="1350" spc="-15" dirty="0">
                <a:latin typeface="ABBvoice"/>
                <a:cs typeface="ABBvoice"/>
              </a:rPr>
              <a:t> </a:t>
            </a:r>
            <a:r>
              <a:rPr sz="1350" dirty="0">
                <a:latin typeface="ABBvoice"/>
                <a:cs typeface="ABBvoice"/>
              </a:rPr>
              <a:t>and</a:t>
            </a:r>
            <a:r>
              <a:rPr sz="1350" spc="-15" dirty="0">
                <a:latin typeface="ABBvoice"/>
                <a:cs typeface="ABBvoice"/>
              </a:rPr>
              <a:t> </a:t>
            </a:r>
            <a:r>
              <a:rPr sz="1350" dirty="0">
                <a:latin typeface="ABBvoice"/>
                <a:cs typeface="ABBvoice"/>
              </a:rPr>
              <a:t>utility</a:t>
            </a:r>
            <a:r>
              <a:rPr sz="1350" spc="-15" dirty="0">
                <a:latin typeface="ABBvoice"/>
                <a:cs typeface="ABBvoice"/>
              </a:rPr>
              <a:t> </a:t>
            </a:r>
            <a:r>
              <a:rPr sz="1350" spc="-10" dirty="0">
                <a:latin typeface="ABBvoice"/>
                <a:cs typeface="ABBvoice"/>
              </a:rPr>
              <a:t>applications</a:t>
            </a:r>
            <a:endParaRPr sz="1350" dirty="0">
              <a:latin typeface="ABBvoice"/>
              <a:cs typeface="ABBvoice"/>
            </a:endParaRPr>
          </a:p>
          <a:p>
            <a:pPr marL="192405" indent="-180340">
              <a:lnSpc>
                <a:spcPct val="100000"/>
              </a:lnSpc>
              <a:spcBef>
                <a:spcPts val="254"/>
              </a:spcBef>
              <a:buChar char="–"/>
              <a:tabLst>
                <a:tab pos="193040" algn="l"/>
              </a:tabLst>
            </a:pPr>
            <a:r>
              <a:rPr sz="1350" dirty="0">
                <a:latin typeface="ABBvoice"/>
                <a:cs typeface="ABBvoice"/>
              </a:rPr>
              <a:t>Life</a:t>
            </a:r>
            <a:r>
              <a:rPr sz="1350" spc="-30" dirty="0">
                <a:latin typeface="ABBvoice"/>
                <a:cs typeface="ABBvoice"/>
              </a:rPr>
              <a:t> </a:t>
            </a:r>
            <a:r>
              <a:rPr sz="1350" dirty="0">
                <a:latin typeface="ABBvoice"/>
                <a:cs typeface="ABBvoice"/>
              </a:rPr>
              <a:t>cycle</a:t>
            </a:r>
            <a:r>
              <a:rPr sz="1350" spc="-30" dirty="0">
                <a:latin typeface="ABBvoice"/>
                <a:cs typeface="ABBvoice"/>
              </a:rPr>
              <a:t> </a:t>
            </a:r>
            <a:r>
              <a:rPr sz="1350" spc="-10" dirty="0">
                <a:latin typeface="ABBvoice"/>
                <a:cs typeface="ABBvoice"/>
              </a:rPr>
              <a:t>management</a:t>
            </a:r>
            <a:r>
              <a:rPr sz="1350" spc="-30" dirty="0">
                <a:latin typeface="ABBvoice"/>
                <a:cs typeface="ABBvoice"/>
              </a:rPr>
              <a:t> </a:t>
            </a:r>
            <a:r>
              <a:rPr sz="1350" dirty="0">
                <a:latin typeface="ABBvoice"/>
                <a:cs typeface="ABBvoice"/>
              </a:rPr>
              <a:t>and</a:t>
            </a:r>
            <a:r>
              <a:rPr sz="1350" spc="-25" dirty="0">
                <a:latin typeface="ABBvoice"/>
                <a:cs typeface="ABBvoice"/>
              </a:rPr>
              <a:t> </a:t>
            </a:r>
            <a:r>
              <a:rPr sz="1350" spc="-10" dirty="0">
                <a:latin typeface="ABBvoice"/>
                <a:cs typeface="ABBvoice"/>
              </a:rPr>
              <a:t>services</a:t>
            </a:r>
            <a:endParaRPr sz="1350" dirty="0">
              <a:latin typeface="ABBvoice"/>
              <a:cs typeface="ABBvoice"/>
            </a:endParaRPr>
          </a:p>
          <a:p>
            <a:pPr marL="12700">
              <a:lnSpc>
                <a:spcPct val="100000"/>
              </a:lnSpc>
              <a:spcBef>
                <a:spcPts val="855"/>
              </a:spcBef>
            </a:pPr>
            <a:r>
              <a:rPr sz="1350" b="1" dirty="0">
                <a:latin typeface="ABBvoice"/>
                <a:cs typeface="ABBvoice"/>
              </a:rPr>
              <a:t>Typical</a:t>
            </a:r>
            <a:r>
              <a:rPr sz="1350" b="1" spc="-60" dirty="0">
                <a:latin typeface="ABBvoice"/>
                <a:cs typeface="ABBvoice"/>
              </a:rPr>
              <a:t> </a:t>
            </a:r>
            <a:r>
              <a:rPr sz="1350" b="1" spc="-10" dirty="0">
                <a:latin typeface="ABBvoice"/>
                <a:cs typeface="ABBvoice"/>
              </a:rPr>
              <a:t>customers</a:t>
            </a:r>
            <a:endParaRPr sz="1350" dirty="0">
              <a:latin typeface="ABBvoice"/>
              <a:cs typeface="ABBvoice"/>
            </a:endParaRPr>
          </a:p>
          <a:p>
            <a:pPr marL="138430" indent="-126364">
              <a:lnSpc>
                <a:spcPct val="100000"/>
              </a:lnSpc>
              <a:spcBef>
                <a:spcPts val="775"/>
              </a:spcBef>
              <a:buChar char="–"/>
              <a:tabLst>
                <a:tab pos="139065" algn="l"/>
              </a:tabLst>
            </a:pPr>
            <a:r>
              <a:rPr sz="1350" dirty="0">
                <a:latin typeface="ABBvoice"/>
                <a:cs typeface="ABBvoice"/>
              </a:rPr>
              <a:t>Electrical</a:t>
            </a:r>
            <a:r>
              <a:rPr sz="1350" spc="-20" dirty="0">
                <a:latin typeface="ABBvoice"/>
                <a:cs typeface="ABBvoice"/>
              </a:rPr>
              <a:t> </a:t>
            </a:r>
            <a:r>
              <a:rPr sz="1350" spc="-10" dirty="0">
                <a:latin typeface="ABBvoice"/>
                <a:cs typeface="ABBvoice"/>
              </a:rPr>
              <a:t>distributors</a:t>
            </a:r>
            <a:r>
              <a:rPr sz="1350" spc="-20" dirty="0">
                <a:latin typeface="ABBvoice"/>
                <a:cs typeface="ABBvoice"/>
              </a:rPr>
              <a:t> </a:t>
            </a:r>
            <a:r>
              <a:rPr sz="1350" dirty="0">
                <a:latin typeface="ABBvoice"/>
                <a:cs typeface="ABBvoice"/>
              </a:rPr>
              <a:t>and</a:t>
            </a:r>
            <a:r>
              <a:rPr sz="1350" spc="-15" dirty="0">
                <a:latin typeface="ABBvoice"/>
                <a:cs typeface="ABBvoice"/>
              </a:rPr>
              <a:t> </a:t>
            </a:r>
            <a:r>
              <a:rPr sz="1350" spc="-10" dirty="0">
                <a:latin typeface="ABBvoice"/>
                <a:cs typeface="ABBvoice"/>
              </a:rPr>
              <a:t>contractors</a:t>
            </a:r>
            <a:endParaRPr sz="1350" dirty="0">
              <a:latin typeface="ABBvoice"/>
              <a:cs typeface="ABBvoice"/>
            </a:endParaRPr>
          </a:p>
          <a:p>
            <a:pPr marL="138430" indent="-126364">
              <a:lnSpc>
                <a:spcPct val="100000"/>
              </a:lnSpc>
              <a:spcBef>
                <a:spcPts val="85"/>
              </a:spcBef>
              <a:buChar char="–"/>
              <a:tabLst>
                <a:tab pos="139065" algn="l"/>
              </a:tabLst>
            </a:pPr>
            <a:r>
              <a:rPr sz="1350" dirty="0">
                <a:latin typeface="ABBvoice"/>
                <a:cs typeface="ABBvoice"/>
              </a:rPr>
              <a:t>OEMs,</a:t>
            </a:r>
            <a:r>
              <a:rPr sz="1350" spc="-50" dirty="0">
                <a:latin typeface="ABBvoice"/>
                <a:cs typeface="ABBvoice"/>
              </a:rPr>
              <a:t> </a:t>
            </a:r>
            <a:r>
              <a:rPr sz="1350" dirty="0">
                <a:latin typeface="ABBvoice"/>
                <a:cs typeface="ABBvoice"/>
              </a:rPr>
              <a:t>system</a:t>
            </a:r>
            <a:r>
              <a:rPr sz="1350" spc="-50" dirty="0">
                <a:latin typeface="ABBvoice"/>
                <a:cs typeface="ABBvoice"/>
              </a:rPr>
              <a:t> </a:t>
            </a:r>
            <a:r>
              <a:rPr sz="1350" dirty="0">
                <a:latin typeface="ABBvoice"/>
                <a:cs typeface="ABBvoice"/>
              </a:rPr>
              <a:t>integrators</a:t>
            </a:r>
            <a:r>
              <a:rPr sz="1350" spc="-50" dirty="0">
                <a:latin typeface="ABBvoice"/>
                <a:cs typeface="ABBvoice"/>
              </a:rPr>
              <a:t> </a:t>
            </a:r>
            <a:r>
              <a:rPr sz="1350" dirty="0">
                <a:latin typeface="ABBvoice"/>
                <a:cs typeface="ABBvoice"/>
              </a:rPr>
              <a:t>and</a:t>
            </a:r>
            <a:r>
              <a:rPr sz="1350" spc="-45" dirty="0">
                <a:latin typeface="ABBvoice"/>
                <a:cs typeface="ABBvoice"/>
              </a:rPr>
              <a:t> </a:t>
            </a:r>
            <a:r>
              <a:rPr sz="1350" dirty="0">
                <a:latin typeface="ABBvoice"/>
                <a:cs typeface="ABBvoice"/>
              </a:rPr>
              <a:t>panel</a:t>
            </a:r>
            <a:r>
              <a:rPr sz="1350" spc="-50" dirty="0">
                <a:latin typeface="ABBvoice"/>
                <a:cs typeface="ABBvoice"/>
              </a:rPr>
              <a:t> </a:t>
            </a:r>
            <a:r>
              <a:rPr sz="1350" spc="-10" dirty="0">
                <a:latin typeface="ABBvoice"/>
                <a:cs typeface="ABBvoice"/>
              </a:rPr>
              <a:t>builders</a:t>
            </a:r>
            <a:endParaRPr sz="1350" dirty="0">
              <a:latin typeface="ABBvoice"/>
              <a:cs typeface="ABBvoice"/>
            </a:endParaRPr>
          </a:p>
          <a:p>
            <a:pPr marL="138430" indent="-126364">
              <a:lnSpc>
                <a:spcPct val="100000"/>
              </a:lnSpc>
              <a:spcBef>
                <a:spcPts val="300"/>
              </a:spcBef>
              <a:buChar char="–"/>
              <a:tabLst>
                <a:tab pos="139065" algn="l"/>
              </a:tabLst>
            </a:pPr>
            <a:r>
              <a:rPr sz="1350" spc="-10" dirty="0">
                <a:latin typeface="ABBvoice"/>
                <a:cs typeface="ABBvoice"/>
              </a:rPr>
              <a:t>Consultants,</a:t>
            </a:r>
            <a:r>
              <a:rPr sz="1350" spc="30" dirty="0">
                <a:latin typeface="ABBvoice"/>
                <a:cs typeface="ABBvoice"/>
              </a:rPr>
              <a:t> </a:t>
            </a:r>
            <a:r>
              <a:rPr sz="1350" spc="-20" dirty="0">
                <a:latin typeface="ABBvoice"/>
                <a:cs typeface="ABBvoice"/>
              </a:rPr>
              <a:t>EPCs</a:t>
            </a:r>
            <a:endParaRPr sz="1350" dirty="0">
              <a:latin typeface="ABBvoice"/>
              <a:cs typeface="ABBvoice"/>
            </a:endParaRPr>
          </a:p>
        </p:txBody>
      </p:sp>
      <p:sp>
        <p:nvSpPr>
          <p:cNvPr id="16" name="object 16"/>
          <p:cNvSpPr/>
          <p:nvPr/>
        </p:nvSpPr>
        <p:spPr>
          <a:xfrm>
            <a:off x="4191000" y="2401823"/>
            <a:ext cx="0" cy="3997960"/>
          </a:xfrm>
          <a:custGeom>
            <a:avLst/>
            <a:gdLst/>
            <a:ahLst/>
            <a:cxnLst/>
            <a:rect l="l" t="t" r="r" b="b"/>
            <a:pathLst>
              <a:path h="3997960">
                <a:moveTo>
                  <a:pt x="0" y="0"/>
                </a:moveTo>
                <a:lnTo>
                  <a:pt x="0" y="3997452"/>
                </a:lnTo>
              </a:path>
            </a:pathLst>
          </a:custGeom>
          <a:ln w="12699">
            <a:solidFill>
              <a:srgbClr val="000000"/>
            </a:solidFill>
          </a:ln>
        </p:spPr>
        <p:txBody>
          <a:bodyPr wrap="square" lIns="0" tIns="0" rIns="0" bIns="0" rtlCol="0"/>
          <a:lstStyle/>
          <a:p>
            <a:endParaRPr/>
          </a:p>
        </p:txBody>
      </p:sp>
      <p:sp>
        <p:nvSpPr>
          <p:cNvPr id="17" name="object 8">
            <a:extLst>
              <a:ext uri="{FF2B5EF4-FFF2-40B4-BE49-F238E27FC236}">
                <a16:creationId xmlns:a16="http://schemas.microsoft.com/office/drawing/2014/main" id="{25329F49-8E47-45B8-A206-46BB0195EC5D}"/>
              </a:ext>
            </a:extLst>
          </p:cNvPr>
          <p:cNvSpPr txBox="1"/>
          <p:nvPr/>
        </p:nvSpPr>
        <p:spPr>
          <a:xfrm>
            <a:off x="406556" y="1123280"/>
            <a:ext cx="8765724" cy="382797"/>
          </a:xfrm>
          <a:prstGeom prst="rect">
            <a:avLst/>
          </a:prstGeom>
        </p:spPr>
        <p:txBody>
          <a:bodyPr vert="horz" wrap="square" lIns="0" tIns="13335" rIns="0" bIns="0" rtlCol="0">
            <a:spAutoFit/>
          </a:bodyPr>
          <a:lstStyle/>
          <a:p>
            <a:pPr marL="12700">
              <a:lnSpc>
                <a:spcPct val="100000"/>
              </a:lnSpc>
              <a:spcBef>
                <a:spcPts val="105"/>
              </a:spcBef>
            </a:pPr>
            <a:r>
              <a:rPr lang="en-US" sz="2400">
                <a:latin typeface="ABBvoice Light" panose="020D0403020503020204" pitchFamily="34" charset="0"/>
                <a:ea typeface="ABBvoice Light" panose="020D0403020503020204" pitchFamily="34" charset="0"/>
                <a:cs typeface="ABBvoice Light" panose="020D0403020503020204" pitchFamily="34" charset="0"/>
              </a:rPr>
              <a:t>Electrifying</a:t>
            </a:r>
            <a:r>
              <a:rPr lang="en-US" sz="2400" spc="-80">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the</a:t>
            </a:r>
            <a:r>
              <a:rPr lang="en-US" sz="2400" spc="-8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world</a:t>
            </a:r>
            <a:r>
              <a:rPr lang="en-US" sz="2400" spc="-7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in</a:t>
            </a:r>
            <a:r>
              <a:rPr lang="en-US" sz="2400" spc="-8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a</a:t>
            </a:r>
            <a:r>
              <a:rPr lang="en-US" sz="2400" spc="-7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safe,</a:t>
            </a:r>
            <a:r>
              <a:rPr lang="en-US" sz="2400" spc="-80">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smart</a:t>
            </a:r>
            <a:r>
              <a:rPr lang="en-US" sz="2400" spc="-8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and</a:t>
            </a:r>
            <a:r>
              <a:rPr lang="en-US" sz="2400" spc="-75">
                <a:latin typeface="ABBvoice Light" panose="020D0403020503020204" pitchFamily="34" charset="0"/>
                <a:ea typeface="ABBvoice Light" panose="020D0403020503020204" pitchFamily="34" charset="0"/>
                <a:cs typeface="ABBvoice Light" panose="020D0403020503020204" pitchFamily="34" charset="0"/>
              </a:rPr>
              <a:t> </a:t>
            </a:r>
            <a:r>
              <a:rPr lang="en-US" sz="2400" spc="-10">
                <a:latin typeface="ABBvoice Light" panose="020D0403020503020204" pitchFamily="34" charset="0"/>
                <a:ea typeface="ABBvoice Light" panose="020D0403020503020204" pitchFamily="34" charset="0"/>
                <a:cs typeface="ABBvoice Light" panose="020D0403020503020204" pitchFamily="34" charset="0"/>
              </a:rPr>
              <a:t>sustainable</a:t>
            </a:r>
            <a:r>
              <a:rPr lang="en-US" sz="2400" spc="-85">
                <a:latin typeface="ABBvoice Light" panose="020D0403020503020204" pitchFamily="34" charset="0"/>
                <a:ea typeface="ABBvoice Light" panose="020D0403020503020204" pitchFamily="34" charset="0"/>
                <a:cs typeface="ABBvoice Light" panose="020D0403020503020204" pitchFamily="34" charset="0"/>
              </a:rPr>
              <a:t> </a:t>
            </a:r>
            <a:r>
              <a:rPr lang="en-US" sz="2400" spc="-25">
                <a:latin typeface="ABBvoice Light" panose="020D0403020503020204" pitchFamily="34" charset="0"/>
                <a:ea typeface="ABBvoice Light" panose="020D0403020503020204" pitchFamily="34" charset="0"/>
                <a:cs typeface="ABBvoice Light" panose="020D0403020503020204" pitchFamily="34" charset="0"/>
              </a:rPr>
              <a:t>way</a:t>
            </a:r>
            <a:endParaRPr sz="240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19" name="Picture 18" descr="A power lines in a snowy field&#10;&#10;Description automatically generated">
            <a:extLst>
              <a:ext uri="{FF2B5EF4-FFF2-40B4-BE49-F238E27FC236}">
                <a16:creationId xmlns:a16="http://schemas.microsoft.com/office/drawing/2014/main" id="{795BF12D-6EC5-2AB3-6643-981464DAC6C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531333" y="3344132"/>
            <a:ext cx="2368402" cy="2550699"/>
          </a:xfrm>
          <a:prstGeom prst="rect">
            <a:avLst/>
          </a:prstGeom>
        </p:spPr>
      </p:pic>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1149"/>
            <a:ext cx="1395730" cy="443070"/>
          </a:xfrm>
          <a:prstGeom prst="rect">
            <a:avLst/>
          </a:prstGeom>
        </p:spPr>
        <p:txBody>
          <a:bodyPr vert="horz" wrap="square" lIns="0" tIns="12065" rIns="0" bIns="0" rtlCol="0">
            <a:spAutoFit/>
          </a:bodyPr>
          <a:lstStyle/>
          <a:p>
            <a:pPr marL="12700">
              <a:spcBef>
                <a:spcPts val="105"/>
              </a:spcBef>
            </a:pPr>
            <a:r>
              <a:rPr sz="2800" b="1" dirty="0"/>
              <a:t>Motion</a:t>
            </a:r>
          </a:p>
        </p:txBody>
      </p:sp>
      <p:pic>
        <p:nvPicPr>
          <p:cNvPr id="4" name="object 4"/>
          <p:cNvPicPr/>
          <p:nvPr/>
        </p:nvPicPr>
        <p:blipFill>
          <a:blip r:embed="rId2" cstate="print"/>
          <a:stretch>
            <a:fillRect/>
          </a:stretch>
        </p:blipFill>
        <p:spPr>
          <a:xfrm>
            <a:off x="6089903" y="6095"/>
            <a:ext cx="6102096" cy="6851904"/>
          </a:xfrm>
          <a:prstGeom prst="rect">
            <a:avLst/>
          </a:prstGeom>
        </p:spPr>
      </p:pic>
      <p:sp>
        <p:nvSpPr>
          <p:cNvPr id="5" name="object 5"/>
          <p:cNvSpPr txBox="1"/>
          <p:nvPr/>
        </p:nvSpPr>
        <p:spPr>
          <a:xfrm>
            <a:off x="368300" y="1520139"/>
            <a:ext cx="5168265" cy="1753870"/>
          </a:xfrm>
          <a:prstGeom prst="rect">
            <a:avLst/>
          </a:prstGeom>
        </p:spPr>
        <p:txBody>
          <a:bodyPr vert="horz" wrap="square" lIns="0" tIns="12700" rIns="0" bIns="0" rtlCol="0">
            <a:spAutoFit/>
          </a:bodyPr>
          <a:lstStyle/>
          <a:p>
            <a:pPr marL="12700">
              <a:lnSpc>
                <a:spcPct val="100000"/>
              </a:lnSpc>
              <a:spcBef>
                <a:spcPts val="100"/>
              </a:spcBef>
            </a:pPr>
            <a:r>
              <a:rPr sz="1800" b="1" dirty="0">
                <a:latin typeface="ABBvoice"/>
                <a:cs typeface="ABBvoice"/>
              </a:rPr>
              <a:t>Writing</a:t>
            </a:r>
            <a:r>
              <a:rPr sz="1800" b="1" spc="-15" dirty="0">
                <a:latin typeface="ABBvoice"/>
                <a:cs typeface="ABBvoice"/>
              </a:rPr>
              <a:t> </a:t>
            </a:r>
            <a:r>
              <a:rPr sz="1800" b="1" dirty="0">
                <a:latin typeface="ABBvoice"/>
                <a:cs typeface="ABBvoice"/>
              </a:rPr>
              <a:t>the</a:t>
            </a:r>
            <a:r>
              <a:rPr sz="1800" b="1" spc="-20" dirty="0">
                <a:latin typeface="ABBvoice"/>
                <a:cs typeface="ABBvoice"/>
              </a:rPr>
              <a:t> </a:t>
            </a:r>
            <a:r>
              <a:rPr sz="1800" b="1" dirty="0">
                <a:latin typeface="ABBvoice"/>
                <a:cs typeface="ABBvoice"/>
              </a:rPr>
              <a:t>future</a:t>
            </a:r>
            <a:r>
              <a:rPr sz="1800" b="1" spc="-20" dirty="0">
                <a:latin typeface="ABBvoice"/>
                <a:cs typeface="ABBvoice"/>
              </a:rPr>
              <a:t> </a:t>
            </a:r>
            <a:r>
              <a:rPr sz="1800" b="1" dirty="0">
                <a:latin typeface="ABBvoice"/>
                <a:cs typeface="ABBvoice"/>
              </a:rPr>
              <a:t>of</a:t>
            </a:r>
            <a:r>
              <a:rPr sz="1800" b="1" spc="-20" dirty="0">
                <a:latin typeface="ABBvoice"/>
                <a:cs typeface="ABBvoice"/>
              </a:rPr>
              <a:t> </a:t>
            </a:r>
            <a:r>
              <a:rPr sz="1800" b="1" dirty="0">
                <a:latin typeface="ABBvoice"/>
                <a:cs typeface="ABBvoice"/>
              </a:rPr>
              <a:t>safe,</a:t>
            </a:r>
            <a:r>
              <a:rPr sz="1800" b="1" spc="-10" dirty="0">
                <a:latin typeface="ABBvoice"/>
                <a:cs typeface="ABBvoice"/>
              </a:rPr>
              <a:t> </a:t>
            </a:r>
            <a:r>
              <a:rPr sz="1800" b="1" dirty="0">
                <a:latin typeface="ABBvoice"/>
                <a:cs typeface="ABBvoice"/>
              </a:rPr>
              <a:t>smart</a:t>
            </a:r>
            <a:r>
              <a:rPr sz="1800" b="1" spc="-5" dirty="0">
                <a:latin typeface="ABBvoice"/>
                <a:cs typeface="ABBvoice"/>
              </a:rPr>
              <a:t> </a:t>
            </a:r>
            <a:r>
              <a:rPr sz="1800" b="1" spc="-25" dirty="0">
                <a:latin typeface="ABBvoice"/>
                <a:cs typeface="ABBvoice"/>
              </a:rPr>
              <a:t>and</a:t>
            </a:r>
            <a:endParaRPr sz="1800" dirty="0">
              <a:latin typeface="ABBvoice"/>
              <a:cs typeface="ABBvoice"/>
            </a:endParaRPr>
          </a:p>
          <a:p>
            <a:pPr marL="12700">
              <a:lnSpc>
                <a:spcPct val="100000"/>
              </a:lnSpc>
              <a:spcBef>
                <a:spcPts val="5"/>
              </a:spcBef>
            </a:pPr>
            <a:r>
              <a:rPr sz="1800" b="1" dirty="0">
                <a:latin typeface="ABBvoice"/>
                <a:cs typeface="ABBvoice"/>
              </a:rPr>
              <a:t>sustainable </a:t>
            </a:r>
            <a:r>
              <a:rPr sz="1800" b="1" spc="-10" dirty="0">
                <a:latin typeface="ABBvoice"/>
                <a:cs typeface="ABBvoice"/>
              </a:rPr>
              <a:t>electrification.</a:t>
            </a:r>
            <a:endParaRPr sz="1800" dirty="0">
              <a:latin typeface="ABBvoice"/>
              <a:cs typeface="ABBvoice"/>
            </a:endParaRPr>
          </a:p>
          <a:p>
            <a:pPr>
              <a:lnSpc>
                <a:spcPct val="100000"/>
              </a:lnSpc>
              <a:spcBef>
                <a:spcPts val="15"/>
              </a:spcBef>
            </a:pPr>
            <a:endParaRPr sz="2000" dirty="0">
              <a:latin typeface="ABBvoice"/>
              <a:cs typeface="ABBvoice"/>
            </a:endParaRPr>
          </a:p>
          <a:p>
            <a:pPr marL="12700" marR="5080">
              <a:lnSpc>
                <a:spcPct val="100000"/>
              </a:lnSpc>
              <a:spcBef>
                <a:spcPts val="5"/>
              </a:spcBef>
            </a:pPr>
            <a:r>
              <a:rPr sz="1400" dirty="0">
                <a:latin typeface="ABBvoice"/>
                <a:cs typeface="ABBvoice"/>
              </a:rPr>
              <a:t>ABB's</a:t>
            </a:r>
            <a:r>
              <a:rPr sz="1400" spc="-35" dirty="0">
                <a:latin typeface="ABBvoice"/>
                <a:cs typeface="ABBvoice"/>
              </a:rPr>
              <a:t> </a:t>
            </a:r>
            <a:r>
              <a:rPr sz="1400" dirty="0">
                <a:latin typeface="ABBvoice"/>
                <a:cs typeface="ABBvoice"/>
              </a:rPr>
              <a:t>Motion</a:t>
            </a:r>
            <a:r>
              <a:rPr sz="1400" spc="-15" dirty="0">
                <a:latin typeface="ABBvoice"/>
                <a:cs typeface="ABBvoice"/>
              </a:rPr>
              <a:t> </a:t>
            </a:r>
            <a:r>
              <a:rPr sz="1400" dirty="0">
                <a:latin typeface="ABBvoice"/>
                <a:cs typeface="ABBvoice"/>
              </a:rPr>
              <a:t>business</a:t>
            </a:r>
            <a:r>
              <a:rPr sz="1400" spc="-20" dirty="0">
                <a:latin typeface="ABBvoice"/>
                <a:cs typeface="ABBvoice"/>
              </a:rPr>
              <a:t> </a:t>
            </a:r>
            <a:r>
              <a:rPr sz="1400" dirty="0">
                <a:latin typeface="ABBvoice"/>
                <a:cs typeface="ABBvoice"/>
              </a:rPr>
              <a:t>is</a:t>
            </a:r>
            <a:r>
              <a:rPr sz="1400" spc="-55" dirty="0">
                <a:latin typeface="ABBvoice"/>
                <a:cs typeface="ABBvoice"/>
              </a:rPr>
              <a:t> </a:t>
            </a:r>
            <a:r>
              <a:rPr sz="1400" dirty="0">
                <a:latin typeface="ABBvoice"/>
                <a:cs typeface="ABBvoice"/>
              </a:rPr>
              <a:t>the</a:t>
            </a:r>
            <a:r>
              <a:rPr sz="1400" spc="-20" dirty="0">
                <a:latin typeface="ABBvoice"/>
                <a:cs typeface="ABBvoice"/>
              </a:rPr>
              <a:t> </a:t>
            </a:r>
            <a:r>
              <a:rPr sz="1400" dirty="0">
                <a:latin typeface="ABBvoice"/>
                <a:cs typeface="ABBvoice"/>
              </a:rPr>
              <a:t>largest</a:t>
            </a:r>
            <a:r>
              <a:rPr sz="1400" spc="-25" dirty="0">
                <a:latin typeface="ABBvoice"/>
                <a:cs typeface="ABBvoice"/>
              </a:rPr>
              <a:t> </a:t>
            </a:r>
            <a:r>
              <a:rPr sz="1400" dirty="0">
                <a:latin typeface="ABBvoice"/>
                <a:cs typeface="ABBvoice"/>
              </a:rPr>
              <a:t>supplier</a:t>
            </a:r>
            <a:r>
              <a:rPr sz="1400" spc="-10" dirty="0">
                <a:latin typeface="ABBvoice"/>
                <a:cs typeface="ABBvoice"/>
              </a:rPr>
              <a:t> </a:t>
            </a:r>
            <a:r>
              <a:rPr sz="1400" dirty="0">
                <a:latin typeface="ABBvoice"/>
                <a:cs typeface="ABBvoice"/>
              </a:rPr>
              <a:t>of</a:t>
            </a:r>
            <a:r>
              <a:rPr sz="1400" spc="-45" dirty="0">
                <a:latin typeface="ABBvoice"/>
                <a:cs typeface="ABBvoice"/>
              </a:rPr>
              <a:t> </a:t>
            </a:r>
            <a:r>
              <a:rPr sz="1400" dirty="0">
                <a:latin typeface="ABBvoice"/>
                <a:cs typeface="ABBvoice"/>
              </a:rPr>
              <a:t>drives</a:t>
            </a:r>
            <a:r>
              <a:rPr sz="1400" spc="-40" dirty="0">
                <a:latin typeface="ABBvoice"/>
                <a:cs typeface="ABBvoice"/>
              </a:rPr>
              <a:t> </a:t>
            </a:r>
            <a:r>
              <a:rPr sz="1400" spc="-25" dirty="0">
                <a:latin typeface="ABBvoice"/>
                <a:cs typeface="ABBvoice"/>
              </a:rPr>
              <a:t>and </a:t>
            </a:r>
            <a:r>
              <a:rPr sz="1400" dirty="0">
                <a:latin typeface="ABBvoice"/>
                <a:cs typeface="ABBvoice"/>
              </a:rPr>
              <a:t>motors,</a:t>
            </a:r>
            <a:r>
              <a:rPr sz="1400" spc="-40" dirty="0">
                <a:latin typeface="ABBvoice"/>
                <a:cs typeface="ABBvoice"/>
              </a:rPr>
              <a:t> </a:t>
            </a:r>
            <a:r>
              <a:rPr sz="1400" dirty="0">
                <a:latin typeface="ABBvoice"/>
                <a:cs typeface="ABBvoice"/>
              </a:rPr>
              <a:t>globally.</a:t>
            </a:r>
            <a:r>
              <a:rPr sz="1400" spc="-20" dirty="0">
                <a:latin typeface="ABBvoice"/>
                <a:cs typeface="ABBvoice"/>
              </a:rPr>
              <a:t> </a:t>
            </a:r>
            <a:r>
              <a:rPr sz="1400" dirty="0">
                <a:latin typeface="ABBvoice"/>
                <a:cs typeface="ABBvoice"/>
              </a:rPr>
              <a:t>We</a:t>
            </a:r>
            <a:r>
              <a:rPr sz="1400" spc="-40" dirty="0">
                <a:latin typeface="ABBvoice"/>
                <a:cs typeface="ABBvoice"/>
              </a:rPr>
              <a:t> </a:t>
            </a:r>
            <a:r>
              <a:rPr sz="1400" dirty="0">
                <a:latin typeface="ABBvoice"/>
                <a:cs typeface="ABBvoice"/>
              </a:rPr>
              <a:t>provide</a:t>
            </a:r>
            <a:r>
              <a:rPr sz="1400" spc="-20" dirty="0">
                <a:latin typeface="ABBvoice"/>
                <a:cs typeface="ABBvoice"/>
              </a:rPr>
              <a:t> </a:t>
            </a:r>
            <a:r>
              <a:rPr sz="1400" dirty="0">
                <a:latin typeface="ABBvoice"/>
                <a:cs typeface="ABBvoice"/>
              </a:rPr>
              <a:t>customers</a:t>
            </a:r>
            <a:r>
              <a:rPr sz="1400" spc="-15" dirty="0">
                <a:latin typeface="ABBvoice"/>
                <a:cs typeface="ABBvoice"/>
              </a:rPr>
              <a:t> </a:t>
            </a:r>
            <a:r>
              <a:rPr sz="1400" dirty="0">
                <a:latin typeface="ABBvoice"/>
                <a:cs typeface="ABBvoice"/>
              </a:rPr>
              <a:t>with</a:t>
            </a:r>
            <a:r>
              <a:rPr sz="1400" spc="-45" dirty="0">
                <a:latin typeface="ABBvoice"/>
                <a:cs typeface="ABBvoice"/>
              </a:rPr>
              <a:t> </a:t>
            </a:r>
            <a:r>
              <a:rPr sz="1400" dirty="0">
                <a:latin typeface="ABBvoice"/>
                <a:cs typeface="ABBvoice"/>
              </a:rPr>
              <a:t>the</a:t>
            </a:r>
            <a:r>
              <a:rPr sz="1400" spc="-40" dirty="0">
                <a:latin typeface="ABBvoice"/>
                <a:cs typeface="ABBvoice"/>
              </a:rPr>
              <a:t> </a:t>
            </a:r>
            <a:r>
              <a:rPr sz="1400" spc="-10" dirty="0">
                <a:latin typeface="ABBvoice"/>
                <a:cs typeface="ABBvoice"/>
              </a:rPr>
              <a:t>complete </a:t>
            </a:r>
            <a:r>
              <a:rPr sz="1400" dirty="0">
                <a:latin typeface="ABBvoice"/>
                <a:cs typeface="ABBvoice"/>
              </a:rPr>
              <a:t>range</a:t>
            </a:r>
            <a:r>
              <a:rPr sz="1400" spc="-25" dirty="0">
                <a:latin typeface="ABBvoice"/>
                <a:cs typeface="ABBvoice"/>
              </a:rPr>
              <a:t> </a:t>
            </a:r>
            <a:r>
              <a:rPr sz="1400" dirty="0">
                <a:latin typeface="ABBvoice"/>
                <a:cs typeface="ABBvoice"/>
              </a:rPr>
              <a:t>of</a:t>
            </a:r>
            <a:r>
              <a:rPr sz="1400" spc="-50" dirty="0">
                <a:latin typeface="ABBvoice"/>
                <a:cs typeface="ABBvoice"/>
              </a:rPr>
              <a:t> </a:t>
            </a:r>
            <a:r>
              <a:rPr sz="1400" dirty="0">
                <a:latin typeface="ABBvoice"/>
                <a:cs typeface="ABBvoice"/>
              </a:rPr>
              <a:t>electrical</a:t>
            </a:r>
            <a:r>
              <a:rPr sz="1400" spc="-45" dirty="0">
                <a:latin typeface="ABBvoice"/>
                <a:cs typeface="ABBvoice"/>
              </a:rPr>
              <a:t> </a:t>
            </a:r>
            <a:r>
              <a:rPr sz="1400" dirty="0">
                <a:latin typeface="ABBvoice"/>
                <a:cs typeface="ABBvoice"/>
              </a:rPr>
              <a:t>motors,</a:t>
            </a:r>
            <a:r>
              <a:rPr sz="1400" spc="-20" dirty="0">
                <a:latin typeface="ABBvoice"/>
                <a:cs typeface="ABBvoice"/>
              </a:rPr>
              <a:t> </a:t>
            </a:r>
            <a:r>
              <a:rPr sz="1400" dirty="0">
                <a:latin typeface="ABBvoice"/>
                <a:cs typeface="ABBvoice"/>
              </a:rPr>
              <a:t>generators,</a:t>
            </a:r>
            <a:r>
              <a:rPr sz="1400" spc="-15" dirty="0">
                <a:latin typeface="ABBvoice"/>
                <a:cs typeface="ABBvoice"/>
              </a:rPr>
              <a:t> </a:t>
            </a:r>
            <a:r>
              <a:rPr sz="1400" dirty="0">
                <a:latin typeface="ABBvoice"/>
                <a:cs typeface="ABBvoice"/>
              </a:rPr>
              <a:t>drives</a:t>
            </a:r>
            <a:r>
              <a:rPr sz="1400" spc="-20" dirty="0">
                <a:latin typeface="ABBvoice"/>
                <a:cs typeface="ABBvoice"/>
              </a:rPr>
              <a:t> </a:t>
            </a:r>
            <a:r>
              <a:rPr sz="1400" dirty="0">
                <a:latin typeface="ABBvoice"/>
                <a:cs typeface="ABBvoice"/>
              </a:rPr>
              <a:t>and</a:t>
            </a:r>
            <a:r>
              <a:rPr sz="1400" spc="-50" dirty="0">
                <a:latin typeface="ABBvoice"/>
                <a:cs typeface="ABBvoice"/>
              </a:rPr>
              <a:t> </a:t>
            </a:r>
            <a:r>
              <a:rPr sz="1400" dirty="0">
                <a:latin typeface="ABBvoice"/>
                <a:cs typeface="ABBvoice"/>
              </a:rPr>
              <a:t>services,</a:t>
            </a:r>
            <a:r>
              <a:rPr sz="1400" spc="-20" dirty="0">
                <a:latin typeface="ABBvoice"/>
                <a:cs typeface="ABBvoice"/>
              </a:rPr>
              <a:t> </a:t>
            </a:r>
            <a:r>
              <a:rPr sz="1400" spc="-25" dirty="0">
                <a:latin typeface="ABBvoice"/>
                <a:cs typeface="ABBvoice"/>
              </a:rPr>
              <a:t>as </a:t>
            </a:r>
            <a:r>
              <a:rPr sz="1400" dirty="0">
                <a:latin typeface="ABBvoice"/>
                <a:cs typeface="ABBvoice"/>
              </a:rPr>
              <a:t>well</a:t>
            </a:r>
            <a:r>
              <a:rPr sz="1400" spc="-80" dirty="0">
                <a:latin typeface="ABBvoice"/>
                <a:cs typeface="ABBvoice"/>
              </a:rPr>
              <a:t> </a:t>
            </a:r>
            <a:r>
              <a:rPr sz="1400" dirty="0">
                <a:latin typeface="ABBvoice"/>
                <a:cs typeface="ABBvoice"/>
              </a:rPr>
              <a:t>as</a:t>
            </a:r>
            <a:r>
              <a:rPr sz="1400" spc="-60" dirty="0">
                <a:latin typeface="ABBvoice"/>
                <a:cs typeface="ABBvoice"/>
              </a:rPr>
              <a:t> </a:t>
            </a:r>
            <a:r>
              <a:rPr sz="1400" dirty="0">
                <a:latin typeface="ABBvoice"/>
                <a:cs typeface="ABBvoice"/>
              </a:rPr>
              <a:t>integrated</a:t>
            </a:r>
            <a:r>
              <a:rPr sz="1400" spc="-10" dirty="0">
                <a:latin typeface="ABBvoice"/>
                <a:cs typeface="ABBvoice"/>
              </a:rPr>
              <a:t> </a:t>
            </a:r>
            <a:r>
              <a:rPr sz="1400" dirty="0">
                <a:latin typeface="ABBvoice"/>
                <a:cs typeface="ABBvoice"/>
              </a:rPr>
              <a:t>digital</a:t>
            </a:r>
            <a:r>
              <a:rPr sz="1400" spc="-20" dirty="0">
                <a:latin typeface="ABBvoice"/>
                <a:cs typeface="ABBvoice"/>
              </a:rPr>
              <a:t> </a:t>
            </a:r>
            <a:r>
              <a:rPr sz="1400" dirty="0">
                <a:latin typeface="ABBvoice"/>
                <a:cs typeface="ABBvoice"/>
              </a:rPr>
              <a:t>powertrain</a:t>
            </a:r>
            <a:r>
              <a:rPr sz="1400" spc="-50" dirty="0">
                <a:latin typeface="ABBvoice"/>
                <a:cs typeface="ABBvoice"/>
              </a:rPr>
              <a:t> </a:t>
            </a:r>
            <a:r>
              <a:rPr sz="1400" spc="-10" dirty="0">
                <a:latin typeface="ABBvoice"/>
                <a:cs typeface="ABBvoice"/>
              </a:rPr>
              <a:t>solutions.</a:t>
            </a:r>
            <a:endParaRPr sz="1400" dirty="0">
              <a:latin typeface="ABBvoice"/>
              <a:cs typeface="ABBvoice"/>
            </a:endParaRPr>
          </a:p>
        </p:txBody>
      </p:sp>
      <p:graphicFrame>
        <p:nvGraphicFramePr>
          <p:cNvPr id="6" name="object 6"/>
          <p:cNvGraphicFramePr>
            <a:graphicFrameLocks noGrp="1"/>
          </p:cNvGraphicFramePr>
          <p:nvPr>
            <p:extLst>
              <p:ext uri="{D42A27DB-BD31-4B8C-83A1-F6EECF244321}">
                <p14:modId xmlns:p14="http://schemas.microsoft.com/office/powerpoint/2010/main" val="1746810584"/>
              </p:ext>
            </p:extLst>
          </p:nvPr>
        </p:nvGraphicFramePr>
        <p:xfrm>
          <a:off x="2006091" y="4405203"/>
          <a:ext cx="2818765" cy="1195705"/>
        </p:xfrm>
        <a:graphic>
          <a:graphicData uri="http://schemas.openxmlformats.org/drawingml/2006/table">
            <a:tbl>
              <a:tblPr firstRow="1" bandRow="1">
                <a:tableStyleId>{2D5ABB26-0587-4C30-8999-92F81FD0307C}</a:tableStyleId>
              </a:tblPr>
              <a:tblGrid>
                <a:gridCol w="2818765">
                  <a:extLst>
                    <a:ext uri="{9D8B030D-6E8A-4147-A177-3AD203B41FA5}">
                      <a16:colId xmlns:a16="http://schemas.microsoft.com/office/drawing/2014/main" val="20000"/>
                    </a:ext>
                  </a:extLst>
                </a:gridCol>
              </a:tblGrid>
              <a:tr h="598170">
                <a:tc>
                  <a:txBody>
                    <a:bodyPr/>
                    <a:lstStyle/>
                    <a:p>
                      <a:pPr marL="31750">
                        <a:lnSpc>
                          <a:spcPts val="1835"/>
                        </a:lnSpc>
                        <a:tabLst>
                          <a:tab pos="1335405" algn="l"/>
                        </a:tabLst>
                      </a:pPr>
                      <a:endParaRPr sz="2000" dirty="0">
                        <a:latin typeface="ABBvoice"/>
                        <a:cs typeface="ABBvoice"/>
                      </a:endParaRPr>
                    </a:p>
                  </a:txBody>
                  <a:tcPr marL="0" marR="0" marT="0" marB="0"/>
                </a:tc>
                <a:extLst>
                  <a:ext uri="{0D108BD9-81ED-4DB2-BD59-A6C34878D82A}">
                    <a16:rowId xmlns:a16="http://schemas.microsoft.com/office/drawing/2014/main" val="10000"/>
                  </a:ext>
                </a:extLst>
              </a:tr>
              <a:tr h="597535">
                <a:tc>
                  <a:txBody>
                    <a:bodyPr/>
                    <a:lstStyle/>
                    <a:p>
                      <a:pPr>
                        <a:lnSpc>
                          <a:spcPct val="100000"/>
                        </a:lnSpc>
                        <a:spcBef>
                          <a:spcPts val="20"/>
                        </a:spcBef>
                      </a:pPr>
                      <a:endParaRPr sz="1850" dirty="0">
                        <a:latin typeface="Times New Roman"/>
                        <a:cs typeface="Times New Roman"/>
                      </a:endParaRPr>
                    </a:p>
                    <a:p>
                      <a:pPr marL="31750">
                        <a:lnSpc>
                          <a:spcPct val="100000"/>
                        </a:lnSpc>
                        <a:tabLst>
                          <a:tab pos="1795780" algn="l"/>
                        </a:tabLst>
                      </a:pPr>
                      <a:r>
                        <a:rPr sz="2000" b="1" spc="-10" dirty="0">
                          <a:latin typeface="ABBvoice"/>
                          <a:cs typeface="ABBvoice"/>
                        </a:rPr>
                        <a:t>Employees</a:t>
                      </a:r>
                      <a:r>
                        <a:rPr sz="2000" b="1" dirty="0">
                          <a:latin typeface="ABBvoice"/>
                          <a:cs typeface="ABBvoice"/>
                        </a:rPr>
                        <a:t>	</a:t>
                      </a:r>
                      <a:r>
                        <a:rPr lang="en-US" sz="2000" spc="-25" dirty="0">
                          <a:latin typeface="ABBvoice"/>
                          <a:cs typeface="ABBvoice"/>
                        </a:rPr>
                        <a:t>163</a:t>
                      </a:r>
                      <a:endParaRPr sz="2000" dirty="0">
                        <a:latin typeface="ABBvoice"/>
                        <a:cs typeface="ABBvoice"/>
                      </a:endParaRPr>
                    </a:p>
                  </a:txBody>
                  <a:tcPr marL="0" marR="0" marT="2540" marB="0"/>
                </a:tc>
                <a:extLst>
                  <a:ext uri="{0D108BD9-81ED-4DB2-BD59-A6C34878D82A}">
                    <a16:rowId xmlns:a16="http://schemas.microsoft.com/office/drawing/2014/main" val="10001"/>
                  </a:ext>
                </a:extLst>
              </a:tr>
            </a:tbl>
          </a:graphicData>
        </a:graphic>
      </p:graphicFrame>
      <p:pic>
        <p:nvPicPr>
          <p:cNvPr id="8" name="object 8"/>
          <p:cNvPicPr/>
          <p:nvPr/>
        </p:nvPicPr>
        <p:blipFill>
          <a:blip r:embed="rId3" cstate="print"/>
          <a:stretch>
            <a:fillRect/>
          </a:stretch>
        </p:blipFill>
        <p:spPr>
          <a:xfrm>
            <a:off x="966216" y="5200180"/>
            <a:ext cx="685424" cy="535445"/>
          </a:xfrm>
          <a:prstGeom prst="rect">
            <a:avLst/>
          </a:prstGeom>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11405620" y="6397627"/>
            <a:ext cx="504190" cy="194945"/>
          </a:xfrm>
          <a:custGeom>
            <a:avLst/>
            <a:gdLst/>
            <a:ahLst/>
            <a:cxnLst/>
            <a:rect l="l" t="t" r="r" b="b"/>
            <a:pathLst>
              <a:path w="504190" h="194945">
                <a:moveTo>
                  <a:pt x="338644" y="100369"/>
                </a:moveTo>
                <a:lnTo>
                  <a:pt x="274888" y="100369"/>
                </a:lnTo>
                <a:lnTo>
                  <a:pt x="274888" y="194936"/>
                </a:lnTo>
                <a:lnTo>
                  <a:pt x="286644" y="194936"/>
                </a:lnTo>
                <a:lnTo>
                  <a:pt x="286644" y="194804"/>
                </a:lnTo>
                <a:lnTo>
                  <a:pt x="310760" y="188795"/>
                </a:lnTo>
                <a:lnTo>
                  <a:pt x="329548" y="175119"/>
                </a:lnTo>
                <a:lnTo>
                  <a:pt x="341746" y="155559"/>
                </a:lnTo>
                <a:lnTo>
                  <a:pt x="346092" y="131893"/>
                </a:lnTo>
                <a:lnTo>
                  <a:pt x="345681" y="123443"/>
                </a:lnTo>
                <a:lnTo>
                  <a:pt x="344377" y="115340"/>
                </a:lnTo>
                <a:lnTo>
                  <a:pt x="342068" y="107632"/>
                </a:lnTo>
                <a:lnTo>
                  <a:pt x="338644" y="100369"/>
                </a:lnTo>
                <a:close/>
              </a:path>
              <a:path w="504190" h="194945">
                <a:moveTo>
                  <a:pt x="269138" y="100369"/>
                </a:moveTo>
                <a:lnTo>
                  <a:pt x="210608" y="100369"/>
                </a:lnTo>
                <a:lnTo>
                  <a:pt x="210608" y="194936"/>
                </a:lnTo>
                <a:lnTo>
                  <a:pt x="269138" y="194936"/>
                </a:lnTo>
                <a:lnTo>
                  <a:pt x="269138" y="100369"/>
                </a:lnTo>
                <a:close/>
              </a:path>
              <a:path w="504190" h="194945">
                <a:moveTo>
                  <a:pt x="288606" y="0"/>
                </a:moveTo>
                <a:lnTo>
                  <a:pt x="274888" y="0"/>
                </a:lnTo>
                <a:lnTo>
                  <a:pt x="274888" y="94564"/>
                </a:lnTo>
                <a:lnTo>
                  <a:pt x="334856" y="94564"/>
                </a:lnTo>
                <a:lnTo>
                  <a:pt x="330088" y="88718"/>
                </a:lnTo>
                <a:lnTo>
                  <a:pt x="324646" y="83502"/>
                </a:lnTo>
                <a:lnTo>
                  <a:pt x="318593" y="79003"/>
                </a:lnTo>
                <a:lnTo>
                  <a:pt x="311989" y="75308"/>
                </a:lnTo>
                <a:lnTo>
                  <a:pt x="319190" y="68805"/>
                </a:lnTo>
                <a:lnTo>
                  <a:pt x="324713" y="60768"/>
                </a:lnTo>
                <a:lnTo>
                  <a:pt x="328251" y="51494"/>
                </a:lnTo>
                <a:lnTo>
                  <a:pt x="329499" y="41281"/>
                </a:lnTo>
                <a:lnTo>
                  <a:pt x="326288" y="25205"/>
                </a:lnTo>
                <a:lnTo>
                  <a:pt x="317529" y="12084"/>
                </a:lnTo>
                <a:lnTo>
                  <a:pt x="304531" y="3241"/>
                </a:lnTo>
                <a:lnTo>
                  <a:pt x="288606" y="0"/>
                </a:lnTo>
                <a:close/>
              </a:path>
              <a:path w="504190" h="194945">
                <a:moveTo>
                  <a:pt x="269138" y="0"/>
                </a:moveTo>
                <a:lnTo>
                  <a:pt x="210608" y="0"/>
                </a:lnTo>
                <a:lnTo>
                  <a:pt x="210608" y="94564"/>
                </a:lnTo>
                <a:lnTo>
                  <a:pt x="269138" y="94564"/>
                </a:lnTo>
                <a:lnTo>
                  <a:pt x="269138" y="0"/>
                </a:lnTo>
                <a:close/>
              </a:path>
              <a:path w="504190" h="194945">
                <a:moveTo>
                  <a:pt x="496731" y="100369"/>
                </a:moveTo>
                <a:lnTo>
                  <a:pt x="432843" y="100369"/>
                </a:lnTo>
                <a:lnTo>
                  <a:pt x="432843" y="194936"/>
                </a:lnTo>
                <a:lnTo>
                  <a:pt x="444598" y="194936"/>
                </a:lnTo>
                <a:lnTo>
                  <a:pt x="444598" y="194804"/>
                </a:lnTo>
                <a:lnTo>
                  <a:pt x="468715" y="188795"/>
                </a:lnTo>
                <a:lnTo>
                  <a:pt x="487503" y="175119"/>
                </a:lnTo>
                <a:lnTo>
                  <a:pt x="499700" y="155559"/>
                </a:lnTo>
                <a:lnTo>
                  <a:pt x="504046" y="131893"/>
                </a:lnTo>
                <a:lnTo>
                  <a:pt x="503638" y="123443"/>
                </a:lnTo>
                <a:lnTo>
                  <a:pt x="502348" y="115340"/>
                </a:lnTo>
                <a:lnTo>
                  <a:pt x="500078" y="107632"/>
                </a:lnTo>
                <a:lnTo>
                  <a:pt x="496731" y="100369"/>
                </a:lnTo>
                <a:close/>
              </a:path>
              <a:path w="504190" h="194945">
                <a:moveTo>
                  <a:pt x="427093" y="100369"/>
                </a:moveTo>
                <a:lnTo>
                  <a:pt x="368562" y="100369"/>
                </a:lnTo>
                <a:lnTo>
                  <a:pt x="368562" y="194936"/>
                </a:lnTo>
                <a:lnTo>
                  <a:pt x="427093" y="194936"/>
                </a:lnTo>
                <a:lnTo>
                  <a:pt x="427093" y="100369"/>
                </a:lnTo>
                <a:close/>
              </a:path>
              <a:path w="504190" h="194945">
                <a:moveTo>
                  <a:pt x="446560" y="0"/>
                </a:moveTo>
                <a:lnTo>
                  <a:pt x="432843" y="0"/>
                </a:lnTo>
                <a:lnTo>
                  <a:pt x="432843" y="94564"/>
                </a:lnTo>
                <a:lnTo>
                  <a:pt x="492939" y="94564"/>
                </a:lnTo>
                <a:lnTo>
                  <a:pt x="488097" y="88718"/>
                </a:lnTo>
                <a:lnTo>
                  <a:pt x="482619" y="83502"/>
                </a:lnTo>
                <a:lnTo>
                  <a:pt x="476553" y="79003"/>
                </a:lnTo>
                <a:lnTo>
                  <a:pt x="469948" y="75308"/>
                </a:lnTo>
                <a:lnTo>
                  <a:pt x="477148" y="68805"/>
                </a:lnTo>
                <a:lnTo>
                  <a:pt x="482669" y="60768"/>
                </a:lnTo>
                <a:lnTo>
                  <a:pt x="486206" y="51494"/>
                </a:lnTo>
                <a:lnTo>
                  <a:pt x="487454" y="41281"/>
                </a:lnTo>
                <a:lnTo>
                  <a:pt x="484242" y="25205"/>
                </a:lnTo>
                <a:lnTo>
                  <a:pt x="475483" y="12084"/>
                </a:lnTo>
                <a:lnTo>
                  <a:pt x="462486" y="3241"/>
                </a:lnTo>
                <a:lnTo>
                  <a:pt x="446560" y="0"/>
                </a:lnTo>
                <a:close/>
              </a:path>
              <a:path w="504190" h="194945">
                <a:moveTo>
                  <a:pt x="427093" y="0"/>
                </a:moveTo>
                <a:lnTo>
                  <a:pt x="368562" y="0"/>
                </a:lnTo>
                <a:lnTo>
                  <a:pt x="368562" y="94564"/>
                </a:lnTo>
                <a:lnTo>
                  <a:pt x="427093" y="94564"/>
                </a:lnTo>
                <a:lnTo>
                  <a:pt x="427093" y="0"/>
                </a:lnTo>
                <a:close/>
              </a:path>
              <a:path w="504190" h="194945">
                <a:moveTo>
                  <a:pt x="93546" y="100369"/>
                </a:moveTo>
                <a:lnTo>
                  <a:pt x="33054" y="100369"/>
                </a:lnTo>
                <a:lnTo>
                  <a:pt x="0" y="194936"/>
                </a:lnTo>
                <a:lnTo>
                  <a:pt x="48733" y="194936"/>
                </a:lnTo>
                <a:lnTo>
                  <a:pt x="62319" y="153522"/>
                </a:lnTo>
                <a:lnTo>
                  <a:pt x="93546" y="153522"/>
                </a:lnTo>
                <a:lnTo>
                  <a:pt x="93546" y="100369"/>
                </a:lnTo>
                <a:close/>
              </a:path>
              <a:path w="504190" h="194945">
                <a:moveTo>
                  <a:pt x="93546" y="0"/>
                </a:moveTo>
                <a:lnTo>
                  <a:pt x="68201" y="0"/>
                </a:lnTo>
                <a:lnTo>
                  <a:pt x="35144" y="94564"/>
                </a:lnTo>
                <a:lnTo>
                  <a:pt x="93546" y="94564"/>
                </a:lnTo>
                <a:lnTo>
                  <a:pt x="93546" y="0"/>
                </a:lnTo>
                <a:close/>
              </a:path>
              <a:path w="504190" h="194945">
                <a:moveTo>
                  <a:pt x="159917" y="100369"/>
                </a:moveTo>
                <a:lnTo>
                  <a:pt x="99424" y="100369"/>
                </a:lnTo>
                <a:lnTo>
                  <a:pt x="99424" y="153522"/>
                </a:lnTo>
                <a:lnTo>
                  <a:pt x="130647" y="153522"/>
                </a:lnTo>
                <a:lnTo>
                  <a:pt x="144237" y="194936"/>
                </a:lnTo>
                <a:lnTo>
                  <a:pt x="192970" y="194936"/>
                </a:lnTo>
                <a:lnTo>
                  <a:pt x="159917" y="100369"/>
                </a:lnTo>
                <a:close/>
              </a:path>
              <a:path w="504190" h="194945">
                <a:moveTo>
                  <a:pt x="124769" y="0"/>
                </a:moveTo>
                <a:lnTo>
                  <a:pt x="99424" y="0"/>
                </a:lnTo>
                <a:lnTo>
                  <a:pt x="99424" y="94564"/>
                </a:lnTo>
                <a:lnTo>
                  <a:pt x="157822" y="94564"/>
                </a:lnTo>
                <a:lnTo>
                  <a:pt x="124769" y="0"/>
                </a:lnTo>
                <a:close/>
              </a:path>
            </a:pathLst>
          </a:custGeom>
          <a:solidFill>
            <a:srgbClr val="EC1F23"/>
          </a:solidFill>
        </p:spPr>
        <p:txBody>
          <a:bodyPr wrap="square" lIns="0" tIns="0" rIns="0" bIns="0" rtlCol="0"/>
          <a:lstStyle/>
          <a:p>
            <a:endParaRPr/>
          </a:p>
        </p:txBody>
      </p:sp>
      <p:sp>
        <p:nvSpPr>
          <p:cNvPr id="3" name="object 3"/>
          <p:cNvSpPr/>
          <p:nvPr/>
        </p:nvSpPr>
        <p:spPr>
          <a:xfrm>
            <a:off x="278891" y="6094476"/>
            <a:ext cx="11628755" cy="0"/>
          </a:xfrm>
          <a:custGeom>
            <a:avLst/>
            <a:gdLst/>
            <a:ahLst/>
            <a:cxnLst/>
            <a:rect l="l" t="t" r="r" b="b"/>
            <a:pathLst>
              <a:path w="11628755">
                <a:moveTo>
                  <a:pt x="0" y="0"/>
                </a:moveTo>
                <a:lnTo>
                  <a:pt x="11628247" y="0"/>
                </a:lnTo>
              </a:path>
            </a:pathLst>
          </a:custGeom>
          <a:ln w="12700">
            <a:solidFill>
              <a:srgbClr val="9F9F9F"/>
            </a:solidFill>
          </a:ln>
        </p:spPr>
        <p:txBody>
          <a:bodyPr wrap="square" lIns="0" tIns="0" rIns="0" bIns="0" rtlCol="0"/>
          <a:lstStyle/>
          <a:p>
            <a:endParaRPr/>
          </a:p>
        </p:txBody>
      </p:sp>
      <p:sp>
        <p:nvSpPr>
          <p:cNvPr id="7" name="object 7"/>
          <p:cNvSpPr/>
          <p:nvPr/>
        </p:nvSpPr>
        <p:spPr>
          <a:xfrm>
            <a:off x="4422648" y="2445765"/>
            <a:ext cx="7422515" cy="12700"/>
          </a:xfrm>
          <a:custGeom>
            <a:avLst/>
            <a:gdLst/>
            <a:ahLst/>
            <a:cxnLst/>
            <a:rect l="l" t="t" r="r" b="b"/>
            <a:pathLst>
              <a:path w="7422515" h="12700">
                <a:moveTo>
                  <a:pt x="7422261" y="0"/>
                </a:moveTo>
                <a:lnTo>
                  <a:pt x="0" y="0"/>
                </a:lnTo>
                <a:lnTo>
                  <a:pt x="0" y="12700"/>
                </a:lnTo>
                <a:lnTo>
                  <a:pt x="7422261" y="12700"/>
                </a:lnTo>
                <a:lnTo>
                  <a:pt x="7422261" y="0"/>
                </a:lnTo>
                <a:close/>
              </a:path>
            </a:pathLst>
          </a:custGeom>
          <a:solidFill>
            <a:srgbClr val="000000"/>
          </a:solidFill>
        </p:spPr>
        <p:txBody>
          <a:bodyPr wrap="square" lIns="0" tIns="0" rIns="0" bIns="0" rtlCol="0"/>
          <a:lstStyle/>
          <a:p>
            <a:endParaRPr/>
          </a:p>
        </p:txBody>
      </p:sp>
      <p:sp>
        <p:nvSpPr>
          <p:cNvPr id="8" name="object 8"/>
          <p:cNvSpPr txBox="1"/>
          <p:nvPr/>
        </p:nvSpPr>
        <p:spPr>
          <a:xfrm>
            <a:off x="406032" y="1174695"/>
            <a:ext cx="8543494" cy="382797"/>
          </a:xfrm>
          <a:prstGeom prst="rect">
            <a:avLst/>
          </a:prstGeom>
        </p:spPr>
        <p:txBody>
          <a:bodyPr vert="horz" wrap="square" lIns="0" tIns="13335" rIns="0" bIns="0" rtlCol="0">
            <a:spAutoFit/>
          </a:bodyPr>
          <a:lstStyle/>
          <a:p>
            <a:pPr marL="12700">
              <a:lnSpc>
                <a:spcPct val="100000"/>
              </a:lnSpc>
              <a:spcBef>
                <a:spcPts val="105"/>
              </a:spcBef>
            </a:pPr>
            <a:r>
              <a:rPr sz="2400">
                <a:latin typeface="ABBvoice Light" panose="020D0403020503020204" pitchFamily="34" charset="0"/>
                <a:ea typeface="ABBvoice Light" panose="020D0403020503020204" pitchFamily="34" charset="0"/>
                <a:cs typeface="ABBvoice Light" panose="020D0403020503020204" pitchFamily="34" charset="0"/>
              </a:rPr>
              <a:t>We</a:t>
            </a:r>
            <a:r>
              <a:rPr sz="2400" spc="-2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keep</a:t>
            </a:r>
            <a:r>
              <a:rPr sz="2400" spc="-2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the</a:t>
            </a:r>
            <a:r>
              <a:rPr sz="2400" spc="-2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world</a:t>
            </a:r>
            <a:r>
              <a:rPr sz="2400" spc="-4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turning -</a:t>
            </a:r>
            <a:r>
              <a:rPr sz="2400" spc="-1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while</a:t>
            </a:r>
            <a:r>
              <a:rPr sz="2400" spc="-3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saving</a:t>
            </a:r>
            <a:r>
              <a:rPr sz="2400" spc="-1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energy</a:t>
            </a:r>
            <a:r>
              <a:rPr sz="2400" spc="5">
                <a:latin typeface="ABBvoice Light" panose="020D0403020503020204" pitchFamily="34" charset="0"/>
                <a:ea typeface="ABBvoice Light" panose="020D0403020503020204" pitchFamily="34" charset="0"/>
                <a:cs typeface="ABBvoice Light" panose="020D0403020503020204" pitchFamily="34" charset="0"/>
              </a:rPr>
              <a:t> </a:t>
            </a:r>
            <a:r>
              <a:rPr sz="2400" spc="-10">
                <a:latin typeface="ABBvoice Light" panose="020D0403020503020204" pitchFamily="34" charset="0"/>
                <a:ea typeface="ABBvoice Light" panose="020D0403020503020204" pitchFamily="34" charset="0"/>
                <a:cs typeface="ABBvoice Light" panose="020D0403020503020204" pitchFamily="34" charset="0"/>
              </a:rPr>
              <a:t>everyday</a:t>
            </a:r>
            <a:endParaRPr sz="240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9" name="object 9"/>
          <p:cNvSpPr txBox="1">
            <a:spLocks noGrp="1"/>
          </p:cNvSpPr>
          <p:nvPr>
            <p:ph type="title"/>
          </p:nvPr>
        </p:nvSpPr>
        <p:spPr>
          <a:xfrm>
            <a:off x="406032" y="704854"/>
            <a:ext cx="3223904" cy="444352"/>
          </a:xfrm>
          <a:prstGeom prst="rect">
            <a:avLst/>
          </a:prstGeom>
        </p:spPr>
        <p:txBody>
          <a:bodyPr vert="horz" wrap="square" lIns="0" tIns="13335" rIns="0" bIns="0" rtlCol="0">
            <a:spAutoFit/>
          </a:bodyPr>
          <a:lstStyle/>
          <a:p>
            <a:pPr marL="12700">
              <a:lnSpc>
                <a:spcPct val="100000"/>
              </a:lnSpc>
              <a:spcBef>
                <a:spcPts val="105"/>
              </a:spcBef>
            </a:pPr>
            <a:r>
              <a:rPr sz="2800" b="1" dirty="0"/>
              <a:t>Motion in Canada</a:t>
            </a:r>
          </a:p>
        </p:txBody>
      </p:sp>
      <p:sp>
        <p:nvSpPr>
          <p:cNvPr id="11" name="object 11"/>
          <p:cNvSpPr txBox="1"/>
          <p:nvPr/>
        </p:nvSpPr>
        <p:spPr>
          <a:xfrm>
            <a:off x="435825" y="6417680"/>
            <a:ext cx="2089150" cy="177800"/>
          </a:xfrm>
          <a:prstGeom prst="rect">
            <a:avLst/>
          </a:prstGeom>
        </p:spPr>
        <p:txBody>
          <a:bodyPr vert="horz" wrap="square" lIns="0" tIns="12065" rIns="0" bIns="0" rtlCol="0">
            <a:spAutoFit/>
          </a:bodyPr>
          <a:lstStyle/>
          <a:p>
            <a:pPr marL="12700">
              <a:lnSpc>
                <a:spcPct val="100000"/>
              </a:lnSpc>
              <a:spcBef>
                <a:spcPts val="95"/>
              </a:spcBef>
            </a:pPr>
            <a:r>
              <a:rPr sz="1000">
                <a:solidFill>
                  <a:srgbClr val="9F9F9F"/>
                </a:solidFill>
                <a:latin typeface="Arial"/>
                <a:cs typeface="Arial"/>
              </a:rPr>
              <a:t>1Original</a:t>
            </a:r>
            <a:r>
              <a:rPr sz="1000" spc="245">
                <a:solidFill>
                  <a:srgbClr val="9F9F9F"/>
                </a:solidFill>
                <a:latin typeface="Arial"/>
                <a:cs typeface="Arial"/>
              </a:rPr>
              <a:t> </a:t>
            </a:r>
            <a:r>
              <a:rPr sz="1000">
                <a:solidFill>
                  <a:srgbClr val="9F9F9F"/>
                </a:solidFill>
                <a:latin typeface="Arial"/>
                <a:cs typeface="Arial"/>
              </a:rPr>
              <a:t>Equipment</a:t>
            </a:r>
            <a:r>
              <a:rPr sz="1000" spc="215">
                <a:solidFill>
                  <a:srgbClr val="9F9F9F"/>
                </a:solidFill>
                <a:latin typeface="Arial"/>
                <a:cs typeface="Arial"/>
              </a:rPr>
              <a:t> </a:t>
            </a:r>
            <a:r>
              <a:rPr sz="1000" spc="-10">
                <a:solidFill>
                  <a:srgbClr val="9F9F9F"/>
                </a:solidFill>
                <a:latin typeface="Arial"/>
                <a:cs typeface="Arial"/>
              </a:rPr>
              <a:t>Manufacturer</a:t>
            </a:r>
            <a:endParaRPr sz="1000">
              <a:latin typeface="Arial"/>
              <a:cs typeface="Arial"/>
            </a:endParaRPr>
          </a:p>
        </p:txBody>
      </p:sp>
      <p:sp>
        <p:nvSpPr>
          <p:cNvPr id="13" name="object 13"/>
          <p:cNvSpPr txBox="1"/>
          <p:nvPr/>
        </p:nvSpPr>
        <p:spPr>
          <a:xfrm>
            <a:off x="335076" y="2494300"/>
            <a:ext cx="1724660" cy="772160"/>
          </a:xfrm>
          <a:prstGeom prst="rect">
            <a:avLst/>
          </a:prstGeom>
        </p:spPr>
        <p:txBody>
          <a:bodyPr vert="horz" wrap="square" lIns="0" tIns="50165" rIns="0" bIns="0" rtlCol="0">
            <a:spAutoFit/>
          </a:bodyPr>
          <a:lstStyle/>
          <a:p>
            <a:pPr marL="12700">
              <a:lnSpc>
                <a:spcPct val="100000"/>
              </a:lnSpc>
              <a:spcBef>
                <a:spcPts val="395"/>
              </a:spcBef>
            </a:pPr>
            <a:r>
              <a:rPr sz="1300" b="1">
                <a:latin typeface="ABBvoice"/>
                <a:cs typeface="ABBvoice"/>
              </a:rPr>
              <a:t>Canada</a:t>
            </a:r>
            <a:r>
              <a:rPr sz="1300" b="1" spc="-25">
                <a:latin typeface="ABBvoice"/>
                <a:cs typeface="ABBvoice"/>
              </a:rPr>
              <a:t> #1</a:t>
            </a:r>
            <a:endParaRPr sz="1300">
              <a:latin typeface="ABBvoice"/>
              <a:cs typeface="ABBvoice"/>
            </a:endParaRPr>
          </a:p>
          <a:p>
            <a:pPr marL="12700">
              <a:lnSpc>
                <a:spcPct val="100000"/>
              </a:lnSpc>
              <a:spcBef>
                <a:spcPts val="300"/>
              </a:spcBef>
            </a:pPr>
            <a:r>
              <a:rPr sz="1300">
                <a:latin typeface="ABBvoice"/>
                <a:cs typeface="ABBvoice"/>
              </a:rPr>
              <a:t>#1</a:t>
            </a:r>
            <a:r>
              <a:rPr sz="1300" spc="-35">
                <a:latin typeface="ABBvoice"/>
                <a:cs typeface="ABBvoice"/>
              </a:rPr>
              <a:t> </a:t>
            </a:r>
            <a:r>
              <a:rPr sz="1300">
                <a:latin typeface="ABBvoice"/>
                <a:cs typeface="ABBvoice"/>
              </a:rPr>
              <a:t>in</a:t>
            </a:r>
            <a:r>
              <a:rPr sz="1300" spc="-35">
                <a:latin typeface="ABBvoice"/>
                <a:cs typeface="ABBvoice"/>
              </a:rPr>
              <a:t> </a:t>
            </a:r>
            <a:r>
              <a:rPr sz="1300">
                <a:latin typeface="ABBvoice"/>
                <a:cs typeface="ABBvoice"/>
              </a:rPr>
              <a:t>LV</a:t>
            </a:r>
            <a:r>
              <a:rPr sz="1300" spc="-15">
                <a:latin typeface="ABBvoice"/>
                <a:cs typeface="ABBvoice"/>
              </a:rPr>
              <a:t> </a:t>
            </a:r>
            <a:r>
              <a:rPr sz="1300">
                <a:latin typeface="ABBvoice"/>
                <a:cs typeface="ABBvoice"/>
              </a:rPr>
              <a:t>NEMA</a:t>
            </a:r>
            <a:r>
              <a:rPr sz="1300" spc="-20">
                <a:latin typeface="ABBvoice"/>
                <a:cs typeface="ABBvoice"/>
              </a:rPr>
              <a:t> </a:t>
            </a:r>
            <a:r>
              <a:rPr sz="1300" spc="-10">
                <a:latin typeface="ABBvoice"/>
                <a:cs typeface="ABBvoice"/>
              </a:rPr>
              <a:t>Motors</a:t>
            </a:r>
            <a:endParaRPr sz="1300">
              <a:latin typeface="ABBvoice"/>
              <a:cs typeface="ABBvoice"/>
            </a:endParaRPr>
          </a:p>
          <a:p>
            <a:pPr marL="12700">
              <a:lnSpc>
                <a:spcPct val="100000"/>
              </a:lnSpc>
              <a:spcBef>
                <a:spcPts val="605"/>
              </a:spcBef>
            </a:pPr>
            <a:r>
              <a:rPr sz="1300">
                <a:latin typeface="ABBvoice"/>
                <a:cs typeface="ABBvoice"/>
              </a:rPr>
              <a:t>#1</a:t>
            </a:r>
            <a:r>
              <a:rPr sz="1300" spc="-15">
                <a:latin typeface="ABBvoice"/>
                <a:cs typeface="ABBvoice"/>
              </a:rPr>
              <a:t> </a:t>
            </a:r>
            <a:r>
              <a:rPr sz="1300">
                <a:latin typeface="ABBvoice"/>
                <a:cs typeface="ABBvoice"/>
              </a:rPr>
              <a:t>/</a:t>
            </a:r>
            <a:r>
              <a:rPr sz="1300" spc="-15">
                <a:latin typeface="ABBvoice"/>
                <a:cs typeface="ABBvoice"/>
              </a:rPr>
              <a:t> </a:t>
            </a:r>
            <a:r>
              <a:rPr sz="1300">
                <a:latin typeface="ABBvoice"/>
                <a:cs typeface="ABBvoice"/>
              </a:rPr>
              <a:t>#2</a:t>
            </a:r>
            <a:r>
              <a:rPr sz="1300" spc="-15">
                <a:latin typeface="ABBvoice"/>
                <a:cs typeface="ABBvoice"/>
              </a:rPr>
              <a:t> </a:t>
            </a:r>
            <a:r>
              <a:rPr sz="1300">
                <a:latin typeface="ABBvoice"/>
                <a:cs typeface="ABBvoice"/>
              </a:rPr>
              <a:t>in</a:t>
            </a:r>
            <a:r>
              <a:rPr sz="1300" spc="-15">
                <a:latin typeface="ABBvoice"/>
                <a:cs typeface="ABBvoice"/>
              </a:rPr>
              <a:t> </a:t>
            </a:r>
            <a:r>
              <a:rPr sz="1300">
                <a:latin typeface="ABBvoice"/>
                <a:cs typeface="ABBvoice"/>
              </a:rPr>
              <a:t>LV</a:t>
            </a:r>
            <a:r>
              <a:rPr sz="1300" spc="-15">
                <a:latin typeface="ABBvoice"/>
                <a:cs typeface="ABBvoice"/>
              </a:rPr>
              <a:t> </a:t>
            </a:r>
            <a:r>
              <a:rPr sz="1300" spc="-10">
                <a:latin typeface="ABBvoice"/>
                <a:cs typeface="ABBvoice"/>
              </a:rPr>
              <a:t>Drives</a:t>
            </a:r>
            <a:endParaRPr sz="1300">
              <a:latin typeface="ABBvoice"/>
              <a:cs typeface="ABBvoice"/>
            </a:endParaRPr>
          </a:p>
        </p:txBody>
      </p:sp>
      <p:sp>
        <p:nvSpPr>
          <p:cNvPr id="14" name="object 14"/>
          <p:cNvSpPr txBox="1"/>
          <p:nvPr/>
        </p:nvSpPr>
        <p:spPr>
          <a:xfrm>
            <a:off x="335076" y="3355975"/>
            <a:ext cx="2618105" cy="781624"/>
          </a:xfrm>
          <a:prstGeom prst="rect">
            <a:avLst/>
          </a:prstGeom>
        </p:spPr>
        <p:txBody>
          <a:bodyPr vert="horz" wrap="square" lIns="0" tIns="12065" rIns="0" bIns="0" rtlCol="0" anchor="t">
            <a:spAutoFit/>
          </a:bodyPr>
          <a:lstStyle/>
          <a:p>
            <a:pPr marL="12700">
              <a:lnSpc>
                <a:spcPct val="100000"/>
              </a:lnSpc>
              <a:spcBef>
                <a:spcPts val="95"/>
              </a:spcBef>
            </a:pPr>
            <a:r>
              <a:rPr lang="en-US" sz="1300" b="1">
                <a:latin typeface="Arial"/>
                <a:cs typeface="Arial"/>
              </a:rPr>
              <a:t>163</a:t>
            </a:r>
            <a:r>
              <a:rPr sz="1300" b="1" spc="-65">
                <a:latin typeface="Arial"/>
                <a:cs typeface="Arial"/>
              </a:rPr>
              <a:t> </a:t>
            </a:r>
            <a:r>
              <a:rPr sz="1300" b="1">
                <a:latin typeface="Arial"/>
                <a:cs typeface="Arial"/>
              </a:rPr>
              <a:t>employees</a:t>
            </a:r>
            <a:r>
              <a:rPr sz="1300" b="1" spc="-40">
                <a:latin typeface="Arial"/>
                <a:cs typeface="Arial"/>
              </a:rPr>
              <a:t> </a:t>
            </a:r>
            <a:r>
              <a:rPr sz="1300" b="1" spc="-80">
                <a:latin typeface="Arial"/>
                <a:cs typeface="Arial"/>
              </a:rPr>
              <a:t>–</a:t>
            </a:r>
            <a:r>
              <a:rPr sz="1300" b="1" spc="-50">
                <a:latin typeface="Arial"/>
                <a:cs typeface="Arial"/>
              </a:rPr>
              <a:t> </a:t>
            </a:r>
            <a:r>
              <a:rPr sz="1300" b="1" spc="-25">
                <a:latin typeface="Arial"/>
                <a:cs typeface="Arial"/>
              </a:rPr>
              <a:t>Local</a:t>
            </a:r>
            <a:r>
              <a:rPr sz="1300" b="1" spc="-40">
                <a:latin typeface="Arial"/>
                <a:cs typeface="Arial"/>
              </a:rPr>
              <a:t> </a:t>
            </a:r>
            <a:r>
              <a:rPr sz="1300" b="1" spc="-25">
                <a:latin typeface="Arial"/>
                <a:cs typeface="Arial"/>
              </a:rPr>
              <a:t>Sales</a:t>
            </a:r>
            <a:r>
              <a:rPr sz="1300" b="1" spc="-45">
                <a:latin typeface="Arial"/>
                <a:cs typeface="Arial"/>
              </a:rPr>
              <a:t> </a:t>
            </a:r>
            <a:r>
              <a:rPr sz="1300" b="1" spc="-20">
                <a:latin typeface="Arial"/>
                <a:cs typeface="Arial"/>
              </a:rPr>
              <a:t>Unit</a:t>
            </a:r>
            <a:endParaRPr sz="1300">
              <a:latin typeface="Arial"/>
              <a:cs typeface="Arial"/>
            </a:endParaRPr>
          </a:p>
          <a:p>
            <a:pPr>
              <a:lnSpc>
                <a:spcPct val="100000"/>
              </a:lnSpc>
            </a:pPr>
            <a:endParaRPr sz="1300">
              <a:latin typeface="Arial"/>
              <a:cs typeface="Arial"/>
            </a:endParaRPr>
          </a:p>
          <a:p>
            <a:pPr>
              <a:lnSpc>
                <a:spcPct val="100000"/>
              </a:lnSpc>
            </a:pPr>
            <a:endParaRPr sz="1100">
              <a:latin typeface="Arial"/>
              <a:cs typeface="Arial"/>
            </a:endParaRPr>
          </a:p>
          <a:p>
            <a:pPr marL="12700">
              <a:lnSpc>
                <a:spcPct val="100000"/>
              </a:lnSpc>
            </a:pPr>
            <a:r>
              <a:rPr sz="1300" b="1" spc="-10">
                <a:latin typeface="ABBvoice"/>
                <a:cs typeface="ABBvoice"/>
              </a:rPr>
              <a:t>Offering</a:t>
            </a:r>
            <a:endParaRPr sz="1300">
              <a:latin typeface="ABBvoice"/>
              <a:cs typeface="ABBvoice"/>
            </a:endParaRPr>
          </a:p>
        </p:txBody>
      </p:sp>
      <p:sp>
        <p:nvSpPr>
          <p:cNvPr id="15" name="object 15"/>
          <p:cNvSpPr txBox="1"/>
          <p:nvPr/>
        </p:nvSpPr>
        <p:spPr>
          <a:xfrm>
            <a:off x="335076" y="4101871"/>
            <a:ext cx="2615565" cy="970915"/>
          </a:xfrm>
          <a:prstGeom prst="rect">
            <a:avLst/>
          </a:prstGeom>
        </p:spPr>
        <p:txBody>
          <a:bodyPr vert="horz" wrap="square" lIns="0" tIns="50800" rIns="0" bIns="0" rtlCol="0">
            <a:spAutoFit/>
          </a:bodyPr>
          <a:lstStyle/>
          <a:p>
            <a:pPr marL="299085" indent="-287020">
              <a:lnSpc>
                <a:spcPct val="100000"/>
              </a:lnSpc>
              <a:spcBef>
                <a:spcPts val="400"/>
              </a:spcBef>
              <a:buFont typeface="Wingdings"/>
              <a:buChar char=""/>
              <a:tabLst>
                <a:tab pos="299085" algn="l"/>
                <a:tab pos="299720" algn="l"/>
              </a:tabLst>
            </a:pPr>
            <a:r>
              <a:rPr sz="1300">
                <a:latin typeface="ABBvoice"/>
                <a:cs typeface="ABBvoice"/>
              </a:rPr>
              <a:t>NEMA</a:t>
            </a:r>
            <a:r>
              <a:rPr sz="1300" spc="-50">
                <a:latin typeface="ABBvoice"/>
                <a:cs typeface="ABBvoice"/>
              </a:rPr>
              <a:t> </a:t>
            </a:r>
            <a:r>
              <a:rPr sz="1300" spc="-10">
                <a:latin typeface="ABBvoice"/>
                <a:cs typeface="ABBvoice"/>
              </a:rPr>
              <a:t>Motors</a:t>
            </a:r>
            <a:endParaRPr sz="1300">
              <a:latin typeface="ABBvoice"/>
              <a:cs typeface="ABBvoice"/>
            </a:endParaRPr>
          </a:p>
          <a:p>
            <a:pPr marL="299085" indent="-287020">
              <a:lnSpc>
                <a:spcPct val="100000"/>
              </a:lnSpc>
              <a:spcBef>
                <a:spcPts val="305"/>
              </a:spcBef>
              <a:buFont typeface="Wingdings"/>
              <a:buChar char=""/>
              <a:tabLst>
                <a:tab pos="299085" algn="l"/>
                <a:tab pos="299720" algn="l"/>
              </a:tabLst>
            </a:pPr>
            <a:r>
              <a:rPr sz="1300">
                <a:latin typeface="ABBvoice"/>
                <a:cs typeface="ABBvoice"/>
              </a:rPr>
              <a:t>Large</a:t>
            </a:r>
            <a:r>
              <a:rPr sz="1300" spc="-35">
                <a:latin typeface="ABBvoice"/>
                <a:cs typeface="ABBvoice"/>
              </a:rPr>
              <a:t> </a:t>
            </a:r>
            <a:r>
              <a:rPr sz="1300">
                <a:latin typeface="ABBvoice"/>
                <a:cs typeface="ABBvoice"/>
              </a:rPr>
              <a:t>Motors</a:t>
            </a:r>
            <a:r>
              <a:rPr sz="1300" spc="-20">
                <a:latin typeface="ABBvoice"/>
                <a:cs typeface="ABBvoice"/>
              </a:rPr>
              <a:t> </a:t>
            </a:r>
            <a:r>
              <a:rPr sz="1300">
                <a:latin typeface="ABBvoice"/>
                <a:cs typeface="ABBvoice"/>
              </a:rPr>
              <a:t>and</a:t>
            </a:r>
            <a:r>
              <a:rPr sz="1300" spc="-60">
                <a:latin typeface="ABBvoice"/>
                <a:cs typeface="ABBvoice"/>
              </a:rPr>
              <a:t> </a:t>
            </a:r>
            <a:r>
              <a:rPr sz="1300" spc="-10">
                <a:latin typeface="ABBvoice"/>
                <a:cs typeface="ABBvoice"/>
              </a:rPr>
              <a:t>Generators</a:t>
            </a:r>
            <a:endParaRPr sz="1300">
              <a:latin typeface="ABBvoice"/>
              <a:cs typeface="ABBvoice"/>
            </a:endParaRPr>
          </a:p>
          <a:p>
            <a:pPr marL="299085" indent="-287020">
              <a:lnSpc>
                <a:spcPct val="100000"/>
              </a:lnSpc>
              <a:spcBef>
                <a:spcPts val="300"/>
              </a:spcBef>
              <a:buFont typeface="Wingdings"/>
              <a:buChar char=""/>
              <a:tabLst>
                <a:tab pos="299085" algn="l"/>
                <a:tab pos="299720" algn="l"/>
              </a:tabLst>
            </a:pPr>
            <a:r>
              <a:rPr sz="1300">
                <a:latin typeface="ABBvoice"/>
                <a:cs typeface="ABBvoice"/>
              </a:rPr>
              <a:t>LV</a:t>
            </a:r>
            <a:r>
              <a:rPr sz="1300" spc="-35">
                <a:latin typeface="ABBvoice"/>
                <a:cs typeface="ABBvoice"/>
              </a:rPr>
              <a:t> </a:t>
            </a:r>
            <a:r>
              <a:rPr sz="1300">
                <a:latin typeface="ABBvoice"/>
                <a:cs typeface="ABBvoice"/>
              </a:rPr>
              <a:t>Drives</a:t>
            </a:r>
            <a:r>
              <a:rPr sz="1300" spc="-5">
                <a:latin typeface="ABBvoice"/>
                <a:cs typeface="ABBvoice"/>
              </a:rPr>
              <a:t> </a:t>
            </a:r>
            <a:r>
              <a:rPr sz="1300">
                <a:latin typeface="ABBvoice"/>
                <a:cs typeface="ABBvoice"/>
              </a:rPr>
              <a:t>&amp;</a:t>
            </a:r>
            <a:r>
              <a:rPr sz="1300" spc="-30">
                <a:latin typeface="ABBvoice"/>
                <a:cs typeface="ABBvoice"/>
              </a:rPr>
              <a:t> </a:t>
            </a:r>
            <a:r>
              <a:rPr sz="1300">
                <a:latin typeface="ABBvoice"/>
                <a:cs typeface="ABBvoice"/>
              </a:rPr>
              <a:t>System</a:t>
            </a:r>
            <a:r>
              <a:rPr sz="1300" spc="-15">
                <a:latin typeface="ABBvoice"/>
                <a:cs typeface="ABBvoice"/>
              </a:rPr>
              <a:t> </a:t>
            </a:r>
            <a:r>
              <a:rPr sz="1300" spc="-10">
                <a:latin typeface="ABBvoice"/>
                <a:cs typeface="ABBvoice"/>
              </a:rPr>
              <a:t>Drives</a:t>
            </a:r>
            <a:endParaRPr sz="1300">
              <a:latin typeface="ABBvoice"/>
              <a:cs typeface="ABBvoice"/>
            </a:endParaRPr>
          </a:p>
          <a:p>
            <a:pPr marL="299085" indent="-287020">
              <a:lnSpc>
                <a:spcPct val="100000"/>
              </a:lnSpc>
              <a:spcBef>
                <a:spcPts val="300"/>
              </a:spcBef>
              <a:buFont typeface="Wingdings"/>
              <a:buChar char=""/>
              <a:tabLst>
                <a:tab pos="299085" algn="l"/>
                <a:tab pos="299720" algn="l"/>
              </a:tabLst>
            </a:pPr>
            <a:r>
              <a:rPr sz="1300">
                <a:latin typeface="ABBvoice"/>
                <a:cs typeface="ABBvoice"/>
              </a:rPr>
              <a:t>Services</a:t>
            </a:r>
            <a:r>
              <a:rPr sz="1300" spc="-15">
                <a:latin typeface="ABBvoice"/>
                <a:cs typeface="ABBvoice"/>
              </a:rPr>
              <a:t> </a:t>
            </a:r>
            <a:r>
              <a:rPr sz="1300">
                <a:latin typeface="ABBvoice"/>
                <a:cs typeface="ABBvoice"/>
              </a:rPr>
              <a:t>and</a:t>
            </a:r>
            <a:r>
              <a:rPr sz="1300" spc="-50">
                <a:latin typeface="ABBvoice"/>
                <a:cs typeface="ABBvoice"/>
              </a:rPr>
              <a:t> </a:t>
            </a:r>
            <a:r>
              <a:rPr sz="1300">
                <a:latin typeface="ABBvoice"/>
                <a:cs typeface="ABBvoice"/>
              </a:rPr>
              <a:t>Digital</a:t>
            </a:r>
            <a:r>
              <a:rPr sz="1300" spc="-50">
                <a:latin typeface="ABBvoice"/>
                <a:cs typeface="ABBvoice"/>
              </a:rPr>
              <a:t> </a:t>
            </a:r>
            <a:r>
              <a:rPr sz="1300" spc="-10">
                <a:latin typeface="ABBvoice"/>
                <a:cs typeface="ABBvoice"/>
              </a:rPr>
              <a:t>Solutions</a:t>
            </a:r>
            <a:endParaRPr sz="1300">
              <a:latin typeface="ABBvoice"/>
              <a:cs typeface="ABBvoice"/>
            </a:endParaRPr>
          </a:p>
        </p:txBody>
      </p:sp>
      <p:sp>
        <p:nvSpPr>
          <p:cNvPr id="16" name="object 16"/>
          <p:cNvSpPr txBox="1"/>
          <p:nvPr/>
        </p:nvSpPr>
        <p:spPr>
          <a:xfrm>
            <a:off x="335076" y="5276469"/>
            <a:ext cx="1325880"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Customer</a:t>
            </a:r>
            <a:r>
              <a:rPr sz="1300" b="1" spc="-60">
                <a:latin typeface="ABBvoice"/>
                <a:cs typeface="ABBvoice"/>
              </a:rPr>
              <a:t> </a:t>
            </a:r>
            <a:r>
              <a:rPr sz="1300" b="1" spc="-20">
                <a:latin typeface="ABBvoice"/>
                <a:cs typeface="ABBvoice"/>
              </a:rPr>
              <a:t>Types</a:t>
            </a:r>
            <a:endParaRPr sz="1300">
              <a:latin typeface="ABBvoice"/>
              <a:cs typeface="ABBvoice"/>
            </a:endParaRPr>
          </a:p>
        </p:txBody>
      </p:sp>
      <p:sp>
        <p:nvSpPr>
          <p:cNvPr id="17" name="object 17"/>
          <p:cNvSpPr/>
          <p:nvPr/>
        </p:nvSpPr>
        <p:spPr>
          <a:xfrm>
            <a:off x="4180078" y="2616707"/>
            <a:ext cx="12700" cy="3295650"/>
          </a:xfrm>
          <a:custGeom>
            <a:avLst/>
            <a:gdLst/>
            <a:ahLst/>
            <a:cxnLst/>
            <a:rect l="l" t="t" r="r" b="b"/>
            <a:pathLst>
              <a:path w="12700" h="3295650">
                <a:moveTo>
                  <a:pt x="12700" y="0"/>
                </a:moveTo>
                <a:lnTo>
                  <a:pt x="0" y="0"/>
                </a:lnTo>
                <a:lnTo>
                  <a:pt x="0" y="3295256"/>
                </a:lnTo>
                <a:lnTo>
                  <a:pt x="12700" y="3295256"/>
                </a:lnTo>
                <a:lnTo>
                  <a:pt x="12700" y="0"/>
                </a:lnTo>
                <a:close/>
              </a:path>
            </a:pathLst>
          </a:custGeom>
          <a:solidFill>
            <a:srgbClr val="000000"/>
          </a:solidFill>
        </p:spPr>
        <p:txBody>
          <a:bodyPr wrap="square" lIns="0" tIns="0" rIns="0" bIns="0" rtlCol="0"/>
          <a:lstStyle/>
          <a:p>
            <a:endParaRPr/>
          </a:p>
        </p:txBody>
      </p:sp>
      <p:sp>
        <p:nvSpPr>
          <p:cNvPr id="18" name="object 18"/>
          <p:cNvSpPr/>
          <p:nvPr/>
        </p:nvSpPr>
        <p:spPr>
          <a:xfrm>
            <a:off x="333756" y="2452116"/>
            <a:ext cx="3623945" cy="0"/>
          </a:xfrm>
          <a:custGeom>
            <a:avLst/>
            <a:gdLst/>
            <a:ahLst/>
            <a:cxnLst/>
            <a:rect l="l" t="t" r="r" b="b"/>
            <a:pathLst>
              <a:path w="3623945">
                <a:moveTo>
                  <a:pt x="0" y="0"/>
                </a:moveTo>
                <a:lnTo>
                  <a:pt x="3623564" y="0"/>
                </a:lnTo>
              </a:path>
            </a:pathLst>
          </a:custGeom>
          <a:ln w="12700">
            <a:solidFill>
              <a:srgbClr val="000000"/>
            </a:solidFill>
          </a:ln>
        </p:spPr>
        <p:txBody>
          <a:bodyPr wrap="square" lIns="0" tIns="0" rIns="0" bIns="0" rtlCol="0"/>
          <a:lstStyle/>
          <a:p>
            <a:endParaRPr/>
          </a:p>
        </p:txBody>
      </p:sp>
      <p:sp>
        <p:nvSpPr>
          <p:cNvPr id="19" name="object 19"/>
          <p:cNvSpPr txBox="1"/>
          <p:nvPr/>
        </p:nvSpPr>
        <p:spPr>
          <a:xfrm>
            <a:off x="353364" y="5531002"/>
            <a:ext cx="1595755" cy="421640"/>
          </a:xfrm>
          <a:prstGeom prst="rect">
            <a:avLst/>
          </a:prstGeom>
        </p:spPr>
        <p:txBody>
          <a:bodyPr vert="horz" wrap="square" lIns="0" tIns="12065" rIns="0" bIns="0" rtlCol="0">
            <a:spAutoFit/>
          </a:bodyPr>
          <a:lstStyle/>
          <a:p>
            <a:pPr marL="299085" indent="-287020">
              <a:lnSpc>
                <a:spcPct val="100000"/>
              </a:lnSpc>
              <a:spcBef>
                <a:spcPts val="95"/>
              </a:spcBef>
              <a:buFont typeface="Wingdings"/>
              <a:buChar char=""/>
              <a:tabLst>
                <a:tab pos="299085" algn="l"/>
                <a:tab pos="299720" algn="l"/>
                <a:tab pos="1507490" algn="l"/>
              </a:tabLst>
            </a:pPr>
            <a:r>
              <a:rPr sz="1300" spc="-10">
                <a:latin typeface="ABBvoice"/>
                <a:cs typeface="ABBvoice"/>
              </a:rPr>
              <a:t>Distributors</a:t>
            </a:r>
            <a:r>
              <a:rPr sz="1300">
                <a:latin typeface="ABBvoice"/>
                <a:cs typeface="ABBvoice"/>
              </a:rPr>
              <a:t>	</a:t>
            </a:r>
            <a:r>
              <a:rPr sz="1300" spc="-50">
                <a:latin typeface="Wingdings"/>
                <a:cs typeface="Wingdings"/>
              </a:rPr>
              <a:t></a:t>
            </a:r>
            <a:endParaRPr sz="1300">
              <a:latin typeface="Wingdings"/>
              <a:cs typeface="Wingdings"/>
            </a:endParaRPr>
          </a:p>
          <a:p>
            <a:pPr marL="299085" indent="-287020">
              <a:lnSpc>
                <a:spcPct val="100000"/>
              </a:lnSpc>
              <a:buFont typeface="Wingdings"/>
              <a:buChar char=""/>
              <a:tabLst>
                <a:tab pos="299085" algn="l"/>
                <a:tab pos="299720" algn="l"/>
                <a:tab pos="1507490" algn="l"/>
              </a:tabLst>
            </a:pPr>
            <a:r>
              <a:rPr sz="1300" spc="-20">
                <a:latin typeface="ABBvoice"/>
                <a:cs typeface="ABBvoice"/>
              </a:rPr>
              <a:t>OEMs</a:t>
            </a:r>
            <a:r>
              <a:rPr sz="1300">
                <a:latin typeface="ABBvoice"/>
                <a:cs typeface="ABBvoice"/>
              </a:rPr>
              <a:t>	</a:t>
            </a:r>
            <a:r>
              <a:rPr sz="1300" spc="-50">
                <a:latin typeface="Wingdings"/>
                <a:cs typeface="Wingdings"/>
              </a:rPr>
              <a:t></a:t>
            </a:r>
            <a:endParaRPr sz="1300">
              <a:latin typeface="Wingdings"/>
              <a:cs typeface="Wingdings"/>
            </a:endParaRPr>
          </a:p>
        </p:txBody>
      </p:sp>
      <p:sp>
        <p:nvSpPr>
          <p:cNvPr id="20" name="object 20"/>
          <p:cNvSpPr txBox="1"/>
          <p:nvPr/>
        </p:nvSpPr>
        <p:spPr>
          <a:xfrm>
            <a:off x="2134870" y="5531002"/>
            <a:ext cx="1524635" cy="421640"/>
          </a:xfrm>
          <a:prstGeom prst="rect">
            <a:avLst/>
          </a:prstGeom>
        </p:spPr>
        <p:txBody>
          <a:bodyPr vert="horz" wrap="square" lIns="0" tIns="12065" rIns="0" bIns="0" rtlCol="0">
            <a:spAutoFit/>
          </a:bodyPr>
          <a:lstStyle/>
          <a:p>
            <a:pPr marL="12700" marR="5080">
              <a:lnSpc>
                <a:spcPct val="100000"/>
              </a:lnSpc>
              <a:spcBef>
                <a:spcPts val="95"/>
              </a:spcBef>
            </a:pPr>
            <a:r>
              <a:rPr sz="1300">
                <a:latin typeface="ABBvoice"/>
                <a:cs typeface="ABBvoice"/>
              </a:rPr>
              <a:t>System</a:t>
            </a:r>
            <a:r>
              <a:rPr sz="1300" spc="-45">
                <a:latin typeface="ABBvoice"/>
                <a:cs typeface="ABBvoice"/>
              </a:rPr>
              <a:t> </a:t>
            </a:r>
            <a:r>
              <a:rPr sz="1300" spc="-10">
                <a:latin typeface="ABBvoice"/>
                <a:cs typeface="ABBvoice"/>
              </a:rPr>
              <a:t>integrators </a:t>
            </a:r>
            <a:r>
              <a:rPr sz="1300">
                <a:latin typeface="ABBvoice"/>
                <a:cs typeface="ABBvoice"/>
              </a:rPr>
              <a:t>End</a:t>
            </a:r>
            <a:r>
              <a:rPr sz="1300" spc="-30">
                <a:latin typeface="ABBvoice"/>
                <a:cs typeface="ABBvoice"/>
              </a:rPr>
              <a:t> </a:t>
            </a:r>
            <a:r>
              <a:rPr sz="1300" spc="-10">
                <a:latin typeface="ABBvoice"/>
                <a:cs typeface="ABBvoice"/>
              </a:rPr>
              <a:t>customers</a:t>
            </a:r>
            <a:endParaRPr sz="1300">
              <a:latin typeface="ABBvoice"/>
              <a:cs typeface="ABBvoice"/>
            </a:endParaRPr>
          </a:p>
        </p:txBody>
      </p:sp>
      <p:sp>
        <p:nvSpPr>
          <p:cNvPr id="21" name="object 21"/>
          <p:cNvSpPr txBox="1"/>
          <p:nvPr/>
        </p:nvSpPr>
        <p:spPr>
          <a:xfrm>
            <a:off x="1347977" y="2045589"/>
            <a:ext cx="1459865" cy="299720"/>
          </a:xfrm>
          <a:prstGeom prst="rect">
            <a:avLst/>
          </a:prstGeom>
        </p:spPr>
        <p:txBody>
          <a:bodyPr vert="horz" wrap="square" lIns="0" tIns="12700" rIns="0" bIns="0" rtlCol="0">
            <a:spAutoFit/>
          </a:bodyPr>
          <a:lstStyle/>
          <a:p>
            <a:pPr marL="12700">
              <a:lnSpc>
                <a:spcPct val="100000"/>
              </a:lnSpc>
              <a:spcBef>
                <a:spcPts val="100"/>
              </a:spcBef>
            </a:pPr>
            <a:r>
              <a:rPr sz="1800" b="1">
                <a:solidFill>
                  <a:srgbClr val="D90000"/>
                </a:solidFill>
                <a:latin typeface="ABBvoice"/>
                <a:cs typeface="ABBvoice"/>
              </a:rPr>
              <a:t>Our</a:t>
            </a:r>
            <a:r>
              <a:rPr sz="1800" b="1" spc="5">
                <a:solidFill>
                  <a:srgbClr val="D90000"/>
                </a:solidFill>
                <a:latin typeface="ABBvoice"/>
                <a:cs typeface="ABBvoice"/>
              </a:rPr>
              <a:t> </a:t>
            </a:r>
            <a:r>
              <a:rPr sz="1800" b="1" spc="-10">
                <a:solidFill>
                  <a:srgbClr val="D90000"/>
                </a:solidFill>
                <a:latin typeface="ABBvoice"/>
                <a:cs typeface="ABBvoice"/>
              </a:rPr>
              <a:t>business</a:t>
            </a:r>
            <a:endParaRPr sz="1800">
              <a:latin typeface="ABBvoice"/>
              <a:cs typeface="ABBvoice"/>
            </a:endParaRPr>
          </a:p>
        </p:txBody>
      </p:sp>
      <p:sp>
        <p:nvSpPr>
          <p:cNvPr id="22" name="object 22"/>
          <p:cNvSpPr txBox="1"/>
          <p:nvPr/>
        </p:nvSpPr>
        <p:spPr>
          <a:xfrm>
            <a:off x="5807455" y="2026158"/>
            <a:ext cx="4525645" cy="299720"/>
          </a:xfrm>
          <a:prstGeom prst="rect">
            <a:avLst/>
          </a:prstGeom>
        </p:spPr>
        <p:txBody>
          <a:bodyPr vert="horz" wrap="square" lIns="0" tIns="12700" rIns="0" bIns="0" rtlCol="0">
            <a:spAutoFit/>
          </a:bodyPr>
          <a:lstStyle/>
          <a:p>
            <a:pPr marL="12700">
              <a:lnSpc>
                <a:spcPct val="100000"/>
              </a:lnSpc>
              <a:spcBef>
                <a:spcPts val="100"/>
              </a:spcBef>
            </a:pPr>
            <a:r>
              <a:rPr sz="1800" b="1">
                <a:solidFill>
                  <a:srgbClr val="D90000"/>
                </a:solidFill>
                <a:latin typeface="ABBvoice"/>
                <a:cs typeface="ABBvoice"/>
              </a:rPr>
              <a:t>Motion</a:t>
            </a:r>
            <a:r>
              <a:rPr sz="1800" b="1" spc="-15">
                <a:solidFill>
                  <a:srgbClr val="D90000"/>
                </a:solidFill>
                <a:latin typeface="ABBvoice"/>
                <a:cs typeface="ABBvoice"/>
              </a:rPr>
              <a:t> </a:t>
            </a:r>
            <a:r>
              <a:rPr sz="1800" b="1">
                <a:solidFill>
                  <a:srgbClr val="D90000"/>
                </a:solidFill>
                <a:latin typeface="ABBvoice"/>
                <a:cs typeface="ABBvoice"/>
              </a:rPr>
              <a:t>Canada</a:t>
            </a:r>
            <a:r>
              <a:rPr sz="1800" b="1" spc="5">
                <a:solidFill>
                  <a:srgbClr val="D90000"/>
                </a:solidFill>
                <a:latin typeface="ABBvoice"/>
                <a:cs typeface="ABBvoice"/>
              </a:rPr>
              <a:t> </a:t>
            </a:r>
            <a:r>
              <a:rPr sz="1800" b="1">
                <a:solidFill>
                  <a:srgbClr val="D90000"/>
                </a:solidFill>
                <a:latin typeface="ABBvoice"/>
                <a:cs typeface="ABBvoice"/>
              </a:rPr>
              <a:t>Major</a:t>
            </a:r>
            <a:r>
              <a:rPr sz="1800" b="1" spc="25">
                <a:solidFill>
                  <a:srgbClr val="D90000"/>
                </a:solidFill>
                <a:latin typeface="ABBvoice"/>
                <a:cs typeface="ABBvoice"/>
              </a:rPr>
              <a:t> </a:t>
            </a:r>
            <a:r>
              <a:rPr sz="1800" b="1">
                <a:solidFill>
                  <a:srgbClr val="D90000"/>
                </a:solidFill>
                <a:latin typeface="ABBvoice"/>
                <a:cs typeface="ABBvoice"/>
              </a:rPr>
              <a:t>Industry</a:t>
            </a:r>
            <a:r>
              <a:rPr sz="1800" b="1" spc="-25">
                <a:solidFill>
                  <a:srgbClr val="D90000"/>
                </a:solidFill>
                <a:latin typeface="ABBvoice"/>
                <a:cs typeface="ABBvoice"/>
              </a:rPr>
              <a:t> </a:t>
            </a:r>
            <a:r>
              <a:rPr sz="1800" b="1" spc="-10">
                <a:solidFill>
                  <a:srgbClr val="D90000"/>
                </a:solidFill>
                <a:latin typeface="ABBvoice"/>
                <a:cs typeface="ABBvoice"/>
              </a:rPr>
              <a:t>Segments</a:t>
            </a:r>
            <a:endParaRPr sz="1800">
              <a:latin typeface="ABBvoice"/>
              <a:cs typeface="ABBvoice"/>
            </a:endParaRPr>
          </a:p>
        </p:txBody>
      </p:sp>
      <p:sp>
        <p:nvSpPr>
          <p:cNvPr id="23" name="object 23"/>
          <p:cNvSpPr txBox="1"/>
          <p:nvPr/>
        </p:nvSpPr>
        <p:spPr>
          <a:xfrm>
            <a:off x="6626732" y="4370323"/>
            <a:ext cx="1019810"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Pulp</a:t>
            </a:r>
            <a:r>
              <a:rPr sz="1300" b="1" spc="-30">
                <a:latin typeface="ABBvoice"/>
                <a:cs typeface="ABBvoice"/>
              </a:rPr>
              <a:t> </a:t>
            </a:r>
            <a:r>
              <a:rPr sz="1300" b="1">
                <a:latin typeface="ABBvoice"/>
                <a:cs typeface="ABBvoice"/>
              </a:rPr>
              <a:t>&amp;</a:t>
            </a:r>
            <a:r>
              <a:rPr sz="1300" b="1" spc="-20">
                <a:latin typeface="ABBvoice"/>
                <a:cs typeface="ABBvoice"/>
              </a:rPr>
              <a:t> </a:t>
            </a:r>
            <a:r>
              <a:rPr sz="1300" b="1" spc="-10">
                <a:latin typeface="ABBvoice"/>
                <a:cs typeface="ABBvoice"/>
              </a:rPr>
              <a:t>Paper</a:t>
            </a:r>
            <a:endParaRPr sz="1300">
              <a:latin typeface="ABBvoice"/>
              <a:cs typeface="ABBvoice"/>
            </a:endParaRPr>
          </a:p>
        </p:txBody>
      </p:sp>
      <p:sp>
        <p:nvSpPr>
          <p:cNvPr id="24" name="object 24"/>
          <p:cNvSpPr txBox="1"/>
          <p:nvPr/>
        </p:nvSpPr>
        <p:spPr>
          <a:xfrm>
            <a:off x="6769989" y="2667761"/>
            <a:ext cx="733425"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Oil</a:t>
            </a:r>
            <a:r>
              <a:rPr sz="1300" b="1" spc="-10">
                <a:latin typeface="ABBvoice"/>
                <a:cs typeface="ABBvoice"/>
              </a:rPr>
              <a:t> </a:t>
            </a:r>
            <a:r>
              <a:rPr sz="1300" b="1">
                <a:latin typeface="ABBvoice"/>
                <a:cs typeface="ABBvoice"/>
              </a:rPr>
              <a:t>&amp;</a:t>
            </a:r>
            <a:r>
              <a:rPr sz="1300" b="1" spc="-15">
                <a:latin typeface="ABBvoice"/>
                <a:cs typeface="ABBvoice"/>
              </a:rPr>
              <a:t> </a:t>
            </a:r>
            <a:r>
              <a:rPr sz="1300" b="1" spc="-25">
                <a:latin typeface="ABBvoice"/>
                <a:cs typeface="ABBvoice"/>
              </a:rPr>
              <a:t>Gas</a:t>
            </a:r>
            <a:endParaRPr sz="1300">
              <a:latin typeface="ABBvoice"/>
              <a:cs typeface="ABBvoice"/>
            </a:endParaRPr>
          </a:p>
        </p:txBody>
      </p:sp>
      <p:pic>
        <p:nvPicPr>
          <p:cNvPr id="25" name="object 25"/>
          <p:cNvPicPr/>
          <p:nvPr/>
        </p:nvPicPr>
        <p:blipFill>
          <a:blip r:embed="rId2" cstate="print"/>
          <a:stretch>
            <a:fillRect/>
          </a:stretch>
        </p:blipFill>
        <p:spPr>
          <a:xfrm>
            <a:off x="6268211" y="4728971"/>
            <a:ext cx="1737360" cy="1109471"/>
          </a:xfrm>
          <a:prstGeom prst="rect">
            <a:avLst/>
          </a:prstGeom>
        </p:spPr>
      </p:pic>
      <p:pic>
        <p:nvPicPr>
          <p:cNvPr id="26" name="object 26"/>
          <p:cNvPicPr/>
          <p:nvPr/>
        </p:nvPicPr>
        <p:blipFill>
          <a:blip r:embed="rId3" cstate="print"/>
          <a:stretch>
            <a:fillRect/>
          </a:stretch>
        </p:blipFill>
        <p:spPr>
          <a:xfrm>
            <a:off x="6268211" y="3052368"/>
            <a:ext cx="1755647" cy="1127963"/>
          </a:xfrm>
          <a:prstGeom prst="rect">
            <a:avLst/>
          </a:prstGeom>
        </p:spPr>
      </p:pic>
      <p:sp>
        <p:nvSpPr>
          <p:cNvPr id="27" name="object 27"/>
          <p:cNvSpPr txBox="1"/>
          <p:nvPr/>
        </p:nvSpPr>
        <p:spPr>
          <a:xfrm>
            <a:off x="8788654" y="4368546"/>
            <a:ext cx="564515" cy="223520"/>
          </a:xfrm>
          <a:prstGeom prst="rect">
            <a:avLst/>
          </a:prstGeom>
        </p:spPr>
        <p:txBody>
          <a:bodyPr vert="horz" wrap="square" lIns="0" tIns="12065" rIns="0" bIns="0" rtlCol="0">
            <a:spAutoFit/>
          </a:bodyPr>
          <a:lstStyle/>
          <a:p>
            <a:pPr marL="12700">
              <a:lnSpc>
                <a:spcPct val="100000"/>
              </a:lnSpc>
              <a:spcBef>
                <a:spcPts val="95"/>
              </a:spcBef>
            </a:pPr>
            <a:r>
              <a:rPr sz="1300" b="1" spc="-10">
                <a:latin typeface="ABBvoice"/>
                <a:cs typeface="ABBvoice"/>
              </a:rPr>
              <a:t>Mining</a:t>
            </a:r>
            <a:endParaRPr sz="1300">
              <a:latin typeface="ABBvoice"/>
              <a:cs typeface="ABBvoice"/>
            </a:endParaRPr>
          </a:p>
        </p:txBody>
      </p:sp>
      <p:sp>
        <p:nvSpPr>
          <p:cNvPr id="28" name="object 28"/>
          <p:cNvSpPr txBox="1"/>
          <p:nvPr/>
        </p:nvSpPr>
        <p:spPr>
          <a:xfrm>
            <a:off x="8389111" y="2657348"/>
            <a:ext cx="1362710"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Food &amp;</a:t>
            </a:r>
            <a:r>
              <a:rPr sz="1300" b="1" spc="-30">
                <a:latin typeface="ABBvoice"/>
                <a:cs typeface="ABBvoice"/>
              </a:rPr>
              <a:t> </a:t>
            </a:r>
            <a:r>
              <a:rPr sz="1300" b="1" spc="-10">
                <a:latin typeface="ABBvoice"/>
                <a:cs typeface="ABBvoice"/>
              </a:rPr>
              <a:t>Beverage</a:t>
            </a:r>
            <a:endParaRPr sz="1300">
              <a:latin typeface="ABBvoice"/>
              <a:cs typeface="ABBvoice"/>
            </a:endParaRPr>
          </a:p>
        </p:txBody>
      </p:sp>
      <p:pic>
        <p:nvPicPr>
          <p:cNvPr id="29" name="object 29"/>
          <p:cNvPicPr/>
          <p:nvPr/>
        </p:nvPicPr>
        <p:blipFill>
          <a:blip r:embed="rId4" cstate="print"/>
          <a:stretch>
            <a:fillRect/>
          </a:stretch>
        </p:blipFill>
        <p:spPr>
          <a:xfrm>
            <a:off x="8202168" y="4703064"/>
            <a:ext cx="1737360" cy="1161288"/>
          </a:xfrm>
          <a:prstGeom prst="rect">
            <a:avLst/>
          </a:prstGeom>
        </p:spPr>
      </p:pic>
      <p:sp>
        <p:nvSpPr>
          <p:cNvPr id="30" name="object 30"/>
          <p:cNvSpPr txBox="1"/>
          <p:nvPr/>
        </p:nvSpPr>
        <p:spPr>
          <a:xfrm>
            <a:off x="4340478" y="2667761"/>
            <a:ext cx="1739900"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HVAC</a:t>
            </a:r>
            <a:r>
              <a:rPr sz="1300" b="1" spc="-15">
                <a:latin typeface="ABBvoice"/>
                <a:cs typeface="ABBvoice"/>
              </a:rPr>
              <a:t> </a:t>
            </a:r>
            <a:r>
              <a:rPr sz="1300" b="1">
                <a:latin typeface="ABBvoice"/>
                <a:cs typeface="ABBvoice"/>
              </a:rPr>
              <a:t>-</a:t>
            </a:r>
            <a:r>
              <a:rPr sz="1300" b="1" spc="-15">
                <a:latin typeface="ABBvoice"/>
                <a:cs typeface="ABBvoice"/>
              </a:rPr>
              <a:t> </a:t>
            </a:r>
            <a:r>
              <a:rPr sz="1300" b="1" spc="-10">
                <a:latin typeface="ABBvoice"/>
                <a:cs typeface="ABBvoice"/>
              </a:rPr>
              <a:t>Infrastructure</a:t>
            </a:r>
            <a:endParaRPr sz="1300">
              <a:latin typeface="ABBvoice"/>
              <a:cs typeface="ABBvoice"/>
            </a:endParaRPr>
          </a:p>
        </p:txBody>
      </p:sp>
      <p:sp>
        <p:nvSpPr>
          <p:cNvPr id="31" name="object 31"/>
          <p:cNvSpPr txBox="1"/>
          <p:nvPr/>
        </p:nvSpPr>
        <p:spPr>
          <a:xfrm>
            <a:off x="4466971" y="4390390"/>
            <a:ext cx="1487170"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General</a:t>
            </a:r>
            <a:r>
              <a:rPr sz="1300" b="1" spc="-35">
                <a:latin typeface="ABBvoice"/>
                <a:cs typeface="ABBvoice"/>
              </a:rPr>
              <a:t> </a:t>
            </a:r>
            <a:r>
              <a:rPr sz="1300" b="1" spc="-10">
                <a:latin typeface="ABBvoice"/>
                <a:cs typeface="ABBvoice"/>
              </a:rPr>
              <a:t>Machinery</a:t>
            </a:r>
            <a:endParaRPr sz="1300">
              <a:latin typeface="ABBvoice"/>
              <a:cs typeface="ABBvoice"/>
            </a:endParaRPr>
          </a:p>
        </p:txBody>
      </p:sp>
      <p:sp>
        <p:nvSpPr>
          <p:cNvPr id="32" name="object 32"/>
          <p:cNvSpPr txBox="1"/>
          <p:nvPr/>
        </p:nvSpPr>
        <p:spPr>
          <a:xfrm>
            <a:off x="10437114" y="4377944"/>
            <a:ext cx="1189355"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Marine</a:t>
            </a:r>
            <a:r>
              <a:rPr sz="1300" b="1" spc="-20">
                <a:latin typeface="ABBvoice"/>
                <a:cs typeface="ABBvoice"/>
              </a:rPr>
              <a:t> </a:t>
            </a:r>
            <a:r>
              <a:rPr sz="1300" b="1">
                <a:latin typeface="ABBvoice"/>
                <a:cs typeface="ABBvoice"/>
              </a:rPr>
              <a:t>&amp;</a:t>
            </a:r>
            <a:r>
              <a:rPr sz="1300" b="1" spc="-30">
                <a:latin typeface="ABBvoice"/>
                <a:cs typeface="ABBvoice"/>
              </a:rPr>
              <a:t> </a:t>
            </a:r>
            <a:r>
              <a:rPr sz="1300" b="1" spc="-20">
                <a:latin typeface="ABBvoice"/>
                <a:cs typeface="ABBvoice"/>
              </a:rPr>
              <a:t>Ports</a:t>
            </a:r>
            <a:endParaRPr sz="1300">
              <a:latin typeface="ABBvoice"/>
              <a:cs typeface="ABBvoice"/>
            </a:endParaRPr>
          </a:p>
        </p:txBody>
      </p:sp>
      <p:sp>
        <p:nvSpPr>
          <p:cNvPr id="33" name="object 33"/>
          <p:cNvSpPr txBox="1"/>
          <p:nvPr/>
        </p:nvSpPr>
        <p:spPr>
          <a:xfrm>
            <a:off x="10202036" y="2666745"/>
            <a:ext cx="1660525"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Water</a:t>
            </a:r>
            <a:r>
              <a:rPr sz="1300" b="1" spc="-20">
                <a:latin typeface="ABBvoice"/>
                <a:cs typeface="ABBvoice"/>
              </a:rPr>
              <a:t> </a:t>
            </a:r>
            <a:r>
              <a:rPr sz="1300" b="1">
                <a:latin typeface="ABBvoice"/>
                <a:cs typeface="ABBvoice"/>
              </a:rPr>
              <a:t>&amp;</a:t>
            </a:r>
            <a:r>
              <a:rPr sz="1300" b="1" spc="-25">
                <a:latin typeface="ABBvoice"/>
                <a:cs typeface="ABBvoice"/>
              </a:rPr>
              <a:t> </a:t>
            </a:r>
            <a:r>
              <a:rPr sz="1300" b="1" spc="-10">
                <a:latin typeface="ABBvoice"/>
                <a:cs typeface="ABBvoice"/>
              </a:rPr>
              <a:t>Wastewater</a:t>
            </a:r>
            <a:endParaRPr sz="1300">
              <a:latin typeface="ABBvoice"/>
              <a:cs typeface="ABBvoice"/>
            </a:endParaRPr>
          </a:p>
        </p:txBody>
      </p:sp>
      <p:pic>
        <p:nvPicPr>
          <p:cNvPr id="34" name="object 34"/>
          <p:cNvPicPr/>
          <p:nvPr/>
        </p:nvPicPr>
        <p:blipFill>
          <a:blip r:embed="rId5" cstate="print"/>
          <a:stretch>
            <a:fillRect/>
          </a:stretch>
        </p:blipFill>
        <p:spPr>
          <a:xfrm>
            <a:off x="10162031" y="4700015"/>
            <a:ext cx="1737360" cy="1167384"/>
          </a:xfrm>
          <a:prstGeom prst="rect">
            <a:avLst/>
          </a:prstGeom>
        </p:spPr>
      </p:pic>
      <p:pic>
        <p:nvPicPr>
          <p:cNvPr id="35" name="object 35"/>
          <p:cNvPicPr/>
          <p:nvPr/>
        </p:nvPicPr>
        <p:blipFill>
          <a:blip r:embed="rId6" cstate="print"/>
          <a:stretch>
            <a:fillRect/>
          </a:stretch>
        </p:blipFill>
        <p:spPr>
          <a:xfrm>
            <a:off x="10162031" y="3044951"/>
            <a:ext cx="1737360" cy="1156716"/>
          </a:xfrm>
          <a:prstGeom prst="rect">
            <a:avLst/>
          </a:prstGeom>
        </p:spPr>
      </p:pic>
      <p:pic>
        <p:nvPicPr>
          <p:cNvPr id="36" name="object 36"/>
          <p:cNvPicPr/>
          <p:nvPr/>
        </p:nvPicPr>
        <p:blipFill>
          <a:blip r:embed="rId7" cstate="print"/>
          <a:stretch>
            <a:fillRect/>
          </a:stretch>
        </p:blipFill>
        <p:spPr>
          <a:xfrm>
            <a:off x="4303776" y="4719828"/>
            <a:ext cx="1773936" cy="1123188"/>
          </a:xfrm>
          <a:prstGeom prst="rect">
            <a:avLst/>
          </a:prstGeom>
        </p:spPr>
      </p:pic>
      <p:pic>
        <p:nvPicPr>
          <p:cNvPr id="37" name="object 37"/>
          <p:cNvPicPr/>
          <p:nvPr/>
        </p:nvPicPr>
        <p:blipFill>
          <a:blip r:embed="rId8" cstate="print"/>
          <a:stretch>
            <a:fillRect/>
          </a:stretch>
        </p:blipFill>
        <p:spPr>
          <a:xfrm>
            <a:off x="8202168" y="3034283"/>
            <a:ext cx="1729739" cy="1167383"/>
          </a:xfrm>
          <a:prstGeom prst="rect">
            <a:avLst/>
          </a:prstGeom>
        </p:spPr>
      </p:pic>
      <p:pic>
        <p:nvPicPr>
          <p:cNvPr id="38" name="object 38"/>
          <p:cNvPicPr/>
          <p:nvPr/>
        </p:nvPicPr>
        <p:blipFill>
          <a:blip r:embed="rId9" cstate="print"/>
          <a:stretch>
            <a:fillRect/>
          </a:stretch>
        </p:blipFill>
        <p:spPr>
          <a:xfrm>
            <a:off x="4303776" y="3055620"/>
            <a:ext cx="1773936" cy="1135379"/>
          </a:xfrm>
          <a:prstGeom prst="rect">
            <a:avLst/>
          </a:prstGeom>
        </p:spPr>
      </p:pic>
      <p:sp>
        <p:nvSpPr>
          <p:cNvPr id="5" name="object 2">
            <a:extLst>
              <a:ext uri="{FF2B5EF4-FFF2-40B4-BE49-F238E27FC236}">
                <a16:creationId xmlns:a16="http://schemas.microsoft.com/office/drawing/2014/main" id="{010D282A-A36B-5EFC-D6BC-1475E0A8CA61}"/>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1149"/>
            <a:ext cx="3972560" cy="443070"/>
          </a:xfrm>
          <a:prstGeom prst="rect">
            <a:avLst/>
          </a:prstGeom>
        </p:spPr>
        <p:txBody>
          <a:bodyPr vert="horz" wrap="square" lIns="0" tIns="12065" rIns="0" bIns="0" rtlCol="0">
            <a:spAutoFit/>
          </a:bodyPr>
          <a:lstStyle/>
          <a:p>
            <a:pPr>
              <a:lnSpc>
                <a:spcPct val="100000"/>
              </a:lnSpc>
              <a:spcBef>
                <a:spcPts val="95"/>
              </a:spcBef>
            </a:pPr>
            <a:r>
              <a:rPr sz="2800" b="1" dirty="0"/>
              <a:t>Process Automation</a:t>
            </a:r>
          </a:p>
        </p:txBody>
      </p:sp>
      <p:sp>
        <p:nvSpPr>
          <p:cNvPr id="4" name="object 4"/>
          <p:cNvSpPr txBox="1"/>
          <p:nvPr/>
        </p:nvSpPr>
        <p:spPr>
          <a:xfrm>
            <a:off x="394817" y="1520139"/>
            <a:ext cx="5282565" cy="2180590"/>
          </a:xfrm>
          <a:prstGeom prst="rect">
            <a:avLst/>
          </a:prstGeom>
        </p:spPr>
        <p:txBody>
          <a:bodyPr vert="horz" wrap="square" lIns="0" tIns="12700" rIns="0" bIns="0" rtlCol="0">
            <a:spAutoFit/>
          </a:bodyPr>
          <a:lstStyle/>
          <a:p>
            <a:pPr marL="12700">
              <a:lnSpc>
                <a:spcPct val="100000"/>
              </a:lnSpc>
              <a:spcBef>
                <a:spcPts val="100"/>
              </a:spcBef>
            </a:pPr>
            <a:r>
              <a:rPr sz="1800" b="1">
                <a:latin typeface="ABBvoice"/>
                <a:cs typeface="ABBvoice"/>
              </a:rPr>
              <a:t>Writing</a:t>
            </a:r>
            <a:r>
              <a:rPr sz="1800" b="1" spc="-15">
                <a:latin typeface="ABBvoice"/>
                <a:cs typeface="ABBvoice"/>
              </a:rPr>
              <a:t> </a:t>
            </a:r>
            <a:r>
              <a:rPr sz="1800" b="1">
                <a:latin typeface="ABBvoice"/>
                <a:cs typeface="ABBvoice"/>
              </a:rPr>
              <a:t>the</a:t>
            </a:r>
            <a:r>
              <a:rPr sz="1800" b="1" spc="-25">
                <a:latin typeface="ABBvoice"/>
                <a:cs typeface="ABBvoice"/>
              </a:rPr>
              <a:t> </a:t>
            </a:r>
            <a:r>
              <a:rPr sz="1800" b="1">
                <a:latin typeface="ABBvoice"/>
                <a:cs typeface="ABBvoice"/>
              </a:rPr>
              <a:t>future</a:t>
            </a:r>
            <a:r>
              <a:rPr sz="1800" b="1" spc="-25">
                <a:latin typeface="ABBvoice"/>
                <a:cs typeface="ABBvoice"/>
              </a:rPr>
              <a:t> </a:t>
            </a:r>
            <a:r>
              <a:rPr sz="1800" b="1">
                <a:latin typeface="ABBvoice"/>
                <a:cs typeface="ABBvoice"/>
              </a:rPr>
              <a:t>of</a:t>
            </a:r>
            <a:r>
              <a:rPr sz="1800" b="1" spc="-20">
                <a:latin typeface="ABBvoice"/>
                <a:cs typeface="ABBvoice"/>
              </a:rPr>
              <a:t> </a:t>
            </a:r>
            <a:r>
              <a:rPr sz="1800" b="1">
                <a:latin typeface="ABBvoice"/>
                <a:cs typeface="ABBvoice"/>
              </a:rPr>
              <a:t>safe,</a:t>
            </a:r>
            <a:r>
              <a:rPr sz="1800" b="1" spc="-15">
                <a:latin typeface="ABBvoice"/>
                <a:cs typeface="ABBvoice"/>
              </a:rPr>
              <a:t> </a:t>
            </a:r>
            <a:r>
              <a:rPr sz="1800" b="1">
                <a:latin typeface="ABBvoice"/>
                <a:cs typeface="ABBvoice"/>
              </a:rPr>
              <a:t>smart</a:t>
            </a:r>
            <a:r>
              <a:rPr sz="1800" b="1" spc="-5">
                <a:latin typeface="ABBvoice"/>
                <a:cs typeface="ABBvoice"/>
              </a:rPr>
              <a:t> </a:t>
            </a:r>
            <a:r>
              <a:rPr sz="1800" b="1" spc="-25">
                <a:latin typeface="ABBvoice"/>
                <a:cs typeface="ABBvoice"/>
              </a:rPr>
              <a:t>and</a:t>
            </a:r>
            <a:endParaRPr sz="1800">
              <a:latin typeface="ABBvoice"/>
              <a:cs typeface="ABBvoice"/>
            </a:endParaRPr>
          </a:p>
          <a:p>
            <a:pPr marL="12700">
              <a:lnSpc>
                <a:spcPct val="100000"/>
              </a:lnSpc>
              <a:spcBef>
                <a:spcPts val="5"/>
              </a:spcBef>
            </a:pPr>
            <a:r>
              <a:rPr sz="1800" b="1">
                <a:latin typeface="ABBvoice"/>
                <a:cs typeface="ABBvoice"/>
              </a:rPr>
              <a:t>sustainable </a:t>
            </a:r>
            <a:r>
              <a:rPr sz="1800" b="1" spc="-10">
                <a:latin typeface="ABBvoice"/>
                <a:cs typeface="ABBvoice"/>
              </a:rPr>
              <a:t>operations.</a:t>
            </a:r>
            <a:endParaRPr sz="1800">
              <a:latin typeface="ABBvoice"/>
              <a:cs typeface="ABBvoice"/>
            </a:endParaRPr>
          </a:p>
          <a:p>
            <a:pPr>
              <a:lnSpc>
                <a:spcPct val="100000"/>
              </a:lnSpc>
              <a:spcBef>
                <a:spcPts val="15"/>
              </a:spcBef>
            </a:pPr>
            <a:endParaRPr sz="2000">
              <a:latin typeface="ABBvoice"/>
              <a:cs typeface="ABBvoice"/>
            </a:endParaRPr>
          </a:p>
          <a:p>
            <a:pPr marL="12700" marR="5080">
              <a:lnSpc>
                <a:spcPct val="100000"/>
              </a:lnSpc>
              <a:spcBef>
                <a:spcPts val="5"/>
              </a:spcBef>
            </a:pPr>
            <a:r>
              <a:rPr sz="1400">
                <a:latin typeface="ABBvoice"/>
                <a:cs typeface="ABBvoice"/>
              </a:rPr>
              <a:t>ABB's</a:t>
            </a:r>
            <a:r>
              <a:rPr sz="1400" spc="-40">
                <a:latin typeface="ABBvoice"/>
                <a:cs typeface="ABBvoice"/>
              </a:rPr>
              <a:t> </a:t>
            </a:r>
            <a:r>
              <a:rPr sz="1400">
                <a:latin typeface="ABBvoice"/>
                <a:cs typeface="ABBvoice"/>
              </a:rPr>
              <a:t>Process</a:t>
            </a:r>
            <a:r>
              <a:rPr sz="1400" spc="-40">
                <a:latin typeface="ABBvoice"/>
                <a:cs typeface="ABBvoice"/>
              </a:rPr>
              <a:t> </a:t>
            </a:r>
            <a:r>
              <a:rPr sz="1400">
                <a:latin typeface="ABBvoice"/>
                <a:cs typeface="ABBvoice"/>
              </a:rPr>
              <a:t>Automation</a:t>
            </a:r>
            <a:r>
              <a:rPr sz="1400" spc="-5">
                <a:latin typeface="ABBvoice"/>
                <a:cs typeface="ABBvoice"/>
              </a:rPr>
              <a:t> </a:t>
            </a:r>
            <a:r>
              <a:rPr sz="1400">
                <a:latin typeface="ABBvoice"/>
                <a:cs typeface="ABBvoice"/>
              </a:rPr>
              <a:t>business</a:t>
            </a:r>
            <a:r>
              <a:rPr sz="1400" spc="-5">
                <a:latin typeface="ABBvoice"/>
                <a:cs typeface="ABBvoice"/>
              </a:rPr>
              <a:t> </a:t>
            </a:r>
            <a:r>
              <a:rPr sz="1400">
                <a:latin typeface="ABBvoice"/>
                <a:cs typeface="ABBvoice"/>
              </a:rPr>
              <a:t>offers</a:t>
            </a:r>
            <a:r>
              <a:rPr sz="1400" spc="-65">
                <a:latin typeface="ABBvoice"/>
                <a:cs typeface="ABBvoice"/>
              </a:rPr>
              <a:t> </a:t>
            </a:r>
            <a:r>
              <a:rPr sz="1400">
                <a:latin typeface="ABBvoice"/>
                <a:cs typeface="ABBvoice"/>
              </a:rPr>
              <a:t>a</a:t>
            </a:r>
            <a:r>
              <a:rPr sz="1400" spc="-50">
                <a:latin typeface="ABBvoice"/>
                <a:cs typeface="ABBvoice"/>
              </a:rPr>
              <a:t> </a:t>
            </a:r>
            <a:r>
              <a:rPr sz="1400">
                <a:latin typeface="ABBvoice"/>
                <a:cs typeface="ABBvoice"/>
              </a:rPr>
              <a:t>broad</a:t>
            </a:r>
            <a:r>
              <a:rPr sz="1400" spc="-55">
                <a:latin typeface="ABBvoice"/>
                <a:cs typeface="ABBvoice"/>
              </a:rPr>
              <a:t> </a:t>
            </a:r>
            <a:r>
              <a:rPr sz="1400">
                <a:latin typeface="ABBvoice"/>
                <a:cs typeface="ABBvoice"/>
              </a:rPr>
              <a:t>range</a:t>
            </a:r>
            <a:r>
              <a:rPr sz="1400" spc="-25">
                <a:latin typeface="ABBvoice"/>
                <a:cs typeface="ABBvoice"/>
              </a:rPr>
              <a:t> of </a:t>
            </a:r>
            <a:r>
              <a:rPr sz="1400">
                <a:latin typeface="ABBvoice"/>
                <a:cs typeface="ABBvoice"/>
              </a:rPr>
              <a:t>solutions</a:t>
            </a:r>
            <a:r>
              <a:rPr sz="1400" spc="-30">
                <a:latin typeface="ABBvoice"/>
                <a:cs typeface="ABBvoice"/>
              </a:rPr>
              <a:t> </a:t>
            </a:r>
            <a:r>
              <a:rPr sz="1400">
                <a:latin typeface="ABBvoice"/>
                <a:cs typeface="ABBvoice"/>
              </a:rPr>
              <a:t>for</a:t>
            </a:r>
            <a:r>
              <a:rPr sz="1400" spc="-60">
                <a:latin typeface="ABBvoice"/>
                <a:cs typeface="ABBvoice"/>
              </a:rPr>
              <a:t> </a:t>
            </a:r>
            <a:r>
              <a:rPr sz="1400">
                <a:latin typeface="ABBvoice"/>
                <a:cs typeface="ABBvoice"/>
              </a:rPr>
              <a:t>process</a:t>
            </a:r>
            <a:r>
              <a:rPr sz="1400" spc="-65">
                <a:latin typeface="ABBvoice"/>
                <a:cs typeface="ABBvoice"/>
              </a:rPr>
              <a:t> </a:t>
            </a:r>
            <a:r>
              <a:rPr sz="1400">
                <a:latin typeface="ABBvoice"/>
                <a:cs typeface="ABBvoice"/>
              </a:rPr>
              <a:t>and</a:t>
            </a:r>
            <a:r>
              <a:rPr sz="1400" spc="-35">
                <a:latin typeface="ABBvoice"/>
                <a:cs typeface="ABBvoice"/>
              </a:rPr>
              <a:t> </a:t>
            </a:r>
            <a:r>
              <a:rPr sz="1400">
                <a:latin typeface="ABBvoice"/>
                <a:cs typeface="ABBvoice"/>
              </a:rPr>
              <a:t>hybrid</a:t>
            </a:r>
            <a:r>
              <a:rPr sz="1400" spc="-40">
                <a:latin typeface="ABBvoice"/>
                <a:cs typeface="ABBvoice"/>
              </a:rPr>
              <a:t> </a:t>
            </a:r>
            <a:r>
              <a:rPr sz="1400">
                <a:latin typeface="ABBvoice"/>
                <a:cs typeface="ABBvoice"/>
              </a:rPr>
              <a:t>industries,</a:t>
            </a:r>
            <a:r>
              <a:rPr sz="1400" spc="-20">
                <a:latin typeface="ABBvoice"/>
                <a:cs typeface="ABBvoice"/>
              </a:rPr>
              <a:t> </a:t>
            </a:r>
            <a:r>
              <a:rPr sz="1400">
                <a:latin typeface="ABBvoice"/>
                <a:cs typeface="ABBvoice"/>
              </a:rPr>
              <a:t>including</a:t>
            </a:r>
            <a:r>
              <a:rPr sz="1400" spc="-20">
                <a:latin typeface="ABBvoice"/>
                <a:cs typeface="ABBvoice"/>
              </a:rPr>
              <a:t> </a:t>
            </a:r>
            <a:r>
              <a:rPr sz="1400" spc="-10">
                <a:latin typeface="ABBvoice"/>
                <a:cs typeface="ABBvoice"/>
              </a:rPr>
              <a:t>industry- </a:t>
            </a:r>
            <a:r>
              <a:rPr sz="1400">
                <a:latin typeface="ABBvoice"/>
                <a:cs typeface="ABBvoice"/>
              </a:rPr>
              <a:t>specific</a:t>
            </a:r>
            <a:r>
              <a:rPr sz="1400" spc="-40">
                <a:latin typeface="ABBvoice"/>
                <a:cs typeface="ABBvoice"/>
              </a:rPr>
              <a:t> </a:t>
            </a:r>
            <a:r>
              <a:rPr sz="1400">
                <a:latin typeface="ABBvoice"/>
                <a:cs typeface="ABBvoice"/>
              </a:rPr>
              <a:t>integrated</a:t>
            </a:r>
            <a:r>
              <a:rPr sz="1400" spc="-15">
                <a:latin typeface="ABBvoice"/>
                <a:cs typeface="ABBvoice"/>
              </a:rPr>
              <a:t> </a:t>
            </a:r>
            <a:r>
              <a:rPr sz="1400">
                <a:latin typeface="ABBvoice"/>
                <a:cs typeface="ABBvoice"/>
              </a:rPr>
              <a:t>automation,</a:t>
            </a:r>
            <a:r>
              <a:rPr sz="1400" spc="40">
                <a:latin typeface="ABBvoice"/>
                <a:cs typeface="ABBvoice"/>
              </a:rPr>
              <a:t> </a:t>
            </a:r>
            <a:r>
              <a:rPr sz="1400" spc="-10">
                <a:latin typeface="ABBvoice"/>
                <a:cs typeface="ABBvoice"/>
              </a:rPr>
              <a:t>electrification</a:t>
            </a:r>
            <a:r>
              <a:rPr sz="1400" spc="-30">
                <a:latin typeface="ABBvoice"/>
                <a:cs typeface="ABBvoice"/>
              </a:rPr>
              <a:t> </a:t>
            </a:r>
            <a:r>
              <a:rPr sz="1400">
                <a:latin typeface="ABBvoice"/>
                <a:cs typeface="ABBvoice"/>
              </a:rPr>
              <a:t>and</a:t>
            </a:r>
            <a:r>
              <a:rPr sz="1400" spc="-30">
                <a:latin typeface="ABBvoice"/>
                <a:cs typeface="ABBvoice"/>
              </a:rPr>
              <a:t> </a:t>
            </a:r>
            <a:r>
              <a:rPr sz="1400" spc="-10">
                <a:latin typeface="ABBvoice"/>
                <a:cs typeface="ABBvoice"/>
              </a:rPr>
              <a:t>digital </a:t>
            </a:r>
            <a:r>
              <a:rPr sz="1400">
                <a:latin typeface="ABBvoice"/>
                <a:cs typeface="ABBvoice"/>
              </a:rPr>
              <a:t>solutions,</a:t>
            </a:r>
            <a:r>
              <a:rPr sz="1400" spc="-45">
                <a:latin typeface="ABBvoice"/>
                <a:cs typeface="ABBvoice"/>
              </a:rPr>
              <a:t> </a:t>
            </a:r>
            <a:r>
              <a:rPr sz="1400">
                <a:latin typeface="ABBvoice"/>
                <a:cs typeface="ABBvoice"/>
              </a:rPr>
              <a:t>control</a:t>
            </a:r>
            <a:r>
              <a:rPr sz="1400" spc="-80">
                <a:latin typeface="ABBvoice"/>
                <a:cs typeface="ABBvoice"/>
              </a:rPr>
              <a:t> </a:t>
            </a:r>
            <a:r>
              <a:rPr sz="1400">
                <a:latin typeface="ABBvoice"/>
                <a:cs typeface="ABBvoice"/>
              </a:rPr>
              <a:t>technologies,</a:t>
            </a:r>
            <a:r>
              <a:rPr sz="1400" spc="-20">
                <a:latin typeface="ABBvoice"/>
                <a:cs typeface="ABBvoice"/>
              </a:rPr>
              <a:t> </a:t>
            </a:r>
            <a:r>
              <a:rPr sz="1400">
                <a:latin typeface="ABBvoice"/>
                <a:cs typeface="ABBvoice"/>
              </a:rPr>
              <a:t>software</a:t>
            </a:r>
            <a:r>
              <a:rPr sz="1400" spc="-60">
                <a:latin typeface="ABBvoice"/>
                <a:cs typeface="ABBvoice"/>
              </a:rPr>
              <a:t> </a:t>
            </a:r>
            <a:r>
              <a:rPr sz="1400">
                <a:latin typeface="ABBvoice"/>
                <a:cs typeface="ABBvoice"/>
              </a:rPr>
              <a:t>and</a:t>
            </a:r>
            <a:r>
              <a:rPr sz="1400" spc="-55">
                <a:latin typeface="ABBvoice"/>
                <a:cs typeface="ABBvoice"/>
              </a:rPr>
              <a:t> </a:t>
            </a:r>
            <a:r>
              <a:rPr sz="1400" spc="-10">
                <a:latin typeface="ABBvoice"/>
                <a:cs typeface="ABBvoice"/>
              </a:rPr>
              <a:t>advanced </a:t>
            </a:r>
            <a:r>
              <a:rPr sz="1400">
                <a:latin typeface="ABBvoice"/>
                <a:cs typeface="ABBvoice"/>
              </a:rPr>
              <a:t>services,</a:t>
            </a:r>
            <a:r>
              <a:rPr sz="1400" spc="-40">
                <a:latin typeface="ABBvoice"/>
                <a:cs typeface="ABBvoice"/>
              </a:rPr>
              <a:t> </a:t>
            </a:r>
            <a:r>
              <a:rPr sz="1400">
                <a:latin typeface="ABBvoice"/>
                <a:cs typeface="ABBvoice"/>
              </a:rPr>
              <a:t>as</a:t>
            </a:r>
            <a:r>
              <a:rPr sz="1400" spc="-40">
                <a:latin typeface="ABBvoice"/>
                <a:cs typeface="ABBvoice"/>
              </a:rPr>
              <a:t> </a:t>
            </a:r>
            <a:r>
              <a:rPr sz="1400">
                <a:latin typeface="ABBvoice"/>
                <a:cs typeface="ABBvoice"/>
              </a:rPr>
              <a:t>well</a:t>
            </a:r>
            <a:r>
              <a:rPr sz="1400" spc="-40">
                <a:latin typeface="ABBvoice"/>
                <a:cs typeface="ABBvoice"/>
              </a:rPr>
              <a:t> </a:t>
            </a:r>
            <a:r>
              <a:rPr sz="1400">
                <a:latin typeface="ABBvoice"/>
                <a:cs typeface="ABBvoice"/>
              </a:rPr>
              <a:t>as</a:t>
            </a:r>
            <a:r>
              <a:rPr sz="1400" spc="-40">
                <a:latin typeface="ABBvoice"/>
                <a:cs typeface="ABBvoice"/>
              </a:rPr>
              <a:t> </a:t>
            </a:r>
            <a:r>
              <a:rPr sz="1400">
                <a:latin typeface="ABBvoice"/>
                <a:cs typeface="ABBvoice"/>
              </a:rPr>
              <a:t>measurement</a:t>
            </a:r>
            <a:r>
              <a:rPr sz="1400" spc="20">
                <a:latin typeface="ABBvoice"/>
                <a:cs typeface="ABBvoice"/>
              </a:rPr>
              <a:t> </a:t>
            </a:r>
            <a:r>
              <a:rPr sz="1400">
                <a:latin typeface="ABBvoice"/>
                <a:cs typeface="ABBvoice"/>
              </a:rPr>
              <a:t>&amp;</a:t>
            </a:r>
            <a:r>
              <a:rPr sz="1400" spc="-50">
                <a:latin typeface="ABBvoice"/>
                <a:cs typeface="ABBvoice"/>
              </a:rPr>
              <a:t> </a:t>
            </a:r>
            <a:r>
              <a:rPr sz="1400">
                <a:latin typeface="ABBvoice"/>
                <a:cs typeface="ABBvoice"/>
              </a:rPr>
              <a:t>analytics,</a:t>
            </a:r>
            <a:r>
              <a:rPr sz="1400" spc="-10">
                <a:latin typeface="ABBvoice"/>
                <a:cs typeface="ABBvoice"/>
              </a:rPr>
              <a:t> </a:t>
            </a:r>
            <a:r>
              <a:rPr sz="1400">
                <a:latin typeface="ABBvoice"/>
                <a:cs typeface="ABBvoice"/>
              </a:rPr>
              <a:t>and</a:t>
            </a:r>
            <a:r>
              <a:rPr sz="1400" spc="-25">
                <a:latin typeface="ABBvoice"/>
                <a:cs typeface="ABBvoice"/>
              </a:rPr>
              <a:t> </a:t>
            </a:r>
            <a:r>
              <a:rPr sz="1400">
                <a:latin typeface="ABBvoice"/>
                <a:cs typeface="ABBvoice"/>
              </a:rPr>
              <a:t>marine</a:t>
            </a:r>
            <a:r>
              <a:rPr sz="1400" spc="-20">
                <a:latin typeface="ABBvoice"/>
                <a:cs typeface="ABBvoice"/>
              </a:rPr>
              <a:t> </a:t>
            </a:r>
            <a:r>
              <a:rPr sz="1400" spc="-25">
                <a:latin typeface="ABBvoice"/>
                <a:cs typeface="ABBvoice"/>
              </a:rPr>
              <a:t>and </a:t>
            </a:r>
            <a:r>
              <a:rPr sz="1400" spc="-10">
                <a:latin typeface="ABBvoice"/>
                <a:cs typeface="ABBvoice"/>
              </a:rPr>
              <a:t>turbocharging</a:t>
            </a:r>
            <a:r>
              <a:rPr sz="1400" spc="25">
                <a:latin typeface="ABBvoice"/>
                <a:cs typeface="ABBvoice"/>
              </a:rPr>
              <a:t> </a:t>
            </a:r>
            <a:r>
              <a:rPr sz="1400" spc="-10">
                <a:latin typeface="ABBvoice"/>
                <a:cs typeface="ABBvoice"/>
              </a:rPr>
              <a:t>offerings.</a:t>
            </a:r>
            <a:endParaRPr sz="1400">
              <a:latin typeface="ABBvoice"/>
              <a:cs typeface="ABBvoice"/>
            </a:endParaRPr>
          </a:p>
        </p:txBody>
      </p:sp>
      <p:pic>
        <p:nvPicPr>
          <p:cNvPr id="5" name="object 5"/>
          <p:cNvPicPr/>
          <p:nvPr/>
        </p:nvPicPr>
        <p:blipFill>
          <a:blip r:embed="rId2" cstate="print"/>
          <a:stretch>
            <a:fillRect/>
          </a:stretch>
        </p:blipFill>
        <p:spPr>
          <a:xfrm>
            <a:off x="6089903" y="0"/>
            <a:ext cx="6102096" cy="6857998"/>
          </a:xfrm>
          <a:prstGeom prst="rect">
            <a:avLst/>
          </a:prstGeom>
        </p:spPr>
      </p:pic>
      <p:graphicFrame>
        <p:nvGraphicFramePr>
          <p:cNvPr id="6" name="object 6"/>
          <p:cNvGraphicFramePr>
            <a:graphicFrameLocks noGrp="1"/>
          </p:cNvGraphicFramePr>
          <p:nvPr>
            <p:extLst>
              <p:ext uri="{D42A27DB-BD31-4B8C-83A1-F6EECF244321}">
                <p14:modId xmlns:p14="http://schemas.microsoft.com/office/powerpoint/2010/main" val="1846108130"/>
              </p:ext>
            </p:extLst>
          </p:nvPr>
        </p:nvGraphicFramePr>
        <p:xfrm>
          <a:off x="2036317" y="4572000"/>
          <a:ext cx="2735580" cy="1105410"/>
        </p:xfrm>
        <a:graphic>
          <a:graphicData uri="http://schemas.openxmlformats.org/drawingml/2006/table">
            <a:tbl>
              <a:tblPr firstRow="1" bandRow="1">
                <a:tableStyleId>{2D5ABB26-0587-4C30-8999-92F81FD0307C}</a:tableStyleId>
              </a:tblPr>
              <a:tblGrid>
                <a:gridCol w="2735580">
                  <a:extLst>
                    <a:ext uri="{9D8B030D-6E8A-4147-A177-3AD203B41FA5}">
                      <a16:colId xmlns:a16="http://schemas.microsoft.com/office/drawing/2014/main" val="20000"/>
                    </a:ext>
                  </a:extLst>
                </a:gridCol>
              </a:tblGrid>
              <a:tr h="511050">
                <a:tc>
                  <a:txBody>
                    <a:bodyPr/>
                    <a:lstStyle/>
                    <a:p>
                      <a:pPr marL="50800">
                        <a:lnSpc>
                          <a:spcPts val="1835"/>
                        </a:lnSpc>
                      </a:pPr>
                      <a:endParaRPr sz="2000" dirty="0">
                        <a:latin typeface="ABBvoice"/>
                        <a:cs typeface="ABBvoice"/>
                      </a:endParaRPr>
                    </a:p>
                  </a:txBody>
                  <a:tcPr marL="0" marR="0" marT="0" marB="0"/>
                </a:tc>
                <a:extLst>
                  <a:ext uri="{0D108BD9-81ED-4DB2-BD59-A6C34878D82A}">
                    <a16:rowId xmlns:a16="http://schemas.microsoft.com/office/drawing/2014/main" val="10000"/>
                  </a:ext>
                </a:extLst>
              </a:tr>
              <a:tr h="594360">
                <a:tc>
                  <a:txBody>
                    <a:bodyPr/>
                    <a:lstStyle/>
                    <a:p>
                      <a:pPr>
                        <a:lnSpc>
                          <a:spcPct val="100000"/>
                        </a:lnSpc>
                        <a:spcBef>
                          <a:spcPts val="50"/>
                        </a:spcBef>
                      </a:pPr>
                      <a:endParaRPr sz="1800" dirty="0">
                        <a:latin typeface="Times New Roman"/>
                        <a:cs typeface="Times New Roman"/>
                      </a:endParaRPr>
                    </a:p>
                    <a:p>
                      <a:pPr marL="31750">
                        <a:lnSpc>
                          <a:spcPct val="100000"/>
                        </a:lnSpc>
                        <a:tabLst>
                          <a:tab pos="1771650" algn="l"/>
                        </a:tabLst>
                      </a:pPr>
                      <a:r>
                        <a:rPr sz="2000" b="1" spc="-10" dirty="0">
                          <a:latin typeface="ABBvoice"/>
                          <a:cs typeface="ABBvoice"/>
                        </a:rPr>
                        <a:t>Employees</a:t>
                      </a:r>
                      <a:r>
                        <a:rPr sz="2000" b="1" dirty="0">
                          <a:latin typeface="ABBvoice"/>
                          <a:cs typeface="ABBvoice"/>
                        </a:rPr>
                        <a:t>	</a:t>
                      </a:r>
                      <a:r>
                        <a:rPr lang="fr-CA" sz="2000" spc="-25" dirty="0">
                          <a:latin typeface="ABBvoice"/>
                          <a:cs typeface="ABBvoice"/>
                        </a:rPr>
                        <a:t>889</a:t>
                      </a:r>
                      <a:endParaRPr sz="2000" dirty="0">
                        <a:latin typeface="ABBvoice"/>
                        <a:cs typeface="ABBvoice"/>
                      </a:endParaRPr>
                    </a:p>
                  </a:txBody>
                  <a:tcPr marL="0" marR="0" marT="6350" marB="0"/>
                </a:tc>
                <a:extLst>
                  <a:ext uri="{0D108BD9-81ED-4DB2-BD59-A6C34878D82A}">
                    <a16:rowId xmlns:a16="http://schemas.microsoft.com/office/drawing/2014/main" val="10001"/>
                  </a:ext>
                </a:extLst>
              </a:tr>
            </a:tbl>
          </a:graphicData>
        </a:graphic>
      </p:graphicFrame>
      <p:pic>
        <p:nvPicPr>
          <p:cNvPr id="8" name="object 8"/>
          <p:cNvPicPr/>
          <p:nvPr/>
        </p:nvPicPr>
        <p:blipFill>
          <a:blip r:embed="rId3" cstate="print"/>
          <a:stretch>
            <a:fillRect/>
          </a:stretch>
        </p:blipFill>
        <p:spPr>
          <a:xfrm>
            <a:off x="996696" y="5248948"/>
            <a:ext cx="685424" cy="535445"/>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4297679" y="2298192"/>
            <a:ext cx="7546975" cy="0"/>
          </a:xfrm>
          <a:custGeom>
            <a:avLst/>
            <a:gdLst/>
            <a:ahLst/>
            <a:cxnLst/>
            <a:rect l="l" t="t" r="r" b="b"/>
            <a:pathLst>
              <a:path w="7546975">
                <a:moveTo>
                  <a:pt x="0" y="0"/>
                </a:moveTo>
                <a:lnTo>
                  <a:pt x="7546594" y="0"/>
                </a:lnTo>
              </a:path>
            </a:pathLst>
          </a:custGeom>
          <a:ln w="12700">
            <a:solidFill>
              <a:srgbClr val="000000"/>
            </a:solidFill>
          </a:ln>
        </p:spPr>
        <p:txBody>
          <a:bodyPr wrap="square" lIns="0" tIns="0" rIns="0" bIns="0" rtlCol="0"/>
          <a:lstStyle/>
          <a:p>
            <a:endParaRPr/>
          </a:p>
        </p:txBody>
      </p:sp>
      <p:sp>
        <p:nvSpPr>
          <p:cNvPr id="3" name="object 3"/>
          <p:cNvSpPr/>
          <p:nvPr/>
        </p:nvSpPr>
        <p:spPr>
          <a:xfrm>
            <a:off x="332231" y="2298192"/>
            <a:ext cx="3477260" cy="0"/>
          </a:xfrm>
          <a:custGeom>
            <a:avLst/>
            <a:gdLst/>
            <a:ahLst/>
            <a:cxnLst/>
            <a:rect l="l" t="t" r="r" b="b"/>
            <a:pathLst>
              <a:path w="3477260">
                <a:moveTo>
                  <a:pt x="0" y="0"/>
                </a:moveTo>
                <a:lnTo>
                  <a:pt x="3476879" y="0"/>
                </a:lnTo>
              </a:path>
            </a:pathLst>
          </a:custGeom>
          <a:ln w="12700">
            <a:solidFill>
              <a:srgbClr val="000000"/>
            </a:solidFill>
          </a:ln>
        </p:spPr>
        <p:txBody>
          <a:bodyPr wrap="square" lIns="0" tIns="0" rIns="0" bIns="0" rtlCol="0"/>
          <a:lstStyle/>
          <a:p>
            <a:endParaRPr/>
          </a:p>
        </p:txBody>
      </p:sp>
      <p:sp>
        <p:nvSpPr>
          <p:cNvPr id="5" name="object 5"/>
          <p:cNvSpPr txBox="1">
            <a:spLocks noGrp="1"/>
          </p:cNvSpPr>
          <p:nvPr>
            <p:ph type="title"/>
          </p:nvPr>
        </p:nvSpPr>
        <p:spPr>
          <a:xfrm>
            <a:off x="406361" y="709825"/>
            <a:ext cx="8935720" cy="443070"/>
          </a:xfrm>
          <a:prstGeom prst="rect">
            <a:avLst/>
          </a:prstGeom>
        </p:spPr>
        <p:txBody>
          <a:bodyPr vert="horz" wrap="square" lIns="0" tIns="12065" rIns="0" bIns="0" rtlCol="0">
            <a:spAutoFit/>
          </a:bodyPr>
          <a:lstStyle/>
          <a:p>
            <a:pPr>
              <a:spcBef>
                <a:spcPts val="95"/>
              </a:spcBef>
            </a:pPr>
            <a:r>
              <a:rPr sz="2800" b="1" dirty="0"/>
              <a:t>Process Automation in Canada</a:t>
            </a:r>
          </a:p>
        </p:txBody>
      </p:sp>
      <p:sp>
        <p:nvSpPr>
          <p:cNvPr id="6" name="object 6"/>
          <p:cNvSpPr txBox="1"/>
          <p:nvPr/>
        </p:nvSpPr>
        <p:spPr>
          <a:xfrm>
            <a:off x="382625" y="1892883"/>
            <a:ext cx="1657350" cy="300355"/>
          </a:xfrm>
          <a:prstGeom prst="rect">
            <a:avLst/>
          </a:prstGeom>
        </p:spPr>
        <p:txBody>
          <a:bodyPr vert="horz" wrap="square" lIns="0" tIns="12700" rIns="0" bIns="0" rtlCol="0">
            <a:spAutoFit/>
          </a:bodyPr>
          <a:lstStyle/>
          <a:p>
            <a:pPr marL="12700">
              <a:lnSpc>
                <a:spcPct val="100000"/>
              </a:lnSpc>
              <a:spcBef>
                <a:spcPts val="100"/>
              </a:spcBef>
            </a:pPr>
            <a:r>
              <a:rPr sz="1800" b="1">
                <a:solidFill>
                  <a:srgbClr val="D90000"/>
                </a:solidFill>
                <a:latin typeface="ABBvoice"/>
                <a:cs typeface="ABBvoice"/>
              </a:rPr>
              <a:t>OUR</a:t>
            </a:r>
            <a:r>
              <a:rPr sz="1800" b="1" spc="-15">
                <a:solidFill>
                  <a:srgbClr val="D90000"/>
                </a:solidFill>
                <a:latin typeface="ABBvoice"/>
                <a:cs typeface="ABBvoice"/>
              </a:rPr>
              <a:t> </a:t>
            </a:r>
            <a:r>
              <a:rPr sz="1800" b="1" spc="-10">
                <a:solidFill>
                  <a:srgbClr val="D90000"/>
                </a:solidFill>
                <a:latin typeface="ABBvoice"/>
                <a:cs typeface="ABBvoice"/>
              </a:rPr>
              <a:t>BUSINESS</a:t>
            </a:r>
            <a:endParaRPr sz="1800">
              <a:latin typeface="ABBvoice"/>
              <a:cs typeface="ABBvoice"/>
            </a:endParaRPr>
          </a:p>
        </p:txBody>
      </p:sp>
      <p:sp>
        <p:nvSpPr>
          <p:cNvPr id="7" name="object 7"/>
          <p:cNvSpPr txBox="1"/>
          <p:nvPr/>
        </p:nvSpPr>
        <p:spPr>
          <a:xfrm>
            <a:off x="4284726" y="1873452"/>
            <a:ext cx="3744595" cy="300355"/>
          </a:xfrm>
          <a:prstGeom prst="rect">
            <a:avLst/>
          </a:prstGeom>
        </p:spPr>
        <p:txBody>
          <a:bodyPr vert="horz" wrap="square" lIns="0" tIns="12700" rIns="0" bIns="0" rtlCol="0">
            <a:spAutoFit/>
          </a:bodyPr>
          <a:lstStyle/>
          <a:p>
            <a:pPr marL="12700">
              <a:lnSpc>
                <a:spcPct val="100000"/>
              </a:lnSpc>
              <a:spcBef>
                <a:spcPts val="100"/>
              </a:spcBef>
            </a:pPr>
            <a:r>
              <a:rPr sz="1800" b="1">
                <a:solidFill>
                  <a:srgbClr val="D90000"/>
                </a:solidFill>
                <a:latin typeface="ABBvoice"/>
                <a:cs typeface="ABBvoice"/>
              </a:rPr>
              <a:t>SELECTED</a:t>
            </a:r>
            <a:r>
              <a:rPr sz="1800" b="1" spc="-40">
                <a:solidFill>
                  <a:srgbClr val="D90000"/>
                </a:solidFill>
                <a:latin typeface="ABBvoice"/>
                <a:cs typeface="ABBvoice"/>
              </a:rPr>
              <a:t> </a:t>
            </a:r>
            <a:r>
              <a:rPr sz="1800" b="1">
                <a:solidFill>
                  <a:srgbClr val="D90000"/>
                </a:solidFill>
                <a:latin typeface="ABBvoice"/>
                <a:cs typeface="ABBvoice"/>
              </a:rPr>
              <a:t>CUSTOMER</a:t>
            </a:r>
            <a:r>
              <a:rPr sz="1800" b="1" spc="-40">
                <a:solidFill>
                  <a:srgbClr val="D90000"/>
                </a:solidFill>
                <a:latin typeface="ABBvoice"/>
                <a:cs typeface="ABBvoice"/>
              </a:rPr>
              <a:t> </a:t>
            </a:r>
            <a:r>
              <a:rPr sz="1800" b="1" spc="-10">
                <a:solidFill>
                  <a:srgbClr val="D90000"/>
                </a:solidFill>
                <a:latin typeface="ABBvoice"/>
                <a:cs typeface="ABBvoice"/>
              </a:rPr>
              <a:t>SEGMENTS</a:t>
            </a:r>
            <a:endParaRPr sz="1800">
              <a:latin typeface="ABBvoice"/>
              <a:cs typeface="ABBvoice"/>
            </a:endParaRPr>
          </a:p>
        </p:txBody>
      </p:sp>
      <p:sp>
        <p:nvSpPr>
          <p:cNvPr id="8" name="object 8"/>
          <p:cNvSpPr txBox="1"/>
          <p:nvPr/>
        </p:nvSpPr>
        <p:spPr>
          <a:xfrm>
            <a:off x="444500" y="2484018"/>
            <a:ext cx="2511425" cy="968375"/>
          </a:xfrm>
          <a:prstGeom prst="rect">
            <a:avLst/>
          </a:prstGeom>
        </p:spPr>
        <p:txBody>
          <a:bodyPr vert="horz" wrap="square" lIns="0" tIns="49530" rIns="0" bIns="0" rtlCol="0">
            <a:spAutoFit/>
          </a:bodyPr>
          <a:lstStyle/>
          <a:p>
            <a:pPr marL="12700">
              <a:lnSpc>
                <a:spcPct val="100000"/>
              </a:lnSpc>
              <a:spcBef>
                <a:spcPts val="390"/>
              </a:spcBef>
            </a:pPr>
            <a:r>
              <a:rPr lang="en-US" sz="1300" b="1" dirty="0">
                <a:latin typeface="ABBvoice"/>
                <a:cs typeface="ABBvoice"/>
              </a:rPr>
              <a:t>Canada</a:t>
            </a:r>
            <a:r>
              <a:rPr lang="en-US" sz="1300" b="1" spc="-25" dirty="0">
                <a:latin typeface="ABBvoice"/>
                <a:cs typeface="ABBvoice"/>
              </a:rPr>
              <a:t> #2</a:t>
            </a:r>
            <a:endParaRPr lang="en-US" sz="1300" dirty="0">
              <a:latin typeface="ABBvoice"/>
              <a:cs typeface="ABBvoice"/>
            </a:endParaRPr>
          </a:p>
          <a:p>
            <a:pPr marL="12700" marR="5080">
              <a:lnSpc>
                <a:spcPts val="1870"/>
              </a:lnSpc>
              <a:spcBef>
                <a:spcPts val="95"/>
              </a:spcBef>
            </a:pPr>
            <a:r>
              <a:rPr lang="en-US" sz="1300" dirty="0">
                <a:latin typeface="ABBvoice"/>
                <a:cs typeface="ABBvoice"/>
              </a:rPr>
              <a:t>#1</a:t>
            </a:r>
            <a:r>
              <a:rPr lang="en-US" sz="1300" spc="-30" dirty="0">
                <a:latin typeface="ABBvoice"/>
                <a:cs typeface="ABBvoice"/>
              </a:rPr>
              <a:t> </a:t>
            </a:r>
            <a:r>
              <a:rPr lang="en-US" sz="1300" dirty="0">
                <a:latin typeface="ABBvoice"/>
                <a:cs typeface="ABBvoice"/>
              </a:rPr>
              <a:t>in</a:t>
            </a:r>
            <a:r>
              <a:rPr lang="en-US" sz="1300" spc="-25" dirty="0">
                <a:latin typeface="ABBvoice"/>
                <a:cs typeface="ABBvoice"/>
              </a:rPr>
              <a:t> </a:t>
            </a:r>
            <a:r>
              <a:rPr lang="en-US" sz="1300" dirty="0">
                <a:latin typeface="ABBvoice"/>
                <a:cs typeface="ABBvoice"/>
              </a:rPr>
              <a:t>DCS</a:t>
            </a:r>
            <a:r>
              <a:rPr lang="en-US" sz="1300" spc="-35" dirty="0">
                <a:latin typeface="ABBvoice"/>
                <a:cs typeface="ABBvoice"/>
              </a:rPr>
              <a:t> </a:t>
            </a:r>
            <a:r>
              <a:rPr lang="en-US" sz="1300" dirty="0">
                <a:latin typeface="ABBvoice"/>
                <a:cs typeface="ABBvoice"/>
              </a:rPr>
              <a:t>&amp;</a:t>
            </a:r>
            <a:r>
              <a:rPr lang="en-US" sz="1300" spc="-30" dirty="0">
                <a:latin typeface="ABBvoice"/>
                <a:cs typeface="ABBvoice"/>
              </a:rPr>
              <a:t> </a:t>
            </a:r>
            <a:r>
              <a:rPr lang="en-US" sz="1300" dirty="0">
                <a:latin typeface="ABBvoice"/>
                <a:cs typeface="ABBvoice"/>
              </a:rPr>
              <a:t>process </a:t>
            </a:r>
            <a:r>
              <a:rPr lang="en-US" sz="1300" spc="-10" dirty="0">
                <a:latin typeface="ABBvoice"/>
                <a:cs typeface="ABBvoice"/>
              </a:rPr>
              <a:t>automation </a:t>
            </a:r>
            <a:r>
              <a:rPr lang="en-US" sz="1300" dirty="0">
                <a:latin typeface="ABBvoice"/>
                <a:cs typeface="ABBvoice"/>
              </a:rPr>
              <a:t>#3</a:t>
            </a:r>
            <a:r>
              <a:rPr lang="en-US" sz="1300" spc="-25" dirty="0">
                <a:latin typeface="ABBvoice"/>
                <a:cs typeface="ABBvoice"/>
              </a:rPr>
              <a:t> </a:t>
            </a:r>
            <a:r>
              <a:rPr lang="en-US" sz="1300" dirty="0">
                <a:latin typeface="ABBvoice"/>
                <a:cs typeface="ABBvoice"/>
              </a:rPr>
              <a:t>in</a:t>
            </a:r>
            <a:r>
              <a:rPr lang="en-US" sz="1300" spc="-35" dirty="0">
                <a:latin typeface="ABBvoice"/>
                <a:cs typeface="ABBvoice"/>
              </a:rPr>
              <a:t> </a:t>
            </a:r>
            <a:r>
              <a:rPr lang="en-US" sz="1300" dirty="0">
                <a:latin typeface="ABBvoice"/>
                <a:cs typeface="ABBvoice"/>
              </a:rPr>
              <a:t>measurement</a:t>
            </a:r>
            <a:r>
              <a:rPr lang="en-US" sz="1300" spc="-30" dirty="0">
                <a:latin typeface="ABBvoice"/>
                <a:cs typeface="ABBvoice"/>
              </a:rPr>
              <a:t> </a:t>
            </a:r>
            <a:r>
              <a:rPr lang="en-US" sz="1300" dirty="0">
                <a:latin typeface="ABBvoice"/>
                <a:cs typeface="ABBvoice"/>
              </a:rPr>
              <a:t>&amp;</a:t>
            </a:r>
            <a:r>
              <a:rPr lang="en-US" sz="1300" spc="-30" dirty="0">
                <a:latin typeface="ABBvoice"/>
                <a:cs typeface="ABBvoice"/>
              </a:rPr>
              <a:t> </a:t>
            </a:r>
            <a:r>
              <a:rPr lang="en-US" sz="1300" spc="-10" dirty="0">
                <a:latin typeface="ABBvoice"/>
                <a:cs typeface="ABBvoice"/>
              </a:rPr>
              <a:t>analytics</a:t>
            </a:r>
            <a:endParaRPr lang="en-US" sz="1300" dirty="0">
              <a:latin typeface="ABBvoice"/>
              <a:cs typeface="ABBvoice"/>
            </a:endParaRPr>
          </a:p>
          <a:p>
            <a:pPr marL="12700">
              <a:lnSpc>
                <a:spcPct val="100000"/>
              </a:lnSpc>
              <a:spcBef>
                <a:spcPts val="175"/>
              </a:spcBef>
            </a:pPr>
            <a:r>
              <a:rPr lang="en-US" sz="1300" dirty="0">
                <a:latin typeface="ABBvoice"/>
                <a:cs typeface="ABBvoice"/>
              </a:rPr>
              <a:t>#1</a:t>
            </a:r>
            <a:r>
              <a:rPr lang="en-US" sz="1300" spc="-35" dirty="0">
                <a:latin typeface="ABBvoice"/>
                <a:cs typeface="ABBvoice"/>
              </a:rPr>
              <a:t> </a:t>
            </a:r>
            <a:r>
              <a:rPr lang="en-US" sz="1300" dirty="0">
                <a:latin typeface="ABBvoice"/>
                <a:cs typeface="ABBvoice"/>
              </a:rPr>
              <a:t>in</a:t>
            </a:r>
            <a:r>
              <a:rPr lang="en-US" sz="1300" spc="-25" dirty="0">
                <a:latin typeface="ABBvoice"/>
                <a:cs typeface="ABBvoice"/>
              </a:rPr>
              <a:t> </a:t>
            </a:r>
            <a:r>
              <a:rPr lang="en-US" sz="1300" dirty="0">
                <a:latin typeface="ABBvoice"/>
                <a:cs typeface="ABBvoice"/>
              </a:rPr>
              <a:t>marine</a:t>
            </a:r>
            <a:r>
              <a:rPr lang="en-US" sz="1300" spc="-10" dirty="0">
                <a:latin typeface="ABBvoice"/>
                <a:cs typeface="ABBvoice"/>
              </a:rPr>
              <a:t> </a:t>
            </a:r>
            <a:r>
              <a:rPr lang="en-US" sz="1300" dirty="0">
                <a:latin typeface="ABBvoice"/>
                <a:cs typeface="ABBvoice"/>
              </a:rPr>
              <a:t>&amp;</a:t>
            </a:r>
            <a:r>
              <a:rPr lang="en-US" sz="1300" spc="-35" dirty="0">
                <a:latin typeface="ABBvoice"/>
                <a:cs typeface="ABBvoice"/>
              </a:rPr>
              <a:t> </a:t>
            </a:r>
            <a:r>
              <a:rPr lang="en-US" sz="1300" spc="-10" dirty="0">
                <a:latin typeface="ABBvoice"/>
                <a:cs typeface="ABBvoice"/>
              </a:rPr>
              <a:t>ports</a:t>
            </a:r>
            <a:endParaRPr lang="en-US" sz="1300" dirty="0">
              <a:latin typeface="ABBvoice"/>
              <a:cs typeface="ABBvoice"/>
            </a:endParaRPr>
          </a:p>
        </p:txBody>
      </p:sp>
      <p:sp>
        <p:nvSpPr>
          <p:cNvPr id="9" name="object 9"/>
          <p:cNvSpPr txBox="1"/>
          <p:nvPr/>
        </p:nvSpPr>
        <p:spPr>
          <a:xfrm>
            <a:off x="444500" y="3429660"/>
            <a:ext cx="1323975" cy="606448"/>
          </a:xfrm>
          <a:prstGeom prst="rect">
            <a:avLst/>
          </a:prstGeom>
        </p:spPr>
        <p:txBody>
          <a:bodyPr vert="horz" wrap="square" lIns="0" tIns="12700" rIns="0" bIns="0" rtlCol="0" anchor="t">
            <a:spAutoFit/>
          </a:bodyPr>
          <a:lstStyle/>
          <a:p>
            <a:pPr marL="12700" marR="5080">
              <a:lnSpc>
                <a:spcPct val="156900"/>
              </a:lnSpc>
              <a:spcBef>
                <a:spcPts val="100"/>
              </a:spcBef>
            </a:pPr>
            <a:r>
              <a:rPr lang="en-US" sz="1300" b="1" dirty="0">
                <a:latin typeface="ABBvoice"/>
                <a:cs typeface="ABBvoice"/>
              </a:rPr>
              <a:t>~889</a:t>
            </a:r>
            <a:r>
              <a:rPr sz="1300" b="1" spc="-45" dirty="0">
                <a:latin typeface="ABBvoice"/>
                <a:cs typeface="ABBvoice"/>
              </a:rPr>
              <a:t> </a:t>
            </a:r>
            <a:r>
              <a:rPr sz="1300" b="1" spc="-10" dirty="0">
                <a:latin typeface="ABBvoice"/>
                <a:cs typeface="ABBvoice"/>
              </a:rPr>
              <a:t>employees Offering</a:t>
            </a:r>
            <a:endParaRPr sz="1300" dirty="0">
              <a:latin typeface="ABBvoice"/>
              <a:cs typeface="ABBvoice"/>
            </a:endParaRPr>
          </a:p>
        </p:txBody>
      </p:sp>
      <p:sp>
        <p:nvSpPr>
          <p:cNvPr id="10" name="object 10"/>
          <p:cNvSpPr txBox="1"/>
          <p:nvPr/>
        </p:nvSpPr>
        <p:spPr>
          <a:xfrm>
            <a:off x="419100" y="4054881"/>
            <a:ext cx="3203575" cy="732790"/>
          </a:xfrm>
          <a:prstGeom prst="rect">
            <a:avLst/>
          </a:prstGeom>
        </p:spPr>
        <p:txBody>
          <a:bodyPr vert="horz" wrap="square" lIns="0" tIns="48895" rIns="0" bIns="0" rtlCol="0">
            <a:spAutoFit/>
          </a:bodyPr>
          <a:lstStyle/>
          <a:p>
            <a:pPr marL="217804" indent="-180340">
              <a:lnSpc>
                <a:spcPct val="100000"/>
              </a:lnSpc>
              <a:spcBef>
                <a:spcPts val="385"/>
              </a:spcBef>
              <a:buChar char="–"/>
              <a:tabLst>
                <a:tab pos="218440" algn="l"/>
              </a:tabLst>
            </a:pPr>
            <a:r>
              <a:rPr sz="1300" spc="-10" dirty="0">
                <a:latin typeface="ABBvoice"/>
                <a:cs typeface="ABBvoice"/>
              </a:rPr>
              <a:t>Integrated industry-</a:t>
            </a:r>
            <a:r>
              <a:rPr sz="1300" dirty="0">
                <a:latin typeface="ABBvoice"/>
                <a:cs typeface="ABBvoice"/>
              </a:rPr>
              <a:t>specific</a:t>
            </a:r>
            <a:r>
              <a:rPr sz="1300" spc="-5" dirty="0">
                <a:latin typeface="ABBvoice"/>
                <a:cs typeface="ABBvoice"/>
              </a:rPr>
              <a:t> </a:t>
            </a:r>
            <a:r>
              <a:rPr sz="1300" spc="-10" dirty="0">
                <a:latin typeface="ABBvoice"/>
                <a:cs typeface="ABBvoice"/>
              </a:rPr>
              <a:t>solutions</a:t>
            </a:r>
            <a:endParaRPr sz="1300" dirty="0">
              <a:latin typeface="ABBvoice"/>
              <a:cs typeface="ABBvoice"/>
            </a:endParaRPr>
          </a:p>
          <a:p>
            <a:pPr marL="217804" indent="-180340">
              <a:lnSpc>
                <a:spcPct val="100000"/>
              </a:lnSpc>
              <a:spcBef>
                <a:spcPts val="290"/>
              </a:spcBef>
              <a:buChar char="–"/>
              <a:tabLst>
                <a:tab pos="218440" algn="l"/>
              </a:tabLst>
            </a:pPr>
            <a:r>
              <a:rPr sz="1300" dirty="0">
                <a:latin typeface="ABBvoice"/>
                <a:cs typeface="ABBvoice"/>
              </a:rPr>
              <a:t>Process </a:t>
            </a:r>
            <a:r>
              <a:rPr sz="1300" spc="-10" dirty="0">
                <a:latin typeface="ABBvoice"/>
                <a:cs typeface="ABBvoice"/>
              </a:rPr>
              <a:t>control</a:t>
            </a:r>
            <a:r>
              <a:rPr sz="1300" spc="-50" dirty="0">
                <a:latin typeface="ABBvoice"/>
                <a:cs typeface="ABBvoice"/>
              </a:rPr>
              <a:t> </a:t>
            </a:r>
            <a:r>
              <a:rPr sz="1300" spc="-10" dirty="0">
                <a:latin typeface="ABBvoice"/>
                <a:cs typeface="ABBvoice"/>
              </a:rPr>
              <a:t>(</a:t>
            </a:r>
            <a:r>
              <a:rPr lang="en-US" sz="1300" spc="-10" dirty="0">
                <a:latin typeface="ABBvoice"/>
                <a:cs typeface="ABBvoice"/>
              </a:rPr>
              <a:t>DCS</a:t>
            </a:r>
            <a:r>
              <a:rPr sz="1300" spc="-10" dirty="0">
                <a:latin typeface="ABBvoice"/>
                <a:cs typeface="ABBvoice"/>
              </a:rPr>
              <a:t>)</a:t>
            </a:r>
            <a:endParaRPr sz="1300" dirty="0">
              <a:latin typeface="ABBvoice"/>
              <a:cs typeface="ABBvoice"/>
            </a:endParaRPr>
          </a:p>
          <a:p>
            <a:pPr marL="217804" indent="-180340">
              <a:lnSpc>
                <a:spcPct val="100000"/>
              </a:lnSpc>
              <a:spcBef>
                <a:spcPts val="310"/>
              </a:spcBef>
              <a:buChar char="–"/>
              <a:tabLst>
                <a:tab pos="218440" algn="l"/>
              </a:tabLst>
            </a:pPr>
            <a:r>
              <a:rPr sz="1300" spc="-10" dirty="0">
                <a:latin typeface="ABBvoice"/>
                <a:cs typeface="ABBvoice"/>
              </a:rPr>
              <a:t>Measurement</a:t>
            </a:r>
            <a:r>
              <a:rPr sz="1300" spc="10" dirty="0">
                <a:latin typeface="ABBvoice"/>
                <a:cs typeface="ABBvoice"/>
              </a:rPr>
              <a:t> </a:t>
            </a:r>
            <a:r>
              <a:rPr sz="1300" dirty="0">
                <a:latin typeface="ABBvoice"/>
                <a:cs typeface="ABBvoice"/>
              </a:rPr>
              <a:t>&amp;</a:t>
            </a:r>
            <a:r>
              <a:rPr sz="1300" spc="-5" dirty="0">
                <a:latin typeface="ABBvoice"/>
                <a:cs typeface="ABBvoice"/>
              </a:rPr>
              <a:t> </a:t>
            </a:r>
            <a:r>
              <a:rPr sz="1300" spc="-10" dirty="0">
                <a:latin typeface="ABBvoice"/>
                <a:cs typeface="ABBvoice"/>
              </a:rPr>
              <a:t>analytics</a:t>
            </a:r>
            <a:endParaRPr sz="1300" dirty="0">
              <a:latin typeface="ABBvoice"/>
              <a:cs typeface="ABBvoice"/>
            </a:endParaRPr>
          </a:p>
        </p:txBody>
      </p:sp>
      <p:sp>
        <p:nvSpPr>
          <p:cNvPr id="11" name="object 11"/>
          <p:cNvSpPr txBox="1"/>
          <p:nvPr/>
        </p:nvSpPr>
        <p:spPr>
          <a:xfrm>
            <a:off x="444500" y="4801895"/>
            <a:ext cx="1474470" cy="1021433"/>
          </a:xfrm>
          <a:prstGeom prst="rect">
            <a:avLst/>
          </a:prstGeom>
        </p:spPr>
        <p:txBody>
          <a:bodyPr vert="horz" wrap="square" lIns="0" tIns="79375" rIns="0" bIns="0" rtlCol="0">
            <a:spAutoFit/>
          </a:bodyPr>
          <a:lstStyle/>
          <a:p>
            <a:pPr marL="12700">
              <a:lnSpc>
                <a:spcPct val="100000"/>
              </a:lnSpc>
              <a:spcBef>
                <a:spcPts val="625"/>
              </a:spcBef>
            </a:pPr>
            <a:r>
              <a:rPr sz="1300" b="1" dirty="0">
                <a:latin typeface="ABBvoice"/>
                <a:cs typeface="ABBvoice"/>
              </a:rPr>
              <a:t>Typical</a:t>
            </a:r>
            <a:r>
              <a:rPr sz="1300" b="1" spc="-60" dirty="0">
                <a:latin typeface="ABBvoice"/>
                <a:cs typeface="ABBvoice"/>
              </a:rPr>
              <a:t> </a:t>
            </a:r>
            <a:r>
              <a:rPr sz="1300" b="1" spc="-10" dirty="0">
                <a:latin typeface="ABBvoice"/>
                <a:cs typeface="ABBvoice"/>
              </a:rPr>
              <a:t>customers</a:t>
            </a:r>
            <a:endParaRPr sz="1300" dirty="0">
              <a:latin typeface="ABBvoice"/>
              <a:cs typeface="ABBvoice"/>
            </a:endParaRPr>
          </a:p>
          <a:p>
            <a:pPr marL="192405" indent="-180340">
              <a:lnSpc>
                <a:spcPct val="100000"/>
              </a:lnSpc>
              <a:spcBef>
                <a:spcPts val="530"/>
              </a:spcBef>
              <a:buChar char="–"/>
              <a:tabLst>
                <a:tab pos="193040" algn="l"/>
              </a:tabLst>
            </a:pPr>
            <a:r>
              <a:rPr sz="1300" dirty="0">
                <a:latin typeface="ABBvoice"/>
                <a:cs typeface="ABBvoice"/>
              </a:rPr>
              <a:t>End</a:t>
            </a:r>
            <a:r>
              <a:rPr sz="1300" spc="-45" dirty="0">
                <a:latin typeface="ABBvoice"/>
                <a:cs typeface="ABBvoice"/>
              </a:rPr>
              <a:t> </a:t>
            </a:r>
            <a:r>
              <a:rPr sz="1300" spc="-10" dirty="0">
                <a:latin typeface="ABBvoice"/>
                <a:cs typeface="ABBvoice"/>
              </a:rPr>
              <a:t>customers</a:t>
            </a:r>
            <a:endParaRPr sz="1300" dirty="0">
              <a:latin typeface="ABBvoice"/>
              <a:cs typeface="ABBvoice"/>
            </a:endParaRPr>
          </a:p>
          <a:p>
            <a:pPr marL="192405" indent="-180340">
              <a:lnSpc>
                <a:spcPct val="100000"/>
              </a:lnSpc>
              <a:spcBef>
                <a:spcPts val="310"/>
              </a:spcBef>
              <a:buChar char="–"/>
              <a:tabLst>
                <a:tab pos="193040" algn="l"/>
              </a:tabLst>
            </a:pPr>
            <a:r>
              <a:rPr lang="en-US" sz="1300" spc="-20" dirty="0">
                <a:latin typeface="ABBvoice"/>
                <a:cs typeface="ABBvoice"/>
              </a:rPr>
              <a:t>EPC</a:t>
            </a:r>
          </a:p>
          <a:p>
            <a:pPr marL="192405" indent="-180340">
              <a:lnSpc>
                <a:spcPct val="100000"/>
              </a:lnSpc>
              <a:spcBef>
                <a:spcPts val="310"/>
              </a:spcBef>
              <a:buChar char="–"/>
              <a:tabLst>
                <a:tab pos="193040" algn="l"/>
              </a:tabLst>
            </a:pPr>
            <a:r>
              <a:rPr lang="en-US" sz="1300" spc="-20" dirty="0">
                <a:latin typeface="ABBvoice"/>
                <a:cs typeface="ABBvoice"/>
              </a:rPr>
              <a:t>OEM</a:t>
            </a:r>
            <a:endParaRPr sz="1300" dirty="0">
              <a:latin typeface="ABBvoice"/>
              <a:cs typeface="ABBvoice"/>
            </a:endParaRPr>
          </a:p>
        </p:txBody>
      </p:sp>
      <p:sp>
        <p:nvSpPr>
          <p:cNvPr id="12" name="object 12"/>
          <p:cNvSpPr txBox="1"/>
          <p:nvPr/>
        </p:nvSpPr>
        <p:spPr>
          <a:xfrm>
            <a:off x="6686168" y="4786376"/>
            <a:ext cx="1096645" cy="238125"/>
          </a:xfrm>
          <a:prstGeom prst="rect">
            <a:avLst/>
          </a:prstGeom>
        </p:spPr>
        <p:txBody>
          <a:bodyPr vert="horz" wrap="square" lIns="0" tIns="11430" rIns="0" bIns="0" rtlCol="0">
            <a:spAutoFit/>
          </a:bodyPr>
          <a:lstStyle/>
          <a:p>
            <a:pPr marL="12700">
              <a:lnSpc>
                <a:spcPct val="100000"/>
              </a:lnSpc>
              <a:spcBef>
                <a:spcPts val="90"/>
              </a:spcBef>
            </a:pPr>
            <a:r>
              <a:rPr sz="1400" b="1">
                <a:latin typeface="ABBvoice"/>
                <a:cs typeface="ABBvoice"/>
              </a:rPr>
              <a:t>Pulp</a:t>
            </a:r>
            <a:r>
              <a:rPr sz="1400" b="1" spc="-25">
                <a:latin typeface="ABBvoice"/>
                <a:cs typeface="ABBvoice"/>
              </a:rPr>
              <a:t> </a:t>
            </a:r>
            <a:r>
              <a:rPr sz="1400" b="1">
                <a:latin typeface="ABBvoice"/>
                <a:cs typeface="ABBvoice"/>
              </a:rPr>
              <a:t>&amp;</a:t>
            </a:r>
            <a:r>
              <a:rPr sz="1400" b="1" spc="-10">
                <a:latin typeface="ABBvoice"/>
                <a:cs typeface="ABBvoice"/>
              </a:rPr>
              <a:t> Paper</a:t>
            </a:r>
            <a:endParaRPr sz="1400">
              <a:latin typeface="ABBvoice"/>
              <a:cs typeface="ABBvoice"/>
            </a:endParaRPr>
          </a:p>
        </p:txBody>
      </p:sp>
      <p:sp>
        <p:nvSpPr>
          <p:cNvPr id="13" name="object 13"/>
          <p:cNvSpPr txBox="1"/>
          <p:nvPr/>
        </p:nvSpPr>
        <p:spPr>
          <a:xfrm>
            <a:off x="6844665" y="2797251"/>
            <a:ext cx="782955" cy="238125"/>
          </a:xfrm>
          <a:prstGeom prst="rect">
            <a:avLst/>
          </a:prstGeom>
        </p:spPr>
        <p:txBody>
          <a:bodyPr vert="horz" wrap="square" lIns="0" tIns="12065" rIns="0" bIns="0" rtlCol="0">
            <a:spAutoFit/>
          </a:bodyPr>
          <a:lstStyle/>
          <a:p>
            <a:pPr marL="12700">
              <a:lnSpc>
                <a:spcPct val="100000"/>
              </a:lnSpc>
              <a:spcBef>
                <a:spcPts val="95"/>
              </a:spcBef>
            </a:pPr>
            <a:r>
              <a:rPr sz="1400" b="1">
                <a:latin typeface="ABBvoice"/>
                <a:cs typeface="ABBvoice"/>
              </a:rPr>
              <a:t>Oil</a:t>
            </a:r>
            <a:r>
              <a:rPr sz="1400" b="1" spc="-10">
                <a:latin typeface="ABBvoice"/>
                <a:cs typeface="ABBvoice"/>
              </a:rPr>
              <a:t> </a:t>
            </a:r>
            <a:r>
              <a:rPr sz="1400" b="1">
                <a:latin typeface="ABBvoice"/>
                <a:cs typeface="ABBvoice"/>
              </a:rPr>
              <a:t>&amp;</a:t>
            </a:r>
            <a:r>
              <a:rPr sz="1400" b="1" spc="-35">
                <a:latin typeface="ABBvoice"/>
                <a:cs typeface="ABBvoice"/>
              </a:rPr>
              <a:t> </a:t>
            </a:r>
            <a:r>
              <a:rPr sz="1400" b="1" spc="-25">
                <a:latin typeface="ABBvoice"/>
                <a:cs typeface="ABBvoice"/>
              </a:rPr>
              <a:t>Gas</a:t>
            </a:r>
            <a:endParaRPr sz="1400">
              <a:latin typeface="ABBvoice"/>
              <a:cs typeface="ABBvoice"/>
            </a:endParaRPr>
          </a:p>
        </p:txBody>
      </p:sp>
      <p:pic>
        <p:nvPicPr>
          <p:cNvPr id="14" name="object 14"/>
          <p:cNvPicPr/>
          <p:nvPr/>
        </p:nvPicPr>
        <p:blipFill>
          <a:blip r:embed="rId2" cstate="print"/>
          <a:stretch>
            <a:fillRect/>
          </a:stretch>
        </p:blipFill>
        <p:spPr>
          <a:xfrm>
            <a:off x="6321552" y="5105400"/>
            <a:ext cx="1825751" cy="1167383"/>
          </a:xfrm>
          <a:prstGeom prst="rect">
            <a:avLst/>
          </a:prstGeom>
        </p:spPr>
      </p:pic>
      <p:pic>
        <p:nvPicPr>
          <p:cNvPr id="15" name="object 15"/>
          <p:cNvPicPr/>
          <p:nvPr/>
        </p:nvPicPr>
        <p:blipFill>
          <a:blip r:embed="rId3" cstate="print"/>
          <a:stretch>
            <a:fillRect/>
          </a:stretch>
        </p:blipFill>
        <p:spPr>
          <a:xfrm>
            <a:off x="6309359" y="3125711"/>
            <a:ext cx="1853183" cy="1156728"/>
          </a:xfrm>
          <a:prstGeom prst="rect">
            <a:avLst/>
          </a:prstGeom>
        </p:spPr>
      </p:pic>
      <p:sp>
        <p:nvSpPr>
          <p:cNvPr id="16" name="object 16"/>
          <p:cNvSpPr txBox="1"/>
          <p:nvPr/>
        </p:nvSpPr>
        <p:spPr>
          <a:xfrm>
            <a:off x="8342826" y="4597047"/>
            <a:ext cx="1642492" cy="442429"/>
          </a:xfrm>
          <a:prstGeom prst="rect">
            <a:avLst/>
          </a:prstGeom>
        </p:spPr>
        <p:txBody>
          <a:bodyPr vert="horz" wrap="square" lIns="0" tIns="11430" rIns="0" bIns="0" rtlCol="0">
            <a:spAutoFit/>
          </a:bodyPr>
          <a:lstStyle/>
          <a:p>
            <a:pPr marL="12700" algn="ctr">
              <a:lnSpc>
                <a:spcPct val="100000"/>
              </a:lnSpc>
              <a:spcBef>
                <a:spcPts val="90"/>
              </a:spcBef>
            </a:pPr>
            <a:r>
              <a:rPr sz="1400" b="1" spc="-10">
                <a:latin typeface="ABBvoice"/>
                <a:cs typeface="ABBvoice"/>
              </a:rPr>
              <a:t>Mining</a:t>
            </a:r>
            <a:r>
              <a:rPr lang="en-US" sz="1400" b="1" spc="-10">
                <a:latin typeface="ABBvoice"/>
                <a:cs typeface="ABBvoice"/>
              </a:rPr>
              <a:t> &amp; Mineral processing</a:t>
            </a:r>
            <a:endParaRPr lang="en-US" sz="1400">
              <a:latin typeface="ABBvoice"/>
              <a:cs typeface="ABBvoice"/>
            </a:endParaRPr>
          </a:p>
        </p:txBody>
      </p:sp>
      <p:sp>
        <p:nvSpPr>
          <p:cNvPr id="17" name="object 17"/>
          <p:cNvSpPr txBox="1"/>
          <p:nvPr/>
        </p:nvSpPr>
        <p:spPr>
          <a:xfrm>
            <a:off x="8632697" y="2575051"/>
            <a:ext cx="1062990" cy="451484"/>
          </a:xfrm>
          <a:prstGeom prst="rect">
            <a:avLst/>
          </a:prstGeom>
        </p:spPr>
        <p:txBody>
          <a:bodyPr vert="horz" wrap="square" lIns="0" tIns="11430" rIns="0" bIns="0" rtlCol="0">
            <a:spAutoFit/>
          </a:bodyPr>
          <a:lstStyle/>
          <a:p>
            <a:pPr marL="173990" marR="5080" indent="-161925">
              <a:lnSpc>
                <a:spcPct val="100000"/>
              </a:lnSpc>
              <a:spcBef>
                <a:spcPts val="90"/>
              </a:spcBef>
            </a:pPr>
            <a:r>
              <a:rPr sz="1400" b="1">
                <a:latin typeface="ABBvoice"/>
                <a:cs typeface="ABBvoice"/>
              </a:rPr>
              <a:t>Chemicals</a:t>
            </a:r>
            <a:r>
              <a:rPr sz="1400" b="1" spc="-50">
                <a:latin typeface="ABBvoice"/>
                <a:cs typeface="ABBvoice"/>
              </a:rPr>
              <a:t> &amp; </a:t>
            </a:r>
            <a:r>
              <a:rPr sz="1400" b="1" spc="-10">
                <a:latin typeface="ABBvoice"/>
                <a:cs typeface="ABBvoice"/>
              </a:rPr>
              <a:t>Refining</a:t>
            </a:r>
            <a:endParaRPr sz="1400">
              <a:latin typeface="ABBvoice"/>
              <a:cs typeface="ABBvoice"/>
            </a:endParaRPr>
          </a:p>
        </p:txBody>
      </p:sp>
      <p:pic>
        <p:nvPicPr>
          <p:cNvPr id="18" name="object 18"/>
          <p:cNvPicPr/>
          <p:nvPr/>
        </p:nvPicPr>
        <p:blipFill>
          <a:blip r:embed="rId4" cstate="print"/>
          <a:stretch>
            <a:fillRect/>
          </a:stretch>
        </p:blipFill>
        <p:spPr>
          <a:xfrm>
            <a:off x="8290559" y="5111496"/>
            <a:ext cx="1737359" cy="1161287"/>
          </a:xfrm>
          <a:prstGeom prst="rect">
            <a:avLst/>
          </a:prstGeom>
        </p:spPr>
      </p:pic>
      <p:pic>
        <p:nvPicPr>
          <p:cNvPr id="19" name="object 19"/>
          <p:cNvPicPr/>
          <p:nvPr/>
        </p:nvPicPr>
        <p:blipFill>
          <a:blip r:embed="rId5" cstate="print"/>
          <a:stretch>
            <a:fillRect/>
          </a:stretch>
        </p:blipFill>
        <p:spPr>
          <a:xfrm>
            <a:off x="8290559" y="3124200"/>
            <a:ext cx="1737359" cy="1158239"/>
          </a:xfrm>
          <a:prstGeom prst="rect">
            <a:avLst/>
          </a:prstGeom>
        </p:spPr>
      </p:pic>
      <p:sp>
        <p:nvSpPr>
          <p:cNvPr id="20" name="object 20"/>
          <p:cNvSpPr txBox="1"/>
          <p:nvPr/>
        </p:nvSpPr>
        <p:spPr>
          <a:xfrm>
            <a:off x="4424934" y="2797251"/>
            <a:ext cx="1556385" cy="238125"/>
          </a:xfrm>
          <a:prstGeom prst="rect">
            <a:avLst/>
          </a:prstGeom>
        </p:spPr>
        <p:txBody>
          <a:bodyPr vert="horz" wrap="square" lIns="0" tIns="12065" rIns="0" bIns="0" rtlCol="0">
            <a:spAutoFit/>
          </a:bodyPr>
          <a:lstStyle/>
          <a:p>
            <a:pPr marL="12700">
              <a:lnSpc>
                <a:spcPct val="100000"/>
              </a:lnSpc>
              <a:spcBef>
                <a:spcPts val="95"/>
              </a:spcBef>
            </a:pPr>
            <a:r>
              <a:rPr sz="1400" b="1">
                <a:latin typeface="ABBvoice"/>
                <a:cs typeface="ABBvoice"/>
              </a:rPr>
              <a:t>Power</a:t>
            </a:r>
            <a:r>
              <a:rPr sz="1400" b="1" spc="-40">
                <a:latin typeface="ABBvoice"/>
                <a:cs typeface="ABBvoice"/>
              </a:rPr>
              <a:t> </a:t>
            </a:r>
            <a:r>
              <a:rPr sz="1400" b="1" spc="-10">
                <a:latin typeface="ABBvoice"/>
                <a:cs typeface="ABBvoice"/>
              </a:rPr>
              <a:t>Generation</a:t>
            </a:r>
            <a:endParaRPr sz="1400">
              <a:latin typeface="ABBvoice"/>
              <a:cs typeface="ABBvoice"/>
            </a:endParaRPr>
          </a:p>
        </p:txBody>
      </p:sp>
      <p:sp>
        <p:nvSpPr>
          <p:cNvPr id="21" name="object 21"/>
          <p:cNvSpPr txBox="1"/>
          <p:nvPr/>
        </p:nvSpPr>
        <p:spPr>
          <a:xfrm>
            <a:off x="4656582" y="4583683"/>
            <a:ext cx="1096010" cy="451484"/>
          </a:xfrm>
          <a:prstGeom prst="rect">
            <a:avLst/>
          </a:prstGeom>
        </p:spPr>
        <p:txBody>
          <a:bodyPr vert="horz" wrap="square" lIns="0" tIns="11430" rIns="0" bIns="0" rtlCol="0">
            <a:spAutoFit/>
          </a:bodyPr>
          <a:lstStyle/>
          <a:p>
            <a:pPr marL="12700" marR="5080" indent="127635">
              <a:lnSpc>
                <a:spcPct val="100000"/>
              </a:lnSpc>
              <a:spcBef>
                <a:spcPts val="90"/>
              </a:spcBef>
            </a:pPr>
            <a:r>
              <a:rPr sz="1400" b="1" spc="-10">
                <a:latin typeface="ABBvoice"/>
                <a:cs typeface="ABBvoice"/>
              </a:rPr>
              <a:t>Industrial Applications</a:t>
            </a:r>
            <a:endParaRPr sz="1400">
              <a:latin typeface="ABBvoice"/>
              <a:cs typeface="ABBvoice"/>
            </a:endParaRPr>
          </a:p>
        </p:txBody>
      </p:sp>
      <p:pic>
        <p:nvPicPr>
          <p:cNvPr id="22" name="object 22"/>
          <p:cNvPicPr/>
          <p:nvPr/>
        </p:nvPicPr>
        <p:blipFill>
          <a:blip r:embed="rId6" cstate="print"/>
          <a:stretch>
            <a:fillRect/>
          </a:stretch>
        </p:blipFill>
        <p:spPr>
          <a:xfrm>
            <a:off x="4236720" y="5117591"/>
            <a:ext cx="1935479" cy="1155191"/>
          </a:xfrm>
          <a:prstGeom prst="rect">
            <a:avLst/>
          </a:prstGeom>
        </p:spPr>
      </p:pic>
      <p:pic>
        <p:nvPicPr>
          <p:cNvPr id="23" name="object 23"/>
          <p:cNvPicPr/>
          <p:nvPr/>
        </p:nvPicPr>
        <p:blipFill>
          <a:blip r:embed="rId7" cstate="print"/>
          <a:stretch>
            <a:fillRect/>
          </a:stretch>
        </p:blipFill>
        <p:spPr>
          <a:xfrm>
            <a:off x="4236720" y="3118104"/>
            <a:ext cx="1935479" cy="1164335"/>
          </a:xfrm>
          <a:prstGeom prst="rect">
            <a:avLst/>
          </a:prstGeom>
        </p:spPr>
      </p:pic>
      <p:sp>
        <p:nvSpPr>
          <p:cNvPr id="24" name="object 24"/>
          <p:cNvSpPr txBox="1"/>
          <p:nvPr/>
        </p:nvSpPr>
        <p:spPr>
          <a:xfrm>
            <a:off x="10397490" y="4793995"/>
            <a:ext cx="1275715" cy="238125"/>
          </a:xfrm>
          <a:prstGeom prst="rect">
            <a:avLst/>
          </a:prstGeom>
        </p:spPr>
        <p:txBody>
          <a:bodyPr vert="horz" wrap="square" lIns="0" tIns="11430" rIns="0" bIns="0" rtlCol="0">
            <a:spAutoFit/>
          </a:bodyPr>
          <a:lstStyle/>
          <a:p>
            <a:pPr marL="12700">
              <a:lnSpc>
                <a:spcPct val="100000"/>
              </a:lnSpc>
              <a:spcBef>
                <a:spcPts val="90"/>
              </a:spcBef>
            </a:pPr>
            <a:r>
              <a:rPr sz="1400" b="1">
                <a:latin typeface="ABBvoice"/>
                <a:cs typeface="ABBvoice"/>
              </a:rPr>
              <a:t>Marine</a:t>
            </a:r>
            <a:r>
              <a:rPr sz="1400" b="1" spc="-15">
                <a:latin typeface="ABBvoice"/>
                <a:cs typeface="ABBvoice"/>
              </a:rPr>
              <a:t> </a:t>
            </a:r>
            <a:r>
              <a:rPr sz="1400" b="1">
                <a:latin typeface="ABBvoice"/>
                <a:cs typeface="ABBvoice"/>
              </a:rPr>
              <a:t>&amp;</a:t>
            </a:r>
            <a:r>
              <a:rPr sz="1400" b="1" spc="-50">
                <a:latin typeface="ABBvoice"/>
                <a:cs typeface="ABBvoice"/>
              </a:rPr>
              <a:t> </a:t>
            </a:r>
            <a:r>
              <a:rPr sz="1400" b="1" spc="-20">
                <a:latin typeface="ABBvoice"/>
                <a:cs typeface="ABBvoice"/>
              </a:rPr>
              <a:t>Ports</a:t>
            </a:r>
            <a:endParaRPr sz="1400">
              <a:latin typeface="ABBvoice"/>
              <a:cs typeface="ABBvoice"/>
            </a:endParaRPr>
          </a:p>
        </p:txBody>
      </p:sp>
      <p:sp>
        <p:nvSpPr>
          <p:cNvPr id="25" name="object 25"/>
          <p:cNvSpPr txBox="1"/>
          <p:nvPr/>
        </p:nvSpPr>
        <p:spPr>
          <a:xfrm>
            <a:off x="10503789" y="2546095"/>
            <a:ext cx="1057910" cy="451484"/>
          </a:xfrm>
          <a:prstGeom prst="rect">
            <a:avLst/>
          </a:prstGeom>
        </p:spPr>
        <p:txBody>
          <a:bodyPr vert="horz" wrap="square" lIns="0" tIns="11430" rIns="0" bIns="0" rtlCol="0">
            <a:spAutoFit/>
          </a:bodyPr>
          <a:lstStyle/>
          <a:p>
            <a:pPr marL="12700" marR="5080" indent="176530">
              <a:lnSpc>
                <a:spcPct val="100000"/>
              </a:lnSpc>
              <a:spcBef>
                <a:spcPts val="90"/>
              </a:spcBef>
            </a:pPr>
            <a:r>
              <a:rPr sz="1400" b="1">
                <a:latin typeface="ABBvoice"/>
                <a:cs typeface="ABBvoice"/>
              </a:rPr>
              <a:t>Water</a:t>
            </a:r>
            <a:r>
              <a:rPr sz="1400" b="1" spc="-30">
                <a:latin typeface="ABBvoice"/>
                <a:cs typeface="ABBvoice"/>
              </a:rPr>
              <a:t> </a:t>
            </a:r>
            <a:r>
              <a:rPr sz="1400" b="1" spc="-60">
                <a:latin typeface="ABBvoice"/>
                <a:cs typeface="ABBvoice"/>
              </a:rPr>
              <a:t>&amp; </a:t>
            </a:r>
            <a:r>
              <a:rPr sz="1400" b="1" spc="-20">
                <a:latin typeface="ABBvoice"/>
                <a:cs typeface="ABBvoice"/>
              </a:rPr>
              <a:t>Wastewater</a:t>
            </a:r>
            <a:endParaRPr sz="1400">
              <a:latin typeface="ABBvoice"/>
              <a:cs typeface="ABBvoice"/>
            </a:endParaRPr>
          </a:p>
        </p:txBody>
      </p:sp>
      <p:pic>
        <p:nvPicPr>
          <p:cNvPr id="26" name="object 26"/>
          <p:cNvPicPr/>
          <p:nvPr/>
        </p:nvPicPr>
        <p:blipFill>
          <a:blip r:embed="rId8" cstate="print"/>
          <a:stretch>
            <a:fillRect/>
          </a:stretch>
        </p:blipFill>
        <p:spPr>
          <a:xfrm>
            <a:off x="10162031" y="5105400"/>
            <a:ext cx="1737359" cy="1167383"/>
          </a:xfrm>
          <a:prstGeom prst="rect">
            <a:avLst/>
          </a:prstGeom>
        </p:spPr>
      </p:pic>
      <p:pic>
        <p:nvPicPr>
          <p:cNvPr id="27" name="object 27"/>
          <p:cNvPicPr/>
          <p:nvPr/>
        </p:nvPicPr>
        <p:blipFill>
          <a:blip r:embed="rId9" cstate="print"/>
          <a:stretch>
            <a:fillRect/>
          </a:stretch>
        </p:blipFill>
        <p:spPr>
          <a:xfrm>
            <a:off x="10162031" y="3127248"/>
            <a:ext cx="1737359" cy="1155191"/>
          </a:xfrm>
          <a:prstGeom prst="rect">
            <a:avLst/>
          </a:prstGeom>
        </p:spPr>
      </p:pic>
      <p:sp>
        <p:nvSpPr>
          <p:cNvPr id="28" name="object 28"/>
          <p:cNvSpPr/>
          <p:nvPr/>
        </p:nvSpPr>
        <p:spPr>
          <a:xfrm>
            <a:off x="4038600" y="2401823"/>
            <a:ext cx="0" cy="3997960"/>
          </a:xfrm>
          <a:custGeom>
            <a:avLst/>
            <a:gdLst/>
            <a:ahLst/>
            <a:cxnLst/>
            <a:rect l="l" t="t" r="r" b="b"/>
            <a:pathLst>
              <a:path h="3997960">
                <a:moveTo>
                  <a:pt x="0" y="0"/>
                </a:moveTo>
                <a:lnTo>
                  <a:pt x="0" y="3997452"/>
                </a:lnTo>
              </a:path>
            </a:pathLst>
          </a:custGeom>
          <a:ln w="12700">
            <a:solidFill>
              <a:srgbClr val="000000"/>
            </a:solidFill>
          </a:ln>
        </p:spPr>
        <p:txBody>
          <a:bodyPr wrap="square" lIns="0" tIns="0" rIns="0" bIns="0" rtlCol="0"/>
          <a:lstStyle/>
          <a:p>
            <a:endParaRPr/>
          </a:p>
        </p:txBody>
      </p:sp>
      <p:sp>
        <p:nvSpPr>
          <p:cNvPr id="29" name="object 8">
            <a:extLst>
              <a:ext uri="{FF2B5EF4-FFF2-40B4-BE49-F238E27FC236}">
                <a16:creationId xmlns:a16="http://schemas.microsoft.com/office/drawing/2014/main" id="{728605C2-734A-4A06-ADC0-6951C45D19D0}"/>
              </a:ext>
            </a:extLst>
          </p:cNvPr>
          <p:cNvSpPr txBox="1"/>
          <p:nvPr/>
        </p:nvSpPr>
        <p:spPr>
          <a:xfrm>
            <a:off x="416321" y="1201635"/>
            <a:ext cx="6866890" cy="382797"/>
          </a:xfrm>
          <a:prstGeom prst="rect">
            <a:avLst/>
          </a:prstGeom>
        </p:spPr>
        <p:txBody>
          <a:bodyPr vert="horz" wrap="square" lIns="0" tIns="13335" rIns="0" bIns="0" rtlCol="0">
            <a:spAutoFit/>
          </a:bodyPr>
          <a:lstStyle/>
          <a:p>
            <a:pPr marL="12700">
              <a:lnSpc>
                <a:spcPct val="100000"/>
              </a:lnSpc>
              <a:spcBef>
                <a:spcPts val="105"/>
              </a:spcBef>
            </a:pPr>
            <a:r>
              <a:rPr lang="en-US" sz="2400">
                <a:latin typeface="ABBvoice Light" panose="020D0403020503020204" pitchFamily="34" charset="0"/>
                <a:ea typeface="ABBvoice Light" panose="020D0403020503020204" pitchFamily="34" charset="0"/>
                <a:cs typeface="ABBvoice Light" panose="020D0403020503020204" pitchFamily="34" charset="0"/>
              </a:rPr>
              <a:t>Writing</a:t>
            </a:r>
            <a:r>
              <a:rPr lang="en-US" sz="2400" spc="-7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the</a:t>
            </a:r>
            <a:r>
              <a:rPr lang="en-US" sz="2400" spc="-6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future</a:t>
            </a:r>
            <a:r>
              <a:rPr lang="en-US" sz="2400" spc="-50">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of</a:t>
            </a:r>
            <a:r>
              <a:rPr lang="en-US" sz="2400" spc="-85">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safe</a:t>
            </a:r>
            <a:r>
              <a:rPr lang="en-US" sz="2400" spc="-60">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and</a:t>
            </a:r>
            <a:r>
              <a:rPr lang="en-US" sz="2400" spc="-70">
                <a:latin typeface="ABBvoice Light" panose="020D0403020503020204" pitchFamily="34" charset="0"/>
                <a:ea typeface="ABBvoice Light" panose="020D0403020503020204" pitchFamily="34" charset="0"/>
                <a:cs typeface="ABBvoice Light" panose="020D0403020503020204" pitchFamily="34" charset="0"/>
              </a:rPr>
              <a:t> </a:t>
            </a:r>
            <a:r>
              <a:rPr lang="en-US" sz="2400">
                <a:latin typeface="ABBvoice Light" panose="020D0403020503020204" pitchFamily="34" charset="0"/>
                <a:ea typeface="ABBvoice Light" panose="020D0403020503020204" pitchFamily="34" charset="0"/>
                <a:cs typeface="ABBvoice Light" panose="020D0403020503020204" pitchFamily="34" charset="0"/>
              </a:rPr>
              <a:t>smart</a:t>
            </a:r>
            <a:r>
              <a:rPr lang="en-US" sz="2400" spc="-60">
                <a:latin typeface="ABBvoice Light" panose="020D0403020503020204" pitchFamily="34" charset="0"/>
                <a:ea typeface="ABBvoice Light" panose="020D0403020503020204" pitchFamily="34" charset="0"/>
                <a:cs typeface="ABBvoice Light" panose="020D0403020503020204" pitchFamily="34" charset="0"/>
              </a:rPr>
              <a:t> </a:t>
            </a:r>
            <a:r>
              <a:rPr lang="en-US" sz="2400" spc="-10">
                <a:latin typeface="ABBvoice Light" panose="020D0403020503020204" pitchFamily="34" charset="0"/>
                <a:ea typeface="ABBvoice Light" panose="020D0403020503020204" pitchFamily="34" charset="0"/>
                <a:cs typeface="ABBvoice Light" panose="020D0403020503020204" pitchFamily="34" charset="0"/>
              </a:rPr>
              <a:t>operations</a:t>
            </a:r>
            <a:endParaRPr sz="240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4" name="object 2">
            <a:extLst>
              <a:ext uri="{FF2B5EF4-FFF2-40B4-BE49-F238E27FC236}">
                <a16:creationId xmlns:a16="http://schemas.microsoft.com/office/drawing/2014/main" id="{DD30E5B8-6AFE-8F27-FC46-1D76C44A636E}"/>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395427" y="711149"/>
            <a:ext cx="3877945" cy="873957"/>
          </a:xfrm>
          <a:prstGeom prst="rect">
            <a:avLst/>
          </a:prstGeom>
        </p:spPr>
        <p:txBody>
          <a:bodyPr vert="horz" wrap="square" lIns="0" tIns="12065" rIns="0" bIns="0" rtlCol="0">
            <a:spAutoFit/>
          </a:bodyPr>
          <a:lstStyle/>
          <a:p>
            <a:pPr marL="12700" marR="5080">
              <a:lnSpc>
                <a:spcPct val="100000"/>
              </a:lnSpc>
              <a:spcBef>
                <a:spcPts val="95"/>
              </a:spcBef>
            </a:pPr>
            <a:r>
              <a:rPr sz="2800" b="1">
                <a:latin typeface="ABBvoice"/>
                <a:cs typeface="ABBvoice"/>
              </a:rPr>
              <a:t>Robotics</a:t>
            </a:r>
            <a:r>
              <a:rPr sz="2800" b="1" spc="-55">
                <a:latin typeface="ABBvoice"/>
                <a:cs typeface="ABBvoice"/>
              </a:rPr>
              <a:t> </a:t>
            </a:r>
            <a:r>
              <a:rPr sz="2800" b="1">
                <a:latin typeface="ABBvoice"/>
                <a:cs typeface="ABBvoice"/>
              </a:rPr>
              <a:t>&amp;</a:t>
            </a:r>
            <a:r>
              <a:rPr sz="2800" b="1" spc="-95">
                <a:latin typeface="ABBvoice"/>
                <a:cs typeface="ABBvoice"/>
              </a:rPr>
              <a:t> </a:t>
            </a:r>
            <a:r>
              <a:rPr sz="2800" b="1" spc="-10">
                <a:latin typeface="ABBvoice"/>
                <a:cs typeface="ABBvoice"/>
              </a:rPr>
              <a:t>Discrete Automation</a:t>
            </a:r>
          </a:p>
        </p:txBody>
      </p:sp>
      <p:pic>
        <p:nvPicPr>
          <p:cNvPr id="4" name="object 4"/>
          <p:cNvPicPr/>
          <p:nvPr/>
        </p:nvPicPr>
        <p:blipFill>
          <a:blip r:embed="rId2" cstate="print"/>
          <a:stretch>
            <a:fillRect/>
          </a:stretch>
        </p:blipFill>
        <p:spPr>
          <a:xfrm>
            <a:off x="6089903" y="0"/>
            <a:ext cx="6095999" cy="6857998"/>
          </a:xfrm>
          <a:prstGeom prst="rect">
            <a:avLst/>
          </a:prstGeom>
        </p:spPr>
      </p:pic>
      <p:sp>
        <p:nvSpPr>
          <p:cNvPr id="5" name="object 5"/>
          <p:cNvSpPr txBox="1"/>
          <p:nvPr/>
        </p:nvSpPr>
        <p:spPr>
          <a:xfrm>
            <a:off x="389636" y="1963928"/>
            <a:ext cx="4990465" cy="1966595"/>
          </a:xfrm>
          <a:prstGeom prst="rect">
            <a:avLst/>
          </a:prstGeom>
        </p:spPr>
        <p:txBody>
          <a:bodyPr vert="horz" wrap="square" lIns="0" tIns="12700" rIns="0" bIns="0" rtlCol="0">
            <a:spAutoFit/>
          </a:bodyPr>
          <a:lstStyle/>
          <a:p>
            <a:pPr marL="12700">
              <a:lnSpc>
                <a:spcPct val="100000"/>
              </a:lnSpc>
              <a:spcBef>
                <a:spcPts val="100"/>
              </a:spcBef>
            </a:pPr>
            <a:r>
              <a:rPr sz="1800" b="1">
                <a:latin typeface="ABBvoice"/>
                <a:cs typeface="ABBvoice"/>
              </a:rPr>
              <a:t>Writing</a:t>
            </a:r>
            <a:r>
              <a:rPr sz="1800" b="1" spc="-10">
                <a:latin typeface="ABBvoice"/>
                <a:cs typeface="ABBvoice"/>
              </a:rPr>
              <a:t> </a:t>
            </a:r>
            <a:r>
              <a:rPr sz="1800" b="1">
                <a:latin typeface="ABBvoice"/>
                <a:cs typeface="ABBvoice"/>
              </a:rPr>
              <a:t>the</a:t>
            </a:r>
            <a:r>
              <a:rPr sz="1800" b="1" spc="-10">
                <a:latin typeface="ABBvoice"/>
                <a:cs typeface="ABBvoice"/>
              </a:rPr>
              <a:t> </a:t>
            </a:r>
            <a:r>
              <a:rPr sz="1800" b="1">
                <a:latin typeface="ABBvoice"/>
                <a:cs typeface="ABBvoice"/>
              </a:rPr>
              <a:t>future</a:t>
            </a:r>
            <a:r>
              <a:rPr sz="1800" b="1" spc="-15">
                <a:latin typeface="ABBvoice"/>
                <a:cs typeface="ABBvoice"/>
              </a:rPr>
              <a:t> </a:t>
            </a:r>
            <a:r>
              <a:rPr sz="1800" b="1">
                <a:latin typeface="ABBvoice"/>
                <a:cs typeface="ABBvoice"/>
              </a:rPr>
              <a:t>of</a:t>
            </a:r>
            <a:r>
              <a:rPr sz="1800" b="1" spc="-15">
                <a:latin typeface="ABBvoice"/>
                <a:cs typeface="ABBvoice"/>
              </a:rPr>
              <a:t> </a:t>
            </a:r>
            <a:r>
              <a:rPr sz="1800" b="1">
                <a:latin typeface="ABBvoice"/>
                <a:cs typeface="ABBvoice"/>
              </a:rPr>
              <a:t>flexible </a:t>
            </a:r>
            <a:r>
              <a:rPr sz="1800" b="1" spc="-10">
                <a:latin typeface="ABBvoice"/>
                <a:cs typeface="ABBvoice"/>
              </a:rPr>
              <a:t>manufacturing</a:t>
            </a:r>
            <a:endParaRPr sz="1800">
              <a:latin typeface="ABBvoice"/>
              <a:cs typeface="ABBvoice"/>
            </a:endParaRPr>
          </a:p>
          <a:p>
            <a:pPr marL="12700">
              <a:lnSpc>
                <a:spcPct val="100000"/>
              </a:lnSpc>
            </a:pPr>
            <a:r>
              <a:rPr sz="1800" b="1">
                <a:latin typeface="ABBvoice"/>
                <a:cs typeface="ABBvoice"/>
              </a:rPr>
              <a:t>and</a:t>
            </a:r>
            <a:r>
              <a:rPr sz="1800" b="1" spc="-30">
                <a:latin typeface="ABBvoice"/>
                <a:cs typeface="ABBvoice"/>
              </a:rPr>
              <a:t> </a:t>
            </a:r>
            <a:r>
              <a:rPr sz="1800" b="1">
                <a:latin typeface="ABBvoice"/>
                <a:cs typeface="ABBvoice"/>
              </a:rPr>
              <a:t>smart</a:t>
            </a:r>
            <a:r>
              <a:rPr sz="1800" b="1" spc="-15">
                <a:latin typeface="ABBvoice"/>
                <a:cs typeface="ABBvoice"/>
              </a:rPr>
              <a:t> </a:t>
            </a:r>
            <a:r>
              <a:rPr sz="1800" b="1" spc="-10">
                <a:latin typeface="ABBvoice"/>
                <a:cs typeface="ABBvoice"/>
              </a:rPr>
              <a:t>machines.</a:t>
            </a:r>
            <a:endParaRPr sz="1800">
              <a:latin typeface="ABBvoice"/>
              <a:cs typeface="ABBvoice"/>
            </a:endParaRPr>
          </a:p>
          <a:p>
            <a:pPr>
              <a:lnSpc>
                <a:spcPct val="100000"/>
              </a:lnSpc>
              <a:spcBef>
                <a:spcPts val="20"/>
              </a:spcBef>
            </a:pPr>
            <a:endParaRPr sz="2000">
              <a:latin typeface="ABBvoice"/>
              <a:cs typeface="ABBvoice"/>
            </a:endParaRPr>
          </a:p>
          <a:p>
            <a:pPr marL="12700" marR="5080">
              <a:lnSpc>
                <a:spcPct val="100000"/>
              </a:lnSpc>
            </a:pPr>
            <a:r>
              <a:rPr sz="1400">
                <a:latin typeface="ABBvoice"/>
                <a:cs typeface="ABBvoice"/>
              </a:rPr>
              <a:t>ABB's</a:t>
            </a:r>
            <a:r>
              <a:rPr sz="1400" spc="-40">
                <a:latin typeface="ABBvoice"/>
                <a:cs typeface="ABBvoice"/>
              </a:rPr>
              <a:t> </a:t>
            </a:r>
            <a:r>
              <a:rPr sz="1400">
                <a:latin typeface="ABBvoice"/>
                <a:cs typeface="ABBvoice"/>
              </a:rPr>
              <a:t>Robotics</a:t>
            </a:r>
            <a:r>
              <a:rPr sz="1400" spc="-25">
                <a:latin typeface="ABBvoice"/>
                <a:cs typeface="ABBvoice"/>
              </a:rPr>
              <a:t> </a:t>
            </a:r>
            <a:r>
              <a:rPr sz="1400">
                <a:latin typeface="ABBvoice"/>
                <a:cs typeface="ABBvoice"/>
              </a:rPr>
              <a:t>&amp;</a:t>
            </a:r>
            <a:r>
              <a:rPr sz="1400" spc="-70">
                <a:latin typeface="ABBvoice"/>
                <a:cs typeface="ABBvoice"/>
              </a:rPr>
              <a:t> </a:t>
            </a:r>
            <a:r>
              <a:rPr sz="1400">
                <a:latin typeface="ABBvoice"/>
                <a:cs typeface="ABBvoice"/>
              </a:rPr>
              <a:t>Discrete</a:t>
            </a:r>
            <a:r>
              <a:rPr sz="1400" spc="-45">
                <a:latin typeface="ABBvoice"/>
                <a:cs typeface="ABBvoice"/>
              </a:rPr>
              <a:t> </a:t>
            </a:r>
            <a:r>
              <a:rPr sz="1400">
                <a:latin typeface="ABBvoice"/>
                <a:cs typeface="ABBvoice"/>
              </a:rPr>
              <a:t>Automation</a:t>
            </a:r>
            <a:r>
              <a:rPr sz="1400" spc="-10">
                <a:latin typeface="ABBvoice"/>
                <a:cs typeface="ABBvoice"/>
              </a:rPr>
              <a:t> </a:t>
            </a:r>
            <a:r>
              <a:rPr sz="1400">
                <a:latin typeface="ABBvoice"/>
                <a:cs typeface="ABBvoice"/>
              </a:rPr>
              <a:t>business</a:t>
            </a:r>
            <a:r>
              <a:rPr sz="1400" spc="-20">
                <a:latin typeface="ABBvoice"/>
                <a:cs typeface="ABBvoice"/>
              </a:rPr>
              <a:t> </a:t>
            </a:r>
            <a:r>
              <a:rPr sz="1400" spc="-10">
                <a:latin typeface="ABBvoice"/>
                <a:cs typeface="ABBvoice"/>
              </a:rPr>
              <a:t>provides </a:t>
            </a:r>
            <a:r>
              <a:rPr sz="1400" spc="-20">
                <a:latin typeface="ABBvoice"/>
                <a:cs typeface="ABBvoice"/>
              </a:rPr>
              <a:t>value-</a:t>
            </a:r>
            <a:r>
              <a:rPr sz="1400">
                <a:latin typeface="ABBvoice"/>
                <a:cs typeface="ABBvoice"/>
              </a:rPr>
              <a:t>added</a:t>
            </a:r>
            <a:r>
              <a:rPr sz="1400" spc="35">
                <a:latin typeface="ABBvoice"/>
                <a:cs typeface="ABBvoice"/>
              </a:rPr>
              <a:t> </a:t>
            </a:r>
            <a:r>
              <a:rPr sz="1400">
                <a:latin typeface="ABBvoice"/>
                <a:cs typeface="ABBvoice"/>
              </a:rPr>
              <a:t>solutions</a:t>
            </a:r>
            <a:r>
              <a:rPr sz="1400" spc="-40">
                <a:latin typeface="ABBvoice"/>
                <a:cs typeface="ABBvoice"/>
              </a:rPr>
              <a:t> </a:t>
            </a:r>
            <a:r>
              <a:rPr sz="1400">
                <a:latin typeface="ABBvoice"/>
                <a:cs typeface="ABBvoice"/>
              </a:rPr>
              <a:t>in</a:t>
            </a:r>
            <a:r>
              <a:rPr sz="1400" spc="-40">
                <a:latin typeface="ABBvoice"/>
                <a:cs typeface="ABBvoice"/>
              </a:rPr>
              <a:t> </a:t>
            </a:r>
            <a:r>
              <a:rPr sz="1400">
                <a:latin typeface="ABBvoice"/>
                <a:cs typeface="ABBvoice"/>
              </a:rPr>
              <a:t>robotics,</a:t>
            </a:r>
            <a:r>
              <a:rPr sz="1400" spc="-35">
                <a:latin typeface="ABBvoice"/>
                <a:cs typeface="ABBvoice"/>
              </a:rPr>
              <a:t> </a:t>
            </a:r>
            <a:r>
              <a:rPr sz="1400">
                <a:latin typeface="ABBvoice"/>
                <a:cs typeface="ABBvoice"/>
              </a:rPr>
              <a:t>machine</a:t>
            </a:r>
            <a:r>
              <a:rPr sz="1400" spc="-15">
                <a:latin typeface="ABBvoice"/>
                <a:cs typeface="ABBvoice"/>
              </a:rPr>
              <a:t> </a:t>
            </a:r>
            <a:r>
              <a:rPr sz="1400">
                <a:latin typeface="ABBvoice"/>
                <a:cs typeface="ABBvoice"/>
              </a:rPr>
              <a:t>and</a:t>
            </a:r>
            <a:r>
              <a:rPr sz="1400" spc="-20">
                <a:latin typeface="ABBvoice"/>
                <a:cs typeface="ABBvoice"/>
              </a:rPr>
              <a:t> </a:t>
            </a:r>
            <a:r>
              <a:rPr sz="1400" spc="-10">
                <a:latin typeface="ABBvoice"/>
                <a:cs typeface="ABBvoice"/>
              </a:rPr>
              <a:t>factory </a:t>
            </a:r>
            <a:r>
              <a:rPr sz="1400">
                <a:latin typeface="ABBvoice"/>
                <a:cs typeface="ABBvoice"/>
              </a:rPr>
              <a:t>automation.</a:t>
            </a:r>
            <a:r>
              <a:rPr sz="1400" spc="-15">
                <a:latin typeface="ABBvoice"/>
                <a:cs typeface="ABBvoice"/>
              </a:rPr>
              <a:t> </a:t>
            </a:r>
            <a:r>
              <a:rPr sz="1400">
                <a:latin typeface="ABBvoice"/>
                <a:cs typeface="ABBvoice"/>
              </a:rPr>
              <a:t>Our</a:t>
            </a:r>
            <a:r>
              <a:rPr sz="1400" spc="-70">
                <a:latin typeface="ABBvoice"/>
                <a:cs typeface="ABBvoice"/>
              </a:rPr>
              <a:t> </a:t>
            </a:r>
            <a:r>
              <a:rPr sz="1400">
                <a:latin typeface="ABBvoice"/>
                <a:cs typeface="ABBvoice"/>
              </a:rPr>
              <a:t>integrated</a:t>
            </a:r>
            <a:r>
              <a:rPr sz="1400" spc="-25">
                <a:latin typeface="ABBvoice"/>
                <a:cs typeface="ABBvoice"/>
              </a:rPr>
              <a:t> </a:t>
            </a:r>
            <a:r>
              <a:rPr sz="1400">
                <a:latin typeface="ABBvoice"/>
                <a:cs typeface="ABBvoice"/>
              </a:rPr>
              <a:t>automation</a:t>
            </a:r>
            <a:r>
              <a:rPr sz="1400" spc="-20">
                <a:latin typeface="ABBvoice"/>
                <a:cs typeface="ABBvoice"/>
              </a:rPr>
              <a:t> </a:t>
            </a:r>
            <a:r>
              <a:rPr sz="1400">
                <a:latin typeface="ABBvoice"/>
                <a:cs typeface="ABBvoice"/>
              </a:rPr>
              <a:t>solutions,</a:t>
            </a:r>
            <a:r>
              <a:rPr sz="1400" spc="-45">
                <a:latin typeface="ABBvoice"/>
                <a:cs typeface="ABBvoice"/>
              </a:rPr>
              <a:t> </a:t>
            </a:r>
            <a:r>
              <a:rPr sz="1400" spc="-25">
                <a:latin typeface="ABBvoice"/>
                <a:cs typeface="ABBvoice"/>
              </a:rPr>
              <a:t>our </a:t>
            </a:r>
            <a:r>
              <a:rPr sz="1400" spc="-10">
                <a:latin typeface="ABBvoice"/>
                <a:cs typeface="ABBvoice"/>
              </a:rPr>
              <a:t>application</a:t>
            </a:r>
            <a:r>
              <a:rPr sz="1400" spc="5">
                <a:latin typeface="ABBvoice"/>
                <a:cs typeface="ABBvoice"/>
              </a:rPr>
              <a:t> </a:t>
            </a:r>
            <a:r>
              <a:rPr sz="1400">
                <a:latin typeface="ABBvoice"/>
                <a:cs typeface="ABBvoice"/>
              </a:rPr>
              <a:t>expertise</a:t>
            </a:r>
            <a:r>
              <a:rPr sz="1400" spc="20">
                <a:latin typeface="ABBvoice"/>
                <a:cs typeface="ABBvoice"/>
              </a:rPr>
              <a:t> </a:t>
            </a:r>
            <a:r>
              <a:rPr sz="1400">
                <a:latin typeface="ABBvoice"/>
                <a:cs typeface="ABBvoice"/>
              </a:rPr>
              <a:t>across</a:t>
            </a:r>
            <a:r>
              <a:rPr sz="1400" spc="-20">
                <a:latin typeface="ABBvoice"/>
                <a:cs typeface="ABBvoice"/>
              </a:rPr>
              <a:t> </a:t>
            </a:r>
            <a:r>
              <a:rPr sz="1400">
                <a:latin typeface="ABBvoice"/>
                <a:cs typeface="ABBvoice"/>
              </a:rPr>
              <a:t>a</a:t>
            </a:r>
            <a:r>
              <a:rPr sz="1400" spc="-35">
                <a:latin typeface="ABBvoice"/>
                <a:cs typeface="ABBvoice"/>
              </a:rPr>
              <a:t> </a:t>
            </a:r>
            <a:r>
              <a:rPr sz="1400">
                <a:latin typeface="ABBvoice"/>
                <a:cs typeface="ABBvoice"/>
              </a:rPr>
              <a:t>wide</a:t>
            </a:r>
            <a:r>
              <a:rPr sz="1400" spc="-45">
                <a:latin typeface="ABBvoice"/>
                <a:cs typeface="ABBvoice"/>
              </a:rPr>
              <a:t> </a:t>
            </a:r>
            <a:r>
              <a:rPr sz="1400">
                <a:latin typeface="ABBvoice"/>
                <a:cs typeface="ABBvoice"/>
              </a:rPr>
              <a:t>scope</a:t>
            </a:r>
            <a:r>
              <a:rPr sz="1400" spc="-25">
                <a:latin typeface="ABBvoice"/>
                <a:cs typeface="ABBvoice"/>
              </a:rPr>
              <a:t> </a:t>
            </a:r>
            <a:r>
              <a:rPr sz="1400">
                <a:latin typeface="ABBvoice"/>
                <a:cs typeface="ABBvoice"/>
              </a:rPr>
              <a:t>of</a:t>
            </a:r>
            <a:r>
              <a:rPr sz="1400" spc="-40">
                <a:latin typeface="ABBvoice"/>
                <a:cs typeface="ABBvoice"/>
              </a:rPr>
              <a:t> </a:t>
            </a:r>
            <a:r>
              <a:rPr sz="1400">
                <a:latin typeface="ABBvoice"/>
                <a:cs typeface="ABBvoice"/>
              </a:rPr>
              <a:t>industries</a:t>
            </a:r>
            <a:r>
              <a:rPr sz="1400" spc="20">
                <a:latin typeface="ABBvoice"/>
                <a:cs typeface="ABBvoice"/>
              </a:rPr>
              <a:t> </a:t>
            </a:r>
            <a:r>
              <a:rPr sz="1400" spc="-25">
                <a:latin typeface="ABBvoice"/>
                <a:cs typeface="ABBvoice"/>
              </a:rPr>
              <a:t>and </a:t>
            </a:r>
            <a:r>
              <a:rPr sz="1400">
                <a:latin typeface="ABBvoice"/>
                <a:cs typeface="ABBvoice"/>
              </a:rPr>
              <a:t>our</a:t>
            </a:r>
            <a:r>
              <a:rPr sz="1400" spc="-80">
                <a:latin typeface="ABBvoice"/>
                <a:cs typeface="ABBvoice"/>
              </a:rPr>
              <a:t> </a:t>
            </a:r>
            <a:r>
              <a:rPr sz="1400">
                <a:latin typeface="ABBvoice"/>
                <a:cs typeface="ABBvoice"/>
              </a:rPr>
              <a:t>global</a:t>
            </a:r>
            <a:r>
              <a:rPr sz="1400" spc="-45">
                <a:latin typeface="ABBvoice"/>
                <a:cs typeface="ABBvoice"/>
              </a:rPr>
              <a:t> </a:t>
            </a:r>
            <a:r>
              <a:rPr sz="1400">
                <a:latin typeface="ABBvoice"/>
                <a:cs typeface="ABBvoice"/>
              </a:rPr>
              <a:t>presence</a:t>
            </a:r>
            <a:r>
              <a:rPr sz="1400" spc="-40">
                <a:latin typeface="ABBvoice"/>
                <a:cs typeface="ABBvoice"/>
              </a:rPr>
              <a:t> </a:t>
            </a:r>
            <a:r>
              <a:rPr sz="1400">
                <a:latin typeface="ABBvoice"/>
                <a:cs typeface="ABBvoice"/>
              </a:rPr>
              <a:t>deliver</a:t>
            </a:r>
            <a:r>
              <a:rPr sz="1400" spc="-60">
                <a:latin typeface="ABBvoice"/>
                <a:cs typeface="ABBvoice"/>
              </a:rPr>
              <a:t> </a:t>
            </a:r>
            <a:r>
              <a:rPr sz="1400">
                <a:latin typeface="ABBvoice"/>
                <a:cs typeface="ABBvoice"/>
              </a:rPr>
              <a:t>tangible</a:t>
            </a:r>
            <a:r>
              <a:rPr sz="1400" spc="-25">
                <a:latin typeface="ABBvoice"/>
                <a:cs typeface="ABBvoice"/>
              </a:rPr>
              <a:t> </a:t>
            </a:r>
            <a:r>
              <a:rPr sz="1400">
                <a:latin typeface="ABBvoice"/>
                <a:cs typeface="ABBvoice"/>
              </a:rPr>
              <a:t>customer</a:t>
            </a:r>
            <a:r>
              <a:rPr sz="1400" spc="-45">
                <a:latin typeface="ABBvoice"/>
                <a:cs typeface="ABBvoice"/>
              </a:rPr>
              <a:t> </a:t>
            </a:r>
            <a:r>
              <a:rPr sz="1400" spc="-10">
                <a:latin typeface="ABBvoice"/>
                <a:cs typeface="ABBvoice"/>
              </a:rPr>
              <a:t>value.</a:t>
            </a:r>
            <a:endParaRPr sz="1400">
              <a:latin typeface="ABBvoice"/>
              <a:cs typeface="ABBvoice"/>
            </a:endParaRPr>
          </a:p>
        </p:txBody>
      </p:sp>
      <p:graphicFrame>
        <p:nvGraphicFramePr>
          <p:cNvPr id="6" name="object 6"/>
          <p:cNvGraphicFramePr>
            <a:graphicFrameLocks noGrp="1"/>
          </p:cNvGraphicFramePr>
          <p:nvPr>
            <p:extLst>
              <p:ext uri="{D42A27DB-BD31-4B8C-83A1-F6EECF244321}">
                <p14:modId xmlns:p14="http://schemas.microsoft.com/office/powerpoint/2010/main" val="1996487759"/>
              </p:ext>
            </p:extLst>
          </p:nvPr>
        </p:nvGraphicFramePr>
        <p:xfrm>
          <a:off x="2048764" y="4365506"/>
          <a:ext cx="2593975" cy="1189355"/>
        </p:xfrm>
        <a:graphic>
          <a:graphicData uri="http://schemas.openxmlformats.org/drawingml/2006/table">
            <a:tbl>
              <a:tblPr firstRow="1" bandRow="1">
                <a:tableStyleId>{2D5ABB26-0587-4C30-8999-92F81FD0307C}</a:tableStyleId>
              </a:tblPr>
              <a:tblGrid>
                <a:gridCol w="2593975">
                  <a:extLst>
                    <a:ext uri="{9D8B030D-6E8A-4147-A177-3AD203B41FA5}">
                      <a16:colId xmlns:a16="http://schemas.microsoft.com/office/drawing/2014/main" val="20000"/>
                    </a:ext>
                  </a:extLst>
                </a:gridCol>
              </a:tblGrid>
              <a:tr h="594995">
                <a:tc>
                  <a:txBody>
                    <a:bodyPr/>
                    <a:lstStyle/>
                    <a:p>
                      <a:pPr marL="31750">
                        <a:lnSpc>
                          <a:spcPts val="1835"/>
                        </a:lnSpc>
                      </a:pPr>
                      <a:endParaRPr sz="2000" dirty="0">
                        <a:latin typeface="ABBvoice"/>
                        <a:cs typeface="ABBvoice"/>
                      </a:endParaRPr>
                    </a:p>
                  </a:txBody>
                  <a:tcPr marL="0" marR="0" marT="0" marB="0"/>
                </a:tc>
                <a:extLst>
                  <a:ext uri="{0D108BD9-81ED-4DB2-BD59-A6C34878D82A}">
                    <a16:rowId xmlns:a16="http://schemas.microsoft.com/office/drawing/2014/main" val="10000"/>
                  </a:ext>
                </a:extLst>
              </a:tr>
              <a:tr h="594360">
                <a:tc>
                  <a:txBody>
                    <a:bodyPr/>
                    <a:lstStyle/>
                    <a:p>
                      <a:pPr>
                        <a:lnSpc>
                          <a:spcPct val="100000"/>
                        </a:lnSpc>
                        <a:spcBef>
                          <a:spcPts val="50"/>
                        </a:spcBef>
                      </a:pPr>
                      <a:endParaRPr sz="1800" dirty="0">
                        <a:latin typeface="Times New Roman"/>
                        <a:cs typeface="Times New Roman"/>
                      </a:endParaRPr>
                    </a:p>
                    <a:p>
                      <a:pPr marL="31750">
                        <a:lnSpc>
                          <a:spcPct val="100000"/>
                        </a:lnSpc>
                        <a:tabLst>
                          <a:tab pos="1795780" algn="l"/>
                        </a:tabLst>
                      </a:pPr>
                      <a:r>
                        <a:rPr sz="2000" b="1" spc="-10" dirty="0">
                          <a:latin typeface="ABBvoice"/>
                          <a:cs typeface="ABBvoice"/>
                        </a:rPr>
                        <a:t>Employees</a:t>
                      </a:r>
                      <a:r>
                        <a:rPr sz="2000" b="1" dirty="0">
                          <a:latin typeface="ABBvoice"/>
                          <a:cs typeface="ABBvoice"/>
                        </a:rPr>
                        <a:t>	</a:t>
                      </a:r>
                      <a:r>
                        <a:rPr lang="fr-CA" sz="2000" b="0" spc="-25" dirty="0">
                          <a:latin typeface="ABBvoice"/>
                          <a:cs typeface="ABBvoice"/>
                        </a:rPr>
                        <a:t>72</a:t>
                      </a:r>
                      <a:endParaRPr sz="2000" b="0" dirty="0">
                        <a:latin typeface="ABBvoice"/>
                        <a:cs typeface="ABBvoice"/>
                      </a:endParaRPr>
                    </a:p>
                  </a:txBody>
                  <a:tcPr marL="0" marR="0" marT="6350" marB="0"/>
                </a:tc>
                <a:extLst>
                  <a:ext uri="{0D108BD9-81ED-4DB2-BD59-A6C34878D82A}">
                    <a16:rowId xmlns:a16="http://schemas.microsoft.com/office/drawing/2014/main" val="10001"/>
                  </a:ext>
                </a:extLst>
              </a:tr>
            </a:tbl>
          </a:graphicData>
        </a:graphic>
      </p:graphicFrame>
      <p:pic>
        <p:nvPicPr>
          <p:cNvPr id="8" name="object 8"/>
          <p:cNvPicPr/>
          <p:nvPr/>
        </p:nvPicPr>
        <p:blipFill>
          <a:blip r:embed="rId3" cstate="print"/>
          <a:stretch>
            <a:fillRect/>
          </a:stretch>
        </p:blipFill>
        <p:spPr>
          <a:xfrm>
            <a:off x="1008888" y="5139220"/>
            <a:ext cx="685424" cy="535445"/>
          </a:xfrm>
          <a:prstGeom prst="rect">
            <a:avLst/>
          </a:prstGeom>
        </p:spPr>
      </p:pic>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1149"/>
            <a:ext cx="3608704" cy="512445"/>
          </a:xfrm>
          <a:prstGeom prst="rect">
            <a:avLst/>
          </a:prstGeom>
        </p:spPr>
        <p:txBody>
          <a:bodyPr vert="horz" wrap="square" lIns="0" tIns="12065" rIns="0" bIns="0" rtlCol="0">
            <a:spAutoFit/>
          </a:bodyPr>
          <a:lstStyle/>
          <a:p>
            <a:pPr>
              <a:lnSpc>
                <a:spcPct val="100000"/>
              </a:lnSpc>
              <a:spcBef>
                <a:spcPts val="95"/>
              </a:spcBef>
            </a:pPr>
            <a:r>
              <a:rPr b="1">
                <a:latin typeface="ABBvoice"/>
                <a:cs typeface="ABBvoice"/>
              </a:rPr>
              <a:t>This</a:t>
            </a:r>
            <a:r>
              <a:rPr b="1" spc="-30">
                <a:latin typeface="ABBvoice"/>
                <a:cs typeface="ABBvoice"/>
              </a:rPr>
              <a:t> </a:t>
            </a:r>
            <a:r>
              <a:rPr b="1">
                <a:latin typeface="ABBvoice"/>
                <a:cs typeface="ABBvoice"/>
              </a:rPr>
              <a:t>is</a:t>
            </a:r>
            <a:r>
              <a:rPr b="1" spc="-75">
                <a:latin typeface="ABBvoice"/>
                <a:cs typeface="ABBvoice"/>
              </a:rPr>
              <a:t> </a:t>
            </a:r>
            <a:r>
              <a:rPr b="1">
                <a:latin typeface="ABBvoice"/>
                <a:cs typeface="ABBvoice"/>
              </a:rPr>
              <a:t>what</a:t>
            </a:r>
            <a:r>
              <a:rPr b="1" spc="-55">
                <a:latin typeface="ABBvoice"/>
                <a:cs typeface="ABBvoice"/>
              </a:rPr>
              <a:t> </a:t>
            </a:r>
            <a:r>
              <a:rPr b="1">
                <a:latin typeface="ABBvoice"/>
                <a:cs typeface="ABBvoice"/>
              </a:rPr>
              <a:t>we</a:t>
            </a:r>
            <a:r>
              <a:rPr b="1" spc="-50">
                <a:latin typeface="ABBvoice"/>
                <a:cs typeface="ABBvoice"/>
              </a:rPr>
              <a:t> </a:t>
            </a:r>
            <a:r>
              <a:rPr b="1" spc="-25">
                <a:latin typeface="ABBvoice"/>
                <a:cs typeface="ABBvoice"/>
              </a:rPr>
              <a:t>do</a:t>
            </a:r>
          </a:p>
        </p:txBody>
      </p:sp>
      <p:pic>
        <p:nvPicPr>
          <p:cNvPr id="4" name="object 4"/>
          <p:cNvPicPr/>
          <p:nvPr/>
        </p:nvPicPr>
        <p:blipFill>
          <a:blip r:embed="rId2" cstate="print"/>
          <a:stretch>
            <a:fillRect/>
          </a:stretch>
        </p:blipFill>
        <p:spPr>
          <a:xfrm>
            <a:off x="4739833" y="2042670"/>
            <a:ext cx="6767003" cy="4132423"/>
          </a:xfrm>
          <a:prstGeom prst="rect">
            <a:avLst/>
          </a:prstGeom>
        </p:spPr>
      </p:pic>
      <p:sp>
        <p:nvSpPr>
          <p:cNvPr id="5" name="object 5"/>
          <p:cNvSpPr txBox="1"/>
          <p:nvPr/>
        </p:nvSpPr>
        <p:spPr>
          <a:xfrm>
            <a:off x="332230" y="2048255"/>
            <a:ext cx="4087369" cy="2800767"/>
          </a:xfrm>
          <a:prstGeom prst="rect">
            <a:avLst/>
          </a:prstGeom>
          <a:solidFill>
            <a:srgbClr val="EFEFEF"/>
          </a:solidFill>
        </p:spPr>
        <p:txBody>
          <a:bodyPr vert="horz" wrap="square" lIns="0" tIns="0" rIns="0" bIns="0" rtlCol="0">
            <a:spAutoFit/>
          </a:bodyPr>
          <a:lstStyle/>
          <a:p>
            <a:pPr>
              <a:lnSpc>
                <a:spcPct val="100000"/>
              </a:lnSpc>
            </a:pPr>
            <a:endParaRPr sz="1400" dirty="0">
              <a:latin typeface="Times New Roman"/>
              <a:cs typeface="Times New Roman"/>
            </a:endParaRPr>
          </a:p>
          <a:p>
            <a:pPr marL="120014" marR="113030" algn="l">
              <a:lnSpc>
                <a:spcPct val="100000"/>
              </a:lnSpc>
            </a:pPr>
            <a:r>
              <a:rPr sz="1400" dirty="0">
                <a:latin typeface="ABBvoice" panose="020D0603020503020204" pitchFamily="34" charset="0"/>
                <a:ea typeface="ABBvoice" panose="020D0603020503020204" pitchFamily="34" charset="0"/>
                <a:cs typeface="ABBvoice" panose="020D0603020503020204" pitchFamily="34" charset="0"/>
              </a:rPr>
              <a:t>ABB  in  Canada  is  a  leading technology company that energizes the</a:t>
            </a:r>
            <a:r>
              <a:rPr lang="fr-CA" sz="1400" dirty="0">
                <a:latin typeface="ABBvoice" panose="020D0603020503020204" pitchFamily="34" charset="0"/>
                <a:ea typeface="ABBvoice" panose="020D0603020503020204" pitchFamily="34" charset="0"/>
                <a:cs typeface="ABBvoice" panose="020D0603020503020204" pitchFamily="34" charset="0"/>
              </a:rPr>
              <a:t> </a:t>
            </a:r>
            <a:r>
              <a:rPr sz="1400" dirty="0">
                <a:latin typeface="ABBvoice" panose="020D0603020503020204" pitchFamily="34" charset="0"/>
                <a:ea typeface="ABBvoice" panose="020D0603020503020204" pitchFamily="34" charset="0"/>
                <a:cs typeface="ABBvoice" panose="020D0603020503020204" pitchFamily="34" charset="0"/>
              </a:rPr>
              <a:t>transformation of society and industry to achieve a more productive,</a:t>
            </a:r>
            <a:r>
              <a:rPr lang="fr-CA" sz="1400" dirty="0">
                <a:latin typeface="ABBvoice" panose="020D0603020503020204" pitchFamily="34" charset="0"/>
                <a:ea typeface="ABBvoice" panose="020D0603020503020204" pitchFamily="34" charset="0"/>
                <a:cs typeface="ABBvoice" panose="020D0603020503020204" pitchFamily="34" charset="0"/>
              </a:rPr>
              <a:t> </a:t>
            </a:r>
            <a:r>
              <a:rPr sz="1400" dirty="0">
                <a:latin typeface="ABBvoice" panose="020D0603020503020204" pitchFamily="34" charset="0"/>
                <a:ea typeface="ABBvoice" panose="020D0603020503020204" pitchFamily="34" charset="0"/>
                <a:cs typeface="ABBvoice" panose="020D0603020503020204" pitchFamily="34" charset="0"/>
              </a:rPr>
              <a:t> sustainable</a:t>
            </a:r>
            <a:r>
              <a:rPr lang="fr-CA" sz="1400" dirty="0">
                <a:latin typeface="ABBvoice" panose="020D0603020503020204" pitchFamily="34" charset="0"/>
                <a:ea typeface="ABBvoice" panose="020D0603020503020204" pitchFamily="34" charset="0"/>
                <a:cs typeface="ABBvoice" panose="020D0603020503020204" pitchFamily="34" charset="0"/>
              </a:rPr>
              <a:t> </a:t>
            </a:r>
            <a:r>
              <a:rPr sz="1400" dirty="0">
                <a:latin typeface="ABBvoice" panose="020D0603020503020204" pitchFamily="34" charset="0"/>
                <a:ea typeface="ABBvoice" panose="020D0603020503020204" pitchFamily="34" charset="0"/>
                <a:cs typeface="ABBvoice" panose="020D0603020503020204" pitchFamily="34" charset="0"/>
              </a:rPr>
              <a:t>future.</a:t>
            </a:r>
            <a:r>
              <a:rPr lang="fr-CA" sz="1400" dirty="0">
                <a:latin typeface="ABBvoice" panose="020D0603020503020204" pitchFamily="34" charset="0"/>
                <a:ea typeface="ABBvoice" panose="020D0603020503020204" pitchFamily="34" charset="0"/>
                <a:cs typeface="ABBvoice" panose="020D0603020503020204" pitchFamily="34" charset="0"/>
              </a:rPr>
              <a:t> </a:t>
            </a:r>
            <a:r>
              <a:rPr sz="1400" dirty="0">
                <a:latin typeface="ABBvoice" panose="020D0603020503020204" pitchFamily="34" charset="0"/>
                <a:ea typeface="ABBvoice" panose="020D0603020503020204" pitchFamily="34" charset="0"/>
                <a:cs typeface="ABBvoice" panose="020D0603020503020204" pitchFamily="34" charset="0"/>
              </a:rPr>
              <a:t>By connecting software to its electrification, robotics, automation and motion portfolio, ABB pushes the boundaries of technology to drive  performance  to  new  levels.  With  a history of excellence stretching back more than 1</a:t>
            </a:r>
            <a:r>
              <a:rPr lang="en-US" sz="1400" dirty="0">
                <a:latin typeface="ABBvoice" panose="020D0603020503020204" pitchFamily="34" charset="0"/>
                <a:ea typeface="ABBvoice" panose="020D0603020503020204" pitchFamily="34" charset="0"/>
                <a:cs typeface="ABBvoice" panose="020D0603020503020204" pitchFamily="34" charset="0"/>
              </a:rPr>
              <a:t>0</a:t>
            </a:r>
            <a:r>
              <a:rPr sz="1400" dirty="0">
                <a:latin typeface="ABBvoice" panose="020D0603020503020204" pitchFamily="34" charset="0"/>
                <a:ea typeface="ABBvoice" panose="020D0603020503020204" pitchFamily="34" charset="0"/>
                <a:cs typeface="ABBvoice" panose="020D0603020503020204" pitchFamily="34" charset="0"/>
              </a:rPr>
              <a:t>0 years, ABB’s success is driven by</a:t>
            </a:r>
            <a:r>
              <a:rPr lang="fr-CA" sz="1400" dirty="0">
                <a:latin typeface="ABBvoice" panose="020D0603020503020204" pitchFamily="34" charset="0"/>
                <a:ea typeface="ABBvoice" panose="020D0603020503020204" pitchFamily="34" charset="0"/>
                <a:cs typeface="ABBvoice" panose="020D0603020503020204" pitchFamily="34" charset="0"/>
              </a:rPr>
              <a:t> </a:t>
            </a:r>
            <a:r>
              <a:rPr sz="1400" dirty="0">
                <a:latin typeface="ABBvoice" panose="020D0603020503020204" pitchFamily="34" charset="0"/>
                <a:ea typeface="ABBvoice" panose="020D0603020503020204" pitchFamily="34" charset="0"/>
                <a:cs typeface="ABBvoice" panose="020D0603020503020204" pitchFamily="34" charset="0"/>
              </a:rPr>
              <a:t>3 </a:t>
            </a:r>
            <a:r>
              <a:rPr lang="fr-CA" sz="1400" dirty="0">
                <a:latin typeface="ABBvoice" panose="020D0603020503020204" pitchFamily="34" charset="0"/>
                <a:ea typeface="ABBvoice" panose="020D0603020503020204" pitchFamily="34" charset="0"/>
                <a:cs typeface="ABBvoice" panose="020D0603020503020204" pitchFamily="34" charset="0"/>
              </a:rPr>
              <a:t>2</a:t>
            </a:r>
            <a:r>
              <a:rPr sz="1400" dirty="0">
                <a:latin typeface="ABBvoice" panose="020D0603020503020204" pitchFamily="34" charset="0"/>
                <a:ea typeface="ABBvoice" panose="020D0603020503020204" pitchFamily="34" charset="0"/>
                <a:cs typeface="ABBvoice" panose="020D0603020503020204" pitchFamily="34" charset="0"/>
              </a:rPr>
              <a:t>00 talented employees in our </a:t>
            </a:r>
            <a:r>
              <a:rPr lang="fr-CA" sz="1400" dirty="0">
                <a:latin typeface="ABBvoice" panose="020D0603020503020204" pitchFamily="34" charset="0"/>
                <a:ea typeface="ABBvoice" panose="020D0603020503020204" pitchFamily="34" charset="0"/>
                <a:cs typeface="ABBvoice" panose="020D0603020503020204" pitchFamily="34" charset="0"/>
              </a:rPr>
              <a:t>33</a:t>
            </a:r>
            <a:r>
              <a:rPr sz="1400" dirty="0">
                <a:latin typeface="ABBvoice" panose="020D0603020503020204" pitchFamily="34" charset="0"/>
                <a:ea typeface="ABBvoice" panose="020D0603020503020204" pitchFamily="34" charset="0"/>
                <a:cs typeface="ABBvoice" panose="020D0603020503020204" pitchFamily="34" charset="0"/>
              </a:rPr>
              <a:t> locations from coast to coast.</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p:nvPr/>
        </p:nvSpPr>
        <p:spPr>
          <a:xfrm>
            <a:off x="4297679" y="2298192"/>
            <a:ext cx="7546975" cy="0"/>
          </a:xfrm>
          <a:custGeom>
            <a:avLst/>
            <a:gdLst/>
            <a:ahLst/>
            <a:cxnLst/>
            <a:rect l="l" t="t" r="r" b="b"/>
            <a:pathLst>
              <a:path w="7546975">
                <a:moveTo>
                  <a:pt x="0" y="0"/>
                </a:moveTo>
                <a:lnTo>
                  <a:pt x="7546594" y="0"/>
                </a:lnTo>
              </a:path>
            </a:pathLst>
          </a:custGeom>
          <a:ln w="12700">
            <a:solidFill>
              <a:srgbClr val="000000"/>
            </a:solidFill>
          </a:ln>
        </p:spPr>
        <p:txBody>
          <a:bodyPr wrap="square" lIns="0" tIns="0" rIns="0" bIns="0" rtlCol="0"/>
          <a:lstStyle/>
          <a:p>
            <a:endParaRPr/>
          </a:p>
        </p:txBody>
      </p:sp>
      <p:sp>
        <p:nvSpPr>
          <p:cNvPr id="3" name="object 3"/>
          <p:cNvSpPr/>
          <p:nvPr/>
        </p:nvSpPr>
        <p:spPr>
          <a:xfrm>
            <a:off x="277368" y="2298192"/>
            <a:ext cx="3629660" cy="0"/>
          </a:xfrm>
          <a:custGeom>
            <a:avLst/>
            <a:gdLst/>
            <a:ahLst/>
            <a:cxnLst/>
            <a:rect l="l" t="t" r="r" b="b"/>
            <a:pathLst>
              <a:path w="3629660">
                <a:moveTo>
                  <a:pt x="0" y="0"/>
                </a:moveTo>
                <a:lnTo>
                  <a:pt x="3629279" y="0"/>
                </a:lnTo>
              </a:path>
            </a:pathLst>
          </a:custGeom>
          <a:ln w="12700">
            <a:solidFill>
              <a:srgbClr val="000000"/>
            </a:solidFill>
          </a:ln>
        </p:spPr>
        <p:txBody>
          <a:bodyPr wrap="square" lIns="0" tIns="0" rIns="0" bIns="0" rtlCol="0"/>
          <a:lstStyle/>
          <a:p>
            <a:endParaRPr/>
          </a:p>
        </p:txBody>
      </p:sp>
      <p:sp>
        <p:nvSpPr>
          <p:cNvPr id="4" name="object 4"/>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5" name="object 5"/>
          <p:cNvSpPr txBox="1">
            <a:spLocks noGrp="1"/>
          </p:cNvSpPr>
          <p:nvPr>
            <p:ph type="title"/>
          </p:nvPr>
        </p:nvSpPr>
        <p:spPr>
          <a:xfrm>
            <a:off x="395427" y="711149"/>
            <a:ext cx="8357870" cy="443070"/>
          </a:xfrm>
          <a:prstGeom prst="rect">
            <a:avLst/>
          </a:prstGeom>
        </p:spPr>
        <p:txBody>
          <a:bodyPr vert="horz" wrap="square" lIns="0" tIns="12065" rIns="0" bIns="0" rtlCol="0">
            <a:spAutoFit/>
          </a:bodyPr>
          <a:lstStyle/>
          <a:p>
            <a:pPr marL="12700">
              <a:lnSpc>
                <a:spcPct val="100000"/>
              </a:lnSpc>
              <a:spcBef>
                <a:spcPts val="95"/>
              </a:spcBef>
            </a:pPr>
            <a:r>
              <a:rPr sz="2800" b="1">
                <a:latin typeface="ABBvoice"/>
                <a:cs typeface="ABBvoice"/>
              </a:rPr>
              <a:t>Robotics</a:t>
            </a:r>
            <a:r>
              <a:rPr sz="2800" b="1" spc="-70">
                <a:latin typeface="ABBvoice"/>
                <a:cs typeface="ABBvoice"/>
              </a:rPr>
              <a:t> </a:t>
            </a:r>
            <a:r>
              <a:rPr sz="2800" b="1">
                <a:latin typeface="ABBvoice"/>
                <a:cs typeface="ABBvoice"/>
              </a:rPr>
              <a:t>&amp;</a:t>
            </a:r>
            <a:r>
              <a:rPr sz="2800" b="1" spc="-100">
                <a:latin typeface="ABBvoice"/>
                <a:cs typeface="ABBvoice"/>
              </a:rPr>
              <a:t> </a:t>
            </a:r>
            <a:r>
              <a:rPr sz="2800" b="1">
                <a:latin typeface="ABBvoice"/>
                <a:cs typeface="ABBvoice"/>
              </a:rPr>
              <a:t>Discrete</a:t>
            </a:r>
            <a:r>
              <a:rPr sz="2800" b="1" spc="-85">
                <a:latin typeface="ABBvoice"/>
                <a:cs typeface="ABBvoice"/>
              </a:rPr>
              <a:t> </a:t>
            </a:r>
            <a:r>
              <a:rPr sz="2800" b="1" spc="-10">
                <a:latin typeface="ABBvoice"/>
                <a:cs typeface="ABBvoice"/>
              </a:rPr>
              <a:t>Automation</a:t>
            </a:r>
            <a:r>
              <a:rPr sz="2800" b="1" spc="-60">
                <a:latin typeface="ABBvoice"/>
                <a:cs typeface="ABBvoice"/>
              </a:rPr>
              <a:t> </a:t>
            </a:r>
            <a:r>
              <a:rPr sz="2800" b="1">
                <a:latin typeface="ABBvoice"/>
                <a:cs typeface="ABBvoice"/>
              </a:rPr>
              <a:t>in</a:t>
            </a:r>
            <a:r>
              <a:rPr sz="2800" b="1" spc="-80">
                <a:latin typeface="ABBvoice"/>
                <a:cs typeface="ABBvoice"/>
              </a:rPr>
              <a:t> </a:t>
            </a:r>
            <a:r>
              <a:rPr sz="2800" b="1" spc="-10">
                <a:latin typeface="ABBvoice"/>
                <a:cs typeface="ABBvoice"/>
              </a:rPr>
              <a:t>Canada</a:t>
            </a:r>
          </a:p>
        </p:txBody>
      </p:sp>
      <p:sp>
        <p:nvSpPr>
          <p:cNvPr id="6" name="object 6"/>
          <p:cNvSpPr txBox="1"/>
          <p:nvPr/>
        </p:nvSpPr>
        <p:spPr>
          <a:xfrm>
            <a:off x="395427" y="1199514"/>
            <a:ext cx="11607165" cy="381515"/>
          </a:xfrm>
          <a:prstGeom prst="rect">
            <a:avLst/>
          </a:prstGeom>
        </p:spPr>
        <p:txBody>
          <a:bodyPr vert="horz" wrap="square" lIns="0" tIns="12065" rIns="0" bIns="0" rtlCol="0">
            <a:spAutoFit/>
          </a:bodyPr>
          <a:lstStyle/>
          <a:p>
            <a:pPr marL="12700">
              <a:lnSpc>
                <a:spcPct val="100000"/>
              </a:lnSpc>
              <a:spcBef>
                <a:spcPts val="95"/>
              </a:spcBef>
            </a:pPr>
            <a:r>
              <a:rPr sz="2400">
                <a:latin typeface="ABBvoice Light" panose="020D0403020503020204" pitchFamily="34" charset="0"/>
                <a:ea typeface="ABBvoice Light" panose="020D0403020503020204" pitchFamily="34" charset="0"/>
                <a:cs typeface="ABBvoice Light" panose="020D0403020503020204" pitchFamily="34" charset="0"/>
              </a:rPr>
              <a:t>Writing</a:t>
            </a:r>
            <a:r>
              <a:rPr sz="2400" spc="-7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the</a:t>
            </a:r>
            <a:r>
              <a:rPr sz="2400" spc="-8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future</a:t>
            </a:r>
            <a:r>
              <a:rPr sz="2400" spc="-9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of</a:t>
            </a:r>
            <a:r>
              <a:rPr sz="2400" spc="-8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flexible</a:t>
            </a:r>
            <a:r>
              <a:rPr sz="2400" spc="-45">
                <a:latin typeface="ABBvoice Light" panose="020D0403020503020204" pitchFamily="34" charset="0"/>
                <a:ea typeface="ABBvoice Light" panose="020D0403020503020204" pitchFamily="34" charset="0"/>
                <a:cs typeface="ABBvoice Light" panose="020D0403020503020204" pitchFamily="34" charset="0"/>
              </a:rPr>
              <a:t> </a:t>
            </a:r>
            <a:r>
              <a:rPr sz="2400" spc="-10">
                <a:latin typeface="ABBvoice Light" panose="020D0403020503020204" pitchFamily="34" charset="0"/>
                <a:ea typeface="ABBvoice Light" panose="020D0403020503020204" pitchFamily="34" charset="0"/>
                <a:cs typeface="ABBvoice Light" panose="020D0403020503020204" pitchFamily="34" charset="0"/>
              </a:rPr>
              <a:t>manufacturing</a:t>
            </a:r>
            <a:r>
              <a:rPr sz="2400" spc="-9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and</a:t>
            </a:r>
            <a:r>
              <a:rPr sz="2400" spc="-8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smart</a:t>
            </a:r>
            <a:r>
              <a:rPr sz="2400" spc="-100">
                <a:latin typeface="ABBvoice Light" panose="020D0403020503020204" pitchFamily="34" charset="0"/>
                <a:ea typeface="ABBvoice Light" panose="020D0403020503020204" pitchFamily="34" charset="0"/>
                <a:cs typeface="ABBvoice Light" panose="020D0403020503020204" pitchFamily="34" charset="0"/>
              </a:rPr>
              <a:t> </a:t>
            </a:r>
            <a:r>
              <a:rPr sz="2400" spc="-10">
                <a:latin typeface="ABBvoice Light" panose="020D0403020503020204" pitchFamily="34" charset="0"/>
                <a:ea typeface="ABBvoice Light" panose="020D0403020503020204" pitchFamily="34" charset="0"/>
                <a:cs typeface="ABBvoice Light" panose="020D0403020503020204" pitchFamily="34" charset="0"/>
              </a:rPr>
              <a:t>machines</a:t>
            </a:r>
            <a:endParaRPr sz="240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7" name="object 7"/>
          <p:cNvSpPr txBox="1"/>
          <p:nvPr/>
        </p:nvSpPr>
        <p:spPr>
          <a:xfrm>
            <a:off x="326237" y="1892883"/>
            <a:ext cx="1657350" cy="300355"/>
          </a:xfrm>
          <a:prstGeom prst="rect">
            <a:avLst/>
          </a:prstGeom>
        </p:spPr>
        <p:txBody>
          <a:bodyPr vert="horz" wrap="square" lIns="0" tIns="12700" rIns="0" bIns="0" rtlCol="0">
            <a:spAutoFit/>
          </a:bodyPr>
          <a:lstStyle/>
          <a:p>
            <a:pPr marL="12700">
              <a:lnSpc>
                <a:spcPct val="100000"/>
              </a:lnSpc>
              <a:spcBef>
                <a:spcPts val="100"/>
              </a:spcBef>
            </a:pPr>
            <a:r>
              <a:rPr sz="1800" b="1">
                <a:solidFill>
                  <a:srgbClr val="D90000"/>
                </a:solidFill>
                <a:latin typeface="ABBvoice"/>
                <a:cs typeface="ABBvoice"/>
              </a:rPr>
              <a:t>OUR</a:t>
            </a:r>
            <a:r>
              <a:rPr sz="1800" b="1" spc="-15">
                <a:solidFill>
                  <a:srgbClr val="D90000"/>
                </a:solidFill>
                <a:latin typeface="ABBvoice"/>
                <a:cs typeface="ABBvoice"/>
              </a:rPr>
              <a:t> </a:t>
            </a:r>
            <a:r>
              <a:rPr sz="1800" b="1" spc="-10">
                <a:solidFill>
                  <a:srgbClr val="D90000"/>
                </a:solidFill>
                <a:latin typeface="ABBvoice"/>
                <a:cs typeface="ABBvoice"/>
              </a:rPr>
              <a:t>BUSINESS</a:t>
            </a:r>
            <a:endParaRPr sz="1800">
              <a:latin typeface="ABBvoice"/>
              <a:cs typeface="ABBvoice"/>
            </a:endParaRPr>
          </a:p>
        </p:txBody>
      </p:sp>
      <p:sp>
        <p:nvSpPr>
          <p:cNvPr id="8" name="object 8"/>
          <p:cNvSpPr txBox="1"/>
          <p:nvPr/>
        </p:nvSpPr>
        <p:spPr>
          <a:xfrm>
            <a:off x="4284726" y="1873452"/>
            <a:ext cx="3743960" cy="300355"/>
          </a:xfrm>
          <a:prstGeom prst="rect">
            <a:avLst/>
          </a:prstGeom>
        </p:spPr>
        <p:txBody>
          <a:bodyPr vert="horz" wrap="square" lIns="0" tIns="12700" rIns="0" bIns="0" rtlCol="0">
            <a:spAutoFit/>
          </a:bodyPr>
          <a:lstStyle/>
          <a:p>
            <a:pPr marL="12700">
              <a:lnSpc>
                <a:spcPct val="100000"/>
              </a:lnSpc>
              <a:spcBef>
                <a:spcPts val="100"/>
              </a:spcBef>
            </a:pPr>
            <a:r>
              <a:rPr sz="1800" b="1">
                <a:solidFill>
                  <a:srgbClr val="D90000"/>
                </a:solidFill>
                <a:latin typeface="ABBvoice"/>
                <a:cs typeface="ABBvoice"/>
              </a:rPr>
              <a:t>SELECTED</a:t>
            </a:r>
            <a:r>
              <a:rPr sz="1800" b="1" spc="-40">
                <a:solidFill>
                  <a:srgbClr val="D90000"/>
                </a:solidFill>
                <a:latin typeface="ABBvoice"/>
                <a:cs typeface="ABBvoice"/>
              </a:rPr>
              <a:t> </a:t>
            </a:r>
            <a:r>
              <a:rPr sz="1800" b="1">
                <a:solidFill>
                  <a:srgbClr val="D90000"/>
                </a:solidFill>
                <a:latin typeface="ABBvoice"/>
                <a:cs typeface="ABBvoice"/>
              </a:rPr>
              <a:t>CUSTOMER</a:t>
            </a:r>
            <a:r>
              <a:rPr sz="1800" b="1" spc="-40">
                <a:solidFill>
                  <a:srgbClr val="D90000"/>
                </a:solidFill>
                <a:latin typeface="ABBvoice"/>
                <a:cs typeface="ABBvoice"/>
              </a:rPr>
              <a:t> </a:t>
            </a:r>
            <a:r>
              <a:rPr sz="1800" b="1" spc="-10">
                <a:solidFill>
                  <a:srgbClr val="D90000"/>
                </a:solidFill>
                <a:latin typeface="ABBvoice"/>
                <a:cs typeface="ABBvoice"/>
              </a:rPr>
              <a:t>SEGMENTS</a:t>
            </a:r>
            <a:endParaRPr sz="1800">
              <a:latin typeface="ABBvoice"/>
              <a:cs typeface="ABBvoice"/>
            </a:endParaRPr>
          </a:p>
        </p:txBody>
      </p:sp>
      <p:sp>
        <p:nvSpPr>
          <p:cNvPr id="9" name="object 9"/>
          <p:cNvSpPr txBox="1"/>
          <p:nvPr/>
        </p:nvSpPr>
        <p:spPr>
          <a:xfrm>
            <a:off x="339039" y="2514744"/>
            <a:ext cx="3304540" cy="494665"/>
          </a:xfrm>
          <a:prstGeom prst="rect">
            <a:avLst/>
          </a:prstGeom>
        </p:spPr>
        <p:txBody>
          <a:bodyPr vert="horz" wrap="square" lIns="0" tIns="48895" rIns="0" bIns="0" rtlCol="0">
            <a:spAutoFit/>
          </a:bodyPr>
          <a:lstStyle/>
          <a:p>
            <a:pPr marL="12700">
              <a:lnSpc>
                <a:spcPct val="100000"/>
              </a:lnSpc>
              <a:spcBef>
                <a:spcPts val="385"/>
              </a:spcBef>
            </a:pPr>
            <a:r>
              <a:rPr sz="1300" b="1">
                <a:latin typeface="ABBvoice"/>
                <a:cs typeface="ABBvoice"/>
              </a:rPr>
              <a:t>Canada</a:t>
            </a:r>
            <a:r>
              <a:rPr sz="1300" b="1" spc="-25">
                <a:latin typeface="ABBvoice"/>
                <a:cs typeface="ABBvoice"/>
              </a:rPr>
              <a:t> #2</a:t>
            </a:r>
            <a:endParaRPr sz="1300">
              <a:latin typeface="ABBvoice"/>
              <a:cs typeface="ABBvoice"/>
            </a:endParaRPr>
          </a:p>
          <a:p>
            <a:pPr marL="12700">
              <a:lnSpc>
                <a:spcPct val="100000"/>
              </a:lnSpc>
              <a:spcBef>
                <a:spcPts val="285"/>
              </a:spcBef>
            </a:pPr>
            <a:r>
              <a:rPr sz="1300" spc="-10">
                <a:latin typeface="ABBvoice"/>
                <a:cs typeface="ABBvoice"/>
              </a:rPr>
              <a:t>Innovation</a:t>
            </a:r>
            <a:r>
              <a:rPr sz="1300" spc="-45">
                <a:latin typeface="ABBvoice"/>
                <a:cs typeface="ABBvoice"/>
              </a:rPr>
              <a:t> </a:t>
            </a:r>
            <a:r>
              <a:rPr sz="1300">
                <a:latin typeface="ABBvoice"/>
                <a:cs typeface="ABBvoice"/>
              </a:rPr>
              <a:t>leader</a:t>
            </a:r>
            <a:r>
              <a:rPr sz="1300" spc="-30">
                <a:latin typeface="ABBvoice"/>
                <a:cs typeface="ABBvoice"/>
              </a:rPr>
              <a:t> </a:t>
            </a:r>
            <a:r>
              <a:rPr sz="1300">
                <a:latin typeface="ABBvoice"/>
                <a:cs typeface="ABBvoice"/>
              </a:rPr>
              <a:t>for</a:t>
            </a:r>
            <a:r>
              <a:rPr sz="1300" spc="-45">
                <a:latin typeface="ABBvoice"/>
                <a:cs typeface="ABBvoice"/>
              </a:rPr>
              <a:t> </a:t>
            </a:r>
            <a:r>
              <a:rPr sz="1300">
                <a:latin typeface="ABBvoice"/>
                <a:cs typeface="ABBvoice"/>
              </a:rPr>
              <a:t>machine</a:t>
            </a:r>
            <a:r>
              <a:rPr sz="1300" spc="-45">
                <a:latin typeface="ABBvoice"/>
                <a:cs typeface="ABBvoice"/>
              </a:rPr>
              <a:t> </a:t>
            </a:r>
            <a:r>
              <a:rPr sz="1300" spc="-10">
                <a:latin typeface="ABBvoice"/>
                <a:cs typeface="ABBvoice"/>
              </a:rPr>
              <a:t>automation</a:t>
            </a:r>
            <a:endParaRPr sz="1300">
              <a:latin typeface="ABBvoice"/>
              <a:cs typeface="ABBvoice"/>
            </a:endParaRPr>
          </a:p>
        </p:txBody>
      </p:sp>
      <p:sp>
        <p:nvSpPr>
          <p:cNvPr id="10" name="object 10"/>
          <p:cNvSpPr txBox="1"/>
          <p:nvPr/>
        </p:nvSpPr>
        <p:spPr>
          <a:xfrm>
            <a:off x="339039" y="3100577"/>
            <a:ext cx="2553970" cy="1244600"/>
          </a:xfrm>
          <a:prstGeom prst="rect">
            <a:avLst/>
          </a:prstGeom>
        </p:spPr>
        <p:txBody>
          <a:bodyPr vert="horz" wrap="square" lIns="0" tIns="12065" rIns="0" bIns="0" rtlCol="0" anchor="t">
            <a:spAutoFit/>
          </a:bodyPr>
          <a:lstStyle/>
          <a:p>
            <a:pPr marL="12700">
              <a:lnSpc>
                <a:spcPct val="100000"/>
              </a:lnSpc>
              <a:spcBef>
                <a:spcPts val="95"/>
              </a:spcBef>
            </a:pPr>
            <a:r>
              <a:rPr lang="fr-CA" sz="1300" b="1" spc="-15">
                <a:solidFill>
                  <a:srgbClr val="3B3B3B"/>
                </a:solidFill>
                <a:latin typeface="ABBvoice"/>
                <a:cs typeface="ABBvoice"/>
              </a:rPr>
              <a:t>72</a:t>
            </a:r>
            <a:r>
              <a:rPr sz="1300" b="1" spc="-15">
                <a:latin typeface="ABBvoice"/>
                <a:cs typeface="ABBvoice"/>
              </a:rPr>
              <a:t> </a:t>
            </a:r>
            <a:r>
              <a:rPr sz="1300" b="1" spc="-10">
                <a:latin typeface="ABBvoice"/>
                <a:cs typeface="ABBvoice"/>
              </a:rPr>
              <a:t>employees</a:t>
            </a:r>
            <a:endParaRPr sz="1300">
              <a:latin typeface="ABBvoice"/>
              <a:cs typeface="ABBvoice"/>
            </a:endParaRPr>
          </a:p>
          <a:p>
            <a:pPr>
              <a:lnSpc>
                <a:spcPct val="100000"/>
              </a:lnSpc>
            </a:pPr>
            <a:endParaRPr sz="1300">
              <a:latin typeface="ABBvoice"/>
              <a:cs typeface="ABBvoice"/>
            </a:endParaRPr>
          </a:p>
          <a:p>
            <a:pPr marL="12700">
              <a:lnSpc>
                <a:spcPct val="100000"/>
              </a:lnSpc>
              <a:spcBef>
                <a:spcPts val="1110"/>
              </a:spcBef>
            </a:pPr>
            <a:r>
              <a:rPr sz="1300" b="1" spc="-10">
                <a:latin typeface="ABBvoice"/>
                <a:cs typeface="ABBvoice"/>
              </a:rPr>
              <a:t>Offering</a:t>
            </a:r>
            <a:endParaRPr sz="1300">
              <a:latin typeface="ABBvoice"/>
              <a:cs typeface="ABBvoice"/>
            </a:endParaRPr>
          </a:p>
          <a:p>
            <a:pPr marL="192405" indent="-180340">
              <a:lnSpc>
                <a:spcPct val="100000"/>
              </a:lnSpc>
              <a:spcBef>
                <a:spcPts val="290"/>
              </a:spcBef>
              <a:buChar char="–"/>
              <a:tabLst>
                <a:tab pos="193040" algn="l"/>
              </a:tabLst>
            </a:pPr>
            <a:r>
              <a:rPr sz="1300">
                <a:latin typeface="ABBvoice"/>
                <a:cs typeface="ABBvoice"/>
              </a:rPr>
              <a:t>Machine</a:t>
            </a:r>
            <a:r>
              <a:rPr sz="1300" spc="-45">
                <a:latin typeface="ABBvoice"/>
                <a:cs typeface="ABBvoice"/>
              </a:rPr>
              <a:t> </a:t>
            </a:r>
            <a:r>
              <a:rPr sz="1300">
                <a:latin typeface="ABBvoice"/>
                <a:cs typeface="ABBvoice"/>
              </a:rPr>
              <a:t>&amp;</a:t>
            </a:r>
            <a:r>
              <a:rPr sz="1300" spc="-65">
                <a:latin typeface="ABBvoice"/>
                <a:cs typeface="ABBvoice"/>
              </a:rPr>
              <a:t> </a:t>
            </a:r>
            <a:r>
              <a:rPr sz="1300">
                <a:latin typeface="ABBvoice"/>
                <a:cs typeface="ABBvoice"/>
              </a:rPr>
              <a:t>factory</a:t>
            </a:r>
            <a:r>
              <a:rPr sz="1300" spc="-50">
                <a:latin typeface="ABBvoice"/>
                <a:cs typeface="ABBvoice"/>
              </a:rPr>
              <a:t> </a:t>
            </a:r>
            <a:r>
              <a:rPr sz="1300" spc="-10">
                <a:latin typeface="ABBvoice"/>
                <a:cs typeface="ABBvoice"/>
              </a:rPr>
              <a:t>automation</a:t>
            </a:r>
            <a:endParaRPr sz="1300">
              <a:latin typeface="ABBvoice"/>
              <a:cs typeface="ABBvoice"/>
            </a:endParaRPr>
          </a:p>
          <a:p>
            <a:pPr marL="192405" indent="-180340">
              <a:lnSpc>
                <a:spcPct val="100000"/>
              </a:lnSpc>
              <a:spcBef>
                <a:spcPts val="310"/>
              </a:spcBef>
              <a:buChar char="–"/>
              <a:tabLst>
                <a:tab pos="193040" algn="l"/>
              </a:tabLst>
            </a:pPr>
            <a:r>
              <a:rPr sz="1300" spc="-10">
                <a:latin typeface="ABBvoice"/>
                <a:cs typeface="ABBvoice"/>
              </a:rPr>
              <a:t>Robotics</a:t>
            </a:r>
            <a:endParaRPr sz="1300">
              <a:latin typeface="ABBvoice"/>
              <a:cs typeface="ABBvoice"/>
            </a:endParaRPr>
          </a:p>
        </p:txBody>
      </p:sp>
      <p:sp>
        <p:nvSpPr>
          <p:cNvPr id="11" name="object 11"/>
          <p:cNvSpPr txBox="1"/>
          <p:nvPr/>
        </p:nvSpPr>
        <p:spPr>
          <a:xfrm>
            <a:off x="339039" y="4594605"/>
            <a:ext cx="1474470" cy="223520"/>
          </a:xfrm>
          <a:prstGeom prst="rect">
            <a:avLst/>
          </a:prstGeom>
        </p:spPr>
        <p:txBody>
          <a:bodyPr vert="horz" wrap="square" lIns="0" tIns="12065" rIns="0" bIns="0" rtlCol="0">
            <a:spAutoFit/>
          </a:bodyPr>
          <a:lstStyle/>
          <a:p>
            <a:pPr marL="12700">
              <a:lnSpc>
                <a:spcPct val="100000"/>
              </a:lnSpc>
              <a:spcBef>
                <a:spcPts val="95"/>
              </a:spcBef>
            </a:pPr>
            <a:r>
              <a:rPr sz="1300" b="1">
                <a:latin typeface="ABBvoice"/>
                <a:cs typeface="ABBvoice"/>
              </a:rPr>
              <a:t>Typical</a:t>
            </a:r>
            <a:r>
              <a:rPr sz="1300" b="1" spc="-60">
                <a:latin typeface="ABBvoice"/>
                <a:cs typeface="ABBvoice"/>
              </a:rPr>
              <a:t> </a:t>
            </a:r>
            <a:r>
              <a:rPr sz="1300" b="1" spc="-10">
                <a:latin typeface="ABBvoice"/>
                <a:cs typeface="ABBvoice"/>
              </a:rPr>
              <a:t>customers</a:t>
            </a:r>
            <a:endParaRPr sz="1300">
              <a:latin typeface="ABBvoice"/>
              <a:cs typeface="ABBvoice"/>
            </a:endParaRPr>
          </a:p>
        </p:txBody>
      </p:sp>
      <p:sp>
        <p:nvSpPr>
          <p:cNvPr id="12" name="object 12"/>
          <p:cNvSpPr txBox="1"/>
          <p:nvPr/>
        </p:nvSpPr>
        <p:spPr>
          <a:xfrm>
            <a:off x="339039" y="4792421"/>
            <a:ext cx="1813560" cy="620395"/>
          </a:xfrm>
          <a:prstGeom prst="rect">
            <a:avLst/>
          </a:prstGeom>
        </p:spPr>
        <p:txBody>
          <a:bodyPr vert="horz" wrap="square" lIns="0" tIns="12065" rIns="0" bIns="0" rtlCol="0">
            <a:spAutoFit/>
          </a:bodyPr>
          <a:lstStyle/>
          <a:p>
            <a:pPr marL="299085" indent="-287020">
              <a:lnSpc>
                <a:spcPct val="100000"/>
              </a:lnSpc>
              <a:spcBef>
                <a:spcPts val="95"/>
              </a:spcBef>
              <a:buChar char="–"/>
              <a:tabLst>
                <a:tab pos="299085" algn="l"/>
                <a:tab pos="299720" algn="l"/>
              </a:tabLst>
            </a:pPr>
            <a:r>
              <a:rPr sz="1300">
                <a:latin typeface="ABBvoice"/>
                <a:cs typeface="ABBvoice"/>
              </a:rPr>
              <a:t>End</a:t>
            </a:r>
            <a:r>
              <a:rPr sz="1300" spc="-50">
                <a:latin typeface="ABBvoice"/>
                <a:cs typeface="ABBvoice"/>
              </a:rPr>
              <a:t> </a:t>
            </a:r>
            <a:r>
              <a:rPr sz="1300" spc="-10">
                <a:latin typeface="ABBvoice"/>
                <a:cs typeface="ABBvoice"/>
              </a:rPr>
              <a:t>customers</a:t>
            </a:r>
            <a:endParaRPr sz="1300">
              <a:latin typeface="ABBvoice"/>
              <a:cs typeface="ABBvoice"/>
            </a:endParaRPr>
          </a:p>
          <a:p>
            <a:pPr marL="299085" indent="-287020">
              <a:lnSpc>
                <a:spcPct val="100000"/>
              </a:lnSpc>
              <a:spcBef>
                <a:spcPts val="5"/>
              </a:spcBef>
              <a:buChar char="–"/>
              <a:tabLst>
                <a:tab pos="299085" algn="l"/>
                <a:tab pos="299720" algn="l"/>
              </a:tabLst>
            </a:pPr>
            <a:r>
              <a:rPr sz="1300" spc="-10">
                <a:latin typeface="ABBvoice"/>
                <a:cs typeface="ABBvoice"/>
              </a:rPr>
              <a:t>Machinery</a:t>
            </a:r>
            <a:r>
              <a:rPr sz="1300" spc="5">
                <a:latin typeface="ABBvoice"/>
                <a:cs typeface="ABBvoice"/>
              </a:rPr>
              <a:t> </a:t>
            </a:r>
            <a:r>
              <a:rPr sz="1300" spc="-20">
                <a:latin typeface="ABBvoice"/>
                <a:cs typeface="ABBvoice"/>
              </a:rPr>
              <a:t>OEMs</a:t>
            </a:r>
            <a:endParaRPr sz="1300">
              <a:latin typeface="ABBvoice"/>
              <a:cs typeface="ABBvoice"/>
            </a:endParaRPr>
          </a:p>
          <a:p>
            <a:pPr marL="299085" indent="-287020">
              <a:lnSpc>
                <a:spcPct val="100000"/>
              </a:lnSpc>
              <a:buChar char="–"/>
              <a:tabLst>
                <a:tab pos="299085" algn="l"/>
                <a:tab pos="299720" algn="l"/>
              </a:tabLst>
            </a:pPr>
            <a:r>
              <a:rPr sz="1300">
                <a:latin typeface="ABBvoice"/>
                <a:cs typeface="ABBvoice"/>
              </a:rPr>
              <a:t>System</a:t>
            </a:r>
            <a:r>
              <a:rPr sz="1300" spc="-60">
                <a:latin typeface="ABBvoice"/>
                <a:cs typeface="ABBvoice"/>
              </a:rPr>
              <a:t> </a:t>
            </a:r>
            <a:r>
              <a:rPr sz="1300" spc="-10">
                <a:latin typeface="ABBvoice"/>
                <a:cs typeface="ABBvoice"/>
              </a:rPr>
              <a:t>integrators</a:t>
            </a:r>
            <a:endParaRPr sz="1300">
              <a:latin typeface="ABBvoice"/>
              <a:cs typeface="ABBvoice"/>
            </a:endParaRPr>
          </a:p>
        </p:txBody>
      </p:sp>
      <p:sp>
        <p:nvSpPr>
          <p:cNvPr id="13" name="object 13"/>
          <p:cNvSpPr txBox="1"/>
          <p:nvPr/>
        </p:nvSpPr>
        <p:spPr>
          <a:xfrm>
            <a:off x="7545069" y="4694631"/>
            <a:ext cx="949960" cy="238125"/>
          </a:xfrm>
          <a:prstGeom prst="rect">
            <a:avLst/>
          </a:prstGeom>
        </p:spPr>
        <p:txBody>
          <a:bodyPr vert="horz" wrap="square" lIns="0" tIns="12065" rIns="0" bIns="0" rtlCol="0">
            <a:spAutoFit/>
          </a:bodyPr>
          <a:lstStyle/>
          <a:p>
            <a:pPr marL="12700">
              <a:lnSpc>
                <a:spcPct val="100000"/>
              </a:lnSpc>
              <a:spcBef>
                <a:spcPts val="95"/>
              </a:spcBef>
            </a:pPr>
            <a:r>
              <a:rPr sz="1400" b="1">
                <a:latin typeface="ABBvoice"/>
                <a:cs typeface="ABBvoice"/>
              </a:rPr>
              <a:t>Auto</a:t>
            </a:r>
            <a:r>
              <a:rPr sz="1400" b="1" spc="-25">
                <a:latin typeface="ABBvoice"/>
                <a:cs typeface="ABBvoice"/>
              </a:rPr>
              <a:t> </a:t>
            </a:r>
            <a:r>
              <a:rPr sz="1400" b="1">
                <a:latin typeface="ABBvoice"/>
                <a:cs typeface="ABBvoice"/>
              </a:rPr>
              <a:t>Tier</a:t>
            </a:r>
            <a:r>
              <a:rPr sz="1400" b="1" spc="-30">
                <a:latin typeface="ABBvoice"/>
                <a:cs typeface="ABBvoice"/>
              </a:rPr>
              <a:t> </a:t>
            </a:r>
            <a:r>
              <a:rPr sz="1400" b="1" spc="-50">
                <a:latin typeface="ABBvoice"/>
                <a:cs typeface="ABBvoice"/>
              </a:rPr>
              <a:t>1</a:t>
            </a:r>
            <a:endParaRPr sz="1400">
              <a:latin typeface="ABBvoice"/>
              <a:cs typeface="ABBvoice"/>
            </a:endParaRPr>
          </a:p>
        </p:txBody>
      </p:sp>
      <p:pic>
        <p:nvPicPr>
          <p:cNvPr id="14" name="object 14"/>
          <p:cNvPicPr/>
          <p:nvPr/>
        </p:nvPicPr>
        <p:blipFill>
          <a:blip r:embed="rId2" cstate="print"/>
          <a:stretch>
            <a:fillRect/>
          </a:stretch>
        </p:blipFill>
        <p:spPr>
          <a:xfrm>
            <a:off x="7031735" y="5029200"/>
            <a:ext cx="1972055" cy="1231391"/>
          </a:xfrm>
          <a:prstGeom prst="rect">
            <a:avLst/>
          </a:prstGeom>
        </p:spPr>
      </p:pic>
      <p:sp>
        <p:nvSpPr>
          <p:cNvPr id="15" name="object 15"/>
          <p:cNvSpPr txBox="1"/>
          <p:nvPr/>
        </p:nvSpPr>
        <p:spPr>
          <a:xfrm>
            <a:off x="7301865" y="2737485"/>
            <a:ext cx="1431290" cy="238125"/>
          </a:xfrm>
          <a:prstGeom prst="rect">
            <a:avLst/>
          </a:prstGeom>
        </p:spPr>
        <p:txBody>
          <a:bodyPr vert="horz" wrap="square" lIns="0" tIns="11430" rIns="0" bIns="0" rtlCol="0">
            <a:spAutoFit/>
          </a:bodyPr>
          <a:lstStyle/>
          <a:p>
            <a:pPr marL="12700">
              <a:lnSpc>
                <a:spcPct val="100000"/>
              </a:lnSpc>
              <a:spcBef>
                <a:spcPts val="90"/>
              </a:spcBef>
            </a:pPr>
            <a:r>
              <a:rPr sz="1400" b="1">
                <a:latin typeface="ABBvoice"/>
                <a:cs typeface="ABBvoice"/>
              </a:rPr>
              <a:t>General</a:t>
            </a:r>
            <a:r>
              <a:rPr sz="1400" b="1" spc="-55">
                <a:latin typeface="ABBvoice"/>
                <a:cs typeface="ABBvoice"/>
              </a:rPr>
              <a:t> </a:t>
            </a:r>
            <a:r>
              <a:rPr sz="1400" b="1" spc="-10">
                <a:latin typeface="ABBvoice"/>
                <a:cs typeface="ABBvoice"/>
              </a:rPr>
              <a:t>Industry</a:t>
            </a:r>
            <a:endParaRPr sz="1400">
              <a:latin typeface="ABBvoice"/>
              <a:cs typeface="ABBvoice"/>
            </a:endParaRPr>
          </a:p>
        </p:txBody>
      </p:sp>
      <p:pic>
        <p:nvPicPr>
          <p:cNvPr id="16" name="object 16"/>
          <p:cNvPicPr/>
          <p:nvPr/>
        </p:nvPicPr>
        <p:blipFill>
          <a:blip r:embed="rId3" cstate="print"/>
          <a:stretch>
            <a:fillRect/>
          </a:stretch>
        </p:blipFill>
        <p:spPr>
          <a:xfrm>
            <a:off x="7037831" y="3105911"/>
            <a:ext cx="1955545" cy="1234439"/>
          </a:xfrm>
          <a:prstGeom prst="rect">
            <a:avLst/>
          </a:prstGeom>
        </p:spPr>
      </p:pic>
      <p:sp>
        <p:nvSpPr>
          <p:cNvPr id="17" name="object 17"/>
          <p:cNvSpPr txBox="1"/>
          <p:nvPr/>
        </p:nvSpPr>
        <p:spPr>
          <a:xfrm>
            <a:off x="10109072" y="4694631"/>
            <a:ext cx="972185" cy="238125"/>
          </a:xfrm>
          <a:prstGeom prst="rect">
            <a:avLst/>
          </a:prstGeom>
        </p:spPr>
        <p:txBody>
          <a:bodyPr vert="horz" wrap="square" lIns="0" tIns="12065" rIns="0" bIns="0" rtlCol="0">
            <a:spAutoFit/>
          </a:bodyPr>
          <a:lstStyle/>
          <a:p>
            <a:pPr marL="12700">
              <a:lnSpc>
                <a:spcPct val="100000"/>
              </a:lnSpc>
              <a:spcBef>
                <a:spcPts val="95"/>
              </a:spcBef>
            </a:pPr>
            <a:r>
              <a:rPr sz="1400" b="1" spc="-10">
                <a:latin typeface="ABBvoice"/>
                <a:cs typeface="ABBvoice"/>
              </a:rPr>
              <a:t>Electronics</a:t>
            </a:r>
            <a:endParaRPr sz="1400">
              <a:latin typeface="ABBvoice"/>
              <a:cs typeface="ABBvoice"/>
            </a:endParaRPr>
          </a:p>
        </p:txBody>
      </p:sp>
      <p:pic>
        <p:nvPicPr>
          <p:cNvPr id="18" name="object 18"/>
          <p:cNvPicPr/>
          <p:nvPr/>
        </p:nvPicPr>
        <p:blipFill>
          <a:blip r:embed="rId4" cstate="print"/>
          <a:stretch>
            <a:fillRect/>
          </a:stretch>
        </p:blipFill>
        <p:spPr>
          <a:xfrm>
            <a:off x="9607295" y="5029200"/>
            <a:ext cx="1972055" cy="1231391"/>
          </a:xfrm>
          <a:prstGeom prst="rect">
            <a:avLst/>
          </a:prstGeom>
        </p:spPr>
      </p:pic>
      <p:sp>
        <p:nvSpPr>
          <p:cNvPr id="19" name="object 19"/>
          <p:cNvSpPr txBox="1"/>
          <p:nvPr/>
        </p:nvSpPr>
        <p:spPr>
          <a:xfrm>
            <a:off x="9616567" y="2526537"/>
            <a:ext cx="1958339" cy="451484"/>
          </a:xfrm>
          <a:prstGeom prst="rect">
            <a:avLst/>
          </a:prstGeom>
        </p:spPr>
        <p:txBody>
          <a:bodyPr vert="horz" wrap="square" lIns="0" tIns="11430" rIns="0" bIns="0" rtlCol="0">
            <a:spAutoFit/>
          </a:bodyPr>
          <a:lstStyle/>
          <a:p>
            <a:pPr algn="ctr">
              <a:lnSpc>
                <a:spcPct val="100000"/>
              </a:lnSpc>
              <a:spcBef>
                <a:spcPts val="90"/>
              </a:spcBef>
            </a:pPr>
            <a:r>
              <a:rPr sz="1400" b="1">
                <a:latin typeface="ABBvoice"/>
                <a:cs typeface="ABBvoice"/>
              </a:rPr>
              <a:t>Consumer</a:t>
            </a:r>
            <a:r>
              <a:rPr sz="1400" b="1" spc="-30">
                <a:latin typeface="ABBvoice"/>
                <a:cs typeface="ABBvoice"/>
              </a:rPr>
              <a:t> </a:t>
            </a:r>
            <a:r>
              <a:rPr sz="1400" b="1">
                <a:latin typeface="ABBvoice"/>
                <a:cs typeface="ABBvoice"/>
              </a:rPr>
              <a:t>Segments</a:t>
            </a:r>
            <a:r>
              <a:rPr sz="1400" b="1" spc="-65">
                <a:latin typeface="ABBvoice"/>
                <a:cs typeface="ABBvoice"/>
              </a:rPr>
              <a:t> </a:t>
            </a:r>
            <a:r>
              <a:rPr sz="1400" b="1" spc="-50">
                <a:latin typeface="ABBvoice"/>
                <a:cs typeface="ABBvoice"/>
              </a:rPr>
              <a:t>&amp;</a:t>
            </a:r>
            <a:endParaRPr sz="1400">
              <a:latin typeface="ABBvoice"/>
              <a:cs typeface="ABBvoice"/>
            </a:endParaRPr>
          </a:p>
          <a:p>
            <a:pPr algn="ctr">
              <a:lnSpc>
                <a:spcPct val="100000"/>
              </a:lnSpc>
            </a:pPr>
            <a:r>
              <a:rPr sz="1400" b="1">
                <a:latin typeface="ABBvoice"/>
                <a:cs typeface="ABBvoice"/>
              </a:rPr>
              <a:t>Service</a:t>
            </a:r>
            <a:r>
              <a:rPr sz="1400" b="1" spc="-50">
                <a:latin typeface="ABBvoice"/>
                <a:cs typeface="ABBvoice"/>
              </a:rPr>
              <a:t> </a:t>
            </a:r>
            <a:r>
              <a:rPr sz="1400" b="1" spc="-10">
                <a:latin typeface="ABBvoice"/>
                <a:cs typeface="ABBvoice"/>
              </a:rPr>
              <a:t>Robotics</a:t>
            </a:r>
            <a:endParaRPr sz="1400">
              <a:latin typeface="ABBvoice"/>
              <a:cs typeface="ABBvoice"/>
            </a:endParaRPr>
          </a:p>
        </p:txBody>
      </p:sp>
      <p:pic>
        <p:nvPicPr>
          <p:cNvPr id="20" name="object 20"/>
          <p:cNvPicPr/>
          <p:nvPr/>
        </p:nvPicPr>
        <p:blipFill>
          <a:blip r:embed="rId5" cstate="print"/>
          <a:stretch>
            <a:fillRect/>
          </a:stretch>
        </p:blipFill>
        <p:spPr>
          <a:xfrm>
            <a:off x="9607295" y="3105911"/>
            <a:ext cx="1972055" cy="1237488"/>
          </a:xfrm>
          <a:prstGeom prst="rect">
            <a:avLst/>
          </a:prstGeom>
        </p:spPr>
      </p:pic>
      <p:sp>
        <p:nvSpPr>
          <p:cNvPr id="21" name="object 21"/>
          <p:cNvSpPr txBox="1"/>
          <p:nvPr/>
        </p:nvSpPr>
        <p:spPr>
          <a:xfrm>
            <a:off x="5026914" y="4694631"/>
            <a:ext cx="971550" cy="238125"/>
          </a:xfrm>
          <a:prstGeom prst="rect">
            <a:avLst/>
          </a:prstGeom>
        </p:spPr>
        <p:txBody>
          <a:bodyPr vert="horz" wrap="square" lIns="0" tIns="12065" rIns="0" bIns="0" rtlCol="0">
            <a:spAutoFit/>
          </a:bodyPr>
          <a:lstStyle/>
          <a:p>
            <a:pPr marL="12700">
              <a:lnSpc>
                <a:spcPct val="100000"/>
              </a:lnSpc>
              <a:spcBef>
                <a:spcPts val="95"/>
              </a:spcBef>
            </a:pPr>
            <a:r>
              <a:rPr sz="1400" b="1">
                <a:latin typeface="ABBvoice"/>
                <a:cs typeface="ABBvoice"/>
              </a:rPr>
              <a:t>Auto</a:t>
            </a:r>
            <a:r>
              <a:rPr sz="1400" b="1" spc="-30">
                <a:latin typeface="ABBvoice"/>
                <a:cs typeface="ABBvoice"/>
              </a:rPr>
              <a:t> </a:t>
            </a:r>
            <a:r>
              <a:rPr sz="1400" b="1" spc="-20">
                <a:latin typeface="ABBvoice"/>
                <a:cs typeface="ABBvoice"/>
              </a:rPr>
              <a:t>OEMs</a:t>
            </a:r>
            <a:endParaRPr sz="1400">
              <a:latin typeface="ABBvoice"/>
              <a:cs typeface="ABBvoice"/>
            </a:endParaRPr>
          </a:p>
        </p:txBody>
      </p:sp>
      <p:pic>
        <p:nvPicPr>
          <p:cNvPr id="22" name="object 22"/>
          <p:cNvPicPr/>
          <p:nvPr/>
        </p:nvPicPr>
        <p:blipFill>
          <a:blip r:embed="rId6" cstate="print"/>
          <a:stretch>
            <a:fillRect/>
          </a:stretch>
        </p:blipFill>
        <p:spPr>
          <a:xfrm>
            <a:off x="4532376" y="5035296"/>
            <a:ext cx="1959863" cy="1231391"/>
          </a:xfrm>
          <a:prstGeom prst="rect">
            <a:avLst/>
          </a:prstGeom>
        </p:spPr>
      </p:pic>
      <p:sp>
        <p:nvSpPr>
          <p:cNvPr id="23" name="object 23"/>
          <p:cNvSpPr txBox="1"/>
          <p:nvPr/>
        </p:nvSpPr>
        <p:spPr>
          <a:xfrm>
            <a:off x="4615434" y="2737485"/>
            <a:ext cx="1793875" cy="238125"/>
          </a:xfrm>
          <a:prstGeom prst="rect">
            <a:avLst/>
          </a:prstGeom>
        </p:spPr>
        <p:txBody>
          <a:bodyPr vert="horz" wrap="square" lIns="0" tIns="11430" rIns="0" bIns="0" rtlCol="0">
            <a:spAutoFit/>
          </a:bodyPr>
          <a:lstStyle/>
          <a:p>
            <a:pPr marL="12700">
              <a:lnSpc>
                <a:spcPct val="100000"/>
              </a:lnSpc>
              <a:spcBef>
                <a:spcPts val="90"/>
              </a:spcBef>
            </a:pPr>
            <a:r>
              <a:rPr sz="1400" b="1">
                <a:latin typeface="ABBvoice"/>
                <a:cs typeface="ABBvoice"/>
              </a:rPr>
              <a:t>Machine</a:t>
            </a:r>
            <a:r>
              <a:rPr sz="1400" b="1" spc="-75">
                <a:latin typeface="ABBvoice"/>
                <a:cs typeface="ABBvoice"/>
              </a:rPr>
              <a:t> </a:t>
            </a:r>
            <a:r>
              <a:rPr sz="1400" b="1" spc="-10">
                <a:latin typeface="ABBvoice"/>
                <a:cs typeface="ABBvoice"/>
              </a:rPr>
              <a:t>Automation</a:t>
            </a:r>
            <a:endParaRPr sz="1400">
              <a:latin typeface="ABBvoice"/>
              <a:cs typeface="ABBvoice"/>
            </a:endParaRPr>
          </a:p>
        </p:txBody>
      </p:sp>
      <p:pic>
        <p:nvPicPr>
          <p:cNvPr id="24" name="object 24"/>
          <p:cNvPicPr/>
          <p:nvPr/>
        </p:nvPicPr>
        <p:blipFill>
          <a:blip r:embed="rId7" cstate="print"/>
          <a:stretch>
            <a:fillRect/>
          </a:stretch>
        </p:blipFill>
        <p:spPr>
          <a:xfrm>
            <a:off x="4532376" y="3105911"/>
            <a:ext cx="1959863" cy="1240535"/>
          </a:xfrm>
          <a:prstGeom prst="rect">
            <a:avLst/>
          </a:prstGeom>
        </p:spPr>
      </p:pic>
      <p:sp>
        <p:nvSpPr>
          <p:cNvPr id="25" name="object 25"/>
          <p:cNvSpPr/>
          <p:nvPr/>
        </p:nvSpPr>
        <p:spPr>
          <a:xfrm>
            <a:off x="4114800" y="2401823"/>
            <a:ext cx="0" cy="3997960"/>
          </a:xfrm>
          <a:custGeom>
            <a:avLst/>
            <a:gdLst/>
            <a:ahLst/>
            <a:cxnLst/>
            <a:rect l="l" t="t" r="r" b="b"/>
            <a:pathLst>
              <a:path h="3997960">
                <a:moveTo>
                  <a:pt x="0" y="0"/>
                </a:moveTo>
                <a:lnTo>
                  <a:pt x="0" y="3997452"/>
                </a:lnTo>
              </a:path>
            </a:pathLst>
          </a:custGeom>
          <a:ln w="12700">
            <a:solidFill>
              <a:srgbClr val="000000"/>
            </a:solidFill>
          </a:ln>
        </p:spPr>
        <p:txBody>
          <a:bodyPr wrap="square" lIns="0" tIns="0" rIns="0" bIns="0" rtlCol="0"/>
          <a:lstStyle/>
          <a:p>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 name="object 7"/>
          <p:cNvSpPr txBox="1"/>
          <p:nvPr/>
        </p:nvSpPr>
        <p:spPr>
          <a:xfrm>
            <a:off x="408867" y="223215"/>
            <a:ext cx="405765" cy="512445"/>
          </a:xfrm>
          <a:prstGeom prst="rect">
            <a:avLst/>
          </a:prstGeom>
        </p:spPr>
        <p:txBody>
          <a:bodyPr vert="horz" wrap="square" lIns="0" tIns="12065" rIns="0" bIns="0" rtlCol="0">
            <a:spAutoFit/>
          </a:bodyPr>
          <a:lstStyle/>
          <a:p>
            <a:pPr marL="0" marR="0" lvl="0" indent="0" defTabSz="914400" eaLnBrk="1" fontAlgn="auto" latinLnBrk="0" hangingPunct="1">
              <a:lnSpc>
                <a:spcPct val="100000"/>
              </a:lnSpc>
              <a:spcBef>
                <a:spcPts val="95"/>
              </a:spcBef>
              <a:spcAft>
                <a:spcPts val="0"/>
              </a:spcAft>
              <a:buClrTx/>
              <a:buSzTx/>
              <a:buFontTx/>
              <a:buNone/>
              <a:tabLst/>
              <a:defRPr/>
            </a:pPr>
            <a:r>
              <a:rPr kumimoji="0" lang="en-CA" sz="3200" b="1" i="0" u="none" strike="noStrike" kern="0" cap="none" spc="-10" normalizeH="0" baseline="0" noProof="0" dirty="0">
                <a:ln>
                  <a:noFill/>
                </a:ln>
                <a:solidFill>
                  <a:srgbClr val="FF0000"/>
                </a:solidFill>
                <a:effectLst/>
                <a:uLnTx/>
                <a:uFillTx/>
                <a:latin typeface="ABBvoice"/>
                <a:cs typeface="ABBvoice"/>
              </a:rPr>
              <a:t>—</a:t>
            </a:r>
            <a:endParaRPr kumimoji="0" sz="3200" b="0" i="0" u="none" strike="noStrike" kern="0" cap="none" spc="0" normalizeH="0" baseline="0" noProof="0" dirty="0">
              <a:ln>
                <a:noFill/>
              </a:ln>
              <a:solidFill>
                <a:sysClr val="windowText" lastClr="000000"/>
              </a:solidFill>
              <a:effectLst/>
              <a:uLnTx/>
              <a:uFillTx/>
              <a:latin typeface="ABBvoice"/>
              <a:cs typeface="ABBvoice"/>
            </a:endParaRPr>
          </a:p>
        </p:txBody>
      </p:sp>
      <p:pic>
        <p:nvPicPr>
          <p:cNvPr id="13" name="Picture 12">
            <a:extLst>
              <a:ext uri="{FF2B5EF4-FFF2-40B4-BE49-F238E27FC236}">
                <a16:creationId xmlns:a16="http://schemas.microsoft.com/office/drawing/2014/main" id="{8941484A-131A-FB7F-95DB-4F7163ACC3A6}"/>
              </a:ext>
            </a:extLst>
          </p:cNvPr>
          <p:cNvPicPr>
            <a:picLocks noChangeAspect="1"/>
          </p:cNvPicPr>
          <p:nvPr/>
        </p:nvPicPr>
        <p:blipFill rotWithShape="1">
          <a:blip r:embed="rId2">
            <a:alphaModFix amt="42000"/>
          </a:blip>
          <a:srcRect l="9740" t="1" r="13678" b="3355"/>
          <a:stretch/>
        </p:blipFill>
        <p:spPr>
          <a:xfrm>
            <a:off x="0" y="1026000"/>
            <a:ext cx="12204000" cy="5832000"/>
          </a:xfrm>
          <a:prstGeom prst="rect">
            <a:avLst/>
          </a:prstGeom>
        </p:spPr>
      </p:pic>
      <p:pic>
        <p:nvPicPr>
          <p:cNvPr id="14" name="object 7">
            <a:extLst>
              <a:ext uri="{FF2B5EF4-FFF2-40B4-BE49-F238E27FC236}">
                <a16:creationId xmlns:a16="http://schemas.microsoft.com/office/drawing/2014/main" id="{819BCEF1-2F5F-55EE-1390-D2C1AB16C839}"/>
              </a:ext>
            </a:extLst>
          </p:cNvPr>
          <p:cNvPicPr/>
          <p:nvPr/>
        </p:nvPicPr>
        <p:blipFill>
          <a:blip r:embed="rId3" cstate="print"/>
          <a:stretch>
            <a:fillRect/>
          </a:stretch>
        </p:blipFill>
        <p:spPr>
          <a:xfrm>
            <a:off x="5962522" y="256645"/>
            <a:ext cx="3665220" cy="2289048"/>
          </a:xfrm>
          <a:prstGeom prst="rect">
            <a:avLst/>
          </a:prstGeom>
        </p:spPr>
      </p:pic>
      <p:sp>
        <p:nvSpPr>
          <p:cNvPr id="15" name="object 8">
            <a:extLst>
              <a:ext uri="{FF2B5EF4-FFF2-40B4-BE49-F238E27FC236}">
                <a16:creationId xmlns:a16="http://schemas.microsoft.com/office/drawing/2014/main" id="{1A0162AE-C27F-7EF6-E4AD-189D2A0BC60D}"/>
              </a:ext>
            </a:extLst>
          </p:cNvPr>
          <p:cNvSpPr txBox="1">
            <a:spLocks noGrp="1"/>
          </p:cNvSpPr>
          <p:nvPr>
            <p:ph type="title"/>
          </p:nvPr>
        </p:nvSpPr>
        <p:spPr>
          <a:xfrm>
            <a:off x="408867" y="711149"/>
            <a:ext cx="3953510" cy="812402"/>
          </a:xfrm>
          <a:prstGeom prst="rect">
            <a:avLst/>
          </a:prstGeom>
        </p:spPr>
        <p:txBody>
          <a:bodyPr vert="horz" wrap="square" lIns="0" tIns="12065" rIns="0" bIns="0" rtlCol="0">
            <a:spAutoFit/>
          </a:bodyPr>
          <a:lstStyle/>
          <a:p>
            <a:pPr>
              <a:lnSpc>
                <a:spcPct val="100000"/>
              </a:lnSpc>
              <a:spcBef>
                <a:spcPts val="95"/>
              </a:spcBef>
            </a:pPr>
            <a:r>
              <a:rPr sz="2800" b="1" dirty="0">
                <a:latin typeface="ABBvoice"/>
                <a:cs typeface="ABBvoice"/>
              </a:rPr>
              <a:t>The</a:t>
            </a:r>
            <a:r>
              <a:rPr sz="2800" b="1" spc="-45" dirty="0">
                <a:latin typeface="ABBvoice"/>
                <a:cs typeface="ABBvoice"/>
              </a:rPr>
              <a:t> </a:t>
            </a:r>
            <a:r>
              <a:rPr sz="2800" b="1" dirty="0">
                <a:latin typeface="ABBvoice"/>
                <a:cs typeface="ABBvoice"/>
              </a:rPr>
              <a:t>ABB</a:t>
            </a:r>
            <a:r>
              <a:rPr sz="2800" b="1" spc="-85" dirty="0">
                <a:latin typeface="ABBvoice"/>
                <a:cs typeface="ABBvoice"/>
              </a:rPr>
              <a:t> </a:t>
            </a:r>
            <a:r>
              <a:rPr sz="2800" b="1" spc="-25" dirty="0">
                <a:latin typeface="ABBvoice"/>
                <a:cs typeface="ABBvoice"/>
              </a:rPr>
              <a:t>Way</a:t>
            </a:r>
          </a:p>
          <a:p>
            <a:pPr>
              <a:lnSpc>
                <a:spcPct val="100000"/>
              </a:lnSpc>
            </a:pPr>
            <a:r>
              <a:rPr sz="2400" dirty="0">
                <a:latin typeface="ABBvoice Light" panose="020D0403020503020204" pitchFamily="34" charset="0"/>
                <a:ea typeface="ABBvoice Light" panose="020D0403020503020204" pitchFamily="34" charset="0"/>
                <a:cs typeface="ABBvoice Light" panose="020D0403020503020204" pitchFamily="34" charset="0"/>
              </a:rPr>
              <a:t>Our</a:t>
            </a:r>
            <a:r>
              <a:rPr sz="2400" spc="-110"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operating</a:t>
            </a:r>
            <a:r>
              <a:rPr sz="2400" spc="-80" dirty="0">
                <a:latin typeface="ABBvoice Light" panose="020D0403020503020204" pitchFamily="34" charset="0"/>
                <a:ea typeface="ABBvoice Light" panose="020D0403020503020204" pitchFamily="34" charset="0"/>
                <a:cs typeface="ABBvoice Light" panose="020D0403020503020204" pitchFamily="34" charset="0"/>
              </a:rPr>
              <a:t> </a:t>
            </a:r>
            <a:r>
              <a:rPr sz="2400" spc="-10" dirty="0">
                <a:latin typeface="ABBvoice Light" panose="020D0403020503020204" pitchFamily="34" charset="0"/>
                <a:ea typeface="ABBvoice Light" panose="020D0403020503020204" pitchFamily="34" charset="0"/>
                <a:cs typeface="ABBvoice Light" panose="020D0403020503020204" pitchFamily="34" charset="0"/>
              </a:rPr>
              <a:t>model</a:t>
            </a:r>
          </a:p>
        </p:txBody>
      </p:sp>
      <p:sp>
        <p:nvSpPr>
          <p:cNvPr id="16" name="object 6">
            <a:extLst>
              <a:ext uri="{FF2B5EF4-FFF2-40B4-BE49-F238E27FC236}">
                <a16:creationId xmlns:a16="http://schemas.microsoft.com/office/drawing/2014/main" id="{9B436617-F183-0C3B-AB70-4700ACC8E4E6}"/>
              </a:ext>
            </a:extLst>
          </p:cNvPr>
          <p:cNvSpPr txBox="1">
            <a:spLocks noGrp="1"/>
          </p:cNvSpPr>
          <p:nvPr>
            <p:ph type="body" idx="1"/>
          </p:nvPr>
        </p:nvSpPr>
        <p:spPr>
          <a:xfrm>
            <a:off x="3816477" y="2735527"/>
            <a:ext cx="7959090" cy="3267710"/>
          </a:xfrm>
          <a:prstGeom prst="rect">
            <a:avLst/>
          </a:prstGeom>
        </p:spPr>
        <p:txBody>
          <a:bodyPr vert="horz" wrap="square" lIns="0" tIns="13970" rIns="0" bIns="0" rtlCol="0">
            <a:spAutoFit/>
          </a:bodyPr>
          <a:lstStyle/>
          <a:p>
            <a:pPr marL="12700" marR="81915">
              <a:lnSpc>
                <a:spcPct val="140700"/>
              </a:lnSpc>
              <a:spcBef>
                <a:spcPts val="110"/>
              </a:spcBef>
            </a:pPr>
            <a:r>
              <a:t>With</a:t>
            </a:r>
            <a:r>
              <a:rPr spc="-25"/>
              <a:t> </a:t>
            </a:r>
            <a:r>
              <a:t>our</a:t>
            </a:r>
            <a:r>
              <a:rPr spc="-15"/>
              <a:t> </a:t>
            </a:r>
            <a:r>
              <a:t>company</a:t>
            </a:r>
            <a:r>
              <a:rPr spc="-5"/>
              <a:t> </a:t>
            </a:r>
            <a:r>
              <a:t>purpose</a:t>
            </a:r>
            <a:r>
              <a:rPr spc="-5"/>
              <a:t> </a:t>
            </a:r>
            <a:r>
              <a:t>at</a:t>
            </a:r>
            <a:r>
              <a:rPr spc="-35"/>
              <a:t> </a:t>
            </a:r>
            <a:r>
              <a:t>its</a:t>
            </a:r>
            <a:r>
              <a:rPr spc="-20"/>
              <a:t> </a:t>
            </a:r>
            <a:r>
              <a:t>core,</a:t>
            </a:r>
            <a:r>
              <a:rPr spc="5"/>
              <a:t> </a:t>
            </a:r>
            <a:r>
              <a:t>the</a:t>
            </a:r>
            <a:r>
              <a:rPr spc="-35"/>
              <a:t> </a:t>
            </a:r>
            <a:r>
              <a:t>ABB</a:t>
            </a:r>
            <a:r>
              <a:rPr spc="-30"/>
              <a:t> </a:t>
            </a:r>
            <a:r>
              <a:t>Way empowers</a:t>
            </a:r>
            <a:r>
              <a:rPr spc="-30"/>
              <a:t> </a:t>
            </a:r>
            <a:r>
              <a:t>our</a:t>
            </a:r>
            <a:r>
              <a:rPr spc="-15"/>
              <a:t> </a:t>
            </a:r>
            <a:r>
              <a:t>divisions</a:t>
            </a:r>
            <a:r>
              <a:rPr spc="-70"/>
              <a:t> </a:t>
            </a:r>
            <a:r>
              <a:rPr spc="-20"/>
              <a:t>with </a:t>
            </a:r>
            <a:r>
              <a:t>full</a:t>
            </a:r>
            <a:r>
              <a:rPr spc="-10"/>
              <a:t> </a:t>
            </a:r>
            <a:r>
              <a:t>ownership</a:t>
            </a:r>
            <a:r>
              <a:rPr spc="-60"/>
              <a:t> </a:t>
            </a:r>
            <a:r>
              <a:t>and</a:t>
            </a:r>
            <a:r>
              <a:rPr spc="-35"/>
              <a:t> </a:t>
            </a:r>
            <a:r>
              <a:t>accountability</a:t>
            </a:r>
            <a:r>
              <a:rPr spc="-25"/>
              <a:t> </a:t>
            </a:r>
            <a:r>
              <a:t>for</a:t>
            </a:r>
            <a:r>
              <a:rPr spc="-20"/>
              <a:t> </a:t>
            </a:r>
            <a:r>
              <a:t>their</a:t>
            </a:r>
            <a:r>
              <a:rPr spc="-40"/>
              <a:t> </a:t>
            </a:r>
            <a:r>
              <a:t>strategies,</a:t>
            </a:r>
            <a:r>
              <a:rPr spc="-60"/>
              <a:t> </a:t>
            </a:r>
            <a:r>
              <a:t>performance</a:t>
            </a:r>
            <a:r>
              <a:rPr spc="-5"/>
              <a:t> </a:t>
            </a:r>
            <a:r>
              <a:t>and</a:t>
            </a:r>
            <a:r>
              <a:rPr spc="-35"/>
              <a:t> </a:t>
            </a:r>
            <a:r>
              <a:rPr spc="-10"/>
              <a:t>resources, </a:t>
            </a:r>
            <a:r>
              <a:t>while</a:t>
            </a:r>
            <a:r>
              <a:rPr spc="-40"/>
              <a:t> </a:t>
            </a:r>
            <a:r>
              <a:t>serving</a:t>
            </a:r>
            <a:r>
              <a:rPr spc="-35"/>
              <a:t> </a:t>
            </a:r>
            <a:r>
              <a:t>as</a:t>
            </a:r>
            <a:r>
              <a:rPr spc="-25"/>
              <a:t> </a:t>
            </a:r>
            <a:r>
              <a:t>the</a:t>
            </a:r>
            <a:r>
              <a:rPr spc="-35"/>
              <a:t> </a:t>
            </a:r>
            <a:r>
              <a:t>“glue”</a:t>
            </a:r>
            <a:r>
              <a:rPr spc="-5"/>
              <a:t> </a:t>
            </a:r>
            <a:r>
              <a:t>that</a:t>
            </a:r>
            <a:r>
              <a:rPr spc="-55"/>
              <a:t> </a:t>
            </a:r>
            <a:r>
              <a:t>holds our</a:t>
            </a:r>
            <a:r>
              <a:rPr spc="-15"/>
              <a:t> </a:t>
            </a:r>
            <a:r>
              <a:t>Group</a:t>
            </a:r>
            <a:r>
              <a:rPr spc="-10"/>
              <a:t> together.</a:t>
            </a:r>
          </a:p>
          <a:p>
            <a:pPr marL="12700" marR="5080">
              <a:lnSpc>
                <a:spcPct val="140700"/>
              </a:lnSpc>
              <a:spcBef>
                <a:spcPts val="615"/>
              </a:spcBef>
            </a:pPr>
            <a:r>
              <a:t>The</a:t>
            </a:r>
            <a:r>
              <a:rPr spc="-45"/>
              <a:t> </a:t>
            </a:r>
            <a:r>
              <a:t>ABB Way</a:t>
            </a:r>
            <a:r>
              <a:rPr spc="-25"/>
              <a:t> </a:t>
            </a:r>
            <a:r>
              <a:t>consists</a:t>
            </a:r>
            <a:r>
              <a:rPr spc="-45"/>
              <a:t> </a:t>
            </a:r>
            <a:r>
              <a:t>of</a:t>
            </a:r>
            <a:r>
              <a:rPr spc="-5"/>
              <a:t> </a:t>
            </a:r>
            <a:r>
              <a:t>two</a:t>
            </a:r>
            <a:r>
              <a:rPr spc="-10"/>
              <a:t> </a:t>
            </a:r>
            <a:r>
              <a:t>parts;</a:t>
            </a:r>
            <a:r>
              <a:rPr spc="-35"/>
              <a:t> </a:t>
            </a:r>
            <a:r>
              <a:t>“how”</a:t>
            </a:r>
            <a:r>
              <a:rPr spc="-45"/>
              <a:t> </a:t>
            </a:r>
            <a:r>
              <a:t>we</a:t>
            </a:r>
            <a:r>
              <a:rPr spc="-5"/>
              <a:t> </a:t>
            </a:r>
            <a:r>
              <a:t>operate</a:t>
            </a:r>
            <a:r>
              <a:rPr spc="-5"/>
              <a:t> </a:t>
            </a:r>
            <a:r>
              <a:t>and</a:t>
            </a:r>
            <a:r>
              <a:rPr spc="-30"/>
              <a:t> </a:t>
            </a:r>
            <a:r>
              <a:t>create</a:t>
            </a:r>
            <a:r>
              <a:rPr spc="-5"/>
              <a:t> </a:t>
            </a:r>
            <a:r>
              <a:t>superior</a:t>
            </a:r>
            <a:r>
              <a:rPr spc="-10"/>
              <a:t> value, </a:t>
            </a:r>
            <a:r>
              <a:t>namely</a:t>
            </a:r>
            <a:r>
              <a:rPr spc="-45"/>
              <a:t> </a:t>
            </a:r>
            <a:r>
              <a:t>with</a:t>
            </a:r>
            <a:r>
              <a:rPr spc="-55"/>
              <a:t> </a:t>
            </a:r>
            <a:r>
              <a:t>our</a:t>
            </a:r>
            <a:r>
              <a:rPr spc="15"/>
              <a:t> </a:t>
            </a:r>
            <a:r>
              <a:rPr b="1">
                <a:latin typeface="ABBvoice"/>
                <a:cs typeface="ABBvoice"/>
              </a:rPr>
              <a:t>Business</a:t>
            </a:r>
            <a:r>
              <a:rPr b="1" spc="-65">
                <a:latin typeface="ABBvoice"/>
                <a:cs typeface="ABBvoice"/>
              </a:rPr>
              <a:t> </a:t>
            </a:r>
            <a:r>
              <a:rPr b="1">
                <a:latin typeface="ABBvoice"/>
                <a:cs typeface="ABBvoice"/>
              </a:rPr>
              <a:t>model</a:t>
            </a:r>
            <a:r>
              <a:t>,</a:t>
            </a:r>
            <a:r>
              <a:rPr spc="-20"/>
              <a:t> </a:t>
            </a:r>
            <a:r>
              <a:rPr b="1">
                <a:latin typeface="ABBvoice"/>
                <a:cs typeface="ABBvoice"/>
              </a:rPr>
              <a:t>People</a:t>
            </a:r>
            <a:r>
              <a:rPr b="1" spc="-35">
                <a:latin typeface="ABBvoice"/>
                <a:cs typeface="ABBvoice"/>
              </a:rPr>
              <a:t> </a:t>
            </a:r>
            <a:r>
              <a:rPr b="1">
                <a:latin typeface="ABBvoice"/>
                <a:cs typeface="ABBvoice"/>
              </a:rPr>
              <a:t>&amp; culture</a:t>
            </a:r>
            <a:r>
              <a:t>,</a:t>
            </a:r>
            <a:r>
              <a:rPr spc="-40"/>
              <a:t> </a:t>
            </a:r>
            <a:r>
              <a:rPr b="1">
                <a:latin typeface="ABBvoice"/>
                <a:cs typeface="ABBvoice"/>
              </a:rPr>
              <a:t>Brand</a:t>
            </a:r>
            <a:r>
              <a:rPr b="1" spc="-20">
                <a:latin typeface="ABBvoice"/>
                <a:cs typeface="ABBvoice"/>
              </a:rPr>
              <a:t> </a:t>
            </a:r>
            <a:r>
              <a:t>and</a:t>
            </a:r>
            <a:r>
              <a:rPr spc="-35"/>
              <a:t> </a:t>
            </a:r>
            <a:r>
              <a:rPr b="1">
                <a:latin typeface="ABBvoice"/>
                <a:cs typeface="ABBvoice"/>
              </a:rPr>
              <a:t>Governance</a:t>
            </a:r>
            <a:r>
              <a:t>,</a:t>
            </a:r>
            <a:r>
              <a:rPr spc="-90"/>
              <a:t> </a:t>
            </a:r>
            <a:r>
              <a:t>and</a:t>
            </a:r>
            <a:r>
              <a:rPr spc="-15"/>
              <a:t> </a:t>
            </a:r>
            <a:r>
              <a:rPr spc="-25"/>
              <a:t>our </a:t>
            </a:r>
            <a:r>
              <a:t>purpose,</a:t>
            </a:r>
            <a:r>
              <a:rPr spc="-15"/>
              <a:t> </a:t>
            </a:r>
            <a:r>
              <a:t>“why”</a:t>
            </a:r>
            <a:r>
              <a:rPr spc="-25"/>
              <a:t> </a:t>
            </a:r>
            <a:r>
              <a:t>we</a:t>
            </a:r>
            <a:r>
              <a:rPr spc="-5"/>
              <a:t> </a:t>
            </a:r>
            <a:r>
              <a:t>are</a:t>
            </a:r>
            <a:r>
              <a:rPr spc="-35"/>
              <a:t> </a:t>
            </a:r>
            <a:r>
              <a:t>in</a:t>
            </a:r>
            <a:r>
              <a:rPr spc="5"/>
              <a:t> </a:t>
            </a:r>
            <a:r>
              <a:rPr spc="-10"/>
              <a:t>business.</a:t>
            </a:r>
            <a:endParaRPr lang="en-US" spc="-10"/>
          </a:p>
          <a:p>
            <a:pPr marL="12700" marR="369570">
              <a:lnSpc>
                <a:spcPct val="140700"/>
              </a:lnSpc>
              <a:spcBef>
                <a:spcPts val="585"/>
              </a:spcBef>
            </a:pPr>
            <a:r>
              <a:rPr lang="en-US"/>
              <a:t>The</a:t>
            </a:r>
            <a:r>
              <a:rPr lang="en-US" spc="-45"/>
              <a:t> </a:t>
            </a:r>
            <a:r>
              <a:rPr lang="en-US"/>
              <a:t>ABB</a:t>
            </a:r>
            <a:r>
              <a:rPr lang="en-US" spc="-10"/>
              <a:t> </a:t>
            </a:r>
            <a:r>
              <a:rPr lang="en-US"/>
              <a:t>Way</a:t>
            </a:r>
            <a:r>
              <a:rPr lang="en-US" spc="-25"/>
              <a:t> </a:t>
            </a:r>
            <a:r>
              <a:rPr lang="en-US"/>
              <a:t>provides</a:t>
            </a:r>
            <a:r>
              <a:rPr lang="en-US" spc="-25"/>
              <a:t> </a:t>
            </a:r>
            <a:r>
              <a:rPr lang="en-US"/>
              <a:t>standardized</a:t>
            </a:r>
            <a:r>
              <a:rPr lang="en-US" spc="-65"/>
              <a:t> </a:t>
            </a:r>
            <a:r>
              <a:rPr lang="en-US"/>
              <a:t>policies,</a:t>
            </a:r>
            <a:r>
              <a:rPr lang="en-US" spc="10"/>
              <a:t> </a:t>
            </a:r>
            <a:r>
              <a:rPr lang="en-US"/>
              <a:t>processes</a:t>
            </a:r>
            <a:r>
              <a:rPr lang="en-US" spc="-25"/>
              <a:t> </a:t>
            </a:r>
            <a:r>
              <a:rPr lang="en-US"/>
              <a:t>and</a:t>
            </a:r>
            <a:r>
              <a:rPr lang="en-US" spc="-35"/>
              <a:t> </a:t>
            </a:r>
            <a:r>
              <a:rPr lang="en-US"/>
              <a:t>systems,</a:t>
            </a:r>
            <a:r>
              <a:rPr lang="en-US" spc="-80"/>
              <a:t> </a:t>
            </a:r>
            <a:r>
              <a:rPr lang="en-US" spc="-10"/>
              <a:t>including </a:t>
            </a:r>
            <a:r>
              <a:rPr lang="en-US"/>
              <a:t>portfolio,</a:t>
            </a:r>
            <a:r>
              <a:rPr lang="en-US" spc="-5"/>
              <a:t> </a:t>
            </a:r>
            <a:r>
              <a:rPr lang="en-US"/>
              <a:t>performance</a:t>
            </a:r>
            <a:r>
              <a:rPr lang="en-US" spc="-35"/>
              <a:t> </a:t>
            </a:r>
            <a:r>
              <a:rPr lang="en-US"/>
              <a:t>and</a:t>
            </a:r>
            <a:r>
              <a:rPr lang="en-US" spc="-35"/>
              <a:t> </a:t>
            </a:r>
            <a:r>
              <a:rPr lang="en-US"/>
              <a:t>risk</a:t>
            </a:r>
            <a:r>
              <a:rPr lang="en-US" spc="-10"/>
              <a:t> </a:t>
            </a:r>
            <a:r>
              <a:rPr lang="en-US"/>
              <a:t>management</a:t>
            </a:r>
            <a:r>
              <a:rPr lang="en-US" spc="-80"/>
              <a:t> </a:t>
            </a:r>
            <a:r>
              <a:rPr lang="en-US"/>
              <a:t>as</a:t>
            </a:r>
            <a:r>
              <a:rPr lang="en-US" spc="-30"/>
              <a:t> </a:t>
            </a:r>
            <a:r>
              <a:rPr lang="en-US"/>
              <a:t>well</a:t>
            </a:r>
            <a:r>
              <a:rPr lang="en-US" spc="-15"/>
              <a:t> </a:t>
            </a:r>
            <a:r>
              <a:rPr lang="en-US"/>
              <a:t>as</a:t>
            </a:r>
            <a:r>
              <a:rPr lang="en-US" spc="-25"/>
              <a:t> </a:t>
            </a:r>
            <a:r>
              <a:rPr lang="en-US"/>
              <a:t>internal</a:t>
            </a:r>
            <a:r>
              <a:rPr lang="en-US" spc="-65"/>
              <a:t> </a:t>
            </a:r>
            <a:r>
              <a:rPr lang="en-US"/>
              <a:t>control</a:t>
            </a:r>
            <a:r>
              <a:rPr lang="en-US" spc="-15"/>
              <a:t> </a:t>
            </a:r>
            <a:r>
              <a:rPr lang="en-US" spc="-25"/>
              <a:t>and </a:t>
            </a:r>
            <a:r>
              <a:rPr lang="en-US" spc="-10"/>
              <a:t>compliance.</a:t>
            </a: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816096" y="0"/>
            <a:ext cx="4126992" cy="2212848"/>
          </a:xfrm>
          <a:prstGeom prst="rect">
            <a:avLst/>
          </a:prstGeom>
        </p:spPr>
      </p:pic>
      <p:pic>
        <p:nvPicPr>
          <p:cNvPr id="3" name="object 3"/>
          <p:cNvPicPr/>
          <p:nvPr/>
        </p:nvPicPr>
        <p:blipFill>
          <a:blip r:embed="rId3" cstate="print"/>
          <a:stretch>
            <a:fillRect/>
          </a:stretch>
        </p:blipFill>
        <p:spPr>
          <a:xfrm>
            <a:off x="8061959" y="0"/>
            <a:ext cx="4130040" cy="2212848"/>
          </a:xfrm>
          <a:prstGeom prst="rect">
            <a:avLst/>
          </a:prstGeom>
        </p:spPr>
      </p:pic>
      <p:pic>
        <p:nvPicPr>
          <p:cNvPr id="4" name="object 4"/>
          <p:cNvPicPr/>
          <p:nvPr/>
        </p:nvPicPr>
        <p:blipFill>
          <a:blip r:embed="rId4" cstate="print"/>
          <a:stretch>
            <a:fillRect/>
          </a:stretch>
        </p:blipFill>
        <p:spPr>
          <a:xfrm>
            <a:off x="3816096" y="2322576"/>
            <a:ext cx="4126992" cy="2212848"/>
          </a:xfrm>
          <a:prstGeom prst="rect">
            <a:avLst/>
          </a:prstGeom>
        </p:spPr>
      </p:pic>
      <p:pic>
        <p:nvPicPr>
          <p:cNvPr id="5" name="object 5"/>
          <p:cNvPicPr/>
          <p:nvPr/>
        </p:nvPicPr>
        <p:blipFill>
          <a:blip r:embed="rId5" cstate="print"/>
          <a:stretch>
            <a:fillRect/>
          </a:stretch>
        </p:blipFill>
        <p:spPr>
          <a:xfrm>
            <a:off x="8061959" y="2322576"/>
            <a:ext cx="4130040" cy="2212848"/>
          </a:xfrm>
          <a:prstGeom prst="rect">
            <a:avLst/>
          </a:prstGeom>
        </p:spPr>
      </p:pic>
      <p:pic>
        <p:nvPicPr>
          <p:cNvPr id="6" name="object 6"/>
          <p:cNvPicPr/>
          <p:nvPr/>
        </p:nvPicPr>
        <p:blipFill>
          <a:blip r:embed="rId6" cstate="print"/>
          <a:stretch>
            <a:fillRect/>
          </a:stretch>
        </p:blipFill>
        <p:spPr>
          <a:xfrm>
            <a:off x="3816096" y="4645151"/>
            <a:ext cx="4126992" cy="2212846"/>
          </a:xfrm>
          <a:prstGeom prst="rect">
            <a:avLst/>
          </a:prstGeom>
        </p:spPr>
      </p:pic>
      <p:grpSp>
        <p:nvGrpSpPr>
          <p:cNvPr id="7" name="object 7"/>
          <p:cNvGrpSpPr/>
          <p:nvPr/>
        </p:nvGrpSpPr>
        <p:grpSpPr>
          <a:xfrm>
            <a:off x="8061959" y="4645151"/>
            <a:ext cx="4130040" cy="2212975"/>
            <a:chOff x="8061959" y="4645151"/>
            <a:chExt cx="4130040" cy="2212975"/>
          </a:xfrm>
        </p:grpSpPr>
        <p:pic>
          <p:nvPicPr>
            <p:cNvPr id="8" name="object 8"/>
            <p:cNvPicPr/>
            <p:nvPr/>
          </p:nvPicPr>
          <p:blipFill>
            <a:blip r:embed="rId7" cstate="print"/>
            <a:stretch>
              <a:fillRect/>
            </a:stretch>
          </p:blipFill>
          <p:spPr>
            <a:xfrm>
              <a:off x="8061959" y="4645151"/>
              <a:ext cx="4130040" cy="2212847"/>
            </a:xfrm>
            <a:prstGeom prst="rect">
              <a:avLst/>
            </a:prstGeom>
          </p:spPr>
        </p:pic>
        <p:pic>
          <p:nvPicPr>
            <p:cNvPr id="9" name="object 9"/>
            <p:cNvPicPr/>
            <p:nvPr/>
          </p:nvPicPr>
          <p:blipFill>
            <a:blip r:embed="rId8" cstate="print"/>
            <a:stretch>
              <a:fillRect/>
            </a:stretch>
          </p:blipFill>
          <p:spPr>
            <a:xfrm>
              <a:off x="11344655" y="6394704"/>
              <a:ext cx="509016" cy="195072"/>
            </a:xfrm>
            <a:prstGeom prst="rect">
              <a:avLst/>
            </a:prstGeom>
          </p:spPr>
        </p:pic>
      </p:grpSp>
      <p:sp>
        <p:nvSpPr>
          <p:cNvPr id="10" name="object 10"/>
          <p:cNvSpPr txBox="1">
            <a:spLocks noGrp="1"/>
          </p:cNvSpPr>
          <p:nvPr>
            <p:ph type="title"/>
          </p:nvPr>
        </p:nvSpPr>
        <p:spPr>
          <a:xfrm>
            <a:off x="353682" y="671821"/>
            <a:ext cx="2803449" cy="443070"/>
          </a:xfrm>
          <a:prstGeom prst="rect">
            <a:avLst/>
          </a:prstGeom>
        </p:spPr>
        <p:txBody>
          <a:bodyPr vert="horz" wrap="square" lIns="0" tIns="12065" rIns="0" bIns="0" rtlCol="0">
            <a:spAutoFit/>
          </a:bodyPr>
          <a:lstStyle/>
          <a:p>
            <a:pPr marL="12700">
              <a:lnSpc>
                <a:spcPct val="100000"/>
              </a:lnSpc>
              <a:spcBef>
                <a:spcPts val="95"/>
              </a:spcBef>
            </a:pPr>
            <a:r>
              <a:rPr sz="2800" b="1" dirty="0"/>
              <a:t>Our</a:t>
            </a:r>
            <a:r>
              <a:rPr sz="2800" b="1" spc="-45" dirty="0"/>
              <a:t> </a:t>
            </a:r>
            <a:r>
              <a:rPr sz="2800" b="1" spc="-10" dirty="0"/>
              <a:t>priorities</a:t>
            </a:r>
          </a:p>
        </p:txBody>
      </p:sp>
      <p:sp>
        <p:nvSpPr>
          <p:cNvPr id="11" name="object 11"/>
          <p:cNvSpPr txBox="1"/>
          <p:nvPr/>
        </p:nvSpPr>
        <p:spPr>
          <a:xfrm>
            <a:off x="320751" y="1587195"/>
            <a:ext cx="2177415" cy="2369185"/>
          </a:xfrm>
          <a:prstGeom prst="rect">
            <a:avLst/>
          </a:prstGeom>
        </p:spPr>
        <p:txBody>
          <a:bodyPr vert="horz" wrap="square" lIns="0" tIns="13970" rIns="0" bIns="0" rtlCol="0" anchor="t">
            <a:spAutoFit/>
          </a:bodyPr>
          <a:lstStyle/>
          <a:p>
            <a:pPr marL="12700">
              <a:lnSpc>
                <a:spcPct val="100000"/>
              </a:lnSpc>
              <a:spcBef>
                <a:spcPts val="110"/>
              </a:spcBef>
            </a:pPr>
            <a:r>
              <a:rPr sz="1600">
                <a:latin typeface="ABBvoice-Light"/>
                <a:cs typeface="ABBvoice-Light"/>
              </a:rPr>
              <a:t>Market</a:t>
            </a:r>
            <a:r>
              <a:rPr sz="1600" spc="-65">
                <a:latin typeface="ABBvoice-Light"/>
                <a:cs typeface="ABBvoice-Light"/>
              </a:rPr>
              <a:t> </a:t>
            </a:r>
            <a:r>
              <a:rPr sz="1600" spc="-10">
                <a:latin typeface="ABBvoice-Light"/>
                <a:cs typeface="ABBvoice-Light"/>
              </a:rPr>
              <a:t>leadership</a:t>
            </a:r>
            <a:endParaRPr sz="1600">
              <a:latin typeface="ABBvoice-Light"/>
              <a:cs typeface="ABBvoice-Light"/>
            </a:endParaRPr>
          </a:p>
          <a:p>
            <a:pPr marL="12700" marR="234315">
              <a:lnSpc>
                <a:spcPct val="171400"/>
              </a:lnSpc>
              <a:spcBef>
                <a:spcPts val="20"/>
              </a:spcBef>
            </a:pPr>
            <a:r>
              <a:rPr sz="1600">
                <a:latin typeface="ABBvoice-Light"/>
                <a:cs typeface="ABBvoice-Light"/>
              </a:rPr>
              <a:t>Technology</a:t>
            </a:r>
            <a:r>
              <a:rPr sz="1600" spc="-65">
                <a:latin typeface="ABBvoice-Light"/>
                <a:cs typeface="ABBvoice-Light"/>
              </a:rPr>
              <a:t> </a:t>
            </a:r>
            <a:r>
              <a:rPr sz="1600">
                <a:latin typeface="ABBvoice-Light"/>
                <a:cs typeface="ABBvoice-Light"/>
              </a:rPr>
              <a:t>&amp;</a:t>
            </a:r>
            <a:r>
              <a:rPr sz="1600" spc="-10">
                <a:latin typeface="ABBvoice-Light"/>
                <a:cs typeface="ABBvoice-Light"/>
              </a:rPr>
              <a:t> digital People</a:t>
            </a:r>
            <a:endParaRPr sz="1600">
              <a:latin typeface="ABBvoice-Light"/>
              <a:cs typeface="ABBvoice-Light"/>
            </a:endParaRPr>
          </a:p>
          <a:p>
            <a:pPr marL="12700" marR="5080">
              <a:lnSpc>
                <a:spcPct val="171900"/>
              </a:lnSpc>
              <a:spcBef>
                <a:spcPts val="15"/>
              </a:spcBef>
            </a:pPr>
            <a:r>
              <a:rPr sz="1600">
                <a:latin typeface="ABBvoice-Light"/>
                <a:cs typeface="ABBvoice-Light"/>
              </a:rPr>
              <a:t>Portfolio</a:t>
            </a:r>
            <a:r>
              <a:rPr sz="1600" spc="-40">
                <a:latin typeface="ABBvoice-Light"/>
                <a:cs typeface="ABBvoice-Light"/>
              </a:rPr>
              <a:t> </a:t>
            </a:r>
            <a:r>
              <a:rPr sz="1600" spc="-10">
                <a:latin typeface="ABBvoice-Light"/>
                <a:cs typeface="ABBvoice-Light"/>
              </a:rPr>
              <a:t>management Sustainability</a:t>
            </a:r>
            <a:r>
              <a:rPr sz="1600" spc="500">
                <a:latin typeface="ABBvoice-Light"/>
                <a:cs typeface="ABBvoice-Light"/>
              </a:rPr>
              <a:t> </a:t>
            </a:r>
            <a:endParaRPr lang="en-US" sz="1600">
              <a:latin typeface="ABBvoice-Light"/>
              <a:cs typeface="ABBvoice-Light"/>
            </a:endParaRPr>
          </a:p>
          <a:p>
            <a:pPr marL="12700" marR="5080">
              <a:lnSpc>
                <a:spcPct val="171900"/>
              </a:lnSpc>
              <a:spcBef>
                <a:spcPts val="15"/>
              </a:spcBef>
            </a:pPr>
            <a:r>
              <a:rPr sz="1600">
                <a:latin typeface="ABBvoice-Light"/>
                <a:cs typeface="ABBvoice-Light"/>
              </a:rPr>
              <a:t>Financial</a:t>
            </a:r>
            <a:r>
              <a:rPr sz="1600" spc="-65">
                <a:latin typeface="ABBvoice-Light"/>
                <a:cs typeface="ABBvoice-Light"/>
              </a:rPr>
              <a:t> </a:t>
            </a:r>
            <a:r>
              <a:rPr sz="1600" spc="-10">
                <a:latin typeface="ABBvoice-Light"/>
                <a:cs typeface="ABBvoice-Light"/>
              </a:rPr>
              <a:t>performance</a:t>
            </a:r>
            <a:endParaRPr sz="1600">
              <a:latin typeface="ABBvoice-Light"/>
              <a:cs typeface="ABBvoice-Light"/>
            </a:endParaRPr>
          </a:p>
        </p:txBody>
      </p:sp>
      <p:sp>
        <p:nvSpPr>
          <p:cNvPr id="12" name="object 2">
            <a:extLst>
              <a:ext uri="{FF2B5EF4-FFF2-40B4-BE49-F238E27FC236}">
                <a16:creationId xmlns:a16="http://schemas.microsoft.com/office/drawing/2014/main" id="{2B8F3875-50AC-3453-2573-13D0A87CF886}"/>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object 3"/>
          <p:cNvSpPr txBox="1">
            <a:spLocks noGrp="1"/>
          </p:cNvSpPr>
          <p:nvPr>
            <p:ph type="title"/>
          </p:nvPr>
        </p:nvSpPr>
        <p:spPr>
          <a:xfrm>
            <a:off x="394033" y="691854"/>
            <a:ext cx="3346450" cy="443070"/>
          </a:xfrm>
          <a:prstGeom prst="rect">
            <a:avLst/>
          </a:prstGeom>
        </p:spPr>
        <p:txBody>
          <a:bodyPr vert="horz" wrap="square" lIns="0" tIns="12065" rIns="0" bIns="0" rtlCol="0">
            <a:spAutoFit/>
          </a:bodyPr>
          <a:lstStyle/>
          <a:p>
            <a:pPr marL="12700">
              <a:lnSpc>
                <a:spcPct val="100000"/>
              </a:lnSpc>
              <a:spcBef>
                <a:spcPts val="95"/>
              </a:spcBef>
            </a:pPr>
            <a:r>
              <a:rPr sz="2800" b="1" dirty="0">
                <a:latin typeface="ABBvoice"/>
                <a:cs typeface="ABBvoice"/>
              </a:rPr>
              <a:t>The</a:t>
            </a:r>
            <a:r>
              <a:rPr sz="2800" b="1" spc="-45" dirty="0">
                <a:latin typeface="ABBvoice"/>
                <a:cs typeface="ABBvoice"/>
              </a:rPr>
              <a:t> </a:t>
            </a:r>
            <a:r>
              <a:rPr sz="2800" b="1" dirty="0">
                <a:latin typeface="ABBvoice"/>
                <a:cs typeface="ABBvoice"/>
              </a:rPr>
              <a:t>ABB</a:t>
            </a:r>
            <a:r>
              <a:rPr sz="2800" b="1" spc="-85" dirty="0">
                <a:latin typeface="ABBvoice"/>
                <a:cs typeface="ABBvoice"/>
              </a:rPr>
              <a:t> </a:t>
            </a:r>
            <a:r>
              <a:rPr sz="2800" b="1" spc="-10" dirty="0">
                <a:latin typeface="ABBvoice"/>
                <a:cs typeface="ABBvoice"/>
              </a:rPr>
              <a:t>purpose</a:t>
            </a:r>
          </a:p>
        </p:txBody>
      </p:sp>
      <p:sp>
        <p:nvSpPr>
          <p:cNvPr id="4" name="object 4"/>
          <p:cNvSpPr txBox="1"/>
          <p:nvPr/>
        </p:nvSpPr>
        <p:spPr>
          <a:xfrm>
            <a:off x="394643" y="1128911"/>
            <a:ext cx="7705090" cy="1123315"/>
          </a:xfrm>
          <a:prstGeom prst="rect">
            <a:avLst/>
          </a:prstGeom>
        </p:spPr>
        <p:txBody>
          <a:bodyPr vert="horz" wrap="square" lIns="0" tIns="12700" rIns="0" bIns="0" rtlCol="0">
            <a:spAutoFit/>
          </a:bodyPr>
          <a:lstStyle/>
          <a:p>
            <a:pPr marL="12700" marR="5080">
              <a:lnSpc>
                <a:spcPct val="100000"/>
              </a:lnSpc>
              <a:spcBef>
                <a:spcPts val="100"/>
              </a:spcBef>
            </a:pPr>
            <a:r>
              <a:rPr sz="2400" dirty="0">
                <a:latin typeface="ABBvoice Light" panose="020D0403020503020204" pitchFamily="34" charset="0"/>
                <a:ea typeface="ABBvoice Light" panose="020D0403020503020204" pitchFamily="34" charset="0"/>
                <a:cs typeface="ABBvoice Light" panose="020D0403020503020204" pitchFamily="34" charset="0"/>
              </a:rPr>
              <a:t>We enable</a:t>
            </a:r>
            <a:r>
              <a:rPr sz="2400" spc="-10"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a</a:t>
            </a:r>
            <a:r>
              <a:rPr sz="2400" spc="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more</a:t>
            </a:r>
            <a:r>
              <a:rPr sz="2400" spc="-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sustainable</a:t>
            </a:r>
            <a:r>
              <a:rPr sz="2400" spc="1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and</a:t>
            </a:r>
            <a:r>
              <a:rPr sz="2400" spc="1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resource-</a:t>
            </a:r>
            <a:r>
              <a:rPr sz="2400" spc="-10" dirty="0">
                <a:latin typeface="ABBvoice Light" panose="020D0403020503020204" pitchFamily="34" charset="0"/>
                <a:ea typeface="ABBvoice Light" panose="020D0403020503020204" pitchFamily="34" charset="0"/>
                <a:cs typeface="ABBvoice Light" panose="020D0403020503020204" pitchFamily="34" charset="0"/>
              </a:rPr>
              <a:t>efficient </a:t>
            </a:r>
            <a:r>
              <a:rPr sz="2400" dirty="0">
                <a:latin typeface="ABBvoice Light" panose="020D0403020503020204" pitchFamily="34" charset="0"/>
                <a:ea typeface="ABBvoice Light" panose="020D0403020503020204" pitchFamily="34" charset="0"/>
                <a:cs typeface="ABBvoice Light" panose="020D0403020503020204" pitchFamily="34" charset="0"/>
              </a:rPr>
              <a:t>future</a:t>
            </a:r>
            <a:r>
              <a:rPr sz="2400" spc="-10"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with</a:t>
            </a:r>
            <a:r>
              <a:rPr sz="2400" spc="-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our</a:t>
            </a:r>
            <a:r>
              <a:rPr sz="2400" spc="-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technology</a:t>
            </a:r>
            <a:r>
              <a:rPr sz="2400" spc="-1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leadership</a:t>
            </a:r>
            <a:r>
              <a:rPr sz="2400" spc="-5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in</a:t>
            </a:r>
            <a:r>
              <a:rPr sz="2400" spc="-5" dirty="0">
                <a:latin typeface="ABBvoice Light" panose="020D0403020503020204" pitchFamily="34" charset="0"/>
                <a:ea typeface="ABBvoice Light" panose="020D0403020503020204" pitchFamily="34" charset="0"/>
                <a:cs typeface="ABBvoice Light" panose="020D0403020503020204" pitchFamily="34" charset="0"/>
              </a:rPr>
              <a:t> </a:t>
            </a:r>
            <a:r>
              <a:rPr sz="2400" spc="-10" dirty="0">
                <a:latin typeface="ABBvoice Light" panose="020D0403020503020204" pitchFamily="34" charset="0"/>
                <a:ea typeface="ABBvoice Light" panose="020D0403020503020204" pitchFamily="34" charset="0"/>
                <a:cs typeface="ABBvoice Light" panose="020D0403020503020204" pitchFamily="34" charset="0"/>
              </a:rPr>
              <a:t>electrification </a:t>
            </a:r>
            <a:r>
              <a:rPr sz="2400" dirty="0">
                <a:latin typeface="ABBvoice Light" panose="020D0403020503020204" pitchFamily="34" charset="0"/>
                <a:ea typeface="ABBvoice Light" panose="020D0403020503020204" pitchFamily="34" charset="0"/>
                <a:cs typeface="ABBvoice Light" panose="020D0403020503020204" pitchFamily="34" charset="0"/>
              </a:rPr>
              <a:t>and</a:t>
            </a:r>
            <a:r>
              <a:rPr sz="2400" spc="5" dirty="0">
                <a:latin typeface="ABBvoice Light" panose="020D0403020503020204" pitchFamily="34" charset="0"/>
                <a:ea typeface="ABBvoice Light" panose="020D0403020503020204" pitchFamily="34" charset="0"/>
                <a:cs typeface="ABBvoice Light" panose="020D0403020503020204" pitchFamily="34" charset="0"/>
              </a:rPr>
              <a:t> </a:t>
            </a:r>
            <a:r>
              <a:rPr sz="2400" spc="-10" dirty="0">
                <a:latin typeface="ABBvoice Light" panose="020D0403020503020204" pitchFamily="34" charset="0"/>
                <a:ea typeface="ABBvoice Light" panose="020D0403020503020204" pitchFamily="34" charset="0"/>
                <a:cs typeface="ABBvoice Light" panose="020D0403020503020204" pitchFamily="34" charset="0"/>
              </a:rPr>
              <a:t>automation.</a:t>
            </a:r>
            <a:endParaRPr sz="2400" dirty="0">
              <a:latin typeface="ABBvoice Light" panose="020D0403020503020204" pitchFamily="34" charset="0"/>
              <a:ea typeface="ABBvoice Light" panose="020D0403020503020204" pitchFamily="34" charset="0"/>
              <a:cs typeface="ABBvoice Light" panose="020D0403020503020204" pitchFamily="34" charset="0"/>
            </a:endParaRPr>
          </a:p>
        </p:txBody>
      </p:sp>
      <p:pic>
        <p:nvPicPr>
          <p:cNvPr id="5" name="object 5"/>
          <p:cNvPicPr/>
          <p:nvPr/>
        </p:nvPicPr>
        <p:blipFill>
          <a:blip r:embed="rId2" cstate="print"/>
          <a:stretch>
            <a:fillRect/>
          </a:stretch>
        </p:blipFill>
        <p:spPr>
          <a:xfrm>
            <a:off x="8936735" y="0"/>
            <a:ext cx="3255264" cy="1271015"/>
          </a:xfrm>
          <a:prstGeom prst="rect">
            <a:avLst/>
          </a:prstGeom>
        </p:spPr>
      </p:pic>
      <p:pic>
        <p:nvPicPr>
          <p:cNvPr id="6" name="object 6"/>
          <p:cNvPicPr/>
          <p:nvPr/>
        </p:nvPicPr>
        <p:blipFill>
          <a:blip r:embed="rId3" cstate="print"/>
          <a:stretch>
            <a:fillRect/>
          </a:stretch>
        </p:blipFill>
        <p:spPr>
          <a:xfrm>
            <a:off x="8936735" y="1395983"/>
            <a:ext cx="3255264" cy="1274064"/>
          </a:xfrm>
          <a:prstGeom prst="rect">
            <a:avLst/>
          </a:prstGeom>
        </p:spPr>
      </p:pic>
      <p:pic>
        <p:nvPicPr>
          <p:cNvPr id="7" name="object 7"/>
          <p:cNvPicPr/>
          <p:nvPr/>
        </p:nvPicPr>
        <p:blipFill>
          <a:blip r:embed="rId4" cstate="print"/>
          <a:stretch>
            <a:fillRect/>
          </a:stretch>
        </p:blipFill>
        <p:spPr>
          <a:xfrm>
            <a:off x="8936735" y="2791967"/>
            <a:ext cx="3255264" cy="1274063"/>
          </a:xfrm>
          <a:prstGeom prst="rect">
            <a:avLst/>
          </a:prstGeom>
        </p:spPr>
      </p:pic>
      <p:pic>
        <p:nvPicPr>
          <p:cNvPr id="8" name="object 8"/>
          <p:cNvPicPr/>
          <p:nvPr/>
        </p:nvPicPr>
        <p:blipFill>
          <a:blip r:embed="rId5" cstate="print"/>
          <a:stretch>
            <a:fillRect/>
          </a:stretch>
        </p:blipFill>
        <p:spPr>
          <a:xfrm>
            <a:off x="8936735" y="4187952"/>
            <a:ext cx="3255264" cy="1274064"/>
          </a:xfrm>
          <a:prstGeom prst="rect">
            <a:avLst/>
          </a:prstGeom>
        </p:spPr>
      </p:pic>
      <p:pic>
        <p:nvPicPr>
          <p:cNvPr id="9" name="object 9"/>
          <p:cNvPicPr/>
          <p:nvPr/>
        </p:nvPicPr>
        <p:blipFill>
          <a:blip r:embed="rId6" cstate="print"/>
          <a:stretch>
            <a:fillRect/>
          </a:stretch>
        </p:blipFill>
        <p:spPr>
          <a:xfrm>
            <a:off x="8936735" y="5586983"/>
            <a:ext cx="3255264" cy="1271014"/>
          </a:xfrm>
          <a:prstGeom prst="rect">
            <a:avLst/>
          </a:prstGeom>
        </p:spPr>
      </p:pic>
      <p:sp>
        <p:nvSpPr>
          <p:cNvPr id="10" name="object 10"/>
          <p:cNvSpPr txBox="1"/>
          <p:nvPr/>
        </p:nvSpPr>
        <p:spPr>
          <a:xfrm>
            <a:off x="9181210" y="1835023"/>
            <a:ext cx="177165" cy="238125"/>
          </a:xfrm>
          <a:prstGeom prst="rect">
            <a:avLst/>
          </a:prstGeom>
        </p:spPr>
        <p:txBody>
          <a:bodyPr vert="horz" wrap="square" lIns="0" tIns="11430" rIns="0" bIns="0" rtlCol="0">
            <a:spAutoFit/>
          </a:bodyPr>
          <a:lstStyle/>
          <a:p>
            <a:pPr>
              <a:lnSpc>
                <a:spcPct val="100000"/>
              </a:lnSpc>
              <a:spcBef>
                <a:spcPts val="90"/>
              </a:spcBef>
            </a:pPr>
            <a:r>
              <a:rPr sz="1400" b="1" spc="-10">
                <a:solidFill>
                  <a:srgbClr val="FFFFFF"/>
                </a:solidFill>
                <a:latin typeface="ABBvoice"/>
                <a:cs typeface="ABBvoice"/>
              </a:rPr>
              <a:t>—</a:t>
            </a:r>
            <a:endParaRPr sz="1400">
              <a:latin typeface="ABBvoice"/>
              <a:cs typeface="ABBvoice"/>
            </a:endParaRPr>
          </a:p>
        </p:txBody>
      </p:sp>
      <p:sp>
        <p:nvSpPr>
          <p:cNvPr id="11" name="object 11"/>
          <p:cNvSpPr txBox="1"/>
          <p:nvPr/>
        </p:nvSpPr>
        <p:spPr>
          <a:xfrm>
            <a:off x="9181210" y="2048382"/>
            <a:ext cx="2197100" cy="451484"/>
          </a:xfrm>
          <a:prstGeom prst="rect">
            <a:avLst/>
          </a:prstGeom>
        </p:spPr>
        <p:txBody>
          <a:bodyPr vert="horz" wrap="square" lIns="0" tIns="11430" rIns="0" bIns="0" rtlCol="0">
            <a:spAutoFit/>
          </a:bodyPr>
          <a:lstStyle/>
          <a:p>
            <a:pPr>
              <a:lnSpc>
                <a:spcPct val="100000"/>
              </a:lnSpc>
              <a:spcBef>
                <a:spcPts val="90"/>
              </a:spcBef>
            </a:pPr>
            <a:r>
              <a:rPr sz="1400" b="1">
                <a:solidFill>
                  <a:srgbClr val="FFFFFF"/>
                </a:solidFill>
                <a:latin typeface="ABBvoice"/>
                <a:cs typeface="ABBvoice"/>
              </a:rPr>
              <a:t>Addressing</a:t>
            </a:r>
            <a:r>
              <a:rPr sz="1400" b="1" spc="-55">
                <a:solidFill>
                  <a:srgbClr val="FFFFFF"/>
                </a:solidFill>
                <a:latin typeface="ABBvoice"/>
                <a:cs typeface="ABBvoice"/>
              </a:rPr>
              <a:t> </a:t>
            </a:r>
            <a:r>
              <a:rPr sz="1400" b="1" spc="-25">
                <a:solidFill>
                  <a:srgbClr val="FFFFFF"/>
                </a:solidFill>
                <a:latin typeface="ABBvoice"/>
                <a:cs typeface="ABBvoice"/>
              </a:rPr>
              <a:t>the</a:t>
            </a:r>
            <a:endParaRPr sz="1400">
              <a:latin typeface="ABBvoice"/>
              <a:cs typeface="ABBvoice"/>
            </a:endParaRPr>
          </a:p>
          <a:p>
            <a:pPr>
              <a:lnSpc>
                <a:spcPct val="100000"/>
              </a:lnSpc>
            </a:pPr>
            <a:r>
              <a:rPr sz="1400" b="1">
                <a:solidFill>
                  <a:srgbClr val="FFFFFF"/>
                </a:solidFill>
                <a:latin typeface="ABBvoice"/>
                <a:cs typeface="ABBvoice"/>
              </a:rPr>
              <a:t>world’s</a:t>
            </a:r>
            <a:r>
              <a:rPr sz="1400" b="1" spc="-10">
                <a:solidFill>
                  <a:srgbClr val="FFFFFF"/>
                </a:solidFill>
                <a:latin typeface="ABBvoice"/>
                <a:cs typeface="ABBvoice"/>
              </a:rPr>
              <a:t> </a:t>
            </a:r>
            <a:r>
              <a:rPr sz="1400" b="1">
                <a:solidFill>
                  <a:srgbClr val="FFFFFF"/>
                </a:solidFill>
                <a:latin typeface="ABBvoice"/>
                <a:cs typeface="ABBvoice"/>
              </a:rPr>
              <a:t>energy</a:t>
            </a:r>
            <a:r>
              <a:rPr sz="1400" b="1" spc="-40">
                <a:solidFill>
                  <a:srgbClr val="FFFFFF"/>
                </a:solidFill>
                <a:latin typeface="ABBvoice"/>
                <a:cs typeface="ABBvoice"/>
              </a:rPr>
              <a:t> </a:t>
            </a:r>
            <a:r>
              <a:rPr sz="1400" b="1" spc="-10">
                <a:solidFill>
                  <a:srgbClr val="FFFFFF"/>
                </a:solidFill>
                <a:latin typeface="ABBvoice"/>
                <a:cs typeface="ABBvoice"/>
              </a:rPr>
              <a:t>challenges</a:t>
            </a:r>
            <a:endParaRPr sz="1400">
              <a:latin typeface="ABBvoice"/>
              <a:cs typeface="ABBvoice"/>
            </a:endParaRPr>
          </a:p>
        </p:txBody>
      </p:sp>
      <p:sp>
        <p:nvSpPr>
          <p:cNvPr id="12" name="object 12"/>
          <p:cNvSpPr txBox="1"/>
          <p:nvPr/>
        </p:nvSpPr>
        <p:spPr>
          <a:xfrm>
            <a:off x="9181210" y="650824"/>
            <a:ext cx="177165" cy="238125"/>
          </a:xfrm>
          <a:prstGeom prst="rect">
            <a:avLst/>
          </a:prstGeom>
        </p:spPr>
        <p:txBody>
          <a:bodyPr vert="horz" wrap="square" lIns="0" tIns="12065" rIns="0" bIns="0" rtlCol="0">
            <a:spAutoFit/>
          </a:bodyPr>
          <a:lstStyle/>
          <a:p>
            <a:pPr>
              <a:lnSpc>
                <a:spcPct val="100000"/>
              </a:lnSpc>
              <a:spcBef>
                <a:spcPts val="95"/>
              </a:spcBef>
            </a:pPr>
            <a:r>
              <a:rPr sz="1400" b="1" spc="-10">
                <a:solidFill>
                  <a:srgbClr val="FFFFFF"/>
                </a:solidFill>
                <a:latin typeface="ABBvoice"/>
                <a:cs typeface="ABBvoice"/>
              </a:rPr>
              <a:t>—</a:t>
            </a:r>
            <a:endParaRPr sz="1400">
              <a:latin typeface="ABBvoice"/>
              <a:cs typeface="ABBvoice"/>
            </a:endParaRPr>
          </a:p>
        </p:txBody>
      </p:sp>
      <p:sp>
        <p:nvSpPr>
          <p:cNvPr id="13" name="object 13"/>
          <p:cNvSpPr txBox="1"/>
          <p:nvPr/>
        </p:nvSpPr>
        <p:spPr>
          <a:xfrm>
            <a:off x="9181210" y="864869"/>
            <a:ext cx="1451610" cy="238125"/>
          </a:xfrm>
          <a:prstGeom prst="rect">
            <a:avLst/>
          </a:prstGeom>
        </p:spPr>
        <p:txBody>
          <a:bodyPr vert="horz" wrap="square" lIns="0" tIns="11430" rIns="0" bIns="0" rtlCol="0">
            <a:spAutoFit/>
          </a:bodyPr>
          <a:lstStyle/>
          <a:p>
            <a:pPr>
              <a:lnSpc>
                <a:spcPct val="100000"/>
              </a:lnSpc>
              <a:spcBef>
                <a:spcPts val="90"/>
              </a:spcBef>
            </a:pPr>
            <a:r>
              <a:rPr sz="1400" b="1">
                <a:solidFill>
                  <a:srgbClr val="FFFFFF"/>
                </a:solidFill>
                <a:latin typeface="ABBvoice"/>
                <a:cs typeface="ABBvoice"/>
              </a:rPr>
              <a:t>Creating</a:t>
            </a:r>
            <a:r>
              <a:rPr sz="1400" b="1" spc="-55">
                <a:solidFill>
                  <a:srgbClr val="FFFFFF"/>
                </a:solidFill>
                <a:latin typeface="ABBvoice"/>
                <a:cs typeface="ABBvoice"/>
              </a:rPr>
              <a:t> </a:t>
            </a:r>
            <a:r>
              <a:rPr sz="1400" b="1" spc="-20">
                <a:solidFill>
                  <a:srgbClr val="FFFFFF"/>
                </a:solidFill>
                <a:latin typeface="ABBvoice"/>
                <a:cs typeface="ABBvoice"/>
              </a:rPr>
              <a:t>success</a:t>
            </a:r>
            <a:endParaRPr sz="1400">
              <a:latin typeface="ABBvoice"/>
              <a:cs typeface="ABBvoice"/>
            </a:endParaRPr>
          </a:p>
        </p:txBody>
      </p:sp>
      <p:sp>
        <p:nvSpPr>
          <p:cNvPr id="14" name="object 14"/>
          <p:cNvSpPr txBox="1"/>
          <p:nvPr/>
        </p:nvSpPr>
        <p:spPr>
          <a:xfrm>
            <a:off x="9181210" y="3231895"/>
            <a:ext cx="1163320" cy="664845"/>
          </a:xfrm>
          <a:prstGeom prst="rect">
            <a:avLst/>
          </a:prstGeom>
        </p:spPr>
        <p:txBody>
          <a:bodyPr vert="horz" wrap="square" lIns="0" tIns="11430" rIns="0" bIns="0" rtlCol="0">
            <a:spAutoFit/>
          </a:bodyPr>
          <a:lstStyle/>
          <a:p>
            <a:pPr>
              <a:lnSpc>
                <a:spcPct val="100000"/>
              </a:lnSpc>
              <a:spcBef>
                <a:spcPts val="90"/>
              </a:spcBef>
            </a:pPr>
            <a:r>
              <a:rPr sz="1400" b="1" spc="-10">
                <a:solidFill>
                  <a:srgbClr val="FFFFFF"/>
                </a:solidFill>
                <a:latin typeface="ABBvoice"/>
                <a:cs typeface="ABBvoice"/>
              </a:rPr>
              <a:t>—</a:t>
            </a:r>
            <a:endParaRPr sz="1400">
              <a:latin typeface="ABBvoice"/>
              <a:cs typeface="ABBvoice"/>
            </a:endParaRPr>
          </a:p>
          <a:p>
            <a:pPr>
              <a:lnSpc>
                <a:spcPct val="100000"/>
              </a:lnSpc>
            </a:pPr>
            <a:r>
              <a:rPr sz="1400" b="1" spc="-20">
                <a:solidFill>
                  <a:srgbClr val="FFFFFF"/>
                </a:solidFill>
                <a:latin typeface="ABBvoice"/>
                <a:cs typeface="ABBvoice"/>
              </a:rPr>
              <a:t>Transforming</a:t>
            </a:r>
            <a:endParaRPr sz="1400">
              <a:latin typeface="ABBvoice"/>
              <a:cs typeface="ABBvoice"/>
            </a:endParaRPr>
          </a:p>
          <a:p>
            <a:pPr>
              <a:lnSpc>
                <a:spcPct val="100000"/>
              </a:lnSpc>
              <a:spcBef>
                <a:spcPts val="5"/>
              </a:spcBef>
            </a:pPr>
            <a:r>
              <a:rPr sz="1400" b="1" spc="-10">
                <a:solidFill>
                  <a:srgbClr val="FFFFFF"/>
                </a:solidFill>
                <a:latin typeface="ABBvoice"/>
                <a:cs typeface="ABBvoice"/>
              </a:rPr>
              <a:t>industries</a:t>
            </a:r>
            <a:endParaRPr sz="1400">
              <a:latin typeface="ABBvoice"/>
              <a:cs typeface="ABBvoice"/>
            </a:endParaRPr>
          </a:p>
        </p:txBody>
      </p:sp>
      <p:sp>
        <p:nvSpPr>
          <p:cNvPr id="15" name="object 15"/>
          <p:cNvSpPr txBox="1"/>
          <p:nvPr/>
        </p:nvSpPr>
        <p:spPr>
          <a:xfrm>
            <a:off x="9181210" y="4629150"/>
            <a:ext cx="1160145" cy="664845"/>
          </a:xfrm>
          <a:prstGeom prst="rect">
            <a:avLst/>
          </a:prstGeom>
        </p:spPr>
        <p:txBody>
          <a:bodyPr vert="horz" wrap="square" lIns="0" tIns="11430" rIns="0" bIns="0" rtlCol="0">
            <a:spAutoFit/>
          </a:bodyPr>
          <a:lstStyle/>
          <a:p>
            <a:pPr>
              <a:lnSpc>
                <a:spcPct val="100000"/>
              </a:lnSpc>
              <a:spcBef>
                <a:spcPts val="90"/>
              </a:spcBef>
            </a:pPr>
            <a:r>
              <a:rPr sz="1400" b="1" spc="-10">
                <a:solidFill>
                  <a:srgbClr val="FFFFFF"/>
                </a:solidFill>
                <a:latin typeface="ABBvoice"/>
                <a:cs typeface="ABBvoice"/>
              </a:rPr>
              <a:t>—</a:t>
            </a:r>
            <a:endParaRPr sz="1400">
              <a:latin typeface="ABBvoice"/>
              <a:cs typeface="ABBvoice"/>
            </a:endParaRPr>
          </a:p>
          <a:p>
            <a:pPr>
              <a:lnSpc>
                <a:spcPct val="100000"/>
              </a:lnSpc>
            </a:pPr>
            <a:r>
              <a:rPr sz="1400" b="1" spc="-10">
                <a:solidFill>
                  <a:srgbClr val="FFFFFF"/>
                </a:solidFill>
                <a:latin typeface="ABBvoice"/>
                <a:cs typeface="ABBvoice"/>
              </a:rPr>
              <a:t>Embedding</a:t>
            </a:r>
            <a:endParaRPr sz="1400">
              <a:latin typeface="ABBvoice"/>
              <a:cs typeface="ABBvoice"/>
            </a:endParaRPr>
          </a:p>
          <a:p>
            <a:pPr>
              <a:lnSpc>
                <a:spcPct val="100000"/>
              </a:lnSpc>
            </a:pPr>
            <a:r>
              <a:rPr sz="1400" b="1" spc="-20">
                <a:solidFill>
                  <a:srgbClr val="FFFFFF"/>
                </a:solidFill>
                <a:latin typeface="ABBvoice"/>
                <a:cs typeface="ABBvoice"/>
              </a:rPr>
              <a:t>sustainability</a:t>
            </a:r>
            <a:endParaRPr sz="1400">
              <a:latin typeface="ABBvoice"/>
              <a:cs typeface="ABBvoice"/>
            </a:endParaRPr>
          </a:p>
        </p:txBody>
      </p:sp>
      <p:sp>
        <p:nvSpPr>
          <p:cNvPr id="16" name="object 16"/>
          <p:cNvSpPr txBox="1"/>
          <p:nvPr/>
        </p:nvSpPr>
        <p:spPr>
          <a:xfrm>
            <a:off x="9181210" y="6015939"/>
            <a:ext cx="1106805" cy="665480"/>
          </a:xfrm>
          <a:prstGeom prst="rect">
            <a:avLst/>
          </a:prstGeom>
        </p:spPr>
        <p:txBody>
          <a:bodyPr vert="horz" wrap="square" lIns="0" tIns="12065" rIns="0" bIns="0" rtlCol="0">
            <a:spAutoFit/>
          </a:bodyPr>
          <a:lstStyle/>
          <a:p>
            <a:pPr>
              <a:lnSpc>
                <a:spcPct val="100000"/>
              </a:lnSpc>
              <a:spcBef>
                <a:spcPts val="95"/>
              </a:spcBef>
            </a:pPr>
            <a:r>
              <a:rPr sz="1400" b="1" spc="-10">
                <a:solidFill>
                  <a:srgbClr val="FFFFFF"/>
                </a:solidFill>
                <a:latin typeface="ABBvoice"/>
                <a:cs typeface="ABBvoice"/>
              </a:rPr>
              <a:t>—</a:t>
            </a:r>
            <a:endParaRPr sz="1400">
              <a:latin typeface="ABBvoice"/>
              <a:cs typeface="ABBvoice"/>
            </a:endParaRPr>
          </a:p>
          <a:p>
            <a:pPr>
              <a:lnSpc>
                <a:spcPct val="100000"/>
              </a:lnSpc>
            </a:pPr>
            <a:r>
              <a:rPr sz="1400" b="1">
                <a:solidFill>
                  <a:srgbClr val="FFFFFF"/>
                </a:solidFill>
                <a:latin typeface="ABBvoice"/>
                <a:cs typeface="ABBvoice"/>
              </a:rPr>
              <a:t>Leading</a:t>
            </a:r>
            <a:r>
              <a:rPr sz="1400" b="1" spc="-45">
                <a:solidFill>
                  <a:srgbClr val="FFFFFF"/>
                </a:solidFill>
                <a:latin typeface="ABBvoice"/>
                <a:cs typeface="ABBvoice"/>
              </a:rPr>
              <a:t> </a:t>
            </a:r>
            <a:r>
              <a:rPr sz="1400" b="1" spc="-20">
                <a:solidFill>
                  <a:srgbClr val="FFFFFF"/>
                </a:solidFill>
                <a:latin typeface="ABBvoice"/>
                <a:cs typeface="ABBvoice"/>
              </a:rPr>
              <a:t>with </a:t>
            </a:r>
            <a:r>
              <a:rPr sz="1400" b="1" spc="-10">
                <a:solidFill>
                  <a:srgbClr val="FFFFFF"/>
                </a:solidFill>
                <a:latin typeface="ABBvoice"/>
                <a:cs typeface="ABBvoice"/>
              </a:rPr>
              <a:t>technology</a:t>
            </a:r>
            <a:endParaRPr sz="1400">
              <a:latin typeface="ABBvoice"/>
              <a:cs typeface="ABBvoice"/>
            </a:endParaRPr>
          </a:p>
        </p:txBody>
      </p:sp>
      <p:pic>
        <p:nvPicPr>
          <p:cNvPr id="17" name="object 17"/>
          <p:cNvPicPr/>
          <p:nvPr/>
        </p:nvPicPr>
        <p:blipFill>
          <a:blip r:embed="rId7" cstate="print"/>
          <a:stretch>
            <a:fillRect/>
          </a:stretch>
        </p:blipFill>
        <p:spPr>
          <a:xfrm>
            <a:off x="0" y="2791966"/>
            <a:ext cx="8805671" cy="4066032"/>
          </a:xfrm>
          <a:prstGeom prst="rect">
            <a:avLst/>
          </a:prstGeom>
        </p:spPr>
      </p:pic>
      <p:sp>
        <p:nvSpPr>
          <p:cNvPr id="19" name="object 2">
            <a:extLst>
              <a:ext uri="{FF2B5EF4-FFF2-40B4-BE49-F238E27FC236}">
                <a16:creationId xmlns:a16="http://schemas.microsoft.com/office/drawing/2014/main" id="{D96D5C19-88D5-6F25-E278-6384D347103C}"/>
              </a:ext>
            </a:extLst>
          </p:cNvPr>
          <p:cNvSpPr txBox="1"/>
          <p:nvPr/>
        </p:nvSpPr>
        <p:spPr>
          <a:xfrm>
            <a:off x="407780" y="227553"/>
            <a:ext cx="405765" cy="504625"/>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95427" y="223215"/>
            <a:ext cx="2103120" cy="512445"/>
          </a:xfrm>
          <a:prstGeom prst="rect">
            <a:avLst/>
          </a:prstGeom>
        </p:spPr>
        <p:txBody>
          <a:bodyPr vert="horz" wrap="square" lIns="0" tIns="12065" rIns="0" bIns="0" rtlCol="0">
            <a:spAutoFit/>
          </a:bodyPr>
          <a:lstStyle/>
          <a:p>
            <a:pPr marL="12700">
              <a:lnSpc>
                <a:spcPct val="100000"/>
              </a:lnSpc>
              <a:spcBef>
                <a:spcPts val="95"/>
              </a:spcBef>
            </a:pPr>
            <a:r>
              <a:t>ABB</a:t>
            </a:r>
            <a:r>
              <a:rPr spc="-50"/>
              <a:t> </a:t>
            </a:r>
            <a:r>
              <a:rPr spc="-10"/>
              <a:t>values</a:t>
            </a:r>
          </a:p>
        </p:txBody>
      </p:sp>
      <p:pic>
        <p:nvPicPr>
          <p:cNvPr id="3" name="object 3"/>
          <p:cNvPicPr/>
          <p:nvPr/>
        </p:nvPicPr>
        <p:blipFill>
          <a:blip r:embed="rId2" cstate="print"/>
          <a:stretch>
            <a:fillRect/>
          </a:stretch>
        </p:blipFill>
        <p:spPr>
          <a:xfrm>
            <a:off x="0" y="0"/>
            <a:ext cx="12063983" cy="6857997"/>
          </a:xfrm>
          <a:prstGeom prst="rect">
            <a:avLst/>
          </a:prstGeom>
        </p:spPr>
      </p:pic>
      <p:sp>
        <p:nvSpPr>
          <p:cNvPr id="4" name="object 4"/>
          <p:cNvSpPr txBox="1"/>
          <p:nvPr/>
        </p:nvSpPr>
        <p:spPr>
          <a:xfrm>
            <a:off x="7779384" y="2484942"/>
            <a:ext cx="3193416" cy="2952089"/>
          </a:xfrm>
          <a:prstGeom prst="rect">
            <a:avLst/>
          </a:prstGeom>
        </p:spPr>
        <p:txBody>
          <a:bodyPr vert="horz" wrap="square" lIns="0" tIns="52069" rIns="0" bIns="0" rtlCol="0">
            <a:spAutoFit/>
          </a:bodyPr>
          <a:lstStyle/>
          <a:p>
            <a:pPr>
              <a:lnSpc>
                <a:spcPct val="100000"/>
              </a:lnSpc>
              <a:spcBef>
                <a:spcPts val="409"/>
              </a:spcBef>
            </a:pPr>
            <a:r>
              <a:rPr sz="3600" b="1">
                <a:solidFill>
                  <a:srgbClr val="FF0000"/>
                </a:solidFill>
                <a:latin typeface="ABBvoice"/>
                <a:cs typeface="ABBvoice"/>
              </a:rPr>
              <a:t>—</a:t>
            </a:r>
            <a:endParaRPr sz="3600">
              <a:latin typeface="ABBvoice"/>
              <a:cs typeface="ABBvoice"/>
            </a:endParaRPr>
          </a:p>
          <a:p>
            <a:pPr>
              <a:lnSpc>
                <a:spcPct val="107000"/>
              </a:lnSpc>
              <a:spcBef>
                <a:spcPts val="15"/>
              </a:spcBef>
            </a:pPr>
            <a:r>
              <a:rPr sz="3600" b="1">
                <a:latin typeface="ABBvoice"/>
                <a:cs typeface="ABBvoice"/>
              </a:rPr>
              <a:t>ABB</a:t>
            </a:r>
            <a:r>
              <a:rPr sz="3600" b="1" spc="-5">
                <a:latin typeface="ABBvoice"/>
                <a:cs typeface="ABBvoice"/>
              </a:rPr>
              <a:t> </a:t>
            </a:r>
            <a:r>
              <a:rPr sz="3600" b="1" spc="-10">
                <a:latin typeface="ABBvoice"/>
                <a:cs typeface="ABBvoice"/>
              </a:rPr>
              <a:t>values </a:t>
            </a:r>
            <a:r>
              <a:rPr sz="3600" spc="-10">
                <a:latin typeface="ABBvoice-Light"/>
                <a:cs typeface="ABBvoice-Light"/>
              </a:rPr>
              <a:t>Courage</a:t>
            </a:r>
            <a:r>
              <a:rPr sz="3600" spc="900">
                <a:latin typeface="ABBvoice-Light"/>
                <a:cs typeface="ABBvoice-Light"/>
              </a:rPr>
              <a:t> </a:t>
            </a:r>
            <a:r>
              <a:rPr sz="3600" spc="-20">
                <a:latin typeface="ABBvoice-Light"/>
                <a:cs typeface="ABBvoice-Light"/>
              </a:rPr>
              <a:t>Care </a:t>
            </a:r>
            <a:r>
              <a:rPr sz="3600" spc="-10">
                <a:latin typeface="ABBvoice-Light"/>
                <a:cs typeface="ABBvoice-Light"/>
              </a:rPr>
              <a:t>Curiosity Collaboration</a:t>
            </a:r>
            <a:endParaRPr sz="3600">
              <a:latin typeface="ABBvoice-Light"/>
              <a:cs typeface="ABBvoice-Light"/>
            </a:endParaRPr>
          </a:p>
        </p:txBody>
      </p:sp>
      <p:pic>
        <p:nvPicPr>
          <p:cNvPr id="5" name="object 5"/>
          <p:cNvPicPr/>
          <p:nvPr/>
        </p:nvPicPr>
        <p:blipFill>
          <a:blip r:embed="rId3" cstate="print"/>
          <a:stretch>
            <a:fillRect/>
          </a:stretch>
        </p:blipFill>
        <p:spPr>
          <a:xfrm>
            <a:off x="11344656" y="6394703"/>
            <a:ext cx="509016" cy="195072"/>
          </a:xfrm>
          <a:prstGeom prst="rect">
            <a:avLst/>
          </a:prstGeom>
        </p:spPr>
      </p:pic>
      <p:sp>
        <p:nvSpPr>
          <p:cNvPr id="9" name="Rectangle 8">
            <a:extLst>
              <a:ext uri="{FF2B5EF4-FFF2-40B4-BE49-F238E27FC236}">
                <a16:creationId xmlns:a16="http://schemas.microsoft.com/office/drawing/2014/main" id="{C83D3080-D252-43A2-B765-4EF670C463A9}"/>
              </a:ext>
            </a:extLst>
          </p:cNvPr>
          <p:cNvSpPr/>
          <p:nvPr/>
        </p:nvSpPr>
        <p:spPr>
          <a:xfrm>
            <a:off x="5029200" y="0"/>
            <a:ext cx="1828800" cy="1905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2A6E095C-8E69-465A-8FB7-A5E65B2632C5}"/>
              </a:ext>
            </a:extLst>
          </p:cNvPr>
          <p:cNvSpPr/>
          <p:nvPr/>
        </p:nvSpPr>
        <p:spPr>
          <a:xfrm>
            <a:off x="5489713" y="4953000"/>
            <a:ext cx="1828800" cy="190500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3672840" y="2037207"/>
            <a:ext cx="5124323" cy="4008653"/>
          </a:xfrm>
          <a:prstGeom prst="rect">
            <a:avLst/>
          </a:prstGeom>
        </p:spPr>
      </p:pic>
      <p:sp>
        <p:nvSpPr>
          <p:cNvPr id="3" name="object 3"/>
          <p:cNvSpPr txBox="1"/>
          <p:nvPr/>
        </p:nvSpPr>
        <p:spPr>
          <a:xfrm>
            <a:off x="5775705" y="3842384"/>
            <a:ext cx="909319" cy="577215"/>
          </a:xfrm>
          <a:prstGeom prst="rect">
            <a:avLst/>
          </a:prstGeom>
        </p:spPr>
        <p:txBody>
          <a:bodyPr vert="horz" wrap="square" lIns="0" tIns="11430" rIns="0" bIns="0" rtlCol="0">
            <a:spAutoFit/>
          </a:bodyPr>
          <a:lstStyle/>
          <a:p>
            <a:pPr algn="ctr">
              <a:lnSpc>
                <a:spcPts val="2295"/>
              </a:lnSpc>
              <a:spcBef>
                <a:spcPts val="90"/>
              </a:spcBef>
            </a:pPr>
            <a:r>
              <a:rPr sz="2000" b="1" spc="-25">
                <a:solidFill>
                  <a:srgbClr val="FFFFFF"/>
                </a:solidFill>
                <a:latin typeface="ABBvoice"/>
                <a:cs typeface="ABBvoice"/>
              </a:rPr>
              <a:t>ABB</a:t>
            </a:r>
            <a:endParaRPr sz="2000">
              <a:latin typeface="ABBvoice"/>
              <a:cs typeface="ABBvoice"/>
            </a:endParaRPr>
          </a:p>
          <a:p>
            <a:pPr algn="ctr">
              <a:lnSpc>
                <a:spcPts val="2055"/>
              </a:lnSpc>
            </a:pPr>
            <a:r>
              <a:rPr sz="1800" spc="-10">
                <a:solidFill>
                  <a:srgbClr val="FFFFFF"/>
                </a:solidFill>
                <a:latin typeface="ABBvoice-Light"/>
                <a:cs typeface="ABBvoice-Light"/>
              </a:rPr>
              <a:t>Purpose</a:t>
            </a:r>
            <a:endParaRPr sz="1800">
              <a:latin typeface="ABBvoice-Light"/>
              <a:cs typeface="ABBvoice-Light"/>
            </a:endParaRPr>
          </a:p>
        </p:txBody>
      </p:sp>
      <p:sp>
        <p:nvSpPr>
          <p:cNvPr id="4" name="object 4"/>
          <p:cNvSpPr txBox="1"/>
          <p:nvPr/>
        </p:nvSpPr>
        <p:spPr>
          <a:xfrm>
            <a:off x="8991981" y="2557072"/>
            <a:ext cx="951230" cy="895350"/>
          </a:xfrm>
          <a:prstGeom prst="rect">
            <a:avLst/>
          </a:prstGeom>
        </p:spPr>
        <p:txBody>
          <a:bodyPr vert="horz" wrap="square" lIns="0" tIns="13335" rIns="0" bIns="0" rtlCol="0">
            <a:spAutoFit/>
          </a:bodyPr>
          <a:lstStyle/>
          <a:p>
            <a:pPr marL="12700" marR="5080">
              <a:lnSpc>
                <a:spcPct val="135800"/>
              </a:lnSpc>
              <a:spcBef>
                <a:spcPts val="105"/>
              </a:spcBef>
            </a:pPr>
            <a:r>
              <a:rPr sz="1400" spc="-10">
                <a:latin typeface="ABBvoice"/>
                <a:cs typeface="ABBvoice"/>
              </a:rPr>
              <a:t>Values People </a:t>
            </a:r>
            <a:r>
              <a:rPr sz="1400" spc="-20">
                <a:latin typeface="ABBvoice"/>
                <a:cs typeface="ABBvoice"/>
              </a:rPr>
              <a:t>Leadership</a:t>
            </a:r>
            <a:endParaRPr sz="1400">
              <a:latin typeface="ABBvoice"/>
              <a:cs typeface="ABBvoice"/>
            </a:endParaRPr>
          </a:p>
        </p:txBody>
      </p:sp>
      <p:sp>
        <p:nvSpPr>
          <p:cNvPr id="5" name="object 5"/>
          <p:cNvSpPr txBox="1"/>
          <p:nvPr/>
        </p:nvSpPr>
        <p:spPr>
          <a:xfrm>
            <a:off x="8991981" y="5003526"/>
            <a:ext cx="2111375" cy="604520"/>
          </a:xfrm>
          <a:prstGeom prst="rect">
            <a:avLst/>
          </a:prstGeom>
        </p:spPr>
        <p:txBody>
          <a:bodyPr vert="horz" wrap="square" lIns="0" tIns="88265" rIns="0" bIns="0" rtlCol="0">
            <a:spAutoFit/>
          </a:bodyPr>
          <a:lstStyle/>
          <a:p>
            <a:pPr marL="12700">
              <a:lnSpc>
                <a:spcPct val="100000"/>
              </a:lnSpc>
              <a:spcBef>
                <a:spcPts val="695"/>
              </a:spcBef>
            </a:pPr>
            <a:r>
              <a:rPr sz="1400" spc="-10">
                <a:latin typeface="ABBvoice"/>
                <a:cs typeface="ABBvoice"/>
              </a:rPr>
              <a:t>Positioning</a:t>
            </a:r>
            <a:endParaRPr sz="1400">
              <a:latin typeface="ABBvoice"/>
              <a:cs typeface="ABBvoice"/>
            </a:endParaRPr>
          </a:p>
          <a:p>
            <a:pPr marL="12700">
              <a:lnSpc>
                <a:spcPct val="100000"/>
              </a:lnSpc>
              <a:spcBef>
                <a:spcPts val="600"/>
              </a:spcBef>
            </a:pPr>
            <a:r>
              <a:rPr sz="1400">
                <a:latin typeface="ABBvoice"/>
                <a:cs typeface="ABBvoice"/>
              </a:rPr>
              <a:t>Reputation</a:t>
            </a:r>
            <a:r>
              <a:rPr sz="1400" spc="-60">
                <a:latin typeface="ABBvoice"/>
                <a:cs typeface="ABBvoice"/>
              </a:rPr>
              <a:t> </a:t>
            </a:r>
            <a:r>
              <a:rPr sz="1400" spc="-10">
                <a:latin typeface="ABBvoice"/>
                <a:cs typeface="ABBvoice"/>
              </a:rPr>
              <a:t>management</a:t>
            </a:r>
            <a:endParaRPr sz="1400">
              <a:latin typeface="ABBvoice"/>
              <a:cs typeface="ABBvoice"/>
            </a:endParaRPr>
          </a:p>
        </p:txBody>
      </p:sp>
      <p:sp>
        <p:nvSpPr>
          <p:cNvPr id="6" name="object 6"/>
          <p:cNvSpPr txBox="1"/>
          <p:nvPr/>
        </p:nvSpPr>
        <p:spPr>
          <a:xfrm>
            <a:off x="985519" y="4955271"/>
            <a:ext cx="2477135" cy="1306830"/>
          </a:xfrm>
          <a:prstGeom prst="rect">
            <a:avLst/>
          </a:prstGeom>
        </p:spPr>
        <p:txBody>
          <a:bodyPr vert="horz" wrap="square" lIns="0" tIns="55880" rIns="0" bIns="0" rtlCol="0">
            <a:spAutoFit/>
          </a:bodyPr>
          <a:lstStyle/>
          <a:p>
            <a:pPr marR="11430" algn="r">
              <a:lnSpc>
                <a:spcPct val="100000"/>
              </a:lnSpc>
              <a:spcBef>
                <a:spcPts val="440"/>
              </a:spcBef>
            </a:pPr>
            <a:r>
              <a:rPr sz="1400">
                <a:latin typeface="ABBvoice"/>
                <a:cs typeface="ABBvoice"/>
              </a:rPr>
              <a:t>Code</a:t>
            </a:r>
            <a:r>
              <a:rPr sz="1400" spc="-20">
                <a:latin typeface="ABBvoice"/>
                <a:cs typeface="ABBvoice"/>
              </a:rPr>
              <a:t> </a:t>
            </a:r>
            <a:r>
              <a:rPr sz="1400">
                <a:latin typeface="ABBvoice"/>
                <a:cs typeface="ABBvoice"/>
              </a:rPr>
              <a:t>of</a:t>
            </a:r>
            <a:r>
              <a:rPr sz="1400" spc="-25">
                <a:latin typeface="ABBvoice"/>
                <a:cs typeface="ABBvoice"/>
              </a:rPr>
              <a:t> </a:t>
            </a:r>
            <a:r>
              <a:rPr sz="1400" spc="-10">
                <a:latin typeface="ABBvoice"/>
                <a:cs typeface="ABBvoice"/>
              </a:rPr>
              <a:t>conduct</a:t>
            </a:r>
            <a:endParaRPr sz="1400">
              <a:latin typeface="ABBvoice"/>
              <a:cs typeface="ABBvoice"/>
            </a:endParaRPr>
          </a:p>
          <a:p>
            <a:pPr marR="5080" algn="r">
              <a:lnSpc>
                <a:spcPct val="100000"/>
              </a:lnSpc>
              <a:spcBef>
                <a:spcPts val="340"/>
              </a:spcBef>
            </a:pPr>
            <a:r>
              <a:rPr sz="1400">
                <a:latin typeface="ABBvoice"/>
                <a:cs typeface="ABBvoice"/>
              </a:rPr>
              <a:t>Internal</a:t>
            </a:r>
            <a:r>
              <a:rPr sz="1400" spc="20">
                <a:latin typeface="ABBvoice"/>
                <a:cs typeface="ABBvoice"/>
              </a:rPr>
              <a:t> </a:t>
            </a:r>
            <a:r>
              <a:rPr sz="1400">
                <a:latin typeface="ABBvoice"/>
                <a:cs typeface="ABBvoice"/>
              </a:rPr>
              <a:t>control</a:t>
            </a:r>
            <a:r>
              <a:rPr sz="1400" spc="-20">
                <a:latin typeface="ABBvoice"/>
                <a:cs typeface="ABBvoice"/>
              </a:rPr>
              <a:t> </a:t>
            </a:r>
            <a:r>
              <a:rPr sz="1400">
                <a:latin typeface="ABBvoice"/>
                <a:cs typeface="ABBvoice"/>
              </a:rPr>
              <a:t>&amp;</a:t>
            </a:r>
            <a:r>
              <a:rPr sz="1400" spc="-50">
                <a:latin typeface="ABBvoice"/>
                <a:cs typeface="ABBvoice"/>
              </a:rPr>
              <a:t> </a:t>
            </a:r>
            <a:r>
              <a:rPr sz="1400" spc="-10">
                <a:latin typeface="ABBvoice"/>
                <a:cs typeface="ABBvoice"/>
              </a:rPr>
              <a:t>compliance</a:t>
            </a:r>
            <a:endParaRPr sz="1400">
              <a:latin typeface="ABBvoice"/>
              <a:cs typeface="ABBvoice"/>
            </a:endParaRPr>
          </a:p>
          <a:p>
            <a:pPr marR="10160" algn="r">
              <a:lnSpc>
                <a:spcPct val="100000"/>
              </a:lnSpc>
              <a:spcBef>
                <a:spcPts val="335"/>
              </a:spcBef>
            </a:pPr>
            <a:r>
              <a:rPr sz="1400">
                <a:latin typeface="ABBvoice"/>
                <a:cs typeface="ABBvoice"/>
              </a:rPr>
              <a:t>Risk</a:t>
            </a:r>
            <a:r>
              <a:rPr sz="1400" spc="-20">
                <a:latin typeface="ABBvoice"/>
                <a:cs typeface="ABBvoice"/>
              </a:rPr>
              <a:t> </a:t>
            </a:r>
            <a:r>
              <a:rPr sz="1400" spc="-10">
                <a:latin typeface="ABBvoice"/>
                <a:cs typeface="ABBvoice"/>
              </a:rPr>
              <a:t>management</a:t>
            </a:r>
            <a:endParaRPr sz="1400">
              <a:latin typeface="ABBvoice"/>
              <a:cs typeface="ABBvoice"/>
            </a:endParaRPr>
          </a:p>
          <a:p>
            <a:pPr marL="561340" marR="11430" indent="862965" algn="r">
              <a:lnSpc>
                <a:spcPct val="120000"/>
              </a:lnSpc>
            </a:pPr>
            <a:r>
              <a:rPr sz="1400" spc="-10">
                <a:latin typeface="ABBvoice"/>
                <a:cs typeface="ABBvoice"/>
              </a:rPr>
              <a:t>Regulations, </a:t>
            </a:r>
            <a:r>
              <a:rPr sz="1400">
                <a:latin typeface="ABBvoice"/>
                <a:cs typeface="ABBvoice"/>
              </a:rPr>
              <a:t>processes</a:t>
            </a:r>
            <a:r>
              <a:rPr sz="1400" spc="-40">
                <a:latin typeface="ABBvoice"/>
                <a:cs typeface="ABBvoice"/>
              </a:rPr>
              <a:t> </a:t>
            </a:r>
            <a:r>
              <a:rPr sz="1400">
                <a:latin typeface="ABBvoice"/>
                <a:cs typeface="ABBvoice"/>
              </a:rPr>
              <a:t>and</a:t>
            </a:r>
            <a:r>
              <a:rPr sz="1400" spc="-30">
                <a:latin typeface="ABBvoice"/>
                <a:cs typeface="ABBvoice"/>
              </a:rPr>
              <a:t> </a:t>
            </a:r>
            <a:r>
              <a:rPr sz="1400" spc="-10">
                <a:latin typeface="ABBvoice"/>
                <a:cs typeface="ABBvoice"/>
              </a:rPr>
              <a:t>policies</a:t>
            </a:r>
            <a:endParaRPr sz="1400">
              <a:latin typeface="ABBvoice"/>
              <a:cs typeface="ABBvoice"/>
            </a:endParaRPr>
          </a:p>
        </p:txBody>
      </p:sp>
      <p:sp>
        <p:nvSpPr>
          <p:cNvPr id="7" name="object 7"/>
          <p:cNvSpPr txBox="1"/>
          <p:nvPr/>
        </p:nvSpPr>
        <p:spPr>
          <a:xfrm>
            <a:off x="1100429" y="2554605"/>
            <a:ext cx="2355850" cy="1030605"/>
          </a:xfrm>
          <a:prstGeom prst="rect">
            <a:avLst/>
          </a:prstGeom>
        </p:spPr>
        <p:txBody>
          <a:bodyPr vert="horz" wrap="square" lIns="0" tIns="11430" rIns="0" bIns="0" rtlCol="0">
            <a:spAutoFit/>
          </a:bodyPr>
          <a:lstStyle/>
          <a:p>
            <a:pPr marR="5080" algn="r">
              <a:lnSpc>
                <a:spcPct val="100000"/>
              </a:lnSpc>
              <a:spcBef>
                <a:spcPts val="90"/>
              </a:spcBef>
            </a:pPr>
            <a:r>
              <a:rPr sz="1400">
                <a:latin typeface="ABBvoice"/>
                <a:cs typeface="ABBvoice"/>
              </a:rPr>
              <a:t>Decentralized</a:t>
            </a:r>
            <a:r>
              <a:rPr sz="1400" spc="-75">
                <a:latin typeface="ABBvoice"/>
                <a:cs typeface="ABBvoice"/>
              </a:rPr>
              <a:t> </a:t>
            </a:r>
            <a:r>
              <a:rPr sz="1400" spc="-20">
                <a:latin typeface="ABBvoice"/>
                <a:cs typeface="ABBvoice"/>
              </a:rPr>
              <a:t>setup</a:t>
            </a:r>
            <a:endParaRPr sz="1400">
              <a:latin typeface="ABBvoice"/>
              <a:cs typeface="ABBvoice"/>
            </a:endParaRPr>
          </a:p>
          <a:p>
            <a:pPr marR="6985" algn="r">
              <a:lnSpc>
                <a:spcPct val="100000"/>
              </a:lnSpc>
            </a:pPr>
            <a:r>
              <a:rPr sz="1400">
                <a:latin typeface="ABBvoice"/>
                <a:cs typeface="ABBvoice"/>
              </a:rPr>
              <a:t>–</a:t>
            </a:r>
            <a:r>
              <a:rPr sz="1400" spc="-40">
                <a:latin typeface="ABBvoice"/>
                <a:cs typeface="ABBvoice"/>
              </a:rPr>
              <a:t> </a:t>
            </a:r>
            <a:r>
              <a:rPr sz="1400">
                <a:latin typeface="ABBvoice"/>
                <a:cs typeface="ABBvoice"/>
              </a:rPr>
              <a:t>full</a:t>
            </a:r>
            <a:r>
              <a:rPr sz="1400" spc="-20">
                <a:latin typeface="ABBvoice"/>
                <a:cs typeface="ABBvoice"/>
              </a:rPr>
              <a:t> </a:t>
            </a:r>
            <a:r>
              <a:rPr sz="1400">
                <a:latin typeface="ABBvoice"/>
                <a:cs typeface="ABBvoice"/>
              </a:rPr>
              <a:t>Division</a:t>
            </a:r>
            <a:r>
              <a:rPr sz="1400" spc="-25">
                <a:latin typeface="ABBvoice"/>
                <a:cs typeface="ABBvoice"/>
              </a:rPr>
              <a:t> </a:t>
            </a:r>
            <a:r>
              <a:rPr sz="1400" spc="-10">
                <a:latin typeface="ABBvoice"/>
                <a:cs typeface="ABBvoice"/>
              </a:rPr>
              <a:t>accountability</a:t>
            </a:r>
            <a:endParaRPr sz="1400">
              <a:latin typeface="ABBvoice"/>
              <a:cs typeface="ABBvoice"/>
            </a:endParaRPr>
          </a:p>
          <a:p>
            <a:pPr marL="451484" marR="6350" indent="-338455" algn="r">
              <a:lnSpc>
                <a:spcPct val="135700"/>
              </a:lnSpc>
              <a:spcBef>
                <a:spcPts val="5"/>
              </a:spcBef>
            </a:pPr>
            <a:r>
              <a:rPr sz="1400">
                <a:latin typeface="ABBvoice"/>
                <a:cs typeface="ABBvoice"/>
              </a:rPr>
              <a:t>Performance</a:t>
            </a:r>
            <a:r>
              <a:rPr sz="1400" spc="-70">
                <a:latin typeface="ABBvoice"/>
                <a:cs typeface="ABBvoice"/>
              </a:rPr>
              <a:t> </a:t>
            </a:r>
            <a:r>
              <a:rPr sz="1400" spc="-10">
                <a:latin typeface="ABBvoice"/>
                <a:cs typeface="ABBvoice"/>
              </a:rPr>
              <a:t>management </a:t>
            </a:r>
            <a:r>
              <a:rPr sz="1400">
                <a:latin typeface="ABBvoice"/>
                <a:cs typeface="ABBvoice"/>
              </a:rPr>
              <a:t>Portfolio</a:t>
            </a:r>
            <a:r>
              <a:rPr sz="1400" spc="-40">
                <a:latin typeface="ABBvoice"/>
                <a:cs typeface="ABBvoice"/>
              </a:rPr>
              <a:t> </a:t>
            </a:r>
            <a:r>
              <a:rPr sz="1400" spc="-20">
                <a:latin typeface="ABBvoice"/>
                <a:cs typeface="ABBvoice"/>
              </a:rPr>
              <a:t>management</a:t>
            </a:r>
            <a:endParaRPr sz="1400">
              <a:latin typeface="ABBvoice"/>
              <a:cs typeface="ABBvoice"/>
            </a:endParaRPr>
          </a:p>
        </p:txBody>
      </p:sp>
      <p:sp>
        <p:nvSpPr>
          <p:cNvPr id="8" name="object 8"/>
          <p:cNvSpPr txBox="1"/>
          <p:nvPr/>
        </p:nvSpPr>
        <p:spPr>
          <a:xfrm>
            <a:off x="40886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p:txBody>
      </p:sp>
      <p:sp>
        <p:nvSpPr>
          <p:cNvPr id="9" name="object 9"/>
          <p:cNvSpPr txBox="1">
            <a:spLocks noGrp="1"/>
          </p:cNvSpPr>
          <p:nvPr>
            <p:ph type="title"/>
          </p:nvPr>
        </p:nvSpPr>
        <p:spPr>
          <a:xfrm>
            <a:off x="408867" y="711149"/>
            <a:ext cx="2540635" cy="443070"/>
          </a:xfrm>
          <a:prstGeom prst="rect">
            <a:avLst/>
          </a:prstGeom>
        </p:spPr>
        <p:txBody>
          <a:bodyPr vert="horz" wrap="square" lIns="0" tIns="12065" rIns="0" bIns="0" rtlCol="0">
            <a:spAutoFit/>
          </a:bodyPr>
          <a:lstStyle/>
          <a:p>
            <a:pPr>
              <a:lnSpc>
                <a:spcPct val="100000"/>
              </a:lnSpc>
              <a:spcBef>
                <a:spcPts val="95"/>
              </a:spcBef>
            </a:pPr>
            <a:r>
              <a:rPr sz="2800" b="1">
                <a:latin typeface="ABBvoice"/>
                <a:cs typeface="ABBvoice"/>
              </a:rPr>
              <a:t>The</a:t>
            </a:r>
            <a:r>
              <a:rPr sz="2800" b="1" spc="-45">
                <a:latin typeface="ABBvoice"/>
                <a:cs typeface="ABBvoice"/>
              </a:rPr>
              <a:t> </a:t>
            </a:r>
            <a:r>
              <a:rPr sz="2800" b="1">
                <a:latin typeface="ABBvoice"/>
                <a:cs typeface="ABBvoice"/>
              </a:rPr>
              <a:t>ABB</a:t>
            </a:r>
            <a:r>
              <a:rPr sz="2800" b="1" spc="-85">
                <a:latin typeface="ABBvoice"/>
                <a:cs typeface="ABBvoice"/>
              </a:rPr>
              <a:t> </a:t>
            </a:r>
            <a:r>
              <a:rPr sz="2800" b="1" spc="-25">
                <a:latin typeface="ABBvoice"/>
                <a:cs typeface="ABBvoice"/>
              </a:rPr>
              <a:t>Way</a:t>
            </a: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8D05589E-BC8D-3096-C0B1-037E56C7367B}"/>
              </a:ext>
            </a:extLst>
          </p:cNvPr>
          <p:cNvSpPr/>
          <p:nvPr/>
        </p:nvSpPr>
        <p:spPr bwMode="gray">
          <a:xfrm>
            <a:off x="0" y="0"/>
            <a:ext cx="1226046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7" name="Rectangle 36">
            <a:extLst>
              <a:ext uri="{FF2B5EF4-FFF2-40B4-BE49-F238E27FC236}">
                <a16:creationId xmlns:a16="http://schemas.microsoft.com/office/drawing/2014/main" id="{2BEBE180-4401-4E1E-9403-0C1C724AEB6C}"/>
              </a:ext>
            </a:extLst>
          </p:cNvPr>
          <p:cNvSpPr/>
          <p:nvPr/>
        </p:nvSpPr>
        <p:spPr bwMode="gray">
          <a:xfrm>
            <a:off x="180975" y="5972175"/>
            <a:ext cx="1200649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 name="Content Placeholder 1">
            <a:extLst>
              <a:ext uri="{FF2B5EF4-FFF2-40B4-BE49-F238E27FC236}">
                <a16:creationId xmlns:a16="http://schemas.microsoft.com/office/drawing/2014/main" id="{0DFD250B-F435-486B-90F4-2FA1CC7EE338}"/>
              </a:ext>
            </a:extLst>
          </p:cNvPr>
          <p:cNvSpPr>
            <a:spLocks noGrp="1"/>
          </p:cNvSpPr>
          <p:nvPr>
            <p:ph sz="quarter" idx="21"/>
          </p:nvPr>
        </p:nvSpPr>
        <p:spPr/>
        <p:txBody>
          <a:bodyPr/>
          <a:lstStyle/>
          <a:p>
            <a:r>
              <a:rPr lang="en-US"/>
              <a:t> </a:t>
            </a:r>
          </a:p>
        </p:txBody>
      </p:sp>
      <p:sp>
        <p:nvSpPr>
          <p:cNvPr id="6" name="Subtitle 5">
            <a:extLst>
              <a:ext uri="{FF2B5EF4-FFF2-40B4-BE49-F238E27FC236}">
                <a16:creationId xmlns:a16="http://schemas.microsoft.com/office/drawing/2014/main" id="{D5C8EEA6-5850-453A-B272-D03637E340AC}"/>
              </a:ext>
            </a:extLst>
          </p:cNvPr>
          <p:cNvSpPr>
            <a:spLocks noGrp="1"/>
          </p:cNvSpPr>
          <p:nvPr>
            <p:ph type="subTitle" idx="13"/>
          </p:nvPr>
        </p:nvSpPr>
        <p:spPr>
          <a:xfrm>
            <a:off x="358665" y="1085213"/>
            <a:ext cx="5762736" cy="504000"/>
          </a:xfrm>
        </p:spPr>
        <p:txBody>
          <a:bodyPr/>
          <a:lstStyle/>
          <a:p>
            <a:r>
              <a:rPr lang="en-US" sz="2400" dirty="0">
                <a:latin typeface="ABBvoice Light" panose="020D0403020503020204" pitchFamily="34" charset="0"/>
                <a:ea typeface="ABBvoice Light" panose="020D0403020503020204" pitchFamily="34" charset="0"/>
                <a:cs typeface="ABBvoice Light" panose="020D0403020503020204" pitchFamily="34" charset="0"/>
              </a:rPr>
              <a:t>Market leadership</a:t>
            </a:r>
          </a:p>
        </p:txBody>
      </p:sp>
      <p:sp>
        <p:nvSpPr>
          <p:cNvPr id="14" name="Title 2">
            <a:extLst>
              <a:ext uri="{FF2B5EF4-FFF2-40B4-BE49-F238E27FC236}">
                <a16:creationId xmlns:a16="http://schemas.microsoft.com/office/drawing/2014/main" id="{0357229D-2887-466E-9DC7-1DEA5FB29CE7}"/>
              </a:ext>
            </a:extLst>
          </p:cNvPr>
          <p:cNvSpPr>
            <a:spLocks noGrp="1"/>
          </p:cNvSpPr>
          <p:nvPr>
            <p:ph type="title"/>
          </p:nvPr>
        </p:nvSpPr>
        <p:spPr>
          <a:xfrm>
            <a:off x="358665" y="682313"/>
            <a:ext cx="3481426" cy="396000"/>
          </a:xfrm>
        </p:spPr>
        <p:txBody>
          <a:bodyPr/>
          <a:lstStyle/>
          <a:p>
            <a:r>
              <a:rPr lang="en-US" sz="2800" dirty="0">
                <a:latin typeface="ABBvoice" panose="020D0603020503020204" pitchFamily="34" charset="0"/>
                <a:ea typeface="ABBvoice" panose="020D0603020503020204" pitchFamily="34" charset="0"/>
                <a:cs typeface="ABBvoice" panose="020D0603020503020204" pitchFamily="34" charset="0"/>
              </a:rPr>
              <a:t>Our priorities</a:t>
            </a:r>
            <a:endParaRPr lang="en-US" sz="2800" noProof="0" dirty="0"/>
          </a:p>
        </p:txBody>
      </p:sp>
      <p:sp>
        <p:nvSpPr>
          <p:cNvPr id="16" name="Content Placeholder 3">
            <a:extLst>
              <a:ext uri="{FF2B5EF4-FFF2-40B4-BE49-F238E27FC236}">
                <a16:creationId xmlns:a16="http://schemas.microsoft.com/office/drawing/2014/main" id="{53F40D6A-2B5B-4C64-94DD-9BAD61D87746}"/>
              </a:ext>
            </a:extLst>
          </p:cNvPr>
          <p:cNvSpPr txBox="1">
            <a:spLocks/>
          </p:cNvSpPr>
          <p:nvPr/>
        </p:nvSpPr>
        <p:spPr bwMode="gray">
          <a:xfrm>
            <a:off x="333264" y="1839737"/>
            <a:ext cx="5694274" cy="222607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ts val="27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Market leadership is key to the long-term success of our divisions. We aim to maintain or strengthen a no. 1 or no. 2 position in all markets by providing our customers with leading products, systems and solutions. Market leadership helps to improve profitability, drive superior returns and enable growth opportunities for our people. </a:t>
            </a:r>
          </a:p>
        </p:txBody>
      </p:sp>
      <p:pic>
        <p:nvPicPr>
          <p:cNvPr id="18" name="Picture 17">
            <a:extLst>
              <a:ext uri="{FF2B5EF4-FFF2-40B4-BE49-F238E27FC236}">
                <a16:creationId xmlns:a16="http://schemas.microsoft.com/office/drawing/2014/main" id="{2A07475B-F765-49CD-88DA-57BF42DA0374}"/>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164464" y="0"/>
            <a:ext cx="6096000" cy="6858000"/>
          </a:xfrm>
          <a:prstGeom prst="rect">
            <a:avLst/>
          </a:prstGeom>
        </p:spPr>
      </p:pic>
      <p:pic>
        <p:nvPicPr>
          <p:cNvPr id="35" name="Picture 19">
            <a:extLst>
              <a:ext uri="{FF2B5EF4-FFF2-40B4-BE49-F238E27FC236}">
                <a16:creationId xmlns:a16="http://schemas.microsoft.com/office/drawing/2014/main" id="{06366C6F-25D5-4E83-87C4-61BAA8463B8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5" name="object 2">
            <a:extLst>
              <a:ext uri="{FF2B5EF4-FFF2-40B4-BE49-F238E27FC236}">
                <a16:creationId xmlns:a16="http://schemas.microsoft.com/office/drawing/2014/main" id="{AD66C68D-E06A-518D-7935-7F58199831AA}"/>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p:txBody>
      </p:sp>
    </p:spTree>
    <p:extLst>
      <p:ext uri="{BB962C8B-B14F-4D97-AF65-F5344CB8AC3E}">
        <p14:creationId xmlns:p14="http://schemas.microsoft.com/office/powerpoint/2010/main" val="212990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B1F77B-BCE2-4B9C-A280-8D3823F4FB16}"/>
              </a:ext>
            </a:extLst>
          </p:cNvPr>
          <p:cNvSpPr/>
          <p:nvPr/>
        </p:nvSpPr>
        <p:spPr bwMode="gray">
          <a:xfrm>
            <a:off x="0" y="0"/>
            <a:ext cx="12255934"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7" name="Rectangle 36">
            <a:extLst>
              <a:ext uri="{FF2B5EF4-FFF2-40B4-BE49-F238E27FC236}">
                <a16:creationId xmlns:a16="http://schemas.microsoft.com/office/drawing/2014/main" id="{2BEBE180-4401-4E1E-9403-0C1C724AEB6C}"/>
              </a:ext>
            </a:extLst>
          </p:cNvPr>
          <p:cNvSpPr/>
          <p:nvPr/>
        </p:nvSpPr>
        <p:spPr bwMode="gray">
          <a:xfrm>
            <a:off x="180975" y="5972175"/>
            <a:ext cx="1200649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 name="Content Placeholder 1">
            <a:extLst>
              <a:ext uri="{FF2B5EF4-FFF2-40B4-BE49-F238E27FC236}">
                <a16:creationId xmlns:a16="http://schemas.microsoft.com/office/drawing/2014/main" id="{0DFD250B-F435-486B-90F4-2FA1CC7EE338}"/>
              </a:ext>
            </a:extLst>
          </p:cNvPr>
          <p:cNvSpPr>
            <a:spLocks noGrp="1"/>
          </p:cNvSpPr>
          <p:nvPr>
            <p:ph sz="quarter" idx="21"/>
          </p:nvPr>
        </p:nvSpPr>
        <p:spPr/>
        <p:txBody>
          <a:bodyPr/>
          <a:lstStyle/>
          <a:p>
            <a:r>
              <a:rPr lang="en-US"/>
              <a:t> </a:t>
            </a:r>
          </a:p>
        </p:txBody>
      </p:sp>
      <p:sp>
        <p:nvSpPr>
          <p:cNvPr id="6" name="Subtitle 5">
            <a:extLst>
              <a:ext uri="{FF2B5EF4-FFF2-40B4-BE49-F238E27FC236}">
                <a16:creationId xmlns:a16="http://schemas.microsoft.com/office/drawing/2014/main" id="{D5C8EEA6-5850-453A-B272-D03637E340AC}"/>
              </a:ext>
            </a:extLst>
          </p:cNvPr>
          <p:cNvSpPr>
            <a:spLocks noGrp="1"/>
          </p:cNvSpPr>
          <p:nvPr>
            <p:ph type="subTitle" idx="13"/>
          </p:nvPr>
        </p:nvSpPr>
        <p:spPr>
          <a:xfrm>
            <a:off x="358665" y="1085213"/>
            <a:ext cx="5762736" cy="504000"/>
          </a:xfrm>
        </p:spPr>
        <p:txBody>
          <a:bodyPr/>
          <a:lstStyle/>
          <a:p>
            <a:r>
              <a:rPr lang="en-US" sz="2400">
                <a:latin typeface="ABBvoice Light" panose="020D0403020503020204" pitchFamily="34" charset="0"/>
                <a:ea typeface="ABBvoice Light" panose="020D0403020503020204" pitchFamily="34" charset="0"/>
                <a:cs typeface="ABBvoice Light" panose="020D0403020503020204" pitchFamily="34" charset="0"/>
              </a:rPr>
              <a:t>Technology &amp; digital</a:t>
            </a:r>
          </a:p>
        </p:txBody>
      </p:sp>
      <p:sp>
        <p:nvSpPr>
          <p:cNvPr id="14" name="Title 2">
            <a:extLst>
              <a:ext uri="{FF2B5EF4-FFF2-40B4-BE49-F238E27FC236}">
                <a16:creationId xmlns:a16="http://schemas.microsoft.com/office/drawing/2014/main" id="{0357229D-2887-466E-9DC7-1DEA5FB29CE7}"/>
              </a:ext>
            </a:extLst>
          </p:cNvPr>
          <p:cNvSpPr>
            <a:spLocks noGrp="1"/>
          </p:cNvSpPr>
          <p:nvPr>
            <p:ph type="title"/>
          </p:nvPr>
        </p:nvSpPr>
        <p:spPr>
          <a:xfrm>
            <a:off x="358665" y="682313"/>
            <a:ext cx="3481426" cy="396000"/>
          </a:xfrm>
        </p:spPr>
        <p:txBody>
          <a:bodyPr/>
          <a:lstStyle/>
          <a:p>
            <a:r>
              <a:rPr lang="en-US" sz="2800" dirty="0">
                <a:latin typeface="ABBvoice" panose="020D0603020503020204" pitchFamily="34" charset="0"/>
                <a:ea typeface="ABBvoice" panose="020D0603020503020204" pitchFamily="34" charset="0"/>
                <a:cs typeface="ABBvoice" panose="020D0603020503020204" pitchFamily="34" charset="0"/>
              </a:rPr>
              <a:t>Our priorities</a:t>
            </a:r>
            <a:endParaRPr lang="en-US" sz="2800" noProof="0" dirty="0"/>
          </a:p>
        </p:txBody>
      </p:sp>
      <p:sp>
        <p:nvSpPr>
          <p:cNvPr id="16" name="Content Placeholder 3">
            <a:extLst>
              <a:ext uri="{FF2B5EF4-FFF2-40B4-BE49-F238E27FC236}">
                <a16:creationId xmlns:a16="http://schemas.microsoft.com/office/drawing/2014/main" id="{53F40D6A-2B5B-4C64-94DD-9BAD61D87746}"/>
              </a:ext>
            </a:extLst>
          </p:cNvPr>
          <p:cNvSpPr txBox="1">
            <a:spLocks/>
          </p:cNvSpPr>
          <p:nvPr/>
        </p:nvSpPr>
        <p:spPr bwMode="gray">
          <a:xfrm>
            <a:off x="333264" y="1839737"/>
            <a:ext cx="5694274" cy="222607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ts val="2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Our world-class technology and domain-led digital capabilities are deeply embedded in our DNA. </a:t>
            </a:r>
            <a:br>
              <a:rPr kumimoji="0" lang="en-US" sz="1600" b="0" i="0" u="none" strike="noStrike" kern="1200" cap="none" spc="0" normalizeH="0" baseline="0" noProof="0">
                <a:ln>
                  <a:noFill/>
                </a:ln>
                <a:solidFill>
                  <a:srgbClr val="000000"/>
                </a:solidFill>
                <a:effectLst/>
                <a:uLnTx/>
                <a:uFillTx/>
                <a:latin typeface="ABBvoice"/>
                <a:ea typeface="ABBvoice"/>
                <a:cs typeface="ABBvoice"/>
              </a:rPr>
            </a:br>
            <a:r>
              <a:rPr kumimoji="0" lang="en-US" sz="1600" b="0" i="0" u="none" strike="noStrike" kern="1200" cap="none" spc="0" normalizeH="0" baseline="0" noProof="0">
                <a:ln>
                  <a:noFill/>
                </a:ln>
                <a:solidFill>
                  <a:srgbClr val="000000"/>
                </a:solidFill>
                <a:effectLst/>
                <a:uLnTx/>
                <a:uFillTx/>
                <a:latin typeface="ABBvoice"/>
                <a:ea typeface="ABBvoice"/>
                <a:cs typeface="ABBvoice"/>
              </a:rPr>
              <a:t>Maintaining and improving our innovation, technology and digital leadership is a strategic priority across divisions. Pushing the boundaries of technology and digital enables us to help our customers attain new levels of performance and clearly differentiate ABB’s offering.</a:t>
            </a:r>
          </a:p>
        </p:txBody>
      </p:sp>
      <p:pic>
        <p:nvPicPr>
          <p:cNvPr id="11" name="Picture 10">
            <a:extLst>
              <a:ext uri="{FF2B5EF4-FFF2-40B4-BE49-F238E27FC236}">
                <a16:creationId xmlns:a16="http://schemas.microsoft.com/office/drawing/2014/main" id="{3BAE00DA-BE06-4598-B0D2-AB3D8A4380B8}"/>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159934" y="0"/>
            <a:ext cx="6096000" cy="6858000"/>
          </a:xfrm>
          <a:prstGeom prst="rect">
            <a:avLst/>
          </a:prstGeom>
        </p:spPr>
      </p:pic>
      <p:pic>
        <p:nvPicPr>
          <p:cNvPr id="35" name="Picture 19">
            <a:extLst>
              <a:ext uri="{FF2B5EF4-FFF2-40B4-BE49-F238E27FC236}">
                <a16:creationId xmlns:a16="http://schemas.microsoft.com/office/drawing/2014/main" id="{06366C6F-25D5-4E83-87C4-61BAA8463B8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3" name="object 2">
            <a:extLst>
              <a:ext uri="{FF2B5EF4-FFF2-40B4-BE49-F238E27FC236}">
                <a16:creationId xmlns:a16="http://schemas.microsoft.com/office/drawing/2014/main" id="{6155AB73-9ED2-599C-745A-48A58B978701}"/>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p:txBody>
      </p:sp>
    </p:spTree>
    <p:extLst>
      <p:ext uri="{BB962C8B-B14F-4D97-AF65-F5344CB8AC3E}">
        <p14:creationId xmlns:p14="http://schemas.microsoft.com/office/powerpoint/2010/main" val="491869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337108" y="257860"/>
            <a:ext cx="304800" cy="304800"/>
          </a:xfrm>
          <a:prstGeom prst="rect">
            <a:avLst/>
          </a:prstGeom>
        </p:spPr>
        <p:txBody>
          <a:bodyPr vert="horz" wrap="square" lIns="0" tIns="0" rIns="0" bIns="0" rtlCol="0">
            <a:spAutoFit/>
          </a:bodyPr>
          <a:lstStyle/>
          <a:p>
            <a:pPr marL="0" marR="0" lvl="0" indent="0" defTabSz="914400" eaLnBrk="1" fontAlgn="auto" latinLnBrk="0" hangingPunct="1">
              <a:lnSpc>
                <a:spcPts val="2205"/>
              </a:lnSpc>
              <a:spcBef>
                <a:spcPts val="0"/>
              </a:spcBef>
              <a:spcAft>
                <a:spcPts val="0"/>
              </a:spcAft>
              <a:buClrTx/>
              <a:buSzTx/>
              <a:buFontTx/>
              <a:buNone/>
              <a:tabLst/>
              <a:defRPr/>
            </a:pPr>
            <a:r>
              <a:rPr kumimoji="0" sz="2400" b="0" i="0" u="none" strike="noStrike" kern="0" cap="none" spc="-25" normalizeH="0" baseline="0" noProof="0">
                <a:ln>
                  <a:noFill/>
                </a:ln>
                <a:solidFill>
                  <a:srgbClr val="FF000E"/>
                </a:solidFill>
                <a:effectLst/>
                <a:uLnTx/>
                <a:uFillTx/>
                <a:latin typeface="ABBvoice"/>
                <a:cs typeface="ABBvoice"/>
              </a:rPr>
              <a:t>__</a:t>
            </a:r>
            <a:endParaRPr kumimoji="0" sz="2400" b="0" i="0" u="none" strike="noStrike" kern="0" cap="none" spc="0" normalizeH="0" baseline="0" noProof="0">
              <a:ln>
                <a:noFill/>
              </a:ln>
              <a:solidFill>
                <a:sysClr val="windowText" lastClr="000000"/>
              </a:solidFill>
              <a:effectLst/>
              <a:uLnTx/>
              <a:uFillTx/>
              <a:latin typeface="ABBvoice"/>
              <a:cs typeface="ABBvoice"/>
            </a:endParaRPr>
          </a:p>
        </p:txBody>
      </p:sp>
      <p:pic>
        <p:nvPicPr>
          <p:cNvPr id="3" name="object 3"/>
          <p:cNvPicPr/>
          <p:nvPr/>
        </p:nvPicPr>
        <p:blipFill>
          <a:blip r:embed="rId2" cstate="print"/>
          <a:stretch>
            <a:fillRect/>
          </a:stretch>
        </p:blipFill>
        <p:spPr>
          <a:xfrm>
            <a:off x="0" y="0"/>
            <a:ext cx="12191999" cy="6857997"/>
          </a:xfrm>
          <a:prstGeom prst="rect">
            <a:avLst/>
          </a:prstGeom>
        </p:spPr>
      </p:pic>
      <p:sp>
        <p:nvSpPr>
          <p:cNvPr id="5" name="object 5"/>
          <p:cNvSpPr txBox="1">
            <a:spLocks noGrp="1"/>
          </p:cNvSpPr>
          <p:nvPr>
            <p:ph type="title"/>
          </p:nvPr>
        </p:nvSpPr>
        <p:spPr>
          <a:xfrm>
            <a:off x="386690" y="688045"/>
            <a:ext cx="8346199" cy="443711"/>
          </a:xfrm>
          <a:prstGeom prst="rect">
            <a:avLst/>
          </a:prstGeom>
        </p:spPr>
        <p:txBody>
          <a:bodyPr vert="horz" wrap="square" lIns="0" tIns="12700" rIns="0" bIns="0" rtlCol="0">
            <a:spAutoFit/>
          </a:bodyPr>
          <a:lstStyle/>
          <a:p>
            <a:pPr>
              <a:lnSpc>
                <a:spcPct val="100000"/>
              </a:lnSpc>
              <a:spcBef>
                <a:spcPts val="100"/>
              </a:spcBef>
            </a:pPr>
            <a:r>
              <a:rPr sz="2800" b="1" dirty="0">
                <a:solidFill>
                  <a:srgbClr val="FFFFFF"/>
                </a:solidFill>
                <a:latin typeface="ABBvoice"/>
                <a:cs typeface="ABBvoice"/>
              </a:rPr>
              <a:t>Accelerating</a:t>
            </a:r>
            <a:r>
              <a:rPr sz="2800" b="1" spc="-20" dirty="0">
                <a:solidFill>
                  <a:srgbClr val="FFFFFF"/>
                </a:solidFill>
                <a:latin typeface="ABBvoice"/>
                <a:cs typeface="ABBvoice"/>
              </a:rPr>
              <a:t> </a:t>
            </a:r>
            <a:r>
              <a:rPr sz="2800" b="1" dirty="0">
                <a:solidFill>
                  <a:srgbClr val="FFFFFF"/>
                </a:solidFill>
                <a:latin typeface="ABBvoice"/>
                <a:cs typeface="ABBvoice"/>
              </a:rPr>
              <a:t>value</a:t>
            </a:r>
            <a:r>
              <a:rPr sz="2800" b="1" spc="-30" dirty="0">
                <a:solidFill>
                  <a:srgbClr val="FFFFFF"/>
                </a:solidFill>
                <a:latin typeface="ABBvoice"/>
                <a:cs typeface="ABBvoice"/>
              </a:rPr>
              <a:t> </a:t>
            </a:r>
            <a:r>
              <a:rPr sz="2800" b="1" dirty="0">
                <a:solidFill>
                  <a:srgbClr val="FFFFFF"/>
                </a:solidFill>
                <a:latin typeface="ABBvoice"/>
                <a:cs typeface="ABBvoice"/>
              </a:rPr>
              <a:t>creation</a:t>
            </a:r>
            <a:r>
              <a:rPr sz="2800" b="1" spc="-15" dirty="0">
                <a:solidFill>
                  <a:srgbClr val="FFFFFF"/>
                </a:solidFill>
                <a:latin typeface="ABBvoice"/>
                <a:cs typeface="ABBvoice"/>
              </a:rPr>
              <a:t> </a:t>
            </a:r>
            <a:r>
              <a:rPr sz="2800" b="1" dirty="0">
                <a:solidFill>
                  <a:srgbClr val="FFFFFF"/>
                </a:solidFill>
                <a:latin typeface="ABBvoice"/>
                <a:cs typeface="ABBvoice"/>
              </a:rPr>
              <a:t>through</a:t>
            </a:r>
            <a:r>
              <a:rPr sz="2800" b="1" spc="15" dirty="0">
                <a:solidFill>
                  <a:srgbClr val="FFFFFF"/>
                </a:solidFill>
                <a:latin typeface="ABBvoice"/>
                <a:cs typeface="ABBvoice"/>
              </a:rPr>
              <a:t> </a:t>
            </a:r>
            <a:r>
              <a:rPr sz="2800" b="1" spc="-10" dirty="0">
                <a:solidFill>
                  <a:srgbClr val="FFFFFF"/>
                </a:solidFill>
                <a:latin typeface="ABBvoice"/>
                <a:cs typeface="ABBvoice"/>
              </a:rPr>
              <a:t>digital</a:t>
            </a:r>
            <a:endParaRPr sz="2800" dirty="0">
              <a:latin typeface="ABBvoice"/>
              <a:cs typeface="ABBvoice"/>
            </a:endParaRPr>
          </a:p>
        </p:txBody>
      </p:sp>
      <p:sp>
        <p:nvSpPr>
          <p:cNvPr id="6" name="object 6"/>
          <p:cNvSpPr txBox="1"/>
          <p:nvPr/>
        </p:nvSpPr>
        <p:spPr>
          <a:xfrm>
            <a:off x="8923781" y="3832098"/>
            <a:ext cx="1710689" cy="514984"/>
          </a:xfrm>
          <a:prstGeom prst="rect">
            <a:avLst/>
          </a:prstGeom>
        </p:spPr>
        <p:txBody>
          <a:bodyPr vert="horz" wrap="square" lIns="0" tIns="13335" rIns="0" bIns="0" rtlCol="0">
            <a:spAutoFit/>
          </a:bodyPr>
          <a:lstStyle/>
          <a:p>
            <a:pPr marL="0" marR="0" lvl="0" indent="0" algn="ctr" defTabSz="914400" eaLnBrk="1" fontAlgn="auto" latinLnBrk="0" hangingPunct="1">
              <a:lnSpc>
                <a:spcPct val="100000"/>
              </a:lnSpc>
              <a:spcBef>
                <a:spcPts val="105"/>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BBvoice"/>
                <a:cs typeface="ABBvoice"/>
              </a:rPr>
              <a:t>Expansion</a:t>
            </a:r>
            <a:r>
              <a:rPr kumimoji="0" sz="1600" b="1" i="0" u="none" strike="noStrike" kern="0" cap="none" spc="-50" normalizeH="0" baseline="0" noProof="0">
                <a:ln>
                  <a:noFill/>
                </a:ln>
                <a:solidFill>
                  <a:srgbClr val="FFFFFF"/>
                </a:solidFill>
                <a:effectLst/>
                <a:uLnTx/>
                <a:uFillTx/>
                <a:latin typeface="ABBvoice"/>
                <a:cs typeface="ABBvoice"/>
              </a:rPr>
              <a:t> </a:t>
            </a:r>
            <a:r>
              <a:rPr kumimoji="0" sz="1600" b="1" i="0" u="none" strike="noStrike" kern="0" cap="none" spc="-10" normalizeH="0" baseline="0" noProof="0">
                <a:ln>
                  <a:noFill/>
                </a:ln>
                <a:solidFill>
                  <a:srgbClr val="FFFFFF"/>
                </a:solidFill>
                <a:effectLst/>
                <a:uLnTx/>
                <a:uFillTx/>
                <a:latin typeface="ABBvoice"/>
                <a:cs typeface="ABBvoice"/>
              </a:rPr>
              <a:t>driven</a:t>
            </a:r>
            <a:endParaRPr kumimoji="0" sz="1600" b="0" i="0" u="none" strike="noStrike" kern="0" cap="none" spc="0" normalizeH="0" baseline="0" noProof="0">
              <a:ln>
                <a:noFill/>
              </a:ln>
              <a:solidFill>
                <a:sysClr val="windowText" lastClr="000000"/>
              </a:solidFill>
              <a:effectLst/>
              <a:uLnTx/>
              <a:uFillTx/>
              <a:latin typeface="ABBvoice"/>
              <a:cs typeface="ABBvoice"/>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BBvoice"/>
                <a:cs typeface="ABBvoice"/>
              </a:rPr>
              <a:t>by</a:t>
            </a:r>
            <a:r>
              <a:rPr kumimoji="0" sz="1600" b="1" i="0" u="none" strike="noStrike" kern="0" cap="none" spc="-5" normalizeH="0" baseline="0" noProof="0">
                <a:ln>
                  <a:noFill/>
                </a:ln>
                <a:solidFill>
                  <a:srgbClr val="FFFFFF"/>
                </a:solidFill>
                <a:effectLst/>
                <a:uLnTx/>
                <a:uFillTx/>
                <a:latin typeface="ABBvoice"/>
                <a:cs typeface="ABBvoice"/>
              </a:rPr>
              <a:t> </a:t>
            </a:r>
            <a:r>
              <a:rPr kumimoji="0" sz="1600" b="1" i="0" u="none" strike="noStrike" kern="0" cap="none" spc="-10" normalizeH="0" baseline="0" noProof="0">
                <a:ln>
                  <a:noFill/>
                </a:ln>
                <a:solidFill>
                  <a:srgbClr val="FFFFFF"/>
                </a:solidFill>
                <a:effectLst/>
                <a:uLnTx/>
                <a:uFillTx/>
                <a:latin typeface="ABBvoice"/>
                <a:cs typeface="ABBvoice"/>
              </a:rPr>
              <a:t>businesses</a:t>
            </a:r>
            <a:endParaRPr kumimoji="0" sz="1600" b="0" i="0" u="none" strike="noStrike" kern="0" cap="none" spc="0" normalizeH="0" baseline="0" noProof="0">
              <a:ln>
                <a:noFill/>
              </a:ln>
              <a:solidFill>
                <a:sysClr val="windowText" lastClr="000000"/>
              </a:solidFill>
              <a:effectLst/>
              <a:uLnTx/>
              <a:uFillTx/>
              <a:latin typeface="ABBvoice"/>
              <a:cs typeface="ABBvoice"/>
            </a:endParaRPr>
          </a:p>
        </p:txBody>
      </p:sp>
      <p:sp>
        <p:nvSpPr>
          <p:cNvPr id="7" name="object 7"/>
          <p:cNvSpPr txBox="1"/>
          <p:nvPr/>
        </p:nvSpPr>
        <p:spPr>
          <a:xfrm>
            <a:off x="4926584" y="3832098"/>
            <a:ext cx="2345690" cy="514984"/>
          </a:xfrm>
          <a:prstGeom prst="rect">
            <a:avLst/>
          </a:prstGeom>
        </p:spPr>
        <p:txBody>
          <a:bodyPr vert="horz" wrap="square" lIns="0" tIns="13335" rIns="0" bIns="0" rtlCol="0">
            <a:spAutoFit/>
          </a:bodyPr>
          <a:lstStyle/>
          <a:p>
            <a:pPr marL="0" marR="0" lvl="0" indent="0" algn="ctr" defTabSz="914400" eaLnBrk="1" fontAlgn="auto" latinLnBrk="0" hangingPunct="1">
              <a:lnSpc>
                <a:spcPct val="100000"/>
              </a:lnSpc>
              <a:spcBef>
                <a:spcPts val="105"/>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BBvoice"/>
                <a:cs typeface="ABBvoice"/>
              </a:rPr>
              <a:t>Differentiation</a:t>
            </a:r>
            <a:r>
              <a:rPr kumimoji="0" sz="1600" b="1" i="0" u="none" strike="noStrike" kern="0" cap="none" spc="-80" normalizeH="0" baseline="0" noProof="0">
                <a:ln>
                  <a:noFill/>
                </a:ln>
                <a:solidFill>
                  <a:srgbClr val="FFFFFF"/>
                </a:solidFill>
                <a:effectLst/>
                <a:uLnTx/>
                <a:uFillTx/>
                <a:latin typeface="ABBvoice"/>
                <a:cs typeface="ABBvoice"/>
              </a:rPr>
              <a:t> </a:t>
            </a:r>
            <a:r>
              <a:rPr kumimoji="0" sz="1600" b="1" i="0" u="none" strike="noStrike" kern="0" cap="none" spc="-10" normalizeH="0" baseline="0" noProof="0">
                <a:ln>
                  <a:noFill/>
                </a:ln>
                <a:solidFill>
                  <a:srgbClr val="FFFFFF"/>
                </a:solidFill>
                <a:effectLst/>
                <a:uLnTx/>
                <a:uFillTx/>
                <a:latin typeface="ABBvoice"/>
                <a:cs typeface="ABBvoice"/>
              </a:rPr>
              <a:t>through</a:t>
            </a:r>
            <a:endParaRPr kumimoji="0" sz="1600" b="0" i="0" u="none" strike="noStrike" kern="0" cap="none" spc="0" normalizeH="0" baseline="0" noProof="0">
              <a:ln>
                <a:noFill/>
              </a:ln>
              <a:solidFill>
                <a:sysClr val="windowText" lastClr="000000"/>
              </a:solidFill>
              <a:effectLst/>
              <a:uLnTx/>
              <a:uFillTx/>
              <a:latin typeface="ABBvoice"/>
              <a:cs typeface="ABBvoice"/>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BBvoice"/>
                <a:cs typeface="ABBvoice"/>
              </a:rPr>
              <a:t>domain</a:t>
            </a:r>
            <a:r>
              <a:rPr kumimoji="0" sz="1600" b="1" i="0" u="none" strike="noStrike" kern="0" cap="none" spc="-50" normalizeH="0" baseline="0" noProof="0">
                <a:ln>
                  <a:noFill/>
                </a:ln>
                <a:solidFill>
                  <a:srgbClr val="FFFFFF"/>
                </a:solidFill>
                <a:effectLst/>
                <a:uLnTx/>
                <a:uFillTx/>
                <a:latin typeface="ABBvoice"/>
                <a:cs typeface="ABBvoice"/>
              </a:rPr>
              <a:t> </a:t>
            </a:r>
            <a:r>
              <a:rPr kumimoji="0" sz="1600" b="1" i="0" u="none" strike="noStrike" kern="0" cap="none" spc="-10" normalizeH="0" baseline="0" noProof="0">
                <a:ln>
                  <a:noFill/>
                </a:ln>
                <a:solidFill>
                  <a:srgbClr val="FFFFFF"/>
                </a:solidFill>
                <a:effectLst/>
                <a:uLnTx/>
                <a:uFillTx/>
                <a:latin typeface="ABBvoice"/>
                <a:cs typeface="ABBvoice"/>
              </a:rPr>
              <a:t>expertise</a:t>
            </a:r>
            <a:endParaRPr kumimoji="0" sz="1600" b="0" i="0" u="none" strike="noStrike" kern="0" cap="none" spc="0" normalizeH="0" baseline="0" noProof="0">
              <a:ln>
                <a:noFill/>
              </a:ln>
              <a:solidFill>
                <a:sysClr val="windowText" lastClr="000000"/>
              </a:solidFill>
              <a:effectLst/>
              <a:uLnTx/>
              <a:uFillTx/>
              <a:latin typeface="ABBvoice"/>
              <a:cs typeface="ABBvoice"/>
            </a:endParaRPr>
          </a:p>
        </p:txBody>
      </p:sp>
      <p:sp>
        <p:nvSpPr>
          <p:cNvPr id="8" name="object 8"/>
          <p:cNvSpPr txBox="1"/>
          <p:nvPr/>
        </p:nvSpPr>
        <p:spPr>
          <a:xfrm>
            <a:off x="1557655" y="3832098"/>
            <a:ext cx="1720850" cy="758825"/>
          </a:xfrm>
          <a:prstGeom prst="rect">
            <a:avLst/>
          </a:prstGeom>
        </p:spPr>
        <p:txBody>
          <a:bodyPr vert="horz" wrap="square" lIns="0" tIns="13335" rIns="0" bIns="0" rtlCol="0">
            <a:spAutoFit/>
          </a:bodyPr>
          <a:lstStyle/>
          <a:p>
            <a:pPr marL="12065" marR="5080" lvl="0" indent="-2540" algn="ctr" defTabSz="914400" eaLnBrk="1" fontAlgn="auto" latinLnBrk="0" hangingPunct="1">
              <a:lnSpc>
                <a:spcPct val="100000"/>
              </a:lnSpc>
              <a:spcBef>
                <a:spcPts val="105"/>
              </a:spcBef>
              <a:spcAft>
                <a:spcPts val="0"/>
              </a:spcAft>
              <a:buClrTx/>
              <a:buSzTx/>
              <a:buFontTx/>
              <a:buNone/>
              <a:tabLst/>
              <a:defRPr/>
            </a:pPr>
            <a:r>
              <a:rPr kumimoji="0" sz="1600" b="1" i="0" u="none" strike="noStrike" kern="0" cap="none" spc="0" normalizeH="0" baseline="0" noProof="0">
                <a:ln>
                  <a:noFill/>
                </a:ln>
                <a:solidFill>
                  <a:srgbClr val="FFFFFF"/>
                </a:solidFill>
                <a:effectLst/>
                <a:uLnTx/>
                <a:uFillTx/>
                <a:latin typeface="ABBvoice"/>
                <a:cs typeface="ABBvoice"/>
              </a:rPr>
              <a:t>Focused</a:t>
            </a:r>
            <a:r>
              <a:rPr kumimoji="0" sz="1600" b="1" i="0" u="none" strike="noStrike" kern="0" cap="none" spc="-25" normalizeH="0" baseline="0" noProof="0">
                <a:ln>
                  <a:noFill/>
                </a:ln>
                <a:solidFill>
                  <a:srgbClr val="FFFFFF"/>
                </a:solidFill>
                <a:effectLst/>
                <a:uLnTx/>
                <a:uFillTx/>
                <a:latin typeface="ABBvoice"/>
                <a:cs typeface="ABBvoice"/>
              </a:rPr>
              <a:t> on </a:t>
            </a:r>
            <a:r>
              <a:rPr kumimoji="0" sz="1600" b="1" i="0" u="none" strike="noStrike" kern="0" cap="none" spc="0" normalizeH="0" baseline="0" noProof="0">
                <a:ln>
                  <a:noFill/>
                </a:ln>
                <a:solidFill>
                  <a:srgbClr val="FFFFFF"/>
                </a:solidFill>
                <a:effectLst/>
                <a:uLnTx/>
                <a:uFillTx/>
                <a:latin typeface="ABBvoice"/>
                <a:cs typeface="ABBvoice"/>
              </a:rPr>
              <a:t>creating</a:t>
            </a:r>
            <a:r>
              <a:rPr kumimoji="0" sz="1600" b="1" i="0" u="none" strike="noStrike" kern="0" cap="none" spc="-65" normalizeH="0" baseline="0" noProof="0">
                <a:ln>
                  <a:noFill/>
                </a:ln>
                <a:solidFill>
                  <a:srgbClr val="FFFFFF"/>
                </a:solidFill>
                <a:effectLst/>
                <a:uLnTx/>
                <a:uFillTx/>
                <a:latin typeface="ABBvoice"/>
                <a:cs typeface="ABBvoice"/>
              </a:rPr>
              <a:t> </a:t>
            </a:r>
            <a:r>
              <a:rPr kumimoji="0" sz="1600" b="1" i="0" u="none" strike="noStrike" kern="0" cap="none" spc="-10" normalizeH="0" baseline="0" noProof="0">
                <a:ln>
                  <a:noFill/>
                </a:ln>
                <a:solidFill>
                  <a:srgbClr val="FFFFFF"/>
                </a:solidFill>
                <a:effectLst/>
                <a:uLnTx/>
                <a:uFillTx/>
                <a:latin typeface="ABBvoice"/>
                <a:cs typeface="ABBvoice"/>
              </a:rPr>
              <a:t>supe</a:t>
            </a:r>
            <a:r>
              <a:rPr kumimoji="0" lang="en-CA" sz="1600" b="1" i="0" u="none" strike="noStrike" kern="0" cap="none" spc="-10" normalizeH="0" baseline="0" noProof="0">
                <a:ln>
                  <a:noFill/>
                </a:ln>
                <a:solidFill>
                  <a:srgbClr val="FFFFFF"/>
                </a:solidFill>
                <a:effectLst/>
                <a:uLnTx/>
                <a:uFillTx/>
                <a:latin typeface="ABBvoice"/>
                <a:cs typeface="ABBvoice"/>
              </a:rPr>
              <a:t>r</a:t>
            </a:r>
            <a:r>
              <a:rPr kumimoji="0" sz="1600" b="1" i="0" u="none" strike="noStrike" kern="0" cap="none" spc="-10" normalizeH="0" baseline="0" noProof="0" err="1">
                <a:ln>
                  <a:noFill/>
                </a:ln>
                <a:solidFill>
                  <a:srgbClr val="FFFFFF"/>
                </a:solidFill>
                <a:effectLst/>
                <a:uLnTx/>
                <a:uFillTx/>
                <a:latin typeface="ABBvoice"/>
                <a:cs typeface="ABBvoice"/>
              </a:rPr>
              <a:t>ior</a:t>
            </a:r>
            <a:r>
              <a:rPr kumimoji="0" sz="1600" b="1" i="0" u="none" strike="noStrike" kern="0" cap="none" spc="-10" normalizeH="0" baseline="0" noProof="0">
                <a:ln>
                  <a:noFill/>
                </a:ln>
                <a:solidFill>
                  <a:srgbClr val="FFFFFF"/>
                </a:solidFill>
                <a:effectLst/>
                <a:uLnTx/>
                <a:uFillTx/>
                <a:latin typeface="ABBvoice"/>
                <a:cs typeface="ABBvoice"/>
              </a:rPr>
              <a:t> </a:t>
            </a:r>
            <a:r>
              <a:rPr kumimoji="0" sz="1600" b="1" i="0" u="none" strike="noStrike" kern="0" cap="none" spc="0" normalizeH="0" baseline="0" noProof="0">
                <a:ln>
                  <a:noFill/>
                </a:ln>
                <a:solidFill>
                  <a:srgbClr val="FFFFFF"/>
                </a:solidFill>
                <a:effectLst/>
                <a:uLnTx/>
                <a:uFillTx/>
                <a:latin typeface="ABBvoice"/>
                <a:cs typeface="ABBvoice"/>
              </a:rPr>
              <a:t>customer</a:t>
            </a:r>
            <a:r>
              <a:rPr kumimoji="0" sz="1600" b="1" i="0" u="none" strike="noStrike" kern="0" cap="none" spc="-60" normalizeH="0" baseline="0" noProof="0">
                <a:ln>
                  <a:noFill/>
                </a:ln>
                <a:solidFill>
                  <a:srgbClr val="FFFFFF"/>
                </a:solidFill>
                <a:effectLst/>
                <a:uLnTx/>
                <a:uFillTx/>
                <a:latin typeface="ABBvoice"/>
                <a:cs typeface="ABBvoice"/>
              </a:rPr>
              <a:t> </a:t>
            </a:r>
            <a:r>
              <a:rPr kumimoji="0" sz="1600" b="1" i="0" u="none" strike="noStrike" kern="0" cap="none" spc="-10" normalizeH="0" baseline="0" noProof="0">
                <a:ln>
                  <a:noFill/>
                </a:ln>
                <a:solidFill>
                  <a:srgbClr val="FFFFFF"/>
                </a:solidFill>
                <a:effectLst/>
                <a:uLnTx/>
                <a:uFillTx/>
                <a:latin typeface="ABBvoice"/>
                <a:cs typeface="ABBvoice"/>
              </a:rPr>
              <a:t>value</a:t>
            </a:r>
            <a:endParaRPr kumimoji="0" sz="1600" b="0" i="0" u="none" strike="noStrike" kern="0" cap="none" spc="0" normalizeH="0" baseline="0" noProof="0">
              <a:ln>
                <a:noFill/>
              </a:ln>
              <a:solidFill>
                <a:sysClr val="windowText" lastClr="000000"/>
              </a:solidFill>
              <a:effectLst/>
              <a:uLnTx/>
              <a:uFillTx/>
              <a:latin typeface="ABBvoice"/>
              <a:cs typeface="ABBvoice"/>
            </a:endParaRPr>
          </a:p>
        </p:txBody>
      </p:sp>
      <p:grpSp>
        <p:nvGrpSpPr>
          <p:cNvPr id="21" name="object 10">
            <a:extLst>
              <a:ext uri="{FF2B5EF4-FFF2-40B4-BE49-F238E27FC236}">
                <a16:creationId xmlns:a16="http://schemas.microsoft.com/office/drawing/2014/main" id="{B97CCA9D-4D4E-D9AF-365A-284934681DC9}"/>
              </a:ext>
            </a:extLst>
          </p:cNvPr>
          <p:cNvGrpSpPr/>
          <p:nvPr/>
        </p:nvGrpSpPr>
        <p:grpSpPr>
          <a:xfrm>
            <a:off x="1998052" y="2741676"/>
            <a:ext cx="9855835" cy="3846829"/>
            <a:chOff x="1998052" y="2741676"/>
            <a:chExt cx="9855835" cy="3846829"/>
          </a:xfrm>
        </p:grpSpPr>
        <p:pic>
          <p:nvPicPr>
            <p:cNvPr id="22" name="object 11">
              <a:extLst>
                <a:ext uri="{FF2B5EF4-FFF2-40B4-BE49-F238E27FC236}">
                  <a16:creationId xmlns:a16="http://schemas.microsoft.com/office/drawing/2014/main" id="{3451C4A9-FAF4-4C8B-3051-714BC5A3FDD6}"/>
                </a:ext>
              </a:extLst>
            </p:cNvPr>
            <p:cNvPicPr/>
            <p:nvPr/>
          </p:nvPicPr>
          <p:blipFill>
            <a:blip r:embed="rId3" cstate="print"/>
            <a:stretch>
              <a:fillRect/>
            </a:stretch>
          </p:blipFill>
          <p:spPr>
            <a:xfrm>
              <a:off x="9317735" y="2741676"/>
              <a:ext cx="914400" cy="914400"/>
            </a:xfrm>
            <a:prstGeom prst="rect">
              <a:avLst/>
            </a:prstGeom>
          </p:spPr>
        </p:pic>
        <p:sp>
          <p:nvSpPr>
            <p:cNvPr id="23" name="object 12">
              <a:extLst>
                <a:ext uri="{FF2B5EF4-FFF2-40B4-BE49-F238E27FC236}">
                  <a16:creationId xmlns:a16="http://schemas.microsoft.com/office/drawing/2014/main" id="{23A07466-8482-96B9-6E8C-D081C31FE1E9}"/>
                </a:ext>
              </a:extLst>
            </p:cNvPr>
            <p:cNvSpPr/>
            <p:nvPr/>
          </p:nvSpPr>
          <p:spPr>
            <a:xfrm>
              <a:off x="1998040" y="2775178"/>
              <a:ext cx="4519295" cy="836930"/>
            </a:xfrm>
            <a:custGeom>
              <a:avLst/>
              <a:gdLst/>
              <a:ahLst/>
              <a:cxnLst/>
              <a:rect l="l" t="t" r="r" b="b"/>
              <a:pathLst>
                <a:path w="4519295" h="836929">
                  <a:moveTo>
                    <a:pt x="458266" y="209181"/>
                  </a:moveTo>
                  <a:lnTo>
                    <a:pt x="248234" y="209181"/>
                  </a:lnTo>
                  <a:lnTo>
                    <a:pt x="248234" y="0"/>
                  </a:lnTo>
                  <a:lnTo>
                    <a:pt x="210045" y="0"/>
                  </a:lnTo>
                  <a:lnTo>
                    <a:pt x="210045" y="209181"/>
                  </a:lnTo>
                  <a:lnTo>
                    <a:pt x="0" y="209181"/>
                  </a:lnTo>
                  <a:lnTo>
                    <a:pt x="0" y="247218"/>
                  </a:lnTo>
                  <a:lnTo>
                    <a:pt x="210045" y="247218"/>
                  </a:lnTo>
                  <a:lnTo>
                    <a:pt x="210045" y="456399"/>
                  </a:lnTo>
                  <a:lnTo>
                    <a:pt x="248234" y="456399"/>
                  </a:lnTo>
                  <a:lnTo>
                    <a:pt x="248234" y="247218"/>
                  </a:lnTo>
                  <a:lnTo>
                    <a:pt x="458266" y="247218"/>
                  </a:lnTo>
                  <a:lnTo>
                    <a:pt x="458266" y="209181"/>
                  </a:lnTo>
                  <a:close/>
                </a:path>
                <a:path w="4519295" h="836929">
                  <a:moveTo>
                    <a:pt x="840155" y="589521"/>
                  </a:moveTo>
                  <a:lnTo>
                    <a:pt x="821055" y="570496"/>
                  </a:lnTo>
                  <a:lnTo>
                    <a:pt x="801966" y="570496"/>
                  </a:lnTo>
                  <a:lnTo>
                    <a:pt x="801966" y="608533"/>
                  </a:lnTo>
                  <a:lnTo>
                    <a:pt x="801966" y="798690"/>
                  </a:lnTo>
                  <a:lnTo>
                    <a:pt x="763778" y="798690"/>
                  </a:lnTo>
                  <a:lnTo>
                    <a:pt x="763778" y="779678"/>
                  </a:lnTo>
                  <a:lnTo>
                    <a:pt x="763778" y="608533"/>
                  </a:lnTo>
                  <a:lnTo>
                    <a:pt x="801966" y="608533"/>
                  </a:lnTo>
                  <a:lnTo>
                    <a:pt x="801966" y="570496"/>
                  </a:lnTo>
                  <a:lnTo>
                    <a:pt x="744677" y="570496"/>
                  </a:lnTo>
                  <a:lnTo>
                    <a:pt x="725589" y="589521"/>
                  </a:lnTo>
                  <a:lnTo>
                    <a:pt x="725589" y="601167"/>
                  </a:lnTo>
                  <a:lnTo>
                    <a:pt x="725589" y="641235"/>
                  </a:lnTo>
                  <a:lnTo>
                    <a:pt x="725589" y="760653"/>
                  </a:lnTo>
                  <a:lnTo>
                    <a:pt x="553732" y="760653"/>
                  </a:lnTo>
                  <a:lnTo>
                    <a:pt x="399770" y="779678"/>
                  </a:lnTo>
                  <a:lnTo>
                    <a:pt x="242608" y="779678"/>
                  </a:lnTo>
                  <a:lnTo>
                    <a:pt x="237312" y="777227"/>
                  </a:lnTo>
                  <a:lnTo>
                    <a:pt x="229997" y="768629"/>
                  </a:lnTo>
                  <a:lnTo>
                    <a:pt x="228485" y="763066"/>
                  </a:lnTo>
                  <a:lnTo>
                    <a:pt x="229412" y="757326"/>
                  </a:lnTo>
                  <a:lnTo>
                    <a:pt x="231838" y="751166"/>
                  </a:lnTo>
                  <a:lnTo>
                    <a:pt x="236537" y="746188"/>
                  </a:lnTo>
                  <a:lnTo>
                    <a:pt x="242887" y="742848"/>
                  </a:lnTo>
                  <a:lnTo>
                    <a:pt x="250266" y="741641"/>
                  </a:lnTo>
                  <a:lnTo>
                    <a:pt x="400989" y="741641"/>
                  </a:lnTo>
                  <a:lnTo>
                    <a:pt x="410819" y="738924"/>
                  </a:lnTo>
                  <a:lnTo>
                    <a:pt x="501738" y="684593"/>
                  </a:lnTo>
                  <a:lnTo>
                    <a:pt x="553732" y="684593"/>
                  </a:lnTo>
                  <a:lnTo>
                    <a:pt x="553732" y="646569"/>
                  </a:lnTo>
                  <a:lnTo>
                    <a:pt x="400989" y="646569"/>
                  </a:lnTo>
                  <a:lnTo>
                    <a:pt x="393560" y="645071"/>
                  </a:lnTo>
                  <a:lnTo>
                    <a:pt x="387489" y="640994"/>
                  </a:lnTo>
                  <a:lnTo>
                    <a:pt x="383400" y="634949"/>
                  </a:lnTo>
                  <a:lnTo>
                    <a:pt x="381889" y="627545"/>
                  </a:lnTo>
                  <a:lnTo>
                    <a:pt x="383400" y="620141"/>
                  </a:lnTo>
                  <a:lnTo>
                    <a:pt x="387489" y="614095"/>
                  </a:lnTo>
                  <a:lnTo>
                    <a:pt x="393560" y="610031"/>
                  </a:lnTo>
                  <a:lnTo>
                    <a:pt x="400989" y="608533"/>
                  </a:lnTo>
                  <a:lnTo>
                    <a:pt x="627024" y="608533"/>
                  </a:lnTo>
                  <a:lnTo>
                    <a:pt x="725589" y="641235"/>
                  </a:lnTo>
                  <a:lnTo>
                    <a:pt x="725589" y="601167"/>
                  </a:lnTo>
                  <a:lnTo>
                    <a:pt x="636143" y="571487"/>
                  </a:lnTo>
                  <a:lnTo>
                    <a:pt x="630110" y="570496"/>
                  </a:lnTo>
                  <a:lnTo>
                    <a:pt x="400989" y="570496"/>
                  </a:lnTo>
                  <a:lnTo>
                    <a:pt x="378714" y="574992"/>
                  </a:lnTo>
                  <a:lnTo>
                    <a:pt x="360502" y="587222"/>
                  </a:lnTo>
                  <a:lnTo>
                    <a:pt x="348208" y="605358"/>
                  </a:lnTo>
                  <a:lnTo>
                    <a:pt x="343700" y="627545"/>
                  </a:lnTo>
                  <a:lnTo>
                    <a:pt x="348208" y="649732"/>
                  </a:lnTo>
                  <a:lnTo>
                    <a:pt x="360502" y="667867"/>
                  </a:lnTo>
                  <a:lnTo>
                    <a:pt x="378714" y="680110"/>
                  </a:lnTo>
                  <a:lnTo>
                    <a:pt x="400989" y="684593"/>
                  </a:lnTo>
                  <a:lnTo>
                    <a:pt x="427520" y="684593"/>
                  </a:lnTo>
                  <a:lnTo>
                    <a:pt x="395706" y="703618"/>
                  </a:lnTo>
                  <a:lnTo>
                    <a:pt x="250266" y="703618"/>
                  </a:lnTo>
                  <a:lnTo>
                    <a:pt x="229539" y="707237"/>
                  </a:lnTo>
                  <a:lnTo>
                    <a:pt x="211810" y="717232"/>
                  </a:lnTo>
                  <a:lnTo>
                    <a:pt x="198678" y="732332"/>
                  </a:lnTo>
                  <a:lnTo>
                    <a:pt x="191731" y="751230"/>
                  </a:lnTo>
                  <a:lnTo>
                    <a:pt x="191058" y="763727"/>
                  </a:lnTo>
                  <a:lnTo>
                    <a:pt x="193052" y="775893"/>
                  </a:lnTo>
                  <a:lnTo>
                    <a:pt x="224193" y="812444"/>
                  </a:lnTo>
                  <a:lnTo>
                    <a:pt x="248234" y="817702"/>
                  </a:lnTo>
                  <a:lnTo>
                    <a:pt x="400989" y="817702"/>
                  </a:lnTo>
                  <a:lnTo>
                    <a:pt x="554913" y="798690"/>
                  </a:lnTo>
                  <a:lnTo>
                    <a:pt x="725589" y="798690"/>
                  </a:lnTo>
                  <a:lnTo>
                    <a:pt x="725589" y="817702"/>
                  </a:lnTo>
                  <a:lnTo>
                    <a:pt x="744677" y="836726"/>
                  </a:lnTo>
                  <a:lnTo>
                    <a:pt x="821055" y="836726"/>
                  </a:lnTo>
                  <a:lnTo>
                    <a:pt x="840155" y="817702"/>
                  </a:lnTo>
                  <a:lnTo>
                    <a:pt x="840155" y="608533"/>
                  </a:lnTo>
                  <a:lnTo>
                    <a:pt x="840155" y="601167"/>
                  </a:lnTo>
                  <a:lnTo>
                    <a:pt x="840155" y="589521"/>
                  </a:lnTo>
                  <a:close/>
                </a:path>
                <a:path w="4519295" h="836929">
                  <a:moveTo>
                    <a:pt x="4230929" y="257835"/>
                  </a:moveTo>
                  <a:lnTo>
                    <a:pt x="4218178" y="215747"/>
                  </a:lnTo>
                  <a:lnTo>
                    <a:pt x="4191952" y="178435"/>
                  </a:lnTo>
                  <a:lnTo>
                    <a:pt x="4155287" y="151231"/>
                  </a:lnTo>
                  <a:lnTo>
                    <a:pt x="4113428" y="137274"/>
                  </a:lnTo>
                  <a:lnTo>
                    <a:pt x="4069702" y="136626"/>
                  </a:lnTo>
                  <a:lnTo>
                    <a:pt x="4027449" y="149339"/>
                  </a:lnTo>
                  <a:lnTo>
                    <a:pt x="3989984" y="175437"/>
                  </a:lnTo>
                  <a:lnTo>
                    <a:pt x="3962666" y="211963"/>
                  </a:lnTo>
                  <a:lnTo>
                    <a:pt x="3948658" y="253644"/>
                  </a:lnTo>
                  <a:lnTo>
                    <a:pt x="3947998" y="297192"/>
                  </a:lnTo>
                  <a:lnTo>
                    <a:pt x="3960761" y="339280"/>
                  </a:lnTo>
                  <a:lnTo>
                    <a:pt x="3989984" y="379577"/>
                  </a:lnTo>
                  <a:lnTo>
                    <a:pt x="4017099" y="352767"/>
                  </a:lnTo>
                  <a:lnTo>
                    <a:pt x="3993731" y="318643"/>
                  </a:lnTo>
                  <a:lnTo>
                    <a:pt x="3985603" y="279590"/>
                  </a:lnTo>
                  <a:lnTo>
                    <a:pt x="3992778" y="240347"/>
                  </a:lnTo>
                  <a:lnTo>
                    <a:pt x="4015295" y="205663"/>
                  </a:lnTo>
                  <a:lnTo>
                    <a:pt x="4049572" y="182397"/>
                  </a:lnTo>
                  <a:lnTo>
                    <a:pt x="4088777" y="174307"/>
                  </a:lnTo>
                  <a:lnTo>
                    <a:pt x="4128160" y="181444"/>
                  </a:lnTo>
                  <a:lnTo>
                    <a:pt x="4162996" y="203873"/>
                  </a:lnTo>
                  <a:lnTo>
                    <a:pt x="4186529" y="238493"/>
                  </a:lnTo>
                  <a:lnTo>
                    <a:pt x="4194479" y="279552"/>
                  </a:lnTo>
                  <a:lnTo>
                    <a:pt x="4191812" y="300012"/>
                  </a:lnTo>
                  <a:lnTo>
                    <a:pt x="4185335" y="319417"/>
                  </a:lnTo>
                  <a:lnTo>
                    <a:pt x="4175264" y="337235"/>
                  </a:lnTo>
                  <a:lnTo>
                    <a:pt x="4161828" y="352958"/>
                  </a:lnTo>
                  <a:lnTo>
                    <a:pt x="4188942" y="379577"/>
                  </a:lnTo>
                  <a:lnTo>
                    <a:pt x="4216273" y="343065"/>
                  </a:lnTo>
                  <a:lnTo>
                    <a:pt x="4230281" y="301371"/>
                  </a:lnTo>
                  <a:lnTo>
                    <a:pt x="4230929" y="257835"/>
                  </a:lnTo>
                  <a:close/>
                </a:path>
                <a:path w="4519295" h="836929">
                  <a:moveTo>
                    <a:pt x="4309046" y="479983"/>
                  </a:moveTo>
                  <a:lnTo>
                    <a:pt x="4298543" y="462876"/>
                  </a:lnTo>
                  <a:lnTo>
                    <a:pt x="4278947" y="452983"/>
                  </a:lnTo>
                  <a:lnTo>
                    <a:pt x="4270857" y="448906"/>
                  </a:lnTo>
                  <a:lnTo>
                    <a:pt x="4270857" y="491020"/>
                  </a:lnTo>
                  <a:lnTo>
                    <a:pt x="4270857" y="626605"/>
                  </a:lnTo>
                  <a:lnTo>
                    <a:pt x="4207091" y="746213"/>
                  </a:lnTo>
                  <a:lnTo>
                    <a:pt x="4070566" y="746213"/>
                  </a:lnTo>
                  <a:lnTo>
                    <a:pt x="3984447" y="624319"/>
                  </a:lnTo>
                  <a:lnTo>
                    <a:pt x="3967264" y="460971"/>
                  </a:lnTo>
                  <a:lnTo>
                    <a:pt x="3987317" y="459828"/>
                  </a:lnTo>
                  <a:lnTo>
                    <a:pt x="4003548" y="558342"/>
                  </a:lnTo>
                  <a:lnTo>
                    <a:pt x="4036009" y="568794"/>
                  </a:lnTo>
                  <a:lnTo>
                    <a:pt x="4074185" y="530758"/>
                  </a:lnTo>
                  <a:lnTo>
                    <a:pt x="4079925" y="518020"/>
                  </a:lnTo>
                  <a:lnTo>
                    <a:pt x="4079925" y="515734"/>
                  </a:lnTo>
                  <a:lnTo>
                    <a:pt x="4079925" y="321767"/>
                  </a:lnTo>
                  <a:lnTo>
                    <a:pt x="4099014" y="315493"/>
                  </a:lnTo>
                  <a:lnTo>
                    <a:pt x="4099014" y="518020"/>
                  </a:lnTo>
                  <a:lnTo>
                    <a:pt x="4137202" y="518020"/>
                  </a:lnTo>
                  <a:lnTo>
                    <a:pt x="4137202" y="441960"/>
                  </a:lnTo>
                  <a:lnTo>
                    <a:pt x="4156291" y="441960"/>
                  </a:lnTo>
                  <a:lnTo>
                    <a:pt x="4156291" y="556056"/>
                  </a:lnTo>
                  <a:lnTo>
                    <a:pt x="4194479" y="556056"/>
                  </a:lnTo>
                  <a:lnTo>
                    <a:pt x="4194479" y="452983"/>
                  </a:lnTo>
                  <a:lnTo>
                    <a:pt x="4213580" y="462495"/>
                  </a:lnTo>
                  <a:lnTo>
                    <a:pt x="4213580" y="556056"/>
                  </a:lnTo>
                  <a:lnTo>
                    <a:pt x="4251769" y="556056"/>
                  </a:lnTo>
                  <a:lnTo>
                    <a:pt x="4251769" y="481507"/>
                  </a:lnTo>
                  <a:lnTo>
                    <a:pt x="4270857" y="491020"/>
                  </a:lnTo>
                  <a:lnTo>
                    <a:pt x="4270857" y="448906"/>
                  </a:lnTo>
                  <a:lnTo>
                    <a:pt x="4257078" y="441960"/>
                  </a:lnTo>
                  <a:lnTo>
                    <a:pt x="4184751" y="405447"/>
                  </a:lnTo>
                  <a:lnTo>
                    <a:pt x="4175391" y="403923"/>
                  </a:lnTo>
                  <a:lnTo>
                    <a:pt x="4137202" y="403923"/>
                  </a:lnTo>
                  <a:lnTo>
                    <a:pt x="4137202" y="315493"/>
                  </a:lnTo>
                  <a:lnTo>
                    <a:pt x="4137202" y="289826"/>
                  </a:lnTo>
                  <a:lnTo>
                    <a:pt x="4111993" y="270802"/>
                  </a:lnTo>
                  <a:lnTo>
                    <a:pt x="4054716" y="289826"/>
                  </a:lnTo>
                  <a:lnTo>
                    <a:pt x="4041737" y="308838"/>
                  </a:lnTo>
                  <a:lnTo>
                    <a:pt x="4041737" y="509460"/>
                  </a:lnTo>
                  <a:lnTo>
                    <a:pt x="4035425" y="515734"/>
                  </a:lnTo>
                  <a:lnTo>
                    <a:pt x="4026281" y="459828"/>
                  </a:lnTo>
                  <a:lnTo>
                    <a:pt x="4022636" y="437578"/>
                  </a:lnTo>
                  <a:lnTo>
                    <a:pt x="4003548" y="421614"/>
                  </a:lnTo>
                  <a:lnTo>
                    <a:pt x="3946258" y="421614"/>
                  </a:lnTo>
                  <a:lnTo>
                    <a:pt x="3927170" y="443103"/>
                  </a:lnTo>
                  <a:lnTo>
                    <a:pt x="3946258" y="633260"/>
                  </a:lnTo>
                  <a:lnTo>
                    <a:pt x="3949890" y="642391"/>
                  </a:lnTo>
                  <a:lnTo>
                    <a:pt x="4045356" y="775500"/>
                  </a:lnTo>
                  <a:lnTo>
                    <a:pt x="4060825" y="784250"/>
                  </a:lnTo>
                  <a:lnTo>
                    <a:pt x="4218546" y="784250"/>
                  </a:lnTo>
                  <a:lnTo>
                    <a:pt x="4235348" y="774166"/>
                  </a:lnTo>
                  <a:lnTo>
                    <a:pt x="4250347" y="746213"/>
                  </a:lnTo>
                  <a:lnTo>
                    <a:pt x="4306760" y="641057"/>
                  </a:lnTo>
                  <a:lnTo>
                    <a:pt x="4309046" y="632117"/>
                  </a:lnTo>
                  <a:lnTo>
                    <a:pt x="4309046" y="481507"/>
                  </a:lnTo>
                  <a:lnTo>
                    <a:pt x="4309046" y="479983"/>
                  </a:lnTo>
                  <a:close/>
                </a:path>
                <a:path w="4519295" h="836929">
                  <a:moveTo>
                    <a:pt x="4519092" y="79883"/>
                  </a:moveTo>
                  <a:lnTo>
                    <a:pt x="4499991" y="60871"/>
                  </a:lnTo>
                  <a:lnTo>
                    <a:pt x="3698036" y="60871"/>
                  </a:lnTo>
                  <a:lnTo>
                    <a:pt x="3678936" y="79883"/>
                  </a:lnTo>
                  <a:lnTo>
                    <a:pt x="3678936" y="536282"/>
                  </a:lnTo>
                  <a:lnTo>
                    <a:pt x="3698036" y="555294"/>
                  </a:lnTo>
                  <a:lnTo>
                    <a:pt x="3888981" y="555294"/>
                  </a:lnTo>
                  <a:lnTo>
                    <a:pt x="3888981" y="517258"/>
                  </a:lnTo>
                  <a:lnTo>
                    <a:pt x="3717125" y="517258"/>
                  </a:lnTo>
                  <a:lnTo>
                    <a:pt x="3717125" y="98894"/>
                  </a:lnTo>
                  <a:lnTo>
                    <a:pt x="4480903" y="98894"/>
                  </a:lnTo>
                  <a:lnTo>
                    <a:pt x="4480903" y="517258"/>
                  </a:lnTo>
                  <a:lnTo>
                    <a:pt x="4347235" y="517258"/>
                  </a:lnTo>
                  <a:lnTo>
                    <a:pt x="4347235" y="555294"/>
                  </a:lnTo>
                  <a:lnTo>
                    <a:pt x="4499991" y="555294"/>
                  </a:lnTo>
                  <a:lnTo>
                    <a:pt x="4519092" y="536282"/>
                  </a:lnTo>
                  <a:lnTo>
                    <a:pt x="4519092" y="79883"/>
                  </a:lnTo>
                  <a:close/>
                </a:path>
              </a:pathLst>
            </a:custGeom>
            <a:solidFill>
              <a:srgbClr val="FFFFFF"/>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24" name="object 13">
              <a:extLst>
                <a:ext uri="{FF2B5EF4-FFF2-40B4-BE49-F238E27FC236}">
                  <a16:creationId xmlns:a16="http://schemas.microsoft.com/office/drawing/2014/main" id="{2394054D-6C1F-D088-2F60-702268CBDD00}"/>
                </a:ext>
              </a:extLst>
            </p:cNvPr>
            <p:cNvPicPr/>
            <p:nvPr/>
          </p:nvPicPr>
          <p:blipFill>
            <a:blip r:embed="rId4" cstate="print"/>
            <a:stretch>
              <a:fillRect/>
            </a:stretch>
          </p:blipFill>
          <p:spPr>
            <a:xfrm>
              <a:off x="11346180" y="6394704"/>
              <a:ext cx="507492" cy="193547"/>
            </a:xfrm>
            <a:prstGeom prst="rect">
              <a:avLst/>
            </a:prstGeom>
          </p:spPr>
        </p:pic>
      </p:grpSp>
      <p:sp>
        <p:nvSpPr>
          <p:cNvPr id="9" name="object 2">
            <a:extLst>
              <a:ext uri="{FF2B5EF4-FFF2-40B4-BE49-F238E27FC236}">
                <a16:creationId xmlns:a16="http://schemas.microsoft.com/office/drawing/2014/main" id="{F6166D8B-5DDA-1560-AAAD-EA82CD15007F}"/>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BEBE180-4401-4E1E-9403-0C1C724AEB6C}"/>
              </a:ext>
            </a:extLst>
          </p:cNvPr>
          <p:cNvSpPr/>
          <p:nvPr/>
        </p:nvSpPr>
        <p:spPr bwMode="gray">
          <a:xfrm>
            <a:off x="180975" y="5972175"/>
            <a:ext cx="1200649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 name="Content Placeholder 1">
            <a:extLst>
              <a:ext uri="{FF2B5EF4-FFF2-40B4-BE49-F238E27FC236}">
                <a16:creationId xmlns:a16="http://schemas.microsoft.com/office/drawing/2014/main" id="{0DFD250B-F435-486B-90F4-2FA1CC7EE338}"/>
              </a:ext>
            </a:extLst>
          </p:cNvPr>
          <p:cNvSpPr>
            <a:spLocks noGrp="1"/>
          </p:cNvSpPr>
          <p:nvPr>
            <p:ph sz="quarter" idx="21"/>
          </p:nvPr>
        </p:nvSpPr>
        <p:spPr/>
        <p:txBody>
          <a:bodyPr/>
          <a:lstStyle/>
          <a:p>
            <a:r>
              <a:rPr lang="en-US"/>
              <a:t> </a:t>
            </a:r>
          </a:p>
        </p:txBody>
      </p:sp>
      <p:pic>
        <p:nvPicPr>
          <p:cNvPr id="35" name="Picture 19">
            <a:extLst>
              <a:ext uri="{FF2B5EF4-FFF2-40B4-BE49-F238E27FC236}">
                <a16:creationId xmlns:a16="http://schemas.microsoft.com/office/drawing/2014/main" id="{06366C6F-25D5-4E83-87C4-61BAA8463B83}"/>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7" name="Title 6">
            <a:extLst>
              <a:ext uri="{FF2B5EF4-FFF2-40B4-BE49-F238E27FC236}">
                <a16:creationId xmlns:a16="http://schemas.microsoft.com/office/drawing/2014/main" id="{EA09ED2E-178E-56CA-BA41-E6EE23823EE1}"/>
              </a:ext>
            </a:extLst>
          </p:cNvPr>
          <p:cNvSpPr>
            <a:spLocks noGrp="1"/>
          </p:cNvSpPr>
          <p:nvPr>
            <p:ph type="title"/>
          </p:nvPr>
        </p:nvSpPr>
        <p:spPr/>
        <p:txBody>
          <a:bodyPr/>
          <a:lstStyle/>
          <a:p>
            <a:endParaRPr lang="en-US"/>
          </a:p>
        </p:txBody>
      </p:sp>
      <p:sp>
        <p:nvSpPr>
          <p:cNvPr id="9" name="Subtitle 8">
            <a:extLst>
              <a:ext uri="{FF2B5EF4-FFF2-40B4-BE49-F238E27FC236}">
                <a16:creationId xmlns:a16="http://schemas.microsoft.com/office/drawing/2014/main" id="{8DA23845-C441-D6AF-C873-57FAF68C4FF8}"/>
              </a:ext>
            </a:extLst>
          </p:cNvPr>
          <p:cNvSpPr>
            <a:spLocks noGrp="1"/>
          </p:cNvSpPr>
          <p:nvPr>
            <p:ph type="subTitle" idx="13"/>
          </p:nvPr>
        </p:nvSpPr>
        <p:spPr/>
        <p:txBody>
          <a:bodyPr/>
          <a:lstStyle/>
          <a:p>
            <a:endParaRPr lang="en-US"/>
          </a:p>
        </p:txBody>
      </p:sp>
      <p:pic>
        <p:nvPicPr>
          <p:cNvPr id="10" name="Picture 9">
            <a:extLst>
              <a:ext uri="{FF2B5EF4-FFF2-40B4-BE49-F238E27FC236}">
                <a16:creationId xmlns:a16="http://schemas.microsoft.com/office/drawing/2014/main" id="{4D2F84A8-D171-A91D-2540-792AE07EFBDD}"/>
              </a:ext>
            </a:extLst>
          </p:cNvPr>
          <p:cNvPicPr>
            <a:picLocks noChangeAspect="1"/>
          </p:cNvPicPr>
          <p:nvPr/>
        </p:nvPicPr>
        <p:blipFill rotWithShape="1">
          <a:blip r:embed="rId3"/>
          <a:srcRect l="33541" r="-13231"/>
          <a:stretch/>
        </p:blipFill>
        <p:spPr>
          <a:xfrm>
            <a:off x="-12000" y="674808"/>
            <a:ext cx="12204000" cy="5719895"/>
          </a:xfrm>
          <a:prstGeom prst="rect">
            <a:avLst/>
          </a:prstGeom>
        </p:spPr>
      </p:pic>
      <p:sp>
        <p:nvSpPr>
          <p:cNvPr id="11" name="object 2">
            <a:extLst>
              <a:ext uri="{FF2B5EF4-FFF2-40B4-BE49-F238E27FC236}">
                <a16:creationId xmlns:a16="http://schemas.microsoft.com/office/drawing/2014/main" id="{763AD8D0-0CBA-4DB4-FA31-8A652621C413}"/>
              </a:ext>
            </a:extLst>
          </p:cNvPr>
          <p:cNvSpPr txBox="1">
            <a:spLocks/>
          </p:cNvSpPr>
          <p:nvPr/>
        </p:nvSpPr>
        <p:spPr bwMode="gray">
          <a:xfrm>
            <a:off x="386388" y="674808"/>
            <a:ext cx="2601595" cy="443070"/>
          </a:xfrm>
          <a:prstGeom prst="rect">
            <a:avLst/>
          </a:prstGeom>
        </p:spPr>
        <p:txBody>
          <a:bodyPr vert="horz" wrap="square" lIns="0" tIns="12065" rIns="0" bIns="0" rtlCol="0" anchor="t">
            <a:spAutoFit/>
          </a:bodyPr>
          <a:lstStyle>
            <a:lvl1pPr algn="l" defTabSz="914491" rtl="0" eaLnBrk="1" latinLnBrk="0" hangingPunct="1">
              <a:spcBef>
                <a:spcPct val="0"/>
              </a:spcBef>
              <a:buNone/>
              <a:defRPr sz="2400" b="1" kern="1200">
                <a:solidFill>
                  <a:schemeClr val="tx1"/>
                </a:solidFill>
                <a:latin typeface="+mj-lt"/>
                <a:ea typeface="+mj-ea"/>
                <a:cs typeface="+mj-cs"/>
              </a:defRPr>
            </a:lvl1pPr>
          </a:lstStyle>
          <a:p>
            <a:pPr marL="12700">
              <a:spcBef>
                <a:spcPts val="95"/>
              </a:spcBef>
            </a:pPr>
            <a:r>
              <a:rPr lang="en-US" sz="2800">
                <a:latin typeface="ABBvoice" panose="020D0603020503020204" pitchFamily="34" charset="0"/>
                <a:ea typeface="ABBvoice" panose="020D0603020503020204" pitchFamily="34" charset="0"/>
                <a:cs typeface="ABBvoice" panose="020D0603020503020204" pitchFamily="34" charset="0"/>
              </a:rPr>
              <a:t>ABB</a:t>
            </a:r>
            <a:r>
              <a:rPr lang="en-US" sz="2800" spc="-50">
                <a:latin typeface="ABBvoice" panose="020D0603020503020204" pitchFamily="34" charset="0"/>
                <a:ea typeface="ABBvoice" panose="020D0603020503020204" pitchFamily="34" charset="0"/>
                <a:cs typeface="ABBvoice" panose="020D0603020503020204" pitchFamily="34" charset="0"/>
              </a:rPr>
              <a:t> </a:t>
            </a:r>
            <a:r>
              <a:rPr lang="en-US" sz="2800" spc="-10">
                <a:latin typeface="ABBvoice" panose="020D0603020503020204" pitchFamily="34" charset="0"/>
                <a:ea typeface="ABBvoice" panose="020D0603020503020204" pitchFamily="34" charset="0"/>
                <a:cs typeface="ABBvoice" panose="020D0603020503020204" pitchFamily="34" charset="0"/>
              </a:rPr>
              <a:t>Ability</a:t>
            </a:r>
            <a:r>
              <a:rPr lang="en-US" sz="2800" spc="-15" baseline="25132">
                <a:latin typeface="ABBvoice" panose="020D0603020503020204" pitchFamily="34" charset="0"/>
                <a:ea typeface="ABBvoice" panose="020D0603020503020204" pitchFamily="34" charset="0"/>
                <a:cs typeface="ABBvoice" panose="020D0603020503020204" pitchFamily="34" charset="0"/>
              </a:rPr>
              <a:t>TM</a:t>
            </a:r>
            <a:endParaRPr lang="en-US" sz="2800" baseline="25132" dirty="0">
              <a:latin typeface="ABBvoice" panose="020D0603020503020204" pitchFamily="34" charset="0"/>
              <a:ea typeface="ABBvoice" panose="020D0603020503020204" pitchFamily="34" charset="0"/>
              <a:cs typeface="ABBvoice" panose="020D0603020503020204" pitchFamily="34" charset="0"/>
            </a:endParaRPr>
          </a:p>
        </p:txBody>
      </p:sp>
      <p:sp>
        <p:nvSpPr>
          <p:cNvPr id="13" name="object 4">
            <a:extLst>
              <a:ext uri="{FF2B5EF4-FFF2-40B4-BE49-F238E27FC236}">
                <a16:creationId xmlns:a16="http://schemas.microsoft.com/office/drawing/2014/main" id="{D2E5FC7E-0A4B-E32E-402F-105239CF4189}"/>
              </a:ext>
            </a:extLst>
          </p:cNvPr>
          <p:cNvSpPr txBox="1"/>
          <p:nvPr/>
        </p:nvSpPr>
        <p:spPr>
          <a:xfrm>
            <a:off x="7012305" y="1006297"/>
            <a:ext cx="5027930" cy="4789170"/>
          </a:xfrm>
          <a:prstGeom prst="rect">
            <a:avLst/>
          </a:prstGeom>
        </p:spPr>
        <p:txBody>
          <a:bodyPr vert="horz" wrap="square" lIns="0" tIns="11430" rIns="0" bIns="0" rtlCol="0">
            <a:spAutoFit/>
          </a:bodyPr>
          <a:lstStyle/>
          <a:p>
            <a:pPr marL="12700" marR="57785" lvl="0" indent="0" defTabSz="914400" eaLnBrk="1" fontAlgn="auto" latinLnBrk="0" hangingPunct="1">
              <a:lnSpc>
                <a:spcPct val="130400"/>
              </a:lnSpc>
              <a:spcBef>
                <a:spcPts val="90"/>
              </a:spcBef>
              <a:spcAft>
                <a:spcPts val="0"/>
              </a:spcAft>
              <a:buClrTx/>
              <a:buSzTx/>
              <a:buFontTx/>
              <a:buNone/>
              <a:tabLst/>
              <a:defRPr/>
            </a:pPr>
            <a:r>
              <a:rPr kumimoji="0" sz="1600" b="1" i="0" u="none" strike="noStrike" kern="0" cap="none" spc="0" normalizeH="0" baseline="0" noProof="0" dirty="0">
                <a:ln>
                  <a:noFill/>
                </a:ln>
                <a:solidFill>
                  <a:sysClr val="windowText" lastClr="000000"/>
                </a:solidFill>
                <a:effectLst/>
                <a:uLnTx/>
                <a:uFillTx/>
                <a:latin typeface="ABBvoice"/>
                <a:cs typeface="ABBvoice"/>
              </a:rPr>
              <a:t>Insight.</a:t>
            </a:r>
            <a:r>
              <a:rPr kumimoji="0" sz="1600" b="1"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It’s</a:t>
            </a:r>
            <a:r>
              <a:rPr kumimoji="0" sz="1600" b="0" i="0" u="none" strike="noStrike" kern="0" cap="none" spc="-4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the power</a:t>
            </a:r>
            <a:r>
              <a:rPr kumimoji="0" sz="1600" b="0" i="0" u="none" strike="noStrike" kern="0" cap="none" spc="-1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to</a:t>
            </a:r>
            <a:r>
              <a:rPr kumimoji="0" sz="1600" b="0" i="0" u="none" strike="noStrike" kern="0" cap="none" spc="-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see</a:t>
            </a:r>
            <a:r>
              <a:rPr kumimoji="0" sz="1600" b="0" i="0" u="none" strike="noStrike" kern="0" cap="none" spc="-3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nd</a:t>
            </a:r>
            <a:r>
              <a:rPr kumimoji="0" sz="1600" b="0" i="0" u="none" strike="noStrike" kern="0" cap="none" spc="-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understand</a:t>
            </a:r>
            <a:r>
              <a:rPr kumimoji="0" sz="1600" b="0" i="0" u="none" strike="noStrike" kern="0" cap="none" spc="-55" normalizeH="0" baseline="0" noProof="0" dirty="0">
                <a:ln>
                  <a:noFill/>
                </a:ln>
                <a:solidFill>
                  <a:sysClr val="windowText" lastClr="000000"/>
                </a:solidFill>
                <a:effectLst/>
                <a:uLnTx/>
                <a:uFillTx/>
                <a:latin typeface="ABBvoice"/>
                <a:cs typeface="ABBvoice"/>
              </a:rPr>
              <a:t> </a:t>
            </a:r>
            <a:r>
              <a:rPr kumimoji="0" sz="1600" b="0" i="0" u="none" strike="noStrike" kern="0" cap="none" spc="-25" normalizeH="0" baseline="0" noProof="0" dirty="0">
                <a:ln>
                  <a:noFill/>
                </a:ln>
                <a:solidFill>
                  <a:sysClr val="windowText" lastClr="000000"/>
                </a:solidFill>
                <a:effectLst/>
                <a:uLnTx/>
                <a:uFillTx/>
                <a:latin typeface="ABBvoice"/>
                <a:cs typeface="ABBvoice"/>
              </a:rPr>
              <a:t>how </a:t>
            </a:r>
            <a:r>
              <a:rPr kumimoji="0" sz="1600" b="0" i="0" u="none" strike="noStrike" kern="0" cap="none" spc="0" normalizeH="0" baseline="0" noProof="0" dirty="0">
                <a:ln>
                  <a:noFill/>
                </a:ln>
                <a:solidFill>
                  <a:sysClr val="windowText" lastClr="000000"/>
                </a:solidFill>
                <a:effectLst/>
                <a:uLnTx/>
                <a:uFillTx/>
                <a:latin typeface="ABBvoice"/>
                <a:cs typeface="ABBvoice"/>
              </a:rPr>
              <a:t>something</a:t>
            </a:r>
            <a:r>
              <a:rPr kumimoji="0" sz="1600" b="0" i="0" u="none" strike="noStrike" kern="0" cap="none" spc="-5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works</a:t>
            </a:r>
            <a:r>
              <a:rPr kumimoji="0" sz="1600" b="0" i="0" u="none" strike="noStrike" kern="0" cap="none" spc="-2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in</a:t>
            </a:r>
            <a:r>
              <a:rPr kumimoji="0" sz="1600" b="0" i="0" u="none" strike="noStrike" kern="0" cap="none" spc="1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a:t>
            </a:r>
            <a:r>
              <a:rPr kumimoji="0" sz="1600" b="0" i="0" u="none" strike="noStrike" kern="0" cap="none" spc="-2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new way,</a:t>
            </a:r>
            <a:r>
              <a:rPr kumimoji="0" sz="1600" b="0" i="0" u="none" strike="noStrike" kern="0" cap="none" spc="-3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to</a:t>
            </a:r>
            <a:r>
              <a:rPr kumimoji="0" sz="1600" b="0" i="0" u="none" strike="noStrike" kern="0" cap="none" spc="-5"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unravel </a:t>
            </a:r>
            <a:r>
              <a:rPr kumimoji="0" sz="1600" b="0" i="0" u="none" strike="noStrike" kern="0" cap="none" spc="0" normalizeH="0" baseline="0" noProof="0" dirty="0">
                <a:ln>
                  <a:noFill/>
                </a:ln>
                <a:solidFill>
                  <a:sysClr val="windowText" lastClr="000000"/>
                </a:solidFill>
                <a:effectLst/>
                <a:uLnTx/>
                <a:uFillTx/>
                <a:latin typeface="ABBvoice"/>
                <a:cs typeface="ABBvoice"/>
              </a:rPr>
              <a:t>complexity</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nd</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take</a:t>
            </a:r>
            <a:r>
              <a:rPr kumimoji="0" sz="1600" b="0" i="0" u="none" strike="noStrike" kern="0" cap="none" spc="-1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ction.</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It</a:t>
            </a:r>
            <a:r>
              <a:rPr kumimoji="0" sz="1600" b="0" i="0" u="none" strike="noStrike" kern="0" cap="none" spc="-3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comes</a:t>
            </a:r>
            <a:r>
              <a:rPr kumimoji="0" sz="1600" b="0" i="0" u="none" strike="noStrike" kern="0" cap="none" spc="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from </a:t>
            </a:r>
            <a:r>
              <a:rPr kumimoji="0" sz="1600" b="0" i="0" u="none" strike="noStrike" kern="0" cap="none" spc="-10" normalizeH="0" baseline="0" noProof="0" dirty="0">
                <a:ln>
                  <a:noFill/>
                </a:ln>
                <a:solidFill>
                  <a:sysClr val="windowText" lastClr="000000"/>
                </a:solidFill>
                <a:effectLst/>
                <a:uLnTx/>
                <a:uFillTx/>
                <a:latin typeface="ABBvoice"/>
                <a:cs typeface="ABBvoice"/>
              </a:rPr>
              <a:t>visibility, </a:t>
            </a:r>
            <a:r>
              <a:rPr kumimoji="0" sz="1600" b="0" i="0" u="none" strike="noStrike" kern="0" cap="none" spc="0" normalizeH="0" baseline="0" noProof="0" dirty="0">
                <a:ln>
                  <a:noFill/>
                </a:ln>
                <a:solidFill>
                  <a:sysClr val="windowText" lastClr="000000"/>
                </a:solidFill>
                <a:effectLst/>
                <a:uLnTx/>
                <a:uFillTx/>
                <a:latin typeface="ABBvoice"/>
                <a:cs typeface="ABBvoice"/>
              </a:rPr>
              <a:t>intelligence</a:t>
            </a:r>
            <a:r>
              <a:rPr kumimoji="0" sz="1600" b="0" i="0" u="none" strike="noStrike" kern="0" cap="none" spc="-3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nd</a:t>
            </a:r>
            <a:r>
              <a:rPr kumimoji="0" sz="1600" b="0" i="0" u="none" strike="noStrike" kern="0" cap="none" spc="-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experience.</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It’s</a:t>
            </a:r>
            <a:r>
              <a:rPr kumimoji="0" sz="1600" b="0" i="0" u="none" strike="noStrike" kern="0" cap="none" spc="-2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what</a:t>
            </a:r>
            <a:r>
              <a:rPr kumimoji="0" sz="1600" b="0" i="0" u="none" strike="noStrike" kern="0" cap="none" spc="-50" normalizeH="0" baseline="0" noProof="0" dirty="0">
                <a:ln>
                  <a:noFill/>
                </a:ln>
                <a:solidFill>
                  <a:sysClr val="windowText" lastClr="000000"/>
                </a:solidFill>
                <a:effectLst/>
                <a:uLnTx/>
                <a:uFillTx/>
                <a:latin typeface="ABBvoice"/>
                <a:cs typeface="ABBvoice"/>
              </a:rPr>
              <a:t> </a:t>
            </a:r>
            <a:r>
              <a:rPr kumimoji="0" sz="1600" b="0" i="0" u="none" strike="noStrike" kern="0" cap="none" spc="-20" normalizeH="0" baseline="0" noProof="0" dirty="0">
                <a:ln>
                  <a:noFill/>
                </a:ln>
                <a:solidFill>
                  <a:sysClr val="windowText" lastClr="000000"/>
                </a:solidFill>
                <a:effectLst/>
                <a:uLnTx/>
                <a:uFillTx/>
                <a:latin typeface="ABBvoice"/>
                <a:cs typeface="ABBvoice"/>
              </a:rPr>
              <a:t>makes </a:t>
            </a:r>
            <a:r>
              <a:rPr kumimoji="0" sz="1600" b="0" i="0" u="none" strike="noStrike" kern="0" cap="none" spc="0" normalizeH="0" baseline="0" noProof="0" dirty="0">
                <a:ln>
                  <a:noFill/>
                </a:ln>
                <a:solidFill>
                  <a:sysClr val="windowText" lastClr="000000"/>
                </a:solidFill>
                <a:effectLst/>
                <a:uLnTx/>
                <a:uFillTx/>
                <a:latin typeface="ABBvoice"/>
                <a:cs typeface="ABBvoice"/>
              </a:rPr>
              <a:t>transformation</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possible.</a:t>
            </a:r>
            <a:endParaRPr kumimoji="0" sz="1600" b="0" i="0" u="none" strike="noStrike" kern="0" cap="none" spc="0" normalizeH="0" baseline="0" noProof="0" dirty="0">
              <a:ln>
                <a:noFill/>
              </a:ln>
              <a:solidFill>
                <a:sysClr val="windowText" lastClr="000000"/>
              </a:solidFill>
              <a:effectLst/>
              <a:uLnTx/>
              <a:uFillTx/>
              <a:latin typeface="ABBvoice"/>
              <a:cs typeface="ABBvoice"/>
            </a:endParaRPr>
          </a:p>
          <a:p>
            <a:pPr marL="0" marR="0" lvl="0" indent="0" defTabSz="914400" eaLnBrk="1" fontAlgn="auto" latinLnBrk="0" hangingPunct="1">
              <a:lnSpc>
                <a:spcPct val="100000"/>
              </a:lnSpc>
              <a:spcBef>
                <a:spcPts val="15"/>
              </a:spcBef>
              <a:spcAft>
                <a:spcPts val="0"/>
              </a:spcAft>
              <a:buClrTx/>
              <a:buSzTx/>
              <a:buFontTx/>
              <a:buNone/>
              <a:tabLst/>
              <a:defRPr/>
            </a:pPr>
            <a:endParaRPr kumimoji="0" sz="1950" b="0" i="0" u="none" strike="noStrike" kern="0" cap="none" spc="0" normalizeH="0" baseline="0" noProof="0" dirty="0">
              <a:ln>
                <a:noFill/>
              </a:ln>
              <a:solidFill>
                <a:sysClr val="windowText" lastClr="000000"/>
              </a:solidFill>
              <a:effectLst/>
              <a:uLnTx/>
              <a:uFillTx/>
              <a:latin typeface="ABBvoice"/>
              <a:cs typeface="ABBvoice"/>
            </a:endParaRPr>
          </a:p>
          <a:p>
            <a:pPr marL="12700" marR="5080" lvl="0" indent="0" defTabSz="914400" eaLnBrk="1" fontAlgn="auto" latinLnBrk="0" hangingPunct="1">
              <a:lnSpc>
                <a:spcPct val="130400"/>
              </a:lnSpc>
              <a:spcBef>
                <a:spcPts val="0"/>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ABBvoice"/>
                <a:cs typeface="ABBvoice"/>
              </a:rPr>
              <a:t>ABB</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bility</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solutions</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combine</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BB’s</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deep</a:t>
            </a:r>
            <a:r>
              <a:rPr kumimoji="0" sz="1600" b="0" i="0" u="none" strike="noStrike" kern="0" cap="none" spc="-10" normalizeH="0" baseline="0" noProof="0" dirty="0">
                <a:ln>
                  <a:noFill/>
                </a:ln>
                <a:solidFill>
                  <a:sysClr val="windowText" lastClr="000000"/>
                </a:solidFill>
                <a:effectLst/>
                <a:uLnTx/>
                <a:uFillTx/>
                <a:latin typeface="ABBvoice"/>
                <a:cs typeface="ABBvoice"/>
              </a:rPr>
              <a:t> domain </a:t>
            </a:r>
            <a:r>
              <a:rPr kumimoji="0" sz="1600" b="0" i="0" u="none" strike="noStrike" kern="0" cap="none" spc="0" normalizeH="0" baseline="0" noProof="0" dirty="0">
                <a:ln>
                  <a:noFill/>
                </a:ln>
                <a:solidFill>
                  <a:sysClr val="windowText" lastClr="000000"/>
                </a:solidFill>
                <a:effectLst/>
                <a:uLnTx/>
                <a:uFillTx/>
                <a:latin typeface="ABBvoice"/>
                <a:cs typeface="ABBvoice"/>
              </a:rPr>
              <a:t>expertise</a:t>
            </a:r>
            <a:r>
              <a:rPr kumimoji="0" sz="1600" b="0" i="0" u="none" strike="noStrike" kern="0" cap="none" spc="-6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with</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connectivity</a:t>
            </a:r>
            <a:r>
              <a:rPr kumimoji="0" sz="1600" b="0" i="0" u="none" strike="noStrike" kern="0" cap="none" spc="-5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nd</a:t>
            </a:r>
            <a:r>
              <a:rPr kumimoji="0" sz="1600" b="0" i="0" u="none" strike="noStrike" kern="0" cap="none" spc="-1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software</a:t>
            </a:r>
            <a:r>
              <a:rPr kumimoji="0" sz="1600" b="0" i="0" u="none" strike="noStrike" kern="0" cap="none" spc="-55"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innovation </a:t>
            </a:r>
            <a:r>
              <a:rPr kumimoji="0" sz="1600" b="0" i="0" u="none" strike="noStrike" kern="0" cap="none" spc="0" normalizeH="0" baseline="0" noProof="0" dirty="0">
                <a:ln>
                  <a:noFill/>
                </a:ln>
                <a:solidFill>
                  <a:sysClr val="windowText" lastClr="000000"/>
                </a:solidFill>
                <a:effectLst/>
                <a:uLnTx/>
                <a:uFillTx/>
                <a:latin typeface="ABBvoice"/>
                <a:cs typeface="ABBvoice"/>
              </a:rPr>
              <a:t>to</a:t>
            </a:r>
            <a:r>
              <a:rPr kumimoji="0" sz="1600" b="0" i="0" u="none" strike="noStrike" kern="0" cap="none" spc="-1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empower</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real-</a:t>
            </a:r>
            <a:r>
              <a:rPr kumimoji="0" sz="1600" b="0" i="0" u="none" strike="noStrike" kern="0" cap="none" spc="0" normalizeH="0" baseline="0" noProof="0" dirty="0">
                <a:ln>
                  <a:noFill/>
                </a:ln>
                <a:solidFill>
                  <a:sysClr val="windowText" lastClr="000000"/>
                </a:solidFill>
                <a:effectLst/>
                <a:uLnTx/>
                <a:uFillTx/>
                <a:latin typeface="ABBvoice"/>
                <a:cs typeface="ABBvoice"/>
              </a:rPr>
              <a:t>time, data-driven</a:t>
            </a:r>
            <a:r>
              <a:rPr kumimoji="0" sz="1600" b="0" i="0" u="none" strike="noStrike" kern="0" cap="none" spc="-4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decisions</a:t>
            </a:r>
            <a:r>
              <a:rPr kumimoji="0" sz="1600" b="0" i="0" u="none" strike="noStrike" kern="0" cap="none" spc="-15" normalizeH="0" baseline="0" noProof="0" dirty="0">
                <a:ln>
                  <a:noFill/>
                </a:ln>
                <a:solidFill>
                  <a:sysClr val="windowText" lastClr="000000"/>
                </a:solidFill>
                <a:effectLst/>
                <a:uLnTx/>
                <a:uFillTx/>
                <a:latin typeface="ABBvoice"/>
                <a:cs typeface="ABBvoice"/>
              </a:rPr>
              <a:t> </a:t>
            </a:r>
            <a:r>
              <a:rPr kumimoji="0" sz="1600" b="0" i="0" u="none" strike="noStrike" kern="0" cap="none" spc="-25" normalizeH="0" baseline="0" noProof="0" dirty="0">
                <a:ln>
                  <a:noFill/>
                </a:ln>
                <a:solidFill>
                  <a:sysClr val="windowText" lastClr="000000"/>
                </a:solidFill>
                <a:effectLst/>
                <a:uLnTx/>
                <a:uFillTx/>
                <a:latin typeface="ABBvoice"/>
                <a:cs typeface="ABBvoice"/>
              </a:rPr>
              <a:t>for </a:t>
            </a:r>
            <a:r>
              <a:rPr kumimoji="0" sz="1600" b="0" i="0" u="none" strike="noStrike" kern="0" cap="none" spc="0" normalizeH="0" baseline="0" noProof="0" dirty="0">
                <a:ln>
                  <a:noFill/>
                </a:ln>
                <a:solidFill>
                  <a:sysClr val="windowText" lastClr="000000"/>
                </a:solidFill>
                <a:effectLst/>
                <a:uLnTx/>
                <a:uFillTx/>
                <a:latin typeface="ABBvoice"/>
                <a:cs typeface="ABBvoice"/>
              </a:rPr>
              <a:t>safer,</a:t>
            </a:r>
            <a:r>
              <a:rPr kumimoji="0" sz="1600" b="0" i="0" u="none" strike="noStrike" kern="0" cap="none" spc="-4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smarter</a:t>
            </a:r>
            <a:r>
              <a:rPr kumimoji="0" sz="1600" b="0" i="0" u="none" strike="noStrike" kern="0" cap="none" spc="-6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operations</a:t>
            </a:r>
            <a:r>
              <a:rPr kumimoji="0" sz="1600" b="0" i="0" u="none" strike="noStrike" kern="0" cap="none" spc="-2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that</a:t>
            </a:r>
            <a:r>
              <a:rPr kumimoji="0" sz="1600" b="0" i="0" u="none" strike="noStrike" kern="0" cap="none" spc="-5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maximize</a:t>
            </a:r>
            <a:r>
              <a:rPr kumimoji="0" sz="1600" b="0" i="0" u="none" strike="noStrike" kern="0" cap="none" spc="-50"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resource </a:t>
            </a:r>
            <a:r>
              <a:rPr kumimoji="0" sz="1600" b="0" i="0" u="none" strike="noStrike" kern="0" cap="none" spc="0" normalizeH="0" baseline="0" noProof="0" dirty="0">
                <a:ln>
                  <a:noFill/>
                </a:ln>
                <a:solidFill>
                  <a:sysClr val="windowText" lastClr="000000"/>
                </a:solidFill>
                <a:effectLst/>
                <a:uLnTx/>
                <a:uFillTx/>
                <a:latin typeface="ABBvoice"/>
                <a:cs typeface="ABBvoice"/>
              </a:rPr>
              <a:t>efficiency and</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contribute</a:t>
            </a:r>
            <a:r>
              <a:rPr kumimoji="0" sz="1600" b="0" i="0" u="none" strike="noStrike" kern="0" cap="none" spc="-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to</a:t>
            </a:r>
            <a:r>
              <a:rPr kumimoji="0" sz="1600" b="0" i="0" u="none" strike="noStrike" kern="0" cap="none" spc="-1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low-</a:t>
            </a:r>
            <a:r>
              <a:rPr kumimoji="0" sz="1600" b="0" i="0" u="none" strike="noStrike" kern="0" cap="none" spc="0" normalizeH="0" baseline="0" noProof="0" dirty="0">
                <a:ln>
                  <a:noFill/>
                </a:ln>
                <a:solidFill>
                  <a:sysClr val="windowText" lastClr="000000"/>
                </a:solidFill>
                <a:effectLst/>
                <a:uLnTx/>
                <a:uFillTx/>
                <a:latin typeface="ABBvoice"/>
                <a:cs typeface="ABBvoice"/>
              </a:rPr>
              <a:t>carbon</a:t>
            </a:r>
            <a:r>
              <a:rPr kumimoji="0" sz="1600" b="0" i="0" u="none" strike="noStrike" kern="0" cap="none" spc="30"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future.</a:t>
            </a:r>
            <a:endParaRPr kumimoji="0" sz="1600" b="0" i="0" u="none" strike="noStrike" kern="0" cap="none" spc="0" normalizeH="0" baseline="0" noProof="0" dirty="0">
              <a:ln>
                <a:noFill/>
              </a:ln>
              <a:solidFill>
                <a:sysClr val="windowText" lastClr="000000"/>
              </a:solidFill>
              <a:effectLst/>
              <a:uLnTx/>
              <a:uFillTx/>
              <a:latin typeface="ABBvoice"/>
              <a:cs typeface="ABBvoice"/>
            </a:endParaRPr>
          </a:p>
          <a:p>
            <a:pPr marL="12700" marR="69215" lvl="0" indent="0" defTabSz="914400" eaLnBrk="1" fontAlgn="auto" latinLnBrk="0" hangingPunct="1">
              <a:lnSpc>
                <a:spcPts val="2500"/>
              </a:lnSpc>
              <a:spcBef>
                <a:spcPts val="175"/>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ABBvoice"/>
                <a:cs typeface="ABBvoice"/>
              </a:rPr>
              <a:t>Our</a:t>
            </a:r>
            <a:r>
              <a:rPr kumimoji="0" sz="1600" b="0" i="0" u="none" strike="noStrike" kern="0" cap="none" spc="-4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large</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portfolio</a:t>
            </a:r>
            <a:r>
              <a:rPr kumimoji="0" sz="1600" b="0" i="0" u="none" strike="noStrike" kern="0" cap="none" spc="-2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of digital</a:t>
            </a:r>
            <a:r>
              <a:rPr kumimoji="0" sz="1600" b="0" i="0" u="none" strike="noStrike" kern="0" cap="none" spc="-5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solutions</a:t>
            </a:r>
            <a:r>
              <a:rPr kumimoji="0" sz="1600" b="0" i="0" u="none" strike="noStrike" kern="0" cap="none" spc="-55"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helps </a:t>
            </a:r>
            <a:r>
              <a:rPr kumimoji="0" sz="1600" b="0" i="0" u="none" strike="noStrike" kern="0" cap="none" spc="0" normalizeH="0" baseline="0" noProof="0" dirty="0">
                <a:ln>
                  <a:noFill/>
                </a:ln>
                <a:solidFill>
                  <a:sysClr val="windowText" lastClr="000000"/>
                </a:solidFill>
                <a:effectLst/>
                <a:uLnTx/>
                <a:uFillTx/>
                <a:latin typeface="ABBvoice"/>
                <a:cs typeface="ABBvoice"/>
              </a:rPr>
              <a:t>organizations</a:t>
            </a:r>
            <a:r>
              <a:rPr kumimoji="0" sz="1600" b="0" i="0" u="none" strike="noStrike" kern="0" cap="none" spc="-3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utomate,</a:t>
            </a:r>
            <a:r>
              <a:rPr kumimoji="0" sz="1600" b="0" i="0" u="none" strike="noStrike" kern="0" cap="none" spc="-4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optimize</a:t>
            </a:r>
            <a:r>
              <a:rPr kumimoji="0" sz="1600" b="0" i="0" u="none" strike="noStrike" kern="0" cap="none" spc="-2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nd</a:t>
            </a:r>
            <a:r>
              <a:rPr kumimoji="0" sz="1600" b="0" i="0" u="none" strike="noStrike" kern="0" cap="none" spc="10"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future-proof </a:t>
            </a:r>
            <a:r>
              <a:rPr kumimoji="0" sz="1600" b="0" i="0" u="none" strike="noStrike" kern="0" cap="none" spc="0" normalizeH="0" baseline="0" noProof="0" dirty="0">
                <a:ln>
                  <a:noFill/>
                </a:ln>
                <a:solidFill>
                  <a:sysClr val="windowText" lastClr="000000"/>
                </a:solidFill>
                <a:effectLst/>
                <a:uLnTx/>
                <a:uFillTx/>
                <a:latin typeface="ABBvoice"/>
                <a:cs typeface="ABBvoice"/>
              </a:rPr>
              <a:t>their</a:t>
            </a:r>
            <a:r>
              <a:rPr kumimoji="0" sz="1600" b="0" i="0" u="none" strike="noStrike" kern="0" cap="none" spc="-4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business</a:t>
            </a:r>
            <a:r>
              <a:rPr kumimoji="0" sz="1600" b="0" i="0" u="none" strike="noStrike" kern="0" cap="none" spc="-4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to achieve</a:t>
            </a:r>
            <a:r>
              <a:rPr kumimoji="0" sz="1600" b="0" i="0" u="none" strike="noStrike" kern="0" cap="none" spc="-5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new</a:t>
            </a:r>
            <a:r>
              <a:rPr kumimoji="0" sz="1600" b="0" i="0" u="none" strike="noStrike" kern="0" cap="none" spc="-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heights</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25" normalizeH="0" baseline="0" noProof="0" dirty="0">
                <a:ln>
                  <a:noFill/>
                </a:ln>
                <a:solidFill>
                  <a:sysClr val="windowText" lastClr="000000"/>
                </a:solidFill>
                <a:effectLst/>
                <a:uLnTx/>
                <a:uFillTx/>
                <a:latin typeface="ABBvoice"/>
                <a:cs typeface="ABBvoice"/>
              </a:rPr>
              <a:t>of</a:t>
            </a:r>
            <a:endParaRPr kumimoji="0" sz="1600" b="0" i="0" u="none" strike="noStrike" kern="0" cap="none" spc="0" normalizeH="0" baseline="0" noProof="0" dirty="0">
              <a:ln>
                <a:noFill/>
              </a:ln>
              <a:solidFill>
                <a:sysClr val="windowText" lastClr="000000"/>
              </a:solidFill>
              <a:effectLst/>
              <a:uLnTx/>
              <a:uFillTx/>
              <a:latin typeface="ABBvoice"/>
              <a:cs typeface="ABBvoice"/>
            </a:endParaRPr>
          </a:p>
          <a:p>
            <a:pPr marL="12700" marR="0" lvl="0" indent="0" defTabSz="914400" eaLnBrk="1" fontAlgn="auto" latinLnBrk="0" hangingPunct="1">
              <a:lnSpc>
                <a:spcPct val="100000"/>
              </a:lnSpc>
              <a:spcBef>
                <a:spcPts val="395"/>
              </a:spcBef>
              <a:spcAft>
                <a:spcPts val="0"/>
              </a:spcAft>
              <a:buClrTx/>
              <a:buSzTx/>
              <a:buFontTx/>
              <a:buNone/>
              <a:tabLst/>
              <a:defRPr/>
            </a:pPr>
            <a:r>
              <a:rPr kumimoji="0" sz="1600" b="0" i="0" u="none" strike="noStrike" kern="0" cap="none" spc="0" normalizeH="0" baseline="0" noProof="0" dirty="0">
                <a:ln>
                  <a:noFill/>
                </a:ln>
                <a:solidFill>
                  <a:sysClr val="windowText" lastClr="000000"/>
                </a:solidFill>
                <a:effectLst/>
                <a:uLnTx/>
                <a:uFillTx/>
                <a:latin typeface="ABBvoice"/>
                <a:cs typeface="ABBvoice"/>
              </a:rPr>
              <a:t>performance</a:t>
            </a:r>
            <a:r>
              <a:rPr kumimoji="0" sz="1600" b="0" i="0" u="none" strike="noStrike" kern="0" cap="none" spc="-5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and</a:t>
            </a:r>
            <a:r>
              <a:rPr kumimoji="0" sz="1600" b="0" i="0" u="none" strike="noStrike" kern="0" cap="none" spc="-10"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drive</a:t>
            </a:r>
            <a:r>
              <a:rPr kumimoji="0" sz="1600" b="0" i="0" u="none" strike="noStrike" kern="0" cap="none" spc="-35" normalizeH="0" baseline="0" noProof="0" dirty="0">
                <a:ln>
                  <a:noFill/>
                </a:ln>
                <a:solidFill>
                  <a:sysClr val="windowText" lastClr="000000"/>
                </a:solidFill>
                <a:effectLst/>
                <a:uLnTx/>
                <a:uFillTx/>
                <a:latin typeface="ABBvoice"/>
                <a:cs typeface="ABBvoice"/>
              </a:rPr>
              <a:t> </a:t>
            </a:r>
            <a:r>
              <a:rPr kumimoji="0" sz="1600" b="0" i="0" u="none" strike="noStrike" kern="0" cap="none" spc="0" normalizeH="0" baseline="0" noProof="0" dirty="0">
                <a:ln>
                  <a:noFill/>
                </a:ln>
                <a:solidFill>
                  <a:sysClr val="windowText" lastClr="000000"/>
                </a:solidFill>
                <a:effectLst/>
                <a:uLnTx/>
                <a:uFillTx/>
                <a:latin typeface="ABBvoice"/>
                <a:cs typeface="ABBvoice"/>
              </a:rPr>
              <a:t>sustainable</a:t>
            </a:r>
            <a:r>
              <a:rPr kumimoji="0" sz="1600" b="0" i="0" u="none" strike="noStrike" kern="0" cap="none" spc="-55" normalizeH="0" baseline="0" noProof="0" dirty="0">
                <a:ln>
                  <a:noFill/>
                </a:ln>
                <a:solidFill>
                  <a:sysClr val="windowText" lastClr="000000"/>
                </a:solidFill>
                <a:effectLst/>
                <a:uLnTx/>
                <a:uFillTx/>
                <a:latin typeface="ABBvoice"/>
                <a:cs typeface="ABBvoice"/>
              </a:rPr>
              <a:t> </a:t>
            </a:r>
            <a:r>
              <a:rPr kumimoji="0" sz="1600" b="0" i="0" u="none" strike="noStrike" kern="0" cap="none" spc="-10" normalizeH="0" baseline="0" noProof="0" dirty="0">
                <a:ln>
                  <a:noFill/>
                </a:ln>
                <a:solidFill>
                  <a:sysClr val="windowText" lastClr="000000"/>
                </a:solidFill>
                <a:effectLst/>
                <a:uLnTx/>
                <a:uFillTx/>
                <a:latin typeface="ABBvoice"/>
                <a:cs typeface="ABBvoice"/>
              </a:rPr>
              <a:t>progress.</a:t>
            </a:r>
            <a:endParaRPr kumimoji="0" sz="1600" b="0" i="0" u="none" strike="noStrike" kern="0" cap="none" spc="0" normalizeH="0" baseline="0" noProof="0" dirty="0">
              <a:ln>
                <a:noFill/>
              </a:ln>
              <a:solidFill>
                <a:sysClr val="windowText" lastClr="000000"/>
              </a:solidFill>
              <a:effectLst/>
              <a:uLnTx/>
              <a:uFillTx/>
              <a:latin typeface="ABBvoice"/>
              <a:cs typeface="ABBvoice"/>
            </a:endParaRPr>
          </a:p>
        </p:txBody>
      </p:sp>
    </p:spTree>
    <p:extLst>
      <p:ext uri="{BB962C8B-B14F-4D97-AF65-F5344CB8AC3E}">
        <p14:creationId xmlns:p14="http://schemas.microsoft.com/office/powerpoint/2010/main" val="2401027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BCF912-EF56-4F9B-89DD-C4C1CE9334E8}"/>
              </a:ext>
            </a:extLst>
          </p:cNvPr>
          <p:cNvSpPr/>
          <p:nvPr/>
        </p:nvSpPr>
        <p:spPr bwMode="gray">
          <a:xfrm>
            <a:off x="673100" y="5969000"/>
            <a:ext cx="11180164" cy="2220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pic>
        <p:nvPicPr>
          <p:cNvPr id="8" name="Picture 7">
            <a:extLst>
              <a:ext uri="{FF2B5EF4-FFF2-40B4-BE49-F238E27FC236}">
                <a16:creationId xmlns:a16="http://schemas.microsoft.com/office/drawing/2014/main" id="{65558F7A-98BE-42A9-8097-EEBD220EDD7D}"/>
              </a:ext>
            </a:extLst>
          </p:cNvPr>
          <p:cNvPicPr>
            <a:picLocks noChangeAspect="1"/>
          </p:cNvPicPr>
          <p:nvPr/>
        </p:nvPicPr>
        <p:blipFill rotWithShape="1">
          <a:blip r:embed="rId3"/>
          <a:srcRect r="34254"/>
          <a:stretch/>
        </p:blipFill>
        <p:spPr>
          <a:xfrm>
            <a:off x="0" y="0"/>
            <a:ext cx="8015778" cy="6858000"/>
          </a:xfrm>
          <a:prstGeom prst="rect">
            <a:avLst/>
          </a:prstGeom>
        </p:spPr>
      </p:pic>
      <p:sp>
        <p:nvSpPr>
          <p:cNvPr id="9" name="Content Placeholder 8">
            <a:extLst>
              <a:ext uri="{FF2B5EF4-FFF2-40B4-BE49-F238E27FC236}">
                <a16:creationId xmlns:a16="http://schemas.microsoft.com/office/drawing/2014/main" id="{39AE165D-B708-4024-B2AA-E2C173497EA5}"/>
              </a:ext>
            </a:extLst>
          </p:cNvPr>
          <p:cNvSpPr>
            <a:spLocks noGrp="1"/>
          </p:cNvSpPr>
          <p:nvPr>
            <p:ph sz="quarter" idx="21"/>
          </p:nvPr>
        </p:nvSpPr>
        <p:spPr/>
        <p:txBody>
          <a:bodyPr/>
          <a:lstStyle/>
          <a:p>
            <a:r>
              <a:rPr lang="en-US"/>
              <a:t> </a:t>
            </a:r>
          </a:p>
        </p:txBody>
      </p:sp>
      <p:sp>
        <p:nvSpPr>
          <p:cNvPr id="3" name="Title 2">
            <a:extLst>
              <a:ext uri="{FF2B5EF4-FFF2-40B4-BE49-F238E27FC236}">
                <a16:creationId xmlns:a16="http://schemas.microsoft.com/office/drawing/2014/main" id="{2C36D212-3AA6-46B0-9613-0211970F8788}"/>
              </a:ext>
            </a:extLst>
          </p:cNvPr>
          <p:cNvSpPr>
            <a:spLocks noGrp="1"/>
          </p:cNvSpPr>
          <p:nvPr>
            <p:ph type="title"/>
          </p:nvPr>
        </p:nvSpPr>
        <p:spPr>
          <a:xfrm>
            <a:off x="333264" y="682313"/>
            <a:ext cx="11520000" cy="492443"/>
          </a:xfrm>
        </p:spPr>
        <p:txBody>
          <a:bodyPr anchor="t"/>
          <a:lstStyle/>
          <a:p>
            <a:r>
              <a:rPr lang="en-US" b="1" noProof="0" dirty="0"/>
              <a:t>Well positioned across global markets</a:t>
            </a:r>
          </a:p>
        </p:txBody>
      </p:sp>
      <p:sp>
        <p:nvSpPr>
          <p:cNvPr id="6" name="Subtitle 5">
            <a:extLst>
              <a:ext uri="{FF2B5EF4-FFF2-40B4-BE49-F238E27FC236}">
                <a16:creationId xmlns:a16="http://schemas.microsoft.com/office/drawing/2014/main" id="{CF35AFB6-1F1C-4072-8EC5-8BEC5C3E2F99}"/>
              </a:ext>
            </a:extLst>
          </p:cNvPr>
          <p:cNvSpPr>
            <a:spLocks noGrp="1"/>
          </p:cNvSpPr>
          <p:nvPr>
            <p:ph type="subTitle" idx="13"/>
          </p:nvPr>
        </p:nvSpPr>
        <p:spPr/>
        <p:txBody>
          <a:bodyPr/>
          <a:lstStyle/>
          <a:p>
            <a:r>
              <a:rPr lang="en-US"/>
              <a:t> </a:t>
            </a:r>
          </a:p>
        </p:txBody>
      </p:sp>
      <p:sp>
        <p:nvSpPr>
          <p:cNvPr id="17" name="Footer Placeholder 4">
            <a:extLst>
              <a:ext uri="{FF2B5EF4-FFF2-40B4-BE49-F238E27FC236}">
                <a16:creationId xmlns:a16="http://schemas.microsoft.com/office/drawing/2014/main" id="{175E74E4-DB55-42BE-ABF0-E9DDEB275F4D}"/>
              </a:ext>
            </a:extLst>
          </p:cNvPr>
          <p:cNvSpPr txBox="1">
            <a:spLocks/>
          </p:cNvSpPr>
          <p:nvPr/>
        </p:nvSpPr>
        <p:spPr bwMode="gray">
          <a:xfrm>
            <a:off x="6895092" y="6563289"/>
            <a:ext cx="1015463" cy="198774"/>
          </a:xfrm>
          <a:prstGeom prst="rect">
            <a:avLst/>
          </a:prstGeom>
          <a:noFill/>
        </p:spPr>
        <p:txBody>
          <a:bodyPr vert="horz" lIns="0" tIns="0" rIns="0" bIns="0" rtlCol="0" anchor="ctr">
            <a:noAutofit/>
          </a:bodyPr>
          <a:lstStyle>
            <a:defPPr>
              <a:defRPr lang="en-US"/>
            </a:defPPr>
            <a:lvl1pPr marL="0" algn="l" defTabSz="914400" rtl="0" eaLnBrk="1" latinLnBrk="0" hangingPunct="1">
              <a:defRPr sz="1000" kern="1200">
                <a:solidFill>
                  <a:schemeClr val="accent3"/>
                </a:solidFill>
                <a:latin typeface="+mn-lt"/>
                <a:ea typeface="+mn-ea"/>
                <a:cs typeface="+mn-cs"/>
              </a:defRPr>
            </a:lvl1pPr>
            <a:lvl2pPr marL="0" indent="0" algn="l" defTabSz="914400" rtl="0" eaLnBrk="1" latinLnBrk="0" hangingPunct="1">
              <a:defRPr sz="1000" kern="1200">
                <a:solidFill>
                  <a:schemeClr val="accent3"/>
                </a:solidFill>
                <a:latin typeface="+mn-lt"/>
                <a:ea typeface="+mn-ea"/>
                <a:cs typeface="+mn-cs"/>
              </a:defRPr>
            </a:lvl2pPr>
            <a:lvl3pPr marL="0" indent="0" algn="l" defTabSz="914400" rtl="0" eaLnBrk="1" latinLnBrk="0" hangingPunct="1">
              <a:defRPr sz="1000" kern="1200">
                <a:solidFill>
                  <a:schemeClr val="accent3"/>
                </a:solidFill>
                <a:latin typeface="+mn-lt"/>
                <a:ea typeface="+mn-ea"/>
                <a:cs typeface="+mn-cs"/>
              </a:defRPr>
            </a:lvl3pPr>
            <a:lvl4pPr marL="0" indent="0" algn="l" defTabSz="914400" rtl="0" eaLnBrk="1" latinLnBrk="0" hangingPunct="1">
              <a:defRPr sz="1000" kern="1200">
                <a:solidFill>
                  <a:schemeClr val="accent3"/>
                </a:solidFill>
                <a:latin typeface="+mn-lt"/>
                <a:ea typeface="+mn-ea"/>
                <a:cs typeface="+mn-cs"/>
              </a:defRPr>
            </a:lvl4pPr>
            <a:lvl5pPr marL="0" indent="0" algn="l" defTabSz="914400" rtl="0" eaLnBrk="1" latinLnBrk="0" hangingPunct="1">
              <a:defRPr sz="1000" kern="1200">
                <a:solidFill>
                  <a:schemeClr val="accent3"/>
                </a:solidFill>
                <a:latin typeface="+mn-lt"/>
                <a:ea typeface="+mn-ea"/>
                <a:cs typeface="+mn-cs"/>
              </a:defRPr>
            </a:lvl5pPr>
            <a:lvl6pPr marL="0" indent="0" algn="l" defTabSz="914400" rtl="0" eaLnBrk="1" latinLnBrk="0" hangingPunct="1">
              <a:defRPr sz="1000" kern="1200">
                <a:solidFill>
                  <a:schemeClr val="accent3"/>
                </a:solidFill>
                <a:latin typeface="+mn-lt"/>
                <a:ea typeface="+mn-ea"/>
                <a:cs typeface="+mn-cs"/>
              </a:defRPr>
            </a:lvl6pPr>
            <a:lvl7pPr marL="0" indent="0" algn="l" defTabSz="914400" rtl="0" eaLnBrk="1" latinLnBrk="0" hangingPunct="1">
              <a:defRPr sz="1000" kern="1200">
                <a:solidFill>
                  <a:schemeClr val="accent3"/>
                </a:solidFill>
                <a:latin typeface="+mn-lt"/>
                <a:ea typeface="+mn-ea"/>
                <a:cs typeface="+mn-cs"/>
              </a:defRPr>
            </a:lvl7pPr>
            <a:lvl8pPr marL="0" indent="0" algn="l" defTabSz="914400" rtl="0" eaLnBrk="1" latinLnBrk="0" hangingPunct="1">
              <a:defRPr sz="1000" kern="1200">
                <a:solidFill>
                  <a:schemeClr val="accent3"/>
                </a:solidFill>
                <a:latin typeface="+mn-lt"/>
                <a:ea typeface="+mn-ea"/>
                <a:cs typeface="+mn-cs"/>
              </a:defRPr>
            </a:lvl8pPr>
            <a:lvl9pPr marL="0" indent="0" algn="l" defTabSz="914400" rtl="0" eaLnBrk="1" latinLnBrk="0" hangingPunct="1">
              <a:defRPr sz="1000" kern="1200">
                <a:solidFill>
                  <a:schemeClr val="accent3"/>
                </a:solidFill>
                <a:latin typeface="+mn-lt"/>
                <a:ea typeface="+mn-ea"/>
                <a:cs typeface="+mn-cs"/>
              </a:defRPr>
            </a:lvl9pPr>
          </a:lstStyle>
          <a:p>
            <a:pPr lvl="8" algn="ctr"/>
            <a:r>
              <a:rPr lang="en-US" sz="1200" b="1">
                <a:solidFill>
                  <a:schemeClr val="bg1"/>
                </a:solidFill>
              </a:rPr>
              <a:t>2022 figures</a:t>
            </a:r>
          </a:p>
        </p:txBody>
      </p:sp>
      <p:sp>
        <p:nvSpPr>
          <p:cNvPr id="18" name="Rectangle 17">
            <a:extLst>
              <a:ext uri="{FF2B5EF4-FFF2-40B4-BE49-F238E27FC236}">
                <a16:creationId xmlns:a16="http://schemas.microsoft.com/office/drawing/2014/main" id="{6D602CB8-016A-4E3D-AA23-29BE19A0B6AE}"/>
              </a:ext>
            </a:extLst>
          </p:cNvPr>
          <p:cNvSpPr/>
          <p:nvPr/>
        </p:nvSpPr>
        <p:spPr bwMode="gray">
          <a:xfrm>
            <a:off x="8015778" y="-3400"/>
            <a:ext cx="4176221" cy="6861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rtlCol="0" anchor="ctr"/>
          <a:lstStyle/>
          <a:p>
            <a:pPr>
              <a:lnSpc>
                <a:spcPts val="2700"/>
              </a:lnSpc>
              <a:spcBef>
                <a:spcPts val="1200"/>
              </a:spcBef>
            </a:pPr>
            <a:r>
              <a:rPr lang="en-US" sz="1600" b="1">
                <a:solidFill>
                  <a:srgbClr val="262626"/>
                </a:solidFill>
                <a:effectLst/>
                <a:latin typeface="ABBvoice" panose="020D0603020503020204" pitchFamily="34" charset="0"/>
                <a:ea typeface="ABBvoice" panose="020D0603020503020204" pitchFamily="34" charset="0"/>
                <a:cs typeface="ABBvoice" panose="020D0603020503020204" pitchFamily="34" charset="0"/>
              </a:rPr>
              <a:t>ABB</a:t>
            </a: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 is a technology leader in </a:t>
            </a:r>
            <a:r>
              <a:rPr lang="en-US" sz="1600" b="1">
                <a:solidFill>
                  <a:srgbClr val="262626"/>
                </a:solidFill>
                <a:effectLst/>
                <a:latin typeface="ABBvoice" panose="020D0603020503020204" pitchFamily="34" charset="0"/>
                <a:ea typeface="ABBvoice" panose="020D0603020503020204" pitchFamily="34" charset="0"/>
                <a:cs typeface="ABBvoice" panose="020D0603020503020204" pitchFamily="34" charset="0"/>
              </a:rPr>
              <a:t>electrification</a:t>
            </a: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 and </a:t>
            </a:r>
            <a:r>
              <a:rPr lang="en-US" sz="1600" b="1">
                <a:solidFill>
                  <a:srgbClr val="262626"/>
                </a:solidFill>
                <a:effectLst/>
                <a:latin typeface="ABBvoice" panose="020D0603020503020204" pitchFamily="34" charset="0"/>
                <a:ea typeface="ABBvoice" panose="020D0603020503020204" pitchFamily="34" charset="0"/>
                <a:cs typeface="ABBvoice" panose="020D0603020503020204" pitchFamily="34" charset="0"/>
              </a:rPr>
              <a:t>automation</a:t>
            </a: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 enabling a more sustainable and resource-efficient future. </a:t>
            </a:r>
          </a:p>
          <a:p>
            <a:pPr>
              <a:lnSpc>
                <a:spcPts val="2700"/>
              </a:lnSpc>
              <a:spcBef>
                <a:spcPts val="1200"/>
              </a:spcBef>
            </a:pP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The company’s solutions connect engineering know-how and software to optimize how things are </a:t>
            </a:r>
            <a:r>
              <a:rPr lang="en-US" sz="1600" b="1">
                <a:solidFill>
                  <a:srgbClr val="262626"/>
                </a:solidFill>
                <a:effectLst/>
                <a:latin typeface="ABBvoice" panose="020D0603020503020204" pitchFamily="34" charset="0"/>
                <a:ea typeface="ABBvoice" panose="020D0603020503020204" pitchFamily="34" charset="0"/>
                <a:cs typeface="ABBvoice" panose="020D0603020503020204" pitchFamily="34" charset="0"/>
              </a:rPr>
              <a:t>manufactured</a:t>
            </a: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 </a:t>
            </a:r>
            <a:r>
              <a:rPr lang="en-US" sz="1600" b="1">
                <a:solidFill>
                  <a:srgbClr val="262626"/>
                </a:solidFill>
                <a:effectLst/>
                <a:latin typeface="ABBvoice" panose="020D0603020503020204" pitchFamily="34" charset="0"/>
                <a:ea typeface="ABBvoice" panose="020D0603020503020204" pitchFamily="34" charset="0"/>
                <a:cs typeface="ABBvoice" panose="020D0603020503020204" pitchFamily="34" charset="0"/>
              </a:rPr>
              <a:t>moved</a:t>
            </a: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 </a:t>
            </a:r>
            <a:r>
              <a:rPr lang="en-US" sz="1600" b="1">
                <a:solidFill>
                  <a:srgbClr val="262626"/>
                </a:solidFill>
                <a:effectLst/>
                <a:latin typeface="ABBvoice" panose="020D0603020503020204" pitchFamily="34" charset="0"/>
                <a:ea typeface="ABBvoice" panose="020D0603020503020204" pitchFamily="34" charset="0"/>
                <a:cs typeface="ABBvoice" panose="020D0603020503020204" pitchFamily="34" charset="0"/>
              </a:rPr>
              <a:t>powered</a:t>
            </a: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 and </a:t>
            </a:r>
            <a:r>
              <a:rPr lang="en-US" sz="1600" b="1">
                <a:solidFill>
                  <a:srgbClr val="262626"/>
                </a:solidFill>
                <a:effectLst/>
                <a:latin typeface="ABBvoice" panose="020D0603020503020204" pitchFamily="34" charset="0"/>
                <a:ea typeface="ABBvoice" panose="020D0603020503020204" pitchFamily="34" charset="0"/>
                <a:cs typeface="ABBvoice" panose="020D0603020503020204" pitchFamily="34" charset="0"/>
              </a:rPr>
              <a:t>operated</a:t>
            </a:r>
            <a:r>
              <a:rPr lang="en-US" sz="1600">
                <a:solidFill>
                  <a:srgbClr val="262626"/>
                </a:solidFill>
                <a:effectLst/>
                <a:latin typeface="ABBvoice" panose="020D0603020503020204" pitchFamily="34" charset="0"/>
                <a:ea typeface="ABBvoice" panose="020D0603020503020204" pitchFamily="34" charset="0"/>
                <a:cs typeface="ABBvoice" panose="020D0603020503020204" pitchFamily="34" charset="0"/>
              </a:rPr>
              <a:t>. </a:t>
            </a:r>
            <a:endParaRPr lang="en-US" sz="1600">
              <a:effectLst/>
              <a:latin typeface="ABBvoice" panose="020D0603020503020204" pitchFamily="34" charset="0"/>
              <a:ea typeface="ABBvoice" panose="020D0603020503020204" pitchFamily="34" charset="0"/>
              <a:cs typeface="ABBvoice" panose="020D0603020503020204" pitchFamily="34" charset="0"/>
            </a:endParaRPr>
          </a:p>
          <a:p>
            <a:pPr>
              <a:lnSpc>
                <a:spcPts val="2700"/>
              </a:lnSpc>
              <a:spcBef>
                <a:spcPts val="1200"/>
              </a:spcBef>
            </a:pPr>
            <a:endParaRPr lang="en-US" sz="1600">
              <a:solidFill>
                <a:schemeClr val="tx1"/>
              </a:solidFill>
            </a:endParaRPr>
          </a:p>
        </p:txBody>
      </p:sp>
      <p:pic>
        <p:nvPicPr>
          <p:cNvPr id="16" name="Picture 19">
            <a:extLst>
              <a:ext uri="{FF2B5EF4-FFF2-40B4-BE49-F238E27FC236}">
                <a16:creationId xmlns:a16="http://schemas.microsoft.com/office/drawing/2014/main" id="{54CBA875-481B-445E-BC70-3D5175E3947E}"/>
              </a:ext>
            </a:extLst>
          </p:cNvPr>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3">
            <a:extLst>
              <a:ext uri="{FF2B5EF4-FFF2-40B4-BE49-F238E27FC236}">
                <a16:creationId xmlns:a16="http://schemas.microsoft.com/office/drawing/2014/main" id="{65C3E2D4-9A12-4651-A50B-40C498C10B6E}"/>
              </a:ext>
            </a:extLst>
          </p:cNvPr>
          <p:cNvGrpSpPr/>
          <p:nvPr/>
        </p:nvGrpSpPr>
        <p:grpSpPr>
          <a:xfrm>
            <a:off x="573126" y="2220536"/>
            <a:ext cx="1706726" cy="565269"/>
            <a:chOff x="573126" y="2241772"/>
            <a:chExt cx="1706726" cy="565269"/>
          </a:xfrm>
        </p:grpSpPr>
        <p:sp>
          <p:nvSpPr>
            <p:cNvPr id="34" name="Rectangle 33">
              <a:extLst>
                <a:ext uri="{FF2B5EF4-FFF2-40B4-BE49-F238E27FC236}">
                  <a16:creationId xmlns:a16="http://schemas.microsoft.com/office/drawing/2014/main" id="{957DBF27-1552-4066-A053-EAF449F43419}"/>
                </a:ext>
              </a:extLst>
            </p:cNvPr>
            <p:cNvSpPr/>
            <p:nvPr/>
          </p:nvSpPr>
          <p:spPr>
            <a:xfrm>
              <a:off x="573126" y="2241772"/>
              <a:ext cx="1706726" cy="203211"/>
            </a:xfrm>
            <a:prstGeom prst="rect">
              <a:avLst/>
            </a:prstGeom>
          </p:spPr>
          <p:txBody>
            <a:bodyPr wrap="square" anchor="ctr">
              <a:noAutofit/>
            </a:bodyPr>
            <a:lstStyle/>
            <a:p>
              <a:pPr algn="ctr">
                <a:spcBef>
                  <a:spcPts val="1200"/>
                </a:spcBef>
              </a:pPr>
              <a:r>
                <a:rPr lang="en-US" sz="2000" b="1">
                  <a:solidFill>
                    <a:schemeClr val="bg1"/>
                  </a:solidFill>
                </a:rPr>
                <a:t>Employees</a:t>
              </a:r>
            </a:p>
          </p:txBody>
        </p:sp>
        <p:sp>
          <p:nvSpPr>
            <p:cNvPr id="35" name="Rectangle 34">
              <a:extLst>
                <a:ext uri="{FF2B5EF4-FFF2-40B4-BE49-F238E27FC236}">
                  <a16:creationId xmlns:a16="http://schemas.microsoft.com/office/drawing/2014/main" id="{8CAAF9C4-D867-482F-ACDA-02AA7B41CCCD}"/>
                </a:ext>
              </a:extLst>
            </p:cNvPr>
            <p:cNvSpPr/>
            <p:nvPr/>
          </p:nvSpPr>
          <p:spPr>
            <a:xfrm>
              <a:off x="573126" y="2585003"/>
              <a:ext cx="1706726" cy="222038"/>
            </a:xfrm>
            <a:prstGeom prst="rect">
              <a:avLst/>
            </a:prstGeom>
          </p:spPr>
          <p:txBody>
            <a:bodyPr wrap="square" anchor="ctr">
              <a:noAutofit/>
            </a:bodyPr>
            <a:lstStyle/>
            <a:p>
              <a:pPr algn="ctr">
                <a:spcBef>
                  <a:spcPts val="1200"/>
                </a:spcBef>
              </a:pPr>
              <a:r>
                <a:rPr lang="en-US" sz="2000">
                  <a:solidFill>
                    <a:schemeClr val="bg1"/>
                  </a:solidFill>
                  <a:latin typeface="ABBvoice Light" panose="020D0403020503020204" pitchFamily="34" charset="0"/>
                  <a:ea typeface="ABBvoice Light" panose="020D0403020503020204" pitchFamily="34" charset="0"/>
                  <a:cs typeface="ABBvoice Light" panose="020D0403020503020204" pitchFamily="34" charset="0"/>
                </a:rPr>
                <a:t>~105,000</a:t>
              </a:r>
            </a:p>
          </p:txBody>
        </p:sp>
      </p:grpSp>
      <p:grpSp>
        <p:nvGrpSpPr>
          <p:cNvPr id="20" name="Group 19">
            <a:extLst>
              <a:ext uri="{FF2B5EF4-FFF2-40B4-BE49-F238E27FC236}">
                <a16:creationId xmlns:a16="http://schemas.microsoft.com/office/drawing/2014/main" id="{B3D74312-4A8D-4DD8-A61F-EBE718EED8E8}"/>
              </a:ext>
            </a:extLst>
          </p:cNvPr>
          <p:cNvGrpSpPr/>
          <p:nvPr/>
        </p:nvGrpSpPr>
        <p:grpSpPr>
          <a:xfrm>
            <a:off x="2926873" y="2220536"/>
            <a:ext cx="1706726" cy="565269"/>
            <a:chOff x="2926873" y="2241772"/>
            <a:chExt cx="1706726" cy="565269"/>
          </a:xfrm>
        </p:grpSpPr>
        <p:sp>
          <p:nvSpPr>
            <p:cNvPr id="38" name="Rectangle 37">
              <a:extLst>
                <a:ext uri="{FF2B5EF4-FFF2-40B4-BE49-F238E27FC236}">
                  <a16:creationId xmlns:a16="http://schemas.microsoft.com/office/drawing/2014/main" id="{96239378-1828-49ED-8356-D922C36B800F}"/>
                </a:ext>
              </a:extLst>
            </p:cNvPr>
            <p:cNvSpPr/>
            <p:nvPr/>
          </p:nvSpPr>
          <p:spPr>
            <a:xfrm>
              <a:off x="2926873" y="2241772"/>
              <a:ext cx="1706726" cy="203211"/>
            </a:xfrm>
            <a:prstGeom prst="rect">
              <a:avLst/>
            </a:prstGeom>
          </p:spPr>
          <p:txBody>
            <a:bodyPr wrap="square" anchor="ctr">
              <a:noAutofit/>
            </a:bodyPr>
            <a:lstStyle/>
            <a:p>
              <a:pPr algn="ctr">
                <a:spcBef>
                  <a:spcPts val="1200"/>
                </a:spcBef>
              </a:pPr>
              <a:r>
                <a:rPr lang="en-US" sz="2000" b="1">
                  <a:solidFill>
                    <a:schemeClr val="bg1"/>
                  </a:solidFill>
                </a:rPr>
                <a:t>Countries</a:t>
              </a:r>
            </a:p>
          </p:txBody>
        </p:sp>
        <p:sp>
          <p:nvSpPr>
            <p:cNvPr id="39" name="Rectangle 38">
              <a:extLst>
                <a:ext uri="{FF2B5EF4-FFF2-40B4-BE49-F238E27FC236}">
                  <a16:creationId xmlns:a16="http://schemas.microsoft.com/office/drawing/2014/main" id="{9CB16ED8-4C9C-4FA0-894C-35155EE4D32A}"/>
                </a:ext>
              </a:extLst>
            </p:cNvPr>
            <p:cNvSpPr/>
            <p:nvPr/>
          </p:nvSpPr>
          <p:spPr>
            <a:xfrm>
              <a:off x="2926873" y="2585003"/>
              <a:ext cx="1706726" cy="222038"/>
            </a:xfrm>
            <a:prstGeom prst="rect">
              <a:avLst/>
            </a:prstGeom>
          </p:spPr>
          <p:txBody>
            <a:bodyPr wrap="square" anchor="ctr">
              <a:noAutofit/>
            </a:bodyPr>
            <a:lstStyle/>
            <a:p>
              <a:pPr algn="ctr">
                <a:spcBef>
                  <a:spcPts val="1200"/>
                </a:spcBef>
              </a:pPr>
              <a:r>
                <a:rPr lang="en-US" sz="2000">
                  <a:solidFill>
                    <a:schemeClr val="bg1"/>
                  </a:solidFill>
                  <a:latin typeface="ABBvoice Light" panose="020D0403020503020204" pitchFamily="34" charset="0"/>
                  <a:ea typeface="ABBvoice Light" panose="020D0403020503020204" pitchFamily="34" charset="0"/>
                  <a:cs typeface="ABBvoice Light" panose="020D0403020503020204" pitchFamily="34" charset="0"/>
                </a:rPr>
                <a:t>&gt;100</a:t>
              </a:r>
            </a:p>
          </p:txBody>
        </p:sp>
      </p:grpSp>
      <p:grpSp>
        <p:nvGrpSpPr>
          <p:cNvPr id="21" name="Group 20">
            <a:extLst>
              <a:ext uri="{FF2B5EF4-FFF2-40B4-BE49-F238E27FC236}">
                <a16:creationId xmlns:a16="http://schemas.microsoft.com/office/drawing/2014/main" id="{C98C0A2E-F033-4D7A-A568-3445DDD5F34B}"/>
              </a:ext>
            </a:extLst>
          </p:cNvPr>
          <p:cNvGrpSpPr/>
          <p:nvPr/>
        </p:nvGrpSpPr>
        <p:grpSpPr>
          <a:xfrm>
            <a:off x="5280620" y="2220536"/>
            <a:ext cx="1706726" cy="565269"/>
            <a:chOff x="5280620" y="2241772"/>
            <a:chExt cx="1706726" cy="565269"/>
          </a:xfrm>
        </p:grpSpPr>
        <p:sp>
          <p:nvSpPr>
            <p:cNvPr id="42" name="Rectangle 41">
              <a:extLst>
                <a:ext uri="{FF2B5EF4-FFF2-40B4-BE49-F238E27FC236}">
                  <a16:creationId xmlns:a16="http://schemas.microsoft.com/office/drawing/2014/main" id="{CC964DDE-8E54-497E-9EF8-CD84953EFA3E}"/>
                </a:ext>
              </a:extLst>
            </p:cNvPr>
            <p:cNvSpPr/>
            <p:nvPr/>
          </p:nvSpPr>
          <p:spPr>
            <a:xfrm>
              <a:off x="5280620" y="2241772"/>
              <a:ext cx="1706726" cy="203211"/>
            </a:xfrm>
            <a:prstGeom prst="rect">
              <a:avLst/>
            </a:prstGeom>
          </p:spPr>
          <p:txBody>
            <a:bodyPr wrap="square" anchor="ctr">
              <a:noAutofit/>
            </a:bodyPr>
            <a:lstStyle/>
            <a:p>
              <a:pPr algn="ctr">
                <a:spcBef>
                  <a:spcPts val="1200"/>
                </a:spcBef>
              </a:pPr>
              <a:r>
                <a:rPr lang="en-US" sz="2000" b="1">
                  <a:solidFill>
                    <a:schemeClr val="bg1"/>
                  </a:solidFill>
                </a:rPr>
                <a:t>Revenues</a:t>
              </a:r>
            </a:p>
          </p:txBody>
        </p:sp>
        <p:sp>
          <p:nvSpPr>
            <p:cNvPr id="43" name="Rectangle 42">
              <a:extLst>
                <a:ext uri="{FF2B5EF4-FFF2-40B4-BE49-F238E27FC236}">
                  <a16:creationId xmlns:a16="http://schemas.microsoft.com/office/drawing/2014/main" id="{D9EAF5C3-DAF2-4081-ADEB-E64D688C7625}"/>
                </a:ext>
              </a:extLst>
            </p:cNvPr>
            <p:cNvSpPr/>
            <p:nvPr/>
          </p:nvSpPr>
          <p:spPr>
            <a:xfrm>
              <a:off x="5280620" y="2585003"/>
              <a:ext cx="1706726" cy="222038"/>
            </a:xfrm>
            <a:prstGeom prst="rect">
              <a:avLst/>
            </a:prstGeom>
          </p:spPr>
          <p:txBody>
            <a:bodyPr wrap="square" anchor="ctr">
              <a:noAutofit/>
            </a:bodyPr>
            <a:lstStyle/>
            <a:p>
              <a:pPr algn="ctr">
                <a:spcBef>
                  <a:spcPts val="1200"/>
                </a:spcBef>
              </a:pPr>
              <a:r>
                <a:rPr lang="en-US" sz="2000">
                  <a:solidFill>
                    <a:schemeClr val="bg1"/>
                  </a:solidFill>
                  <a:latin typeface="ABBvoice Light" panose="020D0403020503020204" pitchFamily="34" charset="0"/>
                  <a:ea typeface="ABBvoice Light" panose="020D0403020503020204" pitchFamily="34" charset="0"/>
                  <a:cs typeface="ABBvoice Light" panose="020D0403020503020204" pitchFamily="34" charset="0"/>
                </a:rPr>
                <a:t>~$29 bn</a:t>
              </a:r>
            </a:p>
          </p:txBody>
        </p:sp>
      </p:grpSp>
      <p:sp>
        <p:nvSpPr>
          <p:cNvPr id="54" name="Rectangle 53">
            <a:extLst>
              <a:ext uri="{FF2B5EF4-FFF2-40B4-BE49-F238E27FC236}">
                <a16:creationId xmlns:a16="http://schemas.microsoft.com/office/drawing/2014/main" id="{396846DF-867D-4144-A094-3C2DFE0446EF}"/>
              </a:ext>
            </a:extLst>
          </p:cNvPr>
          <p:cNvSpPr/>
          <p:nvPr/>
        </p:nvSpPr>
        <p:spPr>
          <a:xfrm>
            <a:off x="1487670" y="4402994"/>
            <a:ext cx="963402" cy="203211"/>
          </a:xfrm>
          <a:prstGeom prst="rect">
            <a:avLst/>
          </a:prstGeom>
        </p:spPr>
        <p:txBody>
          <a:bodyPr wrap="square" anchor="ctr">
            <a:noAutofit/>
          </a:bodyPr>
          <a:lstStyle/>
          <a:p>
            <a:pPr algn="ctr">
              <a:spcBef>
                <a:spcPts val="1200"/>
              </a:spcBef>
            </a:pPr>
            <a:r>
              <a:rPr lang="en-US" sz="1600" b="1">
                <a:solidFill>
                  <a:schemeClr val="bg1"/>
                </a:solidFill>
              </a:rPr>
              <a:t>Europe</a:t>
            </a:r>
          </a:p>
        </p:txBody>
      </p:sp>
      <p:sp>
        <p:nvSpPr>
          <p:cNvPr id="55" name="Rectangle 54">
            <a:extLst>
              <a:ext uri="{FF2B5EF4-FFF2-40B4-BE49-F238E27FC236}">
                <a16:creationId xmlns:a16="http://schemas.microsoft.com/office/drawing/2014/main" id="{EE346112-D91D-4586-86E6-258207C97664}"/>
              </a:ext>
            </a:extLst>
          </p:cNvPr>
          <p:cNvSpPr/>
          <p:nvPr/>
        </p:nvSpPr>
        <p:spPr>
          <a:xfrm>
            <a:off x="1391121" y="4631924"/>
            <a:ext cx="1165716" cy="222038"/>
          </a:xfrm>
          <a:prstGeom prst="rect">
            <a:avLst/>
          </a:prstGeom>
        </p:spPr>
        <p:txBody>
          <a:bodyPr wrap="square" anchor="ctr">
            <a:noAutofit/>
          </a:bodyPr>
          <a:lstStyle/>
          <a:p>
            <a:pPr algn="ctr">
              <a:spcBef>
                <a:spcPts val="1200"/>
              </a:spcBef>
            </a:pPr>
            <a:r>
              <a:rPr lang="en-US" sz="1600">
                <a:solidFill>
                  <a:schemeClr val="bg1"/>
                </a:solidFill>
                <a:latin typeface="ABBvoice Light" panose="020D0403020503020204" pitchFamily="34" charset="0"/>
                <a:ea typeface="ABBvoice Light" panose="020D0403020503020204" pitchFamily="34" charset="0"/>
                <a:cs typeface="ABBvoice Light" panose="020D0403020503020204" pitchFamily="34" charset="0"/>
              </a:rPr>
              <a:t>~$10.3 bn</a:t>
            </a:r>
          </a:p>
        </p:txBody>
      </p:sp>
      <p:sp>
        <p:nvSpPr>
          <p:cNvPr id="56" name="Rectangle 55">
            <a:extLst>
              <a:ext uri="{FF2B5EF4-FFF2-40B4-BE49-F238E27FC236}">
                <a16:creationId xmlns:a16="http://schemas.microsoft.com/office/drawing/2014/main" id="{9111FDC5-987D-4D0C-9962-4095D7AEA30B}"/>
              </a:ext>
            </a:extLst>
          </p:cNvPr>
          <p:cNvSpPr/>
          <p:nvPr/>
        </p:nvSpPr>
        <p:spPr>
          <a:xfrm>
            <a:off x="3195319" y="4402994"/>
            <a:ext cx="1165716" cy="203211"/>
          </a:xfrm>
          <a:prstGeom prst="rect">
            <a:avLst/>
          </a:prstGeom>
        </p:spPr>
        <p:txBody>
          <a:bodyPr wrap="square" anchor="ctr">
            <a:noAutofit/>
          </a:bodyPr>
          <a:lstStyle/>
          <a:p>
            <a:pPr algn="ctr">
              <a:spcBef>
                <a:spcPts val="1200"/>
              </a:spcBef>
            </a:pPr>
            <a:r>
              <a:rPr lang="en-US" sz="1600" b="1">
                <a:solidFill>
                  <a:schemeClr val="bg1"/>
                </a:solidFill>
              </a:rPr>
              <a:t>Americas</a:t>
            </a:r>
          </a:p>
        </p:txBody>
      </p:sp>
      <p:sp>
        <p:nvSpPr>
          <p:cNvPr id="57" name="Rectangle 56">
            <a:extLst>
              <a:ext uri="{FF2B5EF4-FFF2-40B4-BE49-F238E27FC236}">
                <a16:creationId xmlns:a16="http://schemas.microsoft.com/office/drawing/2014/main" id="{E9A86753-2FD1-4D8C-81D7-17A6B689B270}"/>
              </a:ext>
            </a:extLst>
          </p:cNvPr>
          <p:cNvSpPr/>
          <p:nvPr/>
        </p:nvSpPr>
        <p:spPr>
          <a:xfrm>
            <a:off x="3252914" y="4631924"/>
            <a:ext cx="1059742" cy="222038"/>
          </a:xfrm>
          <a:prstGeom prst="rect">
            <a:avLst/>
          </a:prstGeom>
        </p:spPr>
        <p:txBody>
          <a:bodyPr wrap="square" anchor="ctr">
            <a:noAutofit/>
          </a:bodyPr>
          <a:lstStyle/>
          <a:p>
            <a:pPr algn="ctr">
              <a:spcBef>
                <a:spcPts val="1200"/>
              </a:spcBef>
            </a:pPr>
            <a:r>
              <a:rPr lang="en-US" sz="1600">
                <a:solidFill>
                  <a:schemeClr val="bg1"/>
                </a:solidFill>
                <a:latin typeface="ABBvoice Light" panose="020D0403020503020204" pitchFamily="34" charset="0"/>
                <a:ea typeface="ABBvoice Light" panose="020D0403020503020204" pitchFamily="34" charset="0"/>
                <a:cs typeface="ABBvoice Light" panose="020D0403020503020204" pitchFamily="34" charset="0"/>
              </a:rPr>
              <a:t>~$9.6 bn</a:t>
            </a:r>
          </a:p>
        </p:txBody>
      </p:sp>
      <p:sp>
        <p:nvSpPr>
          <p:cNvPr id="58" name="Rectangle 57">
            <a:extLst>
              <a:ext uri="{FF2B5EF4-FFF2-40B4-BE49-F238E27FC236}">
                <a16:creationId xmlns:a16="http://schemas.microsoft.com/office/drawing/2014/main" id="{184BE5CB-7D8E-4504-9787-9051A2E31C07}"/>
              </a:ext>
            </a:extLst>
          </p:cNvPr>
          <p:cNvSpPr/>
          <p:nvPr/>
        </p:nvSpPr>
        <p:spPr>
          <a:xfrm>
            <a:off x="5108051" y="4402994"/>
            <a:ext cx="963402" cy="203211"/>
          </a:xfrm>
          <a:prstGeom prst="rect">
            <a:avLst/>
          </a:prstGeom>
        </p:spPr>
        <p:txBody>
          <a:bodyPr wrap="square" anchor="ctr">
            <a:noAutofit/>
          </a:bodyPr>
          <a:lstStyle/>
          <a:p>
            <a:pPr algn="ctr">
              <a:spcBef>
                <a:spcPts val="1200"/>
              </a:spcBef>
            </a:pPr>
            <a:r>
              <a:rPr lang="en-US" sz="1600" b="1">
                <a:solidFill>
                  <a:schemeClr val="bg1"/>
                </a:solidFill>
              </a:rPr>
              <a:t>AMEA</a:t>
            </a:r>
          </a:p>
        </p:txBody>
      </p:sp>
      <p:sp>
        <p:nvSpPr>
          <p:cNvPr id="59" name="Rectangle 58">
            <a:extLst>
              <a:ext uri="{FF2B5EF4-FFF2-40B4-BE49-F238E27FC236}">
                <a16:creationId xmlns:a16="http://schemas.microsoft.com/office/drawing/2014/main" id="{FCD23746-3259-4793-8BFF-B656FACA33F7}"/>
              </a:ext>
            </a:extLst>
          </p:cNvPr>
          <p:cNvSpPr/>
          <p:nvPr/>
        </p:nvSpPr>
        <p:spPr>
          <a:xfrm>
            <a:off x="5064489" y="4631924"/>
            <a:ext cx="1059742" cy="222038"/>
          </a:xfrm>
          <a:prstGeom prst="rect">
            <a:avLst/>
          </a:prstGeom>
        </p:spPr>
        <p:txBody>
          <a:bodyPr wrap="square" anchor="ctr">
            <a:noAutofit/>
          </a:bodyPr>
          <a:lstStyle/>
          <a:p>
            <a:pPr algn="ctr">
              <a:spcBef>
                <a:spcPts val="1200"/>
              </a:spcBef>
            </a:pPr>
            <a:r>
              <a:rPr lang="en-US" sz="1600">
                <a:solidFill>
                  <a:schemeClr val="bg1"/>
                </a:solidFill>
                <a:latin typeface="ABBvoice Light" panose="020D0403020503020204" pitchFamily="34" charset="0"/>
                <a:ea typeface="ABBvoice Light" panose="020D0403020503020204" pitchFamily="34" charset="0"/>
                <a:cs typeface="ABBvoice Light" panose="020D0403020503020204" pitchFamily="34" charset="0"/>
              </a:rPr>
              <a:t>~$9.6 bn</a:t>
            </a:r>
          </a:p>
        </p:txBody>
      </p:sp>
      <p:sp>
        <p:nvSpPr>
          <p:cNvPr id="2" name="object 2">
            <a:extLst>
              <a:ext uri="{FF2B5EF4-FFF2-40B4-BE49-F238E27FC236}">
                <a16:creationId xmlns:a16="http://schemas.microsoft.com/office/drawing/2014/main" id="{FD2FF7A2-051C-8612-82FF-88494AB423F4}"/>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Tree>
    <p:extLst>
      <p:ext uri="{BB962C8B-B14F-4D97-AF65-F5344CB8AC3E}">
        <p14:creationId xmlns:p14="http://schemas.microsoft.com/office/powerpoint/2010/main" val="15095400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BEBE180-4401-4E1E-9403-0C1C724AEB6C}"/>
              </a:ext>
            </a:extLst>
          </p:cNvPr>
          <p:cNvSpPr/>
          <p:nvPr/>
        </p:nvSpPr>
        <p:spPr bwMode="gray">
          <a:xfrm>
            <a:off x="180975" y="5972175"/>
            <a:ext cx="1200649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 name="Content Placeholder 1">
            <a:extLst>
              <a:ext uri="{FF2B5EF4-FFF2-40B4-BE49-F238E27FC236}">
                <a16:creationId xmlns:a16="http://schemas.microsoft.com/office/drawing/2014/main" id="{0DFD250B-F435-486B-90F4-2FA1CC7EE338}"/>
              </a:ext>
            </a:extLst>
          </p:cNvPr>
          <p:cNvSpPr>
            <a:spLocks noGrp="1"/>
          </p:cNvSpPr>
          <p:nvPr>
            <p:ph sz="quarter" idx="21"/>
          </p:nvPr>
        </p:nvSpPr>
        <p:spPr/>
        <p:txBody>
          <a:bodyPr/>
          <a:lstStyle/>
          <a:p>
            <a:r>
              <a:rPr lang="en-US"/>
              <a:t> </a:t>
            </a:r>
          </a:p>
        </p:txBody>
      </p:sp>
      <p:sp>
        <p:nvSpPr>
          <p:cNvPr id="6" name="Subtitle 5">
            <a:extLst>
              <a:ext uri="{FF2B5EF4-FFF2-40B4-BE49-F238E27FC236}">
                <a16:creationId xmlns:a16="http://schemas.microsoft.com/office/drawing/2014/main" id="{D5C8EEA6-5850-453A-B272-D03637E340AC}"/>
              </a:ext>
            </a:extLst>
          </p:cNvPr>
          <p:cNvSpPr>
            <a:spLocks noGrp="1"/>
          </p:cNvSpPr>
          <p:nvPr>
            <p:ph type="subTitle" idx="13"/>
          </p:nvPr>
        </p:nvSpPr>
        <p:spPr>
          <a:xfrm>
            <a:off x="333264" y="1085213"/>
            <a:ext cx="5762736" cy="504000"/>
          </a:xfrm>
        </p:spPr>
        <p:txBody>
          <a:bodyPr/>
          <a:lstStyle/>
          <a:p>
            <a:r>
              <a:rPr lang="en-US" sz="2400">
                <a:latin typeface="ABBvoice Light" panose="020D0403020503020204" pitchFamily="34" charset="0"/>
                <a:ea typeface="ABBvoice Light" panose="020D0403020503020204" pitchFamily="34" charset="0"/>
                <a:cs typeface="ABBvoice Light" panose="020D0403020503020204" pitchFamily="34" charset="0"/>
              </a:rPr>
              <a:t>People</a:t>
            </a:r>
            <a:endParaRPr lang="en-US" sz="200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4" name="Title 2">
            <a:extLst>
              <a:ext uri="{FF2B5EF4-FFF2-40B4-BE49-F238E27FC236}">
                <a16:creationId xmlns:a16="http://schemas.microsoft.com/office/drawing/2014/main" id="{0357229D-2887-466E-9DC7-1DEA5FB29CE7}"/>
              </a:ext>
            </a:extLst>
          </p:cNvPr>
          <p:cNvSpPr>
            <a:spLocks noGrp="1"/>
          </p:cNvSpPr>
          <p:nvPr>
            <p:ph type="title"/>
          </p:nvPr>
        </p:nvSpPr>
        <p:spPr>
          <a:xfrm>
            <a:off x="333264" y="682313"/>
            <a:ext cx="3481426" cy="396000"/>
          </a:xfrm>
        </p:spPr>
        <p:txBody>
          <a:bodyPr/>
          <a:lstStyle/>
          <a:p>
            <a:r>
              <a:rPr lang="en-US" sz="2800" dirty="0">
                <a:latin typeface="ABBvoice" panose="020D0603020503020204" pitchFamily="34" charset="0"/>
                <a:ea typeface="ABBvoice" panose="020D0603020503020204" pitchFamily="34" charset="0"/>
                <a:cs typeface="ABBvoice" panose="020D0603020503020204" pitchFamily="34" charset="0"/>
              </a:rPr>
              <a:t>Our priorities</a:t>
            </a:r>
            <a:endParaRPr lang="en-US" sz="2800" noProof="0" dirty="0"/>
          </a:p>
        </p:txBody>
      </p:sp>
      <p:sp>
        <p:nvSpPr>
          <p:cNvPr id="16" name="Content Placeholder 3">
            <a:extLst>
              <a:ext uri="{FF2B5EF4-FFF2-40B4-BE49-F238E27FC236}">
                <a16:creationId xmlns:a16="http://schemas.microsoft.com/office/drawing/2014/main" id="{53F40D6A-2B5B-4C64-94DD-9BAD61D87746}"/>
              </a:ext>
            </a:extLst>
          </p:cNvPr>
          <p:cNvSpPr txBox="1">
            <a:spLocks/>
          </p:cNvSpPr>
          <p:nvPr/>
        </p:nvSpPr>
        <p:spPr bwMode="gray">
          <a:xfrm>
            <a:off x="333264" y="1839737"/>
            <a:ext cx="5423103" cy="222607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ts val="2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We believe our people are the most critical ingredient to our long-term success. A culture of diversity, inclusion and equal opportunity is critical to our business success and makes us stronger. </a:t>
            </a:r>
            <a:br>
              <a:rPr kumimoji="0" lang="en-US" sz="1600" b="0" i="0" u="none" strike="noStrike" kern="1200" cap="none" spc="0" normalizeH="0" baseline="0" noProof="0">
                <a:ln>
                  <a:noFill/>
                </a:ln>
                <a:solidFill>
                  <a:srgbClr val="000000"/>
                </a:solidFill>
                <a:effectLst/>
                <a:uLnTx/>
                <a:uFillTx/>
                <a:latin typeface="ABBvoice"/>
                <a:ea typeface="ABBvoice"/>
                <a:cs typeface="ABBvoice"/>
              </a:rPr>
            </a:br>
            <a:r>
              <a:rPr kumimoji="0" lang="en-US" sz="1600" b="0" i="0" u="none" strike="noStrike" kern="1200" cap="none" spc="0" normalizeH="0" baseline="0" noProof="0">
                <a:ln>
                  <a:noFill/>
                </a:ln>
                <a:solidFill>
                  <a:srgbClr val="000000"/>
                </a:solidFill>
                <a:effectLst/>
                <a:uLnTx/>
                <a:uFillTx/>
                <a:latin typeface="ABBvoice"/>
                <a:ea typeface="ABBvoice"/>
                <a:cs typeface="ABBvoice"/>
              </a:rPr>
              <a:t>Relying on our people’s unique attitude, experience and domain expertise, we push the boundaries of technology to drive performance, shape new business models and find new ways of working that make our customers, partners and society better off.</a:t>
            </a:r>
          </a:p>
        </p:txBody>
      </p:sp>
      <p:pic>
        <p:nvPicPr>
          <p:cNvPr id="12" name="Picture 11">
            <a:extLst>
              <a:ext uri="{FF2B5EF4-FFF2-40B4-BE49-F238E27FC236}">
                <a16:creationId xmlns:a16="http://schemas.microsoft.com/office/drawing/2014/main" id="{E9C7B9DB-19F5-4DBB-BB90-E23B71C7F42B}"/>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6159934" y="0"/>
            <a:ext cx="6096000" cy="6858000"/>
          </a:xfrm>
          <a:prstGeom prst="rect">
            <a:avLst/>
          </a:prstGeom>
        </p:spPr>
      </p:pic>
      <p:pic>
        <p:nvPicPr>
          <p:cNvPr id="35" name="Picture 19">
            <a:extLst>
              <a:ext uri="{FF2B5EF4-FFF2-40B4-BE49-F238E27FC236}">
                <a16:creationId xmlns:a16="http://schemas.microsoft.com/office/drawing/2014/main" id="{06366C6F-25D5-4E83-87C4-61BAA8463B8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9736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BEBE180-4401-4E1E-9403-0C1C724AEB6C}"/>
              </a:ext>
            </a:extLst>
          </p:cNvPr>
          <p:cNvSpPr/>
          <p:nvPr/>
        </p:nvSpPr>
        <p:spPr bwMode="gray">
          <a:xfrm>
            <a:off x="180975" y="5972175"/>
            <a:ext cx="1200649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 name="Content Placeholder 1">
            <a:extLst>
              <a:ext uri="{FF2B5EF4-FFF2-40B4-BE49-F238E27FC236}">
                <a16:creationId xmlns:a16="http://schemas.microsoft.com/office/drawing/2014/main" id="{0DFD250B-F435-486B-90F4-2FA1CC7EE338}"/>
              </a:ext>
            </a:extLst>
          </p:cNvPr>
          <p:cNvSpPr>
            <a:spLocks noGrp="1"/>
          </p:cNvSpPr>
          <p:nvPr>
            <p:ph sz="quarter" idx="21"/>
          </p:nvPr>
        </p:nvSpPr>
        <p:spPr/>
        <p:txBody>
          <a:bodyPr/>
          <a:lstStyle/>
          <a:p>
            <a:r>
              <a:rPr lang="en-US"/>
              <a:t> </a:t>
            </a:r>
          </a:p>
        </p:txBody>
      </p:sp>
      <p:pic>
        <p:nvPicPr>
          <p:cNvPr id="35" name="Picture 19">
            <a:extLst>
              <a:ext uri="{FF2B5EF4-FFF2-40B4-BE49-F238E27FC236}">
                <a16:creationId xmlns:a16="http://schemas.microsoft.com/office/drawing/2014/main" id="{06366C6F-25D5-4E83-87C4-61BAA8463B83}"/>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13" name="Subtitle 5">
            <a:extLst>
              <a:ext uri="{FF2B5EF4-FFF2-40B4-BE49-F238E27FC236}">
                <a16:creationId xmlns:a16="http://schemas.microsoft.com/office/drawing/2014/main" id="{229BE0F8-8E8E-7106-659E-8E5490F4482F}"/>
              </a:ext>
            </a:extLst>
          </p:cNvPr>
          <p:cNvSpPr>
            <a:spLocks noGrp="1"/>
          </p:cNvSpPr>
          <p:nvPr>
            <p:ph type="subTitle" idx="13"/>
          </p:nvPr>
        </p:nvSpPr>
        <p:spPr>
          <a:xfrm>
            <a:off x="333264" y="1085213"/>
            <a:ext cx="5762736" cy="504000"/>
          </a:xfrm>
        </p:spPr>
        <p:txBody>
          <a:bodyPr/>
          <a:lstStyle/>
          <a:p>
            <a:r>
              <a:rPr lang="en-US" sz="2400">
                <a:latin typeface="ABBvoice Light" panose="020D0403020503020204" pitchFamily="34" charset="0"/>
                <a:ea typeface="ABBvoice Light" panose="020D0403020503020204" pitchFamily="34" charset="0"/>
                <a:cs typeface="ABBvoice Light" panose="020D0403020503020204" pitchFamily="34" charset="0"/>
              </a:rPr>
              <a:t>Portfolio management</a:t>
            </a:r>
          </a:p>
        </p:txBody>
      </p:sp>
      <p:sp>
        <p:nvSpPr>
          <p:cNvPr id="15" name="Title 2">
            <a:extLst>
              <a:ext uri="{FF2B5EF4-FFF2-40B4-BE49-F238E27FC236}">
                <a16:creationId xmlns:a16="http://schemas.microsoft.com/office/drawing/2014/main" id="{11ECBF61-2228-8EF5-D4F5-47AB8982D913}"/>
              </a:ext>
            </a:extLst>
          </p:cNvPr>
          <p:cNvSpPr>
            <a:spLocks noGrp="1"/>
          </p:cNvSpPr>
          <p:nvPr>
            <p:ph type="title"/>
          </p:nvPr>
        </p:nvSpPr>
        <p:spPr>
          <a:xfrm>
            <a:off x="333264" y="682313"/>
            <a:ext cx="3481426" cy="396000"/>
          </a:xfrm>
        </p:spPr>
        <p:txBody>
          <a:bodyPr/>
          <a:lstStyle/>
          <a:p>
            <a:r>
              <a:rPr lang="en-US" sz="2800">
                <a:latin typeface="ABBvoice" panose="020D0603020503020204" pitchFamily="34" charset="0"/>
                <a:ea typeface="ABBvoice" panose="020D0603020503020204" pitchFamily="34" charset="0"/>
                <a:cs typeface="ABBvoice" panose="020D0603020503020204" pitchFamily="34" charset="0"/>
              </a:rPr>
              <a:t>Our priorities</a:t>
            </a:r>
            <a:endParaRPr lang="en-US" sz="2800" noProof="0"/>
          </a:p>
        </p:txBody>
      </p:sp>
      <p:sp>
        <p:nvSpPr>
          <p:cNvPr id="17" name="Content Placeholder 3">
            <a:extLst>
              <a:ext uri="{FF2B5EF4-FFF2-40B4-BE49-F238E27FC236}">
                <a16:creationId xmlns:a16="http://schemas.microsoft.com/office/drawing/2014/main" id="{9988E8A5-4BA8-22BD-8CC4-2F5D5C049F3E}"/>
              </a:ext>
            </a:extLst>
          </p:cNvPr>
          <p:cNvSpPr txBox="1">
            <a:spLocks/>
          </p:cNvSpPr>
          <p:nvPr/>
        </p:nvSpPr>
        <p:spPr bwMode="gray">
          <a:xfrm>
            <a:off x="333264" y="1839737"/>
            <a:ext cx="5423103" cy="222607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ts val="2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Through active portfolio management we systematically evolve our portfolio at all levels of the organization to reinforce our divisions’ market leadership by investing in growth, M&amp;A activities and portfolio consolidation. </a:t>
            </a:r>
            <a:br>
              <a:rPr kumimoji="0" lang="en-US" sz="1600" b="0" i="0" u="none" strike="noStrike" kern="1200" cap="none" spc="0" normalizeH="0" baseline="0" noProof="0">
                <a:ln>
                  <a:noFill/>
                </a:ln>
                <a:solidFill>
                  <a:srgbClr val="000000"/>
                </a:solidFill>
                <a:effectLst/>
                <a:uLnTx/>
                <a:uFillTx/>
                <a:latin typeface="ABBvoice"/>
                <a:ea typeface="ABBvoice"/>
                <a:cs typeface="ABBvoice"/>
              </a:rPr>
            </a:br>
            <a:r>
              <a:rPr kumimoji="0" lang="en-US" sz="1600" b="0" i="0" u="none" strike="noStrike" kern="1200" cap="none" spc="0" normalizeH="0" baseline="0" noProof="0">
                <a:ln>
                  <a:noFill/>
                </a:ln>
                <a:solidFill>
                  <a:srgbClr val="000000"/>
                </a:solidFill>
                <a:effectLst/>
                <a:uLnTx/>
                <a:uFillTx/>
                <a:latin typeface="ABBvoice"/>
                <a:ea typeface="ABBvoice"/>
                <a:cs typeface="ABBvoice"/>
              </a:rPr>
              <a:t>On the one hand, we continuously question whether we are the best owner of our divisions; on the other, we steer our businesses in line with their respective strategic mandates. Lastly, we actively pursue synergetic acquisition opportunities to fill white-spots and steer our overall portfolio mix towards high-growth sectors.</a:t>
            </a:r>
          </a:p>
        </p:txBody>
      </p:sp>
      <p:pic>
        <p:nvPicPr>
          <p:cNvPr id="18" name="Picture 17">
            <a:extLst>
              <a:ext uri="{FF2B5EF4-FFF2-40B4-BE49-F238E27FC236}">
                <a16:creationId xmlns:a16="http://schemas.microsoft.com/office/drawing/2014/main" id="{293CEEFB-B6BD-FA4F-42DE-0A502CF69123}"/>
              </a:ext>
            </a:extLst>
          </p:cNvPr>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6159934" y="0"/>
            <a:ext cx="6096000" cy="6858000"/>
          </a:xfrm>
          <a:prstGeom prst="rect">
            <a:avLst/>
          </a:prstGeom>
        </p:spPr>
      </p:pic>
    </p:spTree>
    <p:extLst>
      <p:ext uri="{BB962C8B-B14F-4D97-AF65-F5344CB8AC3E}">
        <p14:creationId xmlns:p14="http://schemas.microsoft.com/office/powerpoint/2010/main" val="2639596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2BEBE180-4401-4E1E-9403-0C1C724AEB6C}"/>
              </a:ext>
            </a:extLst>
          </p:cNvPr>
          <p:cNvSpPr/>
          <p:nvPr/>
        </p:nvSpPr>
        <p:spPr bwMode="gray">
          <a:xfrm>
            <a:off x="180975" y="5972175"/>
            <a:ext cx="1200649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 name="Content Placeholder 1">
            <a:extLst>
              <a:ext uri="{FF2B5EF4-FFF2-40B4-BE49-F238E27FC236}">
                <a16:creationId xmlns:a16="http://schemas.microsoft.com/office/drawing/2014/main" id="{0DFD250B-F435-486B-90F4-2FA1CC7EE338}"/>
              </a:ext>
            </a:extLst>
          </p:cNvPr>
          <p:cNvSpPr>
            <a:spLocks noGrp="1"/>
          </p:cNvSpPr>
          <p:nvPr>
            <p:ph sz="quarter" idx="21"/>
          </p:nvPr>
        </p:nvSpPr>
        <p:spPr/>
        <p:txBody>
          <a:bodyPr/>
          <a:lstStyle/>
          <a:p>
            <a:r>
              <a:rPr lang="en-US"/>
              <a:t> </a:t>
            </a:r>
          </a:p>
        </p:txBody>
      </p:sp>
      <p:sp>
        <p:nvSpPr>
          <p:cNvPr id="6" name="Subtitle 5">
            <a:extLst>
              <a:ext uri="{FF2B5EF4-FFF2-40B4-BE49-F238E27FC236}">
                <a16:creationId xmlns:a16="http://schemas.microsoft.com/office/drawing/2014/main" id="{D5C8EEA6-5850-453A-B272-D03637E340AC}"/>
              </a:ext>
            </a:extLst>
          </p:cNvPr>
          <p:cNvSpPr>
            <a:spLocks noGrp="1"/>
          </p:cNvSpPr>
          <p:nvPr>
            <p:ph type="subTitle" idx="13"/>
          </p:nvPr>
        </p:nvSpPr>
        <p:spPr>
          <a:xfrm>
            <a:off x="333264" y="1085213"/>
            <a:ext cx="5762736" cy="504000"/>
          </a:xfrm>
        </p:spPr>
        <p:txBody>
          <a:bodyPr/>
          <a:lstStyle/>
          <a:p>
            <a:r>
              <a:rPr lang="en-US" sz="2400">
                <a:latin typeface="ABBvoice Light" panose="020D0403020503020204" pitchFamily="34" charset="0"/>
                <a:ea typeface="ABBvoice Light" panose="020D0403020503020204" pitchFamily="34" charset="0"/>
                <a:cs typeface="ABBvoice Light" panose="020D0403020503020204" pitchFamily="34" charset="0"/>
              </a:rPr>
              <a:t>Sustainability</a:t>
            </a:r>
            <a:endParaRPr lang="en-US" sz="2000">
              <a:latin typeface="ABBvoice Light" panose="020D0403020503020204" pitchFamily="34" charset="0"/>
              <a:ea typeface="ABBvoice Light" panose="020D0403020503020204" pitchFamily="34" charset="0"/>
              <a:cs typeface="ABBvoice Light" panose="020D0403020503020204" pitchFamily="34" charset="0"/>
            </a:endParaRPr>
          </a:p>
        </p:txBody>
      </p:sp>
      <p:sp>
        <p:nvSpPr>
          <p:cNvPr id="14" name="Title 2">
            <a:extLst>
              <a:ext uri="{FF2B5EF4-FFF2-40B4-BE49-F238E27FC236}">
                <a16:creationId xmlns:a16="http://schemas.microsoft.com/office/drawing/2014/main" id="{0357229D-2887-466E-9DC7-1DEA5FB29CE7}"/>
              </a:ext>
            </a:extLst>
          </p:cNvPr>
          <p:cNvSpPr>
            <a:spLocks noGrp="1"/>
          </p:cNvSpPr>
          <p:nvPr>
            <p:ph type="title"/>
          </p:nvPr>
        </p:nvSpPr>
        <p:spPr>
          <a:xfrm>
            <a:off x="333264" y="682313"/>
            <a:ext cx="3481426" cy="396000"/>
          </a:xfrm>
        </p:spPr>
        <p:txBody>
          <a:bodyPr/>
          <a:lstStyle/>
          <a:p>
            <a:r>
              <a:rPr lang="en-US" sz="2800">
                <a:latin typeface="ABBvoice" panose="020D0603020503020204" pitchFamily="34" charset="0"/>
                <a:ea typeface="ABBvoice" panose="020D0603020503020204" pitchFamily="34" charset="0"/>
                <a:cs typeface="ABBvoice" panose="020D0603020503020204" pitchFamily="34" charset="0"/>
              </a:rPr>
              <a:t>Our priorities</a:t>
            </a:r>
            <a:endParaRPr lang="en-US" sz="2800" noProof="0"/>
          </a:p>
        </p:txBody>
      </p:sp>
      <p:sp>
        <p:nvSpPr>
          <p:cNvPr id="16" name="Content Placeholder 3">
            <a:extLst>
              <a:ext uri="{FF2B5EF4-FFF2-40B4-BE49-F238E27FC236}">
                <a16:creationId xmlns:a16="http://schemas.microsoft.com/office/drawing/2014/main" id="{53F40D6A-2B5B-4C64-94DD-9BAD61D87746}"/>
              </a:ext>
            </a:extLst>
          </p:cNvPr>
          <p:cNvSpPr txBox="1">
            <a:spLocks/>
          </p:cNvSpPr>
          <p:nvPr/>
        </p:nvSpPr>
        <p:spPr bwMode="gray">
          <a:xfrm>
            <a:off x="333264" y="1839737"/>
            <a:ext cx="5423103" cy="222607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ts val="2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At ABB, we are at the core of accelerating the energy transition. Every day, we empower customers across the globe to optimize, electrify and decarbonize their operations, making how we move, produce, work, and live more sustainable and resource efficient overall.</a:t>
            </a:r>
          </a:p>
          <a:p>
            <a:pPr marL="0" marR="0" lvl="0" indent="0" algn="l" defTabSz="914491" rtl="0" eaLnBrk="1" fontAlgn="auto" latinLnBrk="0" hangingPunct="1">
              <a:lnSpc>
                <a:spcPts val="2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Our sustainability agenda is fully in line with this mission. </a:t>
            </a:r>
          </a:p>
          <a:p>
            <a:pPr marL="0" marR="0" lvl="0" indent="0" algn="l" defTabSz="914491" rtl="0" eaLnBrk="1" fontAlgn="auto" latinLnBrk="0" hangingPunct="1">
              <a:lnSpc>
                <a:spcPts val="2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It is aligned with international standards and frameworks and underpinned by our culture of integrity and transparency. </a:t>
            </a:r>
          </a:p>
          <a:p>
            <a:pPr marL="0" marR="0" lvl="0" indent="0" algn="l" defTabSz="914491" rtl="0" eaLnBrk="1" fontAlgn="auto" latinLnBrk="0" hangingPunct="1">
              <a:lnSpc>
                <a:spcPts val="25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a:ea typeface="ABBvoice"/>
                <a:cs typeface="ABBvoice"/>
              </a:rPr>
              <a:t>Embedded across our business, it aims to enable a low-carbon society, preserve resources, and promote social progress for a net-zero future. </a:t>
            </a:r>
          </a:p>
        </p:txBody>
      </p:sp>
      <p:pic>
        <p:nvPicPr>
          <p:cNvPr id="12" name="Picture 11">
            <a:extLst>
              <a:ext uri="{FF2B5EF4-FFF2-40B4-BE49-F238E27FC236}">
                <a16:creationId xmlns:a16="http://schemas.microsoft.com/office/drawing/2014/main" id="{451D2A65-9DBA-4DB8-A534-441E406A8D36}"/>
              </a:ext>
            </a:extLst>
          </p:cNvPr>
          <p:cNvPicPr>
            <a:picLocks noChangeAspect="1"/>
          </p:cNvPicPr>
          <p:nvPr/>
        </p:nvPicPr>
        <p:blipFill rotWithShape="1">
          <a:blip r:embed="rId2"/>
          <a:srcRect l="24434" r="24434"/>
          <a:stretch/>
        </p:blipFill>
        <p:spPr>
          <a:xfrm>
            <a:off x="6159934" y="0"/>
            <a:ext cx="6096000" cy="6858000"/>
          </a:xfrm>
          <a:prstGeom prst="rect">
            <a:avLst/>
          </a:prstGeom>
        </p:spPr>
      </p:pic>
      <p:pic>
        <p:nvPicPr>
          <p:cNvPr id="35" name="Picture 19">
            <a:extLst>
              <a:ext uri="{FF2B5EF4-FFF2-40B4-BE49-F238E27FC236}">
                <a16:creationId xmlns:a16="http://schemas.microsoft.com/office/drawing/2014/main" id="{06366C6F-25D5-4E83-87C4-61BAA8463B8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1577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4" name="object 4"/>
          <p:cNvGrpSpPr/>
          <p:nvPr/>
        </p:nvGrpSpPr>
        <p:grpSpPr>
          <a:xfrm>
            <a:off x="3669791" y="0"/>
            <a:ext cx="8522590" cy="6858000"/>
            <a:chOff x="3669791" y="0"/>
            <a:chExt cx="8522590" cy="6858000"/>
          </a:xfrm>
        </p:grpSpPr>
        <p:sp>
          <p:nvSpPr>
            <p:cNvPr id="5" name="object 5"/>
            <p:cNvSpPr/>
            <p:nvPr/>
          </p:nvSpPr>
          <p:spPr>
            <a:xfrm>
              <a:off x="7732776" y="0"/>
              <a:ext cx="4459605" cy="6858000"/>
            </a:xfrm>
            <a:custGeom>
              <a:avLst/>
              <a:gdLst/>
              <a:ahLst/>
              <a:cxnLst/>
              <a:rect l="l" t="t" r="r" b="b"/>
              <a:pathLst>
                <a:path w="4459605" h="6858000">
                  <a:moveTo>
                    <a:pt x="4459223" y="0"/>
                  </a:moveTo>
                  <a:lnTo>
                    <a:pt x="0" y="0"/>
                  </a:lnTo>
                  <a:lnTo>
                    <a:pt x="0" y="6857998"/>
                  </a:lnTo>
                  <a:lnTo>
                    <a:pt x="4459223" y="6857998"/>
                  </a:lnTo>
                  <a:lnTo>
                    <a:pt x="4459223" y="0"/>
                  </a:lnTo>
                  <a:close/>
                </a:path>
              </a:pathLst>
            </a:custGeom>
            <a:solidFill>
              <a:srgbClr val="D2D2D2"/>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6" name="object 6"/>
            <p:cNvPicPr/>
            <p:nvPr/>
          </p:nvPicPr>
          <p:blipFill rotWithShape="1">
            <a:blip r:embed="rId3" cstate="print"/>
            <a:srcRect r="-124"/>
            <a:stretch/>
          </p:blipFill>
          <p:spPr>
            <a:xfrm>
              <a:off x="3669791" y="0"/>
              <a:ext cx="4068000" cy="6857996"/>
            </a:xfrm>
            <a:prstGeom prst="rect">
              <a:avLst/>
            </a:prstGeom>
          </p:spPr>
        </p:pic>
      </p:grpSp>
      <p:grpSp>
        <p:nvGrpSpPr>
          <p:cNvPr id="27" name="object 11">
            <a:extLst>
              <a:ext uri="{FF2B5EF4-FFF2-40B4-BE49-F238E27FC236}">
                <a16:creationId xmlns:a16="http://schemas.microsoft.com/office/drawing/2014/main" id="{E4F0943C-4C1C-4695-1AC3-85873D11F079}"/>
              </a:ext>
            </a:extLst>
          </p:cNvPr>
          <p:cNvGrpSpPr/>
          <p:nvPr/>
        </p:nvGrpSpPr>
        <p:grpSpPr>
          <a:xfrm>
            <a:off x="7726679" y="-228600"/>
            <a:ext cx="4077829" cy="7056000"/>
            <a:chOff x="7726679" y="0"/>
            <a:chExt cx="4077829" cy="7056000"/>
          </a:xfrm>
        </p:grpSpPr>
        <p:pic>
          <p:nvPicPr>
            <p:cNvPr id="35" name="object 19">
              <a:extLst>
                <a:ext uri="{FF2B5EF4-FFF2-40B4-BE49-F238E27FC236}">
                  <a16:creationId xmlns:a16="http://schemas.microsoft.com/office/drawing/2014/main" id="{400A4CAC-D67F-CCEA-0498-B474D50273A6}"/>
                </a:ext>
              </a:extLst>
            </p:cNvPr>
            <p:cNvPicPr/>
            <p:nvPr/>
          </p:nvPicPr>
          <p:blipFill rotWithShape="1">
            <a:blip r:embed="rId3" cstate="print"/>
            <a:srcRect l="100173" t="-2" r="-100173" b="-2887"/>
            <a:stretch/>
          </p:blipFill>
          <p:spPr>
            <a:xfrm>
              <a:off x="7740000" y="0"/>
              <a:ext cx="4064508" cy="7056000"/>
            </a:xfrm>
            <a:prstGeom prst="rect">
              <a:avLst/>
            </a:prstGeom>
          </p:spPr>
        </p:pic>
        <p:sp>
          <p:nvSpPr>
            <p:cNvPr id="28" name="object 12">
              <a:extLst>
                <a:ext uri="{FF2B5EF4-FFF2-40B4-BE49-F238E27FC236}">
                  <a16:creationId xmlns:a16="http://schemas.microsoft.com/office/drawing/2014/main" id="{39E4F440-2DDA-866E-65D6-DB337D44F847}"/>
                </a:ext>
              </a:extLst>
            </p:cNvPr>
            <p:cNvSpPr/>
            <p:nvPr/>
          </p:nvSpPr>
          <p:spPr>
            <a:xfrm>
              <a:off x="7726680" y="1542287"/>
              <a:ext cx="276225" cy="3287395"/>
            </a:xfrm>
            <a:custGeom>
              <a:avLst/>
              <a:gdLst/>
              <a:ahLst/>
              <a:cxnLst/>
              <a:rect l="l" t="t" r="r" b="b"/>
              <a:pathLst>
                <a:path w="276225" h="3287395">
                  <a:moveTo>
                    <a:pt x="275844" y="3008376"/>
                  </a:moveTo>
                  <a:lnTo>
                    <a:pt x="0" y="2729484"/>
                  </a:lnTo>
                  <a:lnTo>
                    <a:pt x="0" y="3287268"/>
                  </a:lnTo>
                  <a:lnTo>
                    <a:pt x="275844" y="3008376"/>
                  </a:lnTo>
                  <a:close/>
                </a:path>
                <a:path w="276225" h="3287395">
                  <a:moveTo>
                    <a:pt x="275844" y="1643634"/>
                  </a:moveTo>
                  <a:lnTo>
                    <a:pt x="0" y="1363980"/>
                  </a:lnTo>
                  <a:lnTo>
                    <a:pt x="0" y="1923288"/>
                  </a:lnTo>
                  <a:lnTo>
                    <a:pt x="275844" y="1643634"/>
                  </a:lnTo>
                  <a:close/>
                </a:path>
                <a:path w="276225" h="3287395">
                  <a:moveTo>
                    <a:pt x="275844" y="279654"/>
                  </a:moveTo>
                  <a:lnTo>
                    <a:pt x="0" y="0"/>
                  </a:lnTo>
                  <a:lnTo>
                    <a:pt x="0" y="559308"/>
                  </a:lnTo>
                  <a:lnTo>
                    <a:pt x="275844" y="279654"/>
                  </a:lnTo>
                  <a:close/>
                </a:path>
              </a:pathLst>
            </a:custGeom>
            <a:solidFill>
              <a:srgbClr val="A6A6A6"/>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sp>
          <p:nvSpPr>
            <p:cNvPr id="29" name="object 13">
              <a:extLst>
                <a:ext uri="{FF2B5EF4-FFF2-40B4-BE49-F238E27FC236}">
                  <a16:creationId xmlns:a16="http://schemas.microsoft.com/office/drawing/2014/main" id="{93EA6858-49EF-69E6-6661-47F2BD35D42A}"/>
                </a:ext>
              </a:extLst>
            </p:cNvPr>
            <p:cNvSpPr/>
            <p:nvPr/>
          </p:nvSpPr>
          <p:spPr>
            <a:xfrm>
              <a:off x="8199692" y="1543105"/>
              <a:ext cx="602615" cy="334010"/>
            </a:xfrm>
            <a:custGeom>
              <a:avLst/>
              <a:gdLst/>
              <a:ahLst/>
              <a:cxnLst/>
              <a:rect l="l" t="t" r="r" b="b"/>
              <a:pathLst>
                <a:path w="602615" h="334010">
                  <a:moveTo>
                    <a:pt x="98308" y="153051"/>
                  </a:moveTo>
                  <a:lnTo>
                    <a:pt x="55622" y="160169"/>
                  </a:lnTo>
                  <a:lnTo>
                    <a:pt x="7163" y="208321"/>
                  </a:lnTo>
                  <a:lnTo>
                    <a:pt x="0" y="243491"/>
                  </a:lnTo>
                  <a:lnTo>
                    <a:pt x="7163" y="278655"/>
                  </a:lnTo>
                  <a:lnTo>
                    <a:pt x="26688" y="307407"/>
                  </a:lnTo>
                  <a:lnTo>
                    <a:pt x="55622" y="326810"/>
                  </a:lnTo>
                  <a:lnTo>
                    <a:pt x="91015" y="333930"/>
                  </a:lnTo>
                  <a:lnTo>
                    <a:pt x="93278" y="333930"/>
                  </a:lnTo>
                  <a:lnTo>
                    <a:pt x="95507" y="333814"/>
                  </a:lnTo>
                  <a:lnTo>
                    <a:pt x="97724" y="333629"/>
                  </a:lnTo>
                  <a:lnTo>
                    <a:pt x="477578" y="333629"/>
                  </a:lnTo>
                  <a:lnTo>
                    <a:pt x="525090" y="324074"/>
                  </a:lnTo>
                  <a:lnTo>
                    <a:pt x="550646" y="306938"/>
                  </a:lnTo>
                  <a:lnTo>
                    <a:pt x="98016" y="306937"/>
                  </a:lnTo>
                  <a:lnTo>
                    <a:pt x="97099" y="306103"/>
                  </a:lnTo>
                  <a:lnTo>
                    <a:pt x="46482" y="287741"/>
                  </a:lnTo>
                  <a:lnTo>
                    <a:pt x="28004" y="243491"/>
                  </a:lnTo>
                  <a:lnTo>
                    <a:pt x="32964" y="219140"/>
                  </a:lnTo>
                  <a:lnTo>
                    <a:pt x="46482" y="199236"/>
                  </a:lnTo>
                  <a:lnTo>
                    <a:pt x="66513" y="185806"/>
                  </a:lnTo>
                  <a:lnTo>
                    <a:pt x="91015" y="180879"/>
                  </a:lnTo>
                  <a:lnTo>
                    <a:pt x="130982" y="180879"/>
                  </a:lnTo>
                  <a:lnTo>
                    <a:pt x="140431" y="174803"/>
                  </a:lnTo>
                  <a:lnTo>
                    <a:pt x="140023" y="168727"/>
                  </a:lnTo>
                  <a:lnTo>
                    <a:pt x="140023" y="166965"/>
                  </a:lnTo>
                  <a:lnTo>
                    <a:pt x="141876" y="155579"/>
                  </a:lnTo>
                  <a:lnTo>
                    <a:pt x="112392" y="155579"/>
                  </a:lnTo>
                  <a:lnTo>
                    <a:pt x="105449" y="153897"/>
                  </a:lnTo>
                  <a:lnTo>
                    <a:pt x="98308" y="153051"/>
                  </a:lnTo>
                  <a:close/>
                </a:path>
                <a:path w="602615" h="334010">
                  <a:moveTo>
                    <a:pt x="477578" y="333629"/>
                  </a:moveTo>
                  <a:lnTo>
                    <a:pt x="97724" y="333629"/>
                  </a:lnTo>
                  <a:lnTo>
                    <a:pt x="476079" y="333930"/>
                  </a:lnTo>
                  <a:lnTo>
                    <a:pt x="477578" y="333629"/>
                  </a:lnTo>
                  <a:close/>
                </a:path>
                <a:path w="602615" h="334010">
                  <a:moveTo>
                    <a:pt x="551896" y="111310"/>
                  </a:moveTo>
                  <a:lnTo>
                    <a:pt x="476079" y="111310"/>
                  </a:lnTo>
                  <a:lnTo>
                    <a:pt x="514191" y="118977"/>
                  </a:lnTo>
                  <a:lnTo>
                    <a:pt x="545352" y="139872"/>
                  </a:lnTo>
                  <a:lnTo>
                    <a:pt x="566380" y="170835"/>
                  </a:lnTo>
                  <a:lnTo>
                    <a:pt x="574096" y="208706"/>
                  </a:lnTo>
                  <a:lnTo>
                    <a:pt x="566380" y="246573"/>
                  </a:lnTo>
                  <a:lnTo>
                    <a:pt x="545352" y="277536"/>
                  </a:lnTo>
                  <a:lnTo>
                    <a:pt x="514191" y="298434"/>
                  </a:lnTo>
                  <a:lnTo>
                    <a:pt x="476079" y="306103"/>
                  </a:lnTo>
                  <a:lnTo>
                    <a:pt x="98016" y="306103"/>
                  </a:lnTo>
                  <a:lnTo>
                    <a:pt x="98016" y="306937"/>
                  </a:lnTo>
                  <a:lnTo>
                    <a:pt x="550646" y="306938"/>
                  </a:lnTo>
                  <a:lnTo>
                    <a:pt x="565152" y="297211"/>
                  </a:lnTo>
                  <a:lnTo>
                    <a:pt x="592183" y="257402"/>
                  </a:lnTo>
                  <a:lnTo>
                    <a:pt x="602100" y="208706"/>
                  </a:lnTo>
                  <a:lnTo>
                    <a:pt x="592183" y="160006"/>
                  </a:lnTo>
                  <a:lnTo>
                    <a:pt x="565152" y="120197"/>
                  </a:lnTo>
                  <a:lnTo>
                    <a:pt x="551896" y="111310"/>
                  </a:lnTo>
                  <a:close/>
                </a:path>
                <a:path w="602615" h="334010">
                  <a:moveTo>
                    <a:pt x="96767" y="305801"/>
                  </a:moveTo>
                  <a:lnTo>
                    <a:pt x="92963" y="306103"/>
                  </a:lnTo>
                  <a:lnTo>
                    <a:pt x="97099" y="306103"/>
                  </a:lnTo>
                  <a:lnTo>
                    <a:pt x="96767" y="305801"/>
                  </a:lnTo>
                  <a:close/>
                </a:path>
                <a:path w="602615" h="334010">
                  <a:moveTo>
                    <a:pt x="130982" y="180879"/>
                  </a:moveTo>
                  <a:lnTo>
                    <a:pt x="91015" y="180879"/>
                  </a:lnTo>
                  <a:lnTo>
                    <a:pt x="98555" y="181323"/>
                  </a:lnTo>
                  <a:lnTo>
                    <a:pt x="105914" y="182653"/>
                  </a:lnTo>
                  <a:lnTo>
                    <a:pt x="113070" y="184860"/>
                  </a:lnTo>
                  <a:lnTo>
                    <a:pt x="120000" y="187940"/>
                  </a:lnTo>
                  <a:lnTo>
                    <a:pt x="130982" y="180879"/>
                  </a:lnTo>
                  <a:close/>
                </a:path>
                <a:path w="602615" h="334010">
                  <a:moveTo>
                    <a:pt x="280046" y="0"/>
                  </a:moveTo>
                  <a:lnTo>
                    <a:pt x="229080" y="7847"/>
                  </a:lnTo>
                  <a:lnTo>
                    <a:pt x="184375" y="29765"/>
                  </a:lnTo>
                  <a:lnTo>
                    <a:pt x="148388" y="63318"/>
                  </a:lnTo>
                  <a:lnTo>
                    <a:pt x="123575" y="106068"/>
                  </a:lnTo>
                  <a:lnTo>
                    <a:pt x="112392" y="155579"/>
                  </a:lnTo>
                  <a:lnTo>
                    <a:pt x="141876" y="155579"/>
                  </a:lnTo>
                  <a:lnTo>
                    <a:pt x="147173" y="123033"/>
                  </a:lnTo>
                  <a:lnTo>
                    <a:pt x="167074" y="84844"/>
                  </a:lnTo>
                  <a:lnTo>
                    <a:pt x="197403" y="54707"/>
                  </a:lnTo>
                  <a:lnTo>
                    <a:pt x="235835" y="34932"/>
                  </a:lnTo>
                  <a:lnTo>
                    <a:pt x="280046" y="27827"/>
                  </a:lnTo>
                  <a:lnTo>
                    <a:pt x="372148" y="27827"/>
                  </a:lnTo>
                  <a:lnTo>
                    <a:pt x="368589" y="24894"/>
                  </a:lnTo>
                  <a:lnTo>
                    <a:pt x="326652" y="6457"/>
                  </a:lnTo>
                  <a:lnTo>
                    <a:pt x="280046" y="0"/>
                  </a:lnTo>
                  <a:close/>
                </a:path>
                <a:path w="602615" h="334010">
                  <a:moveTo>
                    <a:pt x="372148" y="27827"/>
                  </a:moveTo>
                  <a:lnTo>
                    <a:pt x="280046" y="27827"/>
                  </a:lnTo>
                  <a:lnTo>
                    <a:pt x="321725" y="34050"/>
                  </a:lnTo>
                  <a:lnTo>
                    <a:pt x="358744" y="51744"/>
                  </a:lnTo>
                  <a:lnTo>
                    <a:pt x="388935" y="79453"/>
                  </a:lnTo>
                  <a:lnTo>
                    <a:pt x="410128" y="115716"/>
                  </a:lnTo>
                  <a:lnTo>
                    <a:pt x="429755" y="122858"/>
                  </a:lnTo>
                  <a:lnTo>
                    <a:pt x="440706" y="117865"/>
                  </a:lnTo>
                  <a:lnTo>
                    <a:pt x="452186" y="114249"/>
                  </a:lnTo>
                  <a:lnTo>
                    <a:pt x="464032" y="112051"/>
                  </a:lnTo>
                  <a:lnTo>
                    <a:pt x="476079" y="111310"/>
                  </a:lnTo>
                  <a:lnTo>
                    <a:pt x="551896" y="111310"/>
                  </a:lnTo>
                  <a:lnTo>
                    <a:pt x="525090" y="93337"/>
                  </a:lnTo>
                  <a:lnTo>
                    <a:pt x="518866" y="92086"/>
                  </a:lnTo>
                  <a:lnTo>
                    <a:pt x="430152" y="92086"/>
                  </a:lnTo>
                  <a:lnTo>
                    <a:pt x="403782" y="53905"/>
                  </a:lnTo>
                  <a:lnTo>
                    <a:pt x="372148" y="27827"/>
                  </a:lnTo>
                  <a:close/>
                </a:path>
                <a:path w="602615" h="334010">
                  <a:moveTo>
                    <a:pt x="476079" y="83482"/>
                  </a:moveTo>
                  <a:lnTo>
                    <a:pt x="464327" y="84031"/>
                  </a:lnTo>
                  <a:lnTo>
                    <a:pt x="452691" y="85662"/>
                  </a:lnTo>
                  <a:lnTo>
                    <a:pt x="441268" y="88354"/>
                  </a:lnTo>
                  <a:lnTo>
                    <a:pt x="430152" y="92086"/>
                  </a:lnTo>
                  <a:lnTo>
                    <a:pt x="518866" y="92086"/>
                  </a:lnTo>
                  <a:lnTo>
                    <a:pt x="476079" y="83482"/>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0" name="object 14">
              <a:extLst>
                <a:ext uri="{FF2B5EF4-FFF2-40B4-BE49-F238E27FC236}">
                  <a16:creationId xmlns:a16="http://schemas.microsoft.com/office/drawing/2014/main" id="{EE372FDC-B627-A5CF-E2E3-45008811A189}"/>
                </a:ext>
              </a:extLst>
            </p:cNvPr>
            <p:cNvPicPr/>
            <p:nvPr/>
          </p:nvPicPr>
          <p:blipFill>
            <a:blip r:embed="rId4" cstate="print"/>
            <a:stretch>
              <a:fillRect/>
            </a:stretch>
          </p:blipFill>
          <p:spPr>
            <a:xfrm>
              <a:off x="8353718" y="1918777"/>
              <a:ext cx="308074" cy="180874"/>
            </a:xfrm>
            <a:prstGeom prst="rect">
              <a:avLst/>
            </a:prstGeom>
          </p:spPr>
        </p:pic>
        <p:sp>
          <p:nvSpPr>
            <p:cNvPr id="31" name="object 15">
              <a:extLst>
                <a:ext uri="{FF2B5EF4-FFF2-40B4-BE49-F238E27FC236}">
                  <a16:creationId xmlns:a16="http://schemas.microsoft.com/office/drawing/2014/main" id="{891678EE-265D-9A56-3B96-40A8E0699CD2}"/>
                </a:ext>
              </a:extLst>
            </p:cNvPr>
            <p:cNvSpPr/>
            <p:nvPr/>
          </p:nvSpPr>
          <p:spPr>
            <a:xfrm>
              <a:off x="8203793" y="2885427"/>
              <a:ext cx="612140" cy="1973580"/>
            </a:xfrm>
            <a:custGeom>
              <a:avLst/>
              <a:gdLst/>
              <a:ahLst/>
              <a:cxnLst/>
              <a:rect l="l" t="t" r="r" b="b"/>
              <a:pathLst>
                <a:path w="612140" h="1973579">
                  <a:moveTo>
                    <a:pt x="327825" y="1425155"/>
                  </a:moveTo>
                  <a:lnTo>
                    <a:pt x="271818" y="1369504"/>
                  </a:lnTo>
                  <a:lnTo>
                    <a:pt x="252018" y="1389189"/>
                  </a:lnTo>
                  <a:lnTo>
                    <a:pt x="285089" y="1422031"/>
                  </a:lnTo>
                  <a:lnTo>
                    <a:pt x="237705" y="1430121"/>
                  </a:lnTo>
                  <a:lnTo>
                    <a:pt x="193738" y="1446555"/>
                  </a:lnTo>
                  <a:lnTo>
                    <a:pt x="154114" y="1470469"/>
                  </a:lnTo>
                  <a:lnTo>
                    <a:pt x="119684" y="1500987"/>
                  </a:lnTo>
                  <a:lnTo>
                    <a:pt x="91363" y="1537233"/>
                  </a:lnTo>
                  <a:lnTo>
                    <a:pt x="70040" y="1578317"/>
                  </a:lnTo>
                  <a:lnTo>
                    <a:pt x="56578" y="1623390"/>
                  </a:lnTo>
                  <a:lnTo>
                    <a:pt x="51904" y="1671535"/>
                  </a:lnTo>
                  <a:lnTo>
                    <a:pt x="56070" y="1717040"/>
                  </a:lnTo>
                  <a:lnTo>
                    <a:pt x="68199" y="1760296"/>
                  </a:lnTo>
                  <a:lnTo>
                    <a:pt x="87744" y="1800402"/>
                  </a:lnTo>
                  <a:lnTo>
                    <a:pt x="114147" y="1836420"/>
                  </a:lnTo>
                  <a:lnTo>
                    <a:pt x="146850" y="1867446"/>
                  </a:lnTo>
                  <a:lnTo>
                    <a:pt x="185293" y="1892554"/>
                  </a:lnTo>
                  <a:lnTo>
                    <a:pt x="198501" y="1868017"/>
                  </a:lnTo>
                  <a:lnTo>
                    <a:pt x="158076" y="1840560"/>
                  </a:lnTo>
                  <a:lnTo>
                    <a:pt x="125158" y="1805787"/>
                  </a:lnTo>
                  <a:lnTo>
                    <a:pt x="100584" y="1765084"/>
                  </a:lnTo>
                  <a:lnTo>
                    <a:pt x="85217" y="1719859"/>
                  </a:lnTo>
                  <a:lnTo>
                    <a:pt x="79908" y="1671535"/>
                  </a:lnTo>
                  <a:lnTo>
                    <a:pt x="85191" y="1623377"/>
                  </a:lnTo>
                  <a:lnTo>
                    <a:pt x="100279" y="1578825"/>
                  </a:lnTo>
                  <a:lnTo>
                    <a:pt x="124053" y="1539049"/>
                  </a:lnTo>
                  <a:lnTo>
                    <a:pt x="155346" y="1505140"/>
                  </a:lnTo>
                  <a:lnTo>
                    <a:pt x="193052" y="1478241"/>
                  </a:lnTo>
                  <a:lnTo>
                    <a:pt x="236004" y="1459471"/>
                  </a:lnTo>
                  <a:lnTo>
                    <a:pt x="283083" y="1449959"/>
                  </a:lnTo>
                  <a:lnTo>
                    <a:pt x="252018" y="1480820"/>
                  </a:lnTo>
                  <a:lnTo>
                    <a:pt x="271818" y="1500492"/>
                  </a:lnTo>
                  <a:lnTo>
                    <a:pt x="327825" y="1444840"/>
                  </a:lnTo>
                  <a:lnTo>
                    <a:pt x="327825" y="1425155"/>
                  </a:lnTo>
                  <a:close/>
                </a:path>
                <a:path w="612140" h="1973579">
                  <a:moveTo>
                    <a:pt x="331952" y="13944"/>
                  </a:moveTo>
                  <a:lnTo>
                    <a:pt x="317944" y="0"/>
                  </a:lnTo>
                  <a:lnTo>
                    <a:pt x="303949" y="0"/>
                  </a:lnTo>
                  <a:lnTo>
                    <a:pt x="303949" y="27889"/>
                  </a:lnTo>
                  <a:lnTo>
                    <a:pt x="303949" y="63957"/>
                  </a:lnTo>
                  <a:lnTo>
                    <a:pt x="284137" y="83680"/>
                  </a:lnTo>
                  <a:lnTo>
                    <a:pt x="247929" y="83680"/>
                  </a:lnTo>
                  <a:lnTo>
                    <a:pt x="247929" y="47599"/>
                  </a:lnTo>
                  <a:lnTo>
                    <a:pt x="267741" y="27889"/>
                  </a:lnTo>
                  <a:lnTo>
                    <a:pt x="303949" y="27889"/>
                  </a:lnTo>
                  <a:lnTo>
                    <a:pt x="303949" y="0"/>
                  </a:lnTo>
                  <a:lnTo>
                    <a:pt x="261937" y="0"/>
                  </a:lnTo>
                  <a:lnTo>
                    <a:pt x="252044" y="4076"/>
                  </a:lnTo>
                  <a:lnTo>
                    <a:pt x="224040" y="31978"/>
                  </a:lnTo>
                  <a:lnTo>
                    <a:pt x="219925" y="41833"/>
                  </a:lnTo>
                  <a:lnTo>
                    <a:pt x="219925" y="91846"/>
                  </a:lnTo>
                  <a:lnTo>
                    <a:pt x="182029" y="129590"/>
                  </a:lnTo>
                  <a:lnTo>
                    <a:pt x="177927" y="139458"/>
                  </a:lnTo>
                  <a:lnTo>
                    <a:pt x="177927" y="167347"/>
                  </a:lnTo>
                  <a:lnTo>
                    <a:pt x="141719" y="167347"/>
                  </a:lnTo>
                  <a:lnTo>
                    <a:pt x="127711" y="153403"/>
                  </a:lnTo>
                  <a:lnTo>
                    <a:pt x="116116" y="141859"/>
                  </a:lnTo>
                  <a:lnTo>
                    <a:pt x="116116" y="181292"/>
                  </a:lnTo>
                  <a:lnTo>
                    <a:pt x="88112" y="209181"/>
                  </a:lnTo>
                  <a:lnTo>
                    <a:pt x="57696" y="209181"/>
                  </a:lnTo>
                  <a:lnTo>
                    <a:pt x="29692" y="181292"/>
                  </a:lnTo>
                  <a:lnTo>
                    <a:pt x="57696" y="153403"/>
                  </a:lnTo>
                  <a:lnTo>
                    <a:pt x="88112" y="153403"/>
                  </a:lnTo>
                  <a:lnTo>
                    <a:pt x="116116" y="181292"/>
                  </a:lnTo>
                  <a:lnTo>
                    <a:pt x="116116" y="141859"/>
                  </a:lnTo>
                  <a:lnTo>
                    <a:pt x="103809" y="129590"/>
                  </a:lnTo>
                  <a:lnTo>
                    <a:pt x="93903" y="125514"/>
                  </a:lnTo>
                  <a:lnTo>
                    <a:pt x="51904" y="125514"/>
                  </a:lnTo>
                  <a:lnTo>
                    <a:pt x="41998" y="129590"/>
                  </a:lnTo>
                  <a:lnTo>
                    <a:pt x="0" y="171424"/>
                  </a:lnTo>
                  <a:lnTo>
                    <a:pt x="0" y="191147"/>
                  </a:lnTo>
                  <a:lnTo>
                    <a:pt x="41998" y="232981"/>
                  </a:lnTo>
                  <a:lnTo>
                    <a:pt x="51904" y="237070"/>
                  </a:lnTo>
                  <a:lnTo>
                    <a:pt x="93903" y="237070"/>
                  </a:lnTo>
                  <a:lnTo>
                    <a:pt x="103809" y="232981"/>
                  </a:lnTo>
                  <a:lnTo>
                    <a:pt x="127711" y="209181"/>
                  </a:lnTo>
                  <a:lnTo>
                    <a:pt x="141719" y="195237"/>
                  </a:lnTo>
                  <a:lnTo>
                    <a:pt x="177927" y="195237"/>
                  </a:lnTo>
                  <a:lnTo>
                    <a:pt x="177927" y="432308"/>
                  </a:lnTo>
                  <a:lnTo>
                    <a:pt x="205930" y="432308"/>
                  </a:lnTo>
                  <a:lnTo>
                    <a:pt x="205930" y="195237"/>
                  </a:lnTo>
                  <a:lnTo>
                    <a:pt x="205930" y="167347"/>
                  </a:lnTo>
                  <a:lnTo>
                    <a:pt x="205930" y="145224"/>
                  </a:lnTo>
                  <a:lnTo>
                    <a:pt x="239737" y="111569"/>
                  </a:lnTo>
                  <a:lnTo>
                    <a:pt x="289941" y="111569"/>
                  </a:lnTo>
                  <a:lnTo>
                    <a:pt x="299834" y="107480"/>
                  </a:lnTo>
                  <a:lnTo>
                    <a:pt x="323735" y="83680"/>
                  </a:lnTo>
                  <a:lnTo>
                    <a:pt x="327837" y="79578"/>
                  </a:lnTo>
                  <a:lnTo>
                    <a:pt x="331952" y="69735"/>
                  </a:lnTo>
                  <a:lnTo>
                    <a:pt x="331952" y="27889"/>
                  </a:lnTo>
                  <a:lnTo>
                    <a:pt x="331952" y="13944"/>
                  </a:lnTo>
                  <a:close/>
                </a:path>
                <a:path w="612140" h="1973579">
                  <a:moveTo>
                    <a:pt x="555980" y="1671535"/>
                  </a:moveTo>
                  <a:lnTo>
                    <a:pt x="551815" y="1626031"/>
                  </a:lnTo>
                  <a:lnTo>
                    <a:pt x="539686" y="1582775"/>
                  </a:lnTo>
                  <a:lnTo>
                    <a:pt x="520141" y="1542669"/>
                  </a:lnTo>
                  <a:lnTo>
                    <a:pt x="493750" y="1506651"/>
                  </a:lnTo>
                  <a:lnTo>
                    <a:pt x="461048" y="1475625"/>
                  </a:lnTo>
                  <a:lnTo>
                    <a:pt x="422592" y="1450517"/>
                  </a:lnTo>
                  <a:lnTo>
                    <a:pt x="409384" y="1475054"/>
                  </a:lnTo>
                  <a:lnTo>
                    <a:pt x="449808" y="1502498"/>
                  </a:lnTo>
                  <a:lnTo>
                    <a:pt x="482727" y="1537284"/>
                  </a:lnTo>
                  <a:lnTo>
                    <a:pt x="507301" y="1577987"/>
                  </a:lnTo>
                  <a:lnTo>
                    <a:pt x="522668" y="1623212"/>
                  </a:lnTo>
                  <a:lnTo>
                    <a:pt x="527977" y="1671535"/>
                  </a:lnTo>
                  <a:lnTo>
                    <a:pt x="522693" y="1719707"/>
                  </a:lnTo>
                  <a:lnTo>
                    <a:pt x="507606" y="1764245"/>
                  </a:lnTo>
                  <a:lnTo>
                    <a:pt x="483831" y="1804035"/>
                  </a:lnTo>
                  <a:lnTo>
                    <a:pt x="452539" y="1837944"/>
                  </a:lnTo>
                  <a:lnTo>
                    <a:pt x="414845" y="1864842"/>
                  </a:lnTo>
                  <a:lnTo>
                    <a:pt x="371881" y="1883600"/>
                  </a:lnTo>
                  <a:lnTo>
                    <a:pt x="324802" y="1893112"/>
                  </a:lnTo>
                  <a:lnTo>
                    <a:pt x="355866" y="1862251"/>
                  </a:lnTo>
                  <a:lnTo>
                    <a:pt x="336067" y="1842579"/>
                  </a:lnTo>
                  <a:lnTo>
                    <a:pt x="280060" y="1898230"/>
                  </a:lnTo>
                  <a:lnTo>
                    <a:pt x="280060" y="1917903"/>
                  </a:lnTo>
                  <a:lnTo>
                    <a:pt x="336067" y="1973567"/>
                  </a:lnTo>
                  <a:lnTo>
                    <a:pt x="355866" y="1953882"/>
                  </a:lnTo>
                  <a:lnTo>
                    <a:pt x="322795" y="1921040"/>
                  </a:lnTo>
                  <a:lnTo>
                    <a:pt x="370192" y="1912950"/>
                  </a:lnTo>
                  <a:lnTo>
                    <a:pt x="414147" y="1896516"/>
                  </a:lnTo>
                  <a:lnTo>
                    <a:pt x="453783" y="1872602"/>
                  </a:lnTo>
                  <a:lnTo>
                    <a:pt x="488200" y="1842084"/>
                  </a:lnTo>
                  <a:lnTo>
                    <a:pt x="516521" y="1805838"/>
                  </a:lnTo>
                  <a:lnTo>
                    <a:pt x="537857" y="1764753"/>
                  </a:lnTo>
                  <a:lnTo>
                    <a:pt x="551307" y="1719694"/>
                  </a:lnTo>
                  <a:lnTo>
                    <a:pt x="555980" y="1671535"/>
                  </a:lnTo>
                  <a:close/>
                </a:path>
                <a:path w="612140" h="1973579">
                  <a:moveTo>
                    <a:pt x="612000" y="432308"/>
                  </a:moveTo>
                  <a:lnTo>
                    <a:pt x="597992" y="418363"/>
                  </a:lnTo>
                  <a:lnTo>
                    <a:pt x="583996" y="418363"/>
                  </a:lnTo>
                  <a:lnTo>
                    <a:pt x="583996" y="446252"/>
                  </a:lnTo>
                  <a:lnTo>
                    <a:pt x="583996" y="585698"/>
                  </a:lnTo>
                  <a:lnTo>
                    <a:pt x="555980" y="585698"/>
                  </a:lnTo>
                  <a:lnTo>
                    <a:pt x="555980" y="571754"/>
                  </a:lnTo>
                  <a:lnTo>
                    <a:pt x="555980" y="446252"/>
                  </a:lnTo>
                  <a:lnTo>
                    <a:pt x="583996" y="446252"/>
                  </a:lnTo>
                  <a:lnTo>
                    <a:pt x="583996" y="418363"/>
                  </a:lnTo>
                  <a:lnTo>
                    <a:pt x="541985" y="418363"/>
                  </a:lnTo>
                  <a:lnTo>
                    <a:pt x="527977" y="432308"/>
                  </a:lnTo>
                  <a:lnTo>
                    <a:pt x="527977" y="440855"/>
                  </a:lnTo>
                  <a:lnTo>
                    <a:pt x="527977" y="470242"/>
                  </a:lnTo>
                  <a:lnTo>
                    <a:pt x="527977" y="557809"/>
                  </a:lnTo>
                  <a:lnTo>
                    <a:pt x="401955" y="557809"/>
                  </a:lnTo>
                  <a:lnTo>
                    <a:pt x="289052" y="571754"/>
                  </a:lnTo>
                  <a:lnTo>
                    <a:pt x="173799" y="571754"/>
                  </a:lnTo>
                  <a:lnTo>
                    <a:pt x="169913" y="569963"/>
                  </a:lnTo>
                  <a:lnTo>
                    <a:pt x="164553" y="563651"/>
                  </a:lnTo>
                  <a:lnTo>
                    <a:pt x="163436" y="559587"/>
                  </a:lnTo>
                  <a:lnTo>
                    <a:pt x="165176" y="548919"/>
                  </a:lnTo>
                  <a:lnTo>
                    <a:pt x="171907" y="543864"/>
                  </a:lnTo>
                  <a:lnTo>
                    <a:pt x="289941" y="543864"/>
                  </a:lnTo>
                  <a:lnTo>
                    <a:pt x="297154" y="541870"/>
                  </a:lnTo>
                  <a:lnTo>
                    <a:pt x="363829" y="502031"/>
                  </a:lnTo>
                  <a:lnTo>
                    <a:pt x="401955" y="502031"/>
                  </a:lnTo>
                  <a:lnTo>
                    <a:pt x="401955" y="474141"/>
                  </a:lnTo>
                  <a:lnTo>
                    <a:pt x="282232" y="474141"/>
                  </a:lnTo>
                  <a:lnTo>
                    <a:pt x="275945" y="467893"/>
                  </a:lnTo>
                  <a:lnTo>
                    <a:pt x="275945" y="452488"/>
                  </a:lnTo>
                  <a:lnTo>
                    <a:pt x="282232" y="446252"/>
                  </a:lnTo>
                  <a:lnTo>
                    <a:pt x="455701" y="446252"/>
                  </a:lnTo>
                  <a:lnTo>
                    <a:pt x="527977" y="470242"/>
                  </a:lnTo>
                  <a:lnTo>
                    <a:pt x="527977" y="440855"/>
                  </a:lnTo>
                  <a:lnTo>
                    <a:pt x="462394" y="419087"/>
                  </a:lnTo>
                  <a:lnTo>
                    <a:pt x="457974" y="418363"/>
                  </a:lnTo>
                  <a:lnTo>
                    <a:pt x="289941" y="418363"/>
                  </a:lnTo>
                  <a:lnTo>
                    <a:pt x="273608" y="421652"/>
                  </a:lnTo>
                  <a:lnTo>
                    <a:pt x="260248" y="430631"/>
                  </a:lnTo>
                  <a:lnTo>
                    <a:pt x="251244" y="443928"/>
                  </a:lnTo>
                  <a:lnTo>
                    <a:pt x="247929" y="460197"/>
                  </a:lnTo>
                  <a:lnTo>
                    <a:pt x="251244" y="476465"/>
                  </a:lnTo>
                  <a:lnTo>
                    <a:pt x="260248" y="489762"/>
                  </a:lnTo>
                  <a:lnTo>
                    <a:pt x="273608" y="498741"/>
                  </a:lnTo>
                  <a:lnTo>
                    <a:pt x="289941" y="502031"/>
                  </a:lnTo>
                  <a:lnTo>
                    <a:pt x="309410" y="502031"/>
                  </a:lnTo>
                  <a:lnTo>
                    <a:pt x="286067" y="515975"/>
                  </a:lnTo>
                  <a:lnTo>
                    <a:pt x="179412" y="515975"/>
                  </a:lnTo>
                  <a:lnTo>
                    <a:pt x="164211" y="518629"/>
                  </a:lnTo>
                  <a:lnTo>
                    <a:pt x="151218" y="525970"/>
                  </a:lnTo>
                  <a:lnTo>
                    <a:pt x="141579" y="537032"/>
                  </a:lnTo>
                  <a:lnTo>
                    <a:pt x="136486" y="550900"/>
                  </a:lnTo>
                  <a:lnTo>
                    <a:pt x="135991" y="560070"/>
                  </a:lnTo>
                  <a:lnTo>
                    <a:pt x="137464" y="568985"/>
                  </a:lnTo>
                  <a:lnTo>
                    <a:pt x="168846" y="598665"/>
                  </a:lnTo>
                  <a:lnTo>
                    <a:pt x="177927" y="599643"/>
                  </a:lnTo>
                  <a:lnTo>
                    <a:pt x="289941" y="599643"/>
                  </a:lnTo>
                  <a:lnTo>
                    <a:pt x="402818" y="585698"/>
                  </a:lnTo>
                  <a:lnTo>
                    <a:pt x="527977" y="585698"/>
                  </a:lnTo>
                  <a:lnTo>
                    <a:pt x="527977" y="599643"/>
                  </a:lnTo>
                  <a:lnTo>
                    <a:pt x="541985" y="613587"/>
                  </a:lnTo>
                  <a:lnTo>
                    <a:pt x="597992" y="613587"/>
                  </a:lnTo>
                  <a:lnTo>
                    <a:pt x="612000" y="599643"/>
                  </a:lnTo>
                  <a:lnTo>
                    <a:pt x="612000" y="446252"/>
                  </a:lnTo>
                  <a:lnTo>
                    <a:pt x="612000" y="440855"/>
                  </a:lnTo>
                  <a:lnTo>
                    <a:pt x="612000" y="432308"/>
                  </a:lnTo>
                  <a:close/>
                </a:path>
              </a:pathLst>
            </a:custGeom>
            <a:solidFill>
              <a:srgbClr val="000000"/>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pic>
          <p:nvPicPr>
            <p:cNvPr id="32" name="object 16">
              <a:extLst>
                <a:ext uri="{FF2B5EF4-FFF2-40B4-BE49-F238E27FC236}">
                  <a16:creationId xmlns:a16="http://schemas.microsoft.com/office/drawing/2014/main" id="{0C9045B2-9BE5-509D-34CF-498558394B40}"/>
                </a:ext>
              </a:extLst>
            </p:cNvPr>
            <p:cNvPicPr/>
            <p:nvPr/>
          </p:nvPicPr>
          <p:blipFill>
            <a:blip r:embed="rId5" cstate="print"/>
            <a:stretch>
              <a:fillRect/>
            </a:stretch>
          </p:blipFill>
          <p:spPr>
            <a:xfrm>
              <a:off x="8395725" y="4556961"/>
              <a:ext cx="224037" cy="139137"/>
            </a:xfrm>
            <a:prstGeom prst="rect">
              <a:avLst/>
            </a:prstGeom>
          </p:spPr>
        </p:pic>
        <p:pic>
          <p:nvPicPr>
            <p:cNvPr id="33" name="object 17">
              <a:extLst>
                <a:ext uri="{FF2B5EF4-FFF2-40B4-BE49-F238E27FC236}">
                  <a16:creationId xmlns:a16="http://schemas.microsoft.com/office/drawing/2014/main" id="{300241E5-8458-4509-6039-27BE2149AA1B}"/>
                </a:ext>
              </a:extLst>
            </p:cNvPr>
            <p:cNvPicPr/>
            <p:nvPr/>
          </p:nvPicPr>
          <p:blipFill>
            <a:blip r:embed="rId6" cstate="print"/>
            <a:stretch>
              <a:fillRect/>
            </a:stretch>
          </p:blipFill>
          <p:spPr>
            <a:xfrm>
              <a:off x="8451734" y="4417823"/>
              <a:ext cx="112018" cy="111310"/>
            </a:xfrm>
            <a:prstGeom prst="rect">
              <a:avLst/>
            </a:prstGeom>
          </p:spPr>
        </p:pic>
        <p:sp>
          <p:nvSpPr>
            <p:cNvPr id="34" name="object 18">
              <a:extLst>
                <a:ext uri="{FF2B5EF4-FFF2-40B4-BE49-F238E27FC236}">
                  <a16:creationId xmlns:a16="http://schemas.microsoft.com/office/drawing/2014/main" id="{6C8CA038-3289-B0BC-F7E7-D08AE63BEE3D}"/>
                </a:ext>
              </a:extLst>
            </p:cNvPr>
            <p:cNvSpPr/>
            <p:nvPr/>
          </p:nvSpPr>
          <p:spPr>
            <a:xfrm>
              <a:off x="7726679" y="5635752"/>
              <a:ext cx="276225" cy="559435"/>
            </a:xfrm>
            <a:custGeom>
              <a:avLst/>
              <a:gdLst/>
              <a:ahLst/>
              <a:cxnLst/>
              <a:rect l="l" t="t" r="r" b="b"/>
              <a:pathLst>
                <a:path w="276225" h="559435">
                  <a:moveTo>
                    <a:pt x="0" y="0"/>
                  </a:moveTo>
                  <a:lnTo>
                    <a:pt x="0" y="559308"/>
                  </a:lnTo>
                  <a:lnTo>
                    <a:pt x="275844" y="279654"/>
                  </a:lnTo>
                  <a:lnTo>
                    <a:pt x="0" y="0"/>
                  </a:lnTo>
                  <a:close/>
                </a:path>
              </a:pathLst>
            </a:custGeom>
            <a:solidFill>
              <a:srgbClr val="FF000E"/>
            </a:solidFill>
          </p:spPr>
          <p:txBody>
            <a:bodyPr wrap="square" lIns="0" tIns="0" rIns="0" bIns="0" rtlCol="0"/>
            <a:lstStyle/>
            <a:p>
              <a:pPr marL="0" marR="0" lvl="0" indent="0" defTabSz="91440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endParaRPr>
            </a:p>
          </p:txBody>
        </p:sp>
      </p:grpSp>
      <p:sp>
        <p:nvSpPr>
          <p:cNvPr id="2" name="object 2"/>
          <p:cNvSpPr txBox="1"/>
          <p:nvPr/>
        </p:nvSpPr>
        <p:spPr>
          <a:xfrm>
            <a:off x="405384" y="1487804"/>
            <a:ext cx="393700" cy="497840"/>
          </a:xfrm>
          <a:prstGeom prst="rect">
            <a:avLst/>
          </a:prstGeom>
        </p:spPr>
        <p:txBody>
          <a:bodyPr vert="horz" wrap="square" lIns="0" tIns="12065" rIns="0" bIns="0" rtlCol="0">
            <a:spAutoFit/>
          </a:bodyPr>
          <a:lstStyle/>
          <a:p>
            <a:pPr marL="0" marR="0" lvl="0" indent="0" defTabSz="914400" eaLnBrk="1" fontAlgn="auto" latinLnBrk="0" hangingPunct="1">
              <a:lnSpc>
                <a:spcPct val="100000"/>
              </a:lnSpc>
              <a:spcBef>
                <a:spcPts val="95"/>
              </a:spcBef>
              <a:spcAft>
                <a:spcPts val="0"/>
              </a:spcAft>
              <a:buClrTx/>
              <a:buSzTx/>
              <a:buFontTx/>
              <a:buNone/>
              <a:tabLst/>
              <a:defRPr/>
            </a:pPr>
            <a:r>
              <a:rPr kumimoji="0" sz="3100" b="1" i="0" u="none" strike="noStrike" kern="0" cap="none" spc="-5" normalizeH="0" baseline="0" noProof="0">
                <a:ln>
                  <a:noFill/>
                </a:ln>
                <a:solidFill>
                  <a:srgbClr val="FF0000"/>
                </a:solidFill>
                <a:effectLst/>
                <a:uLnTx/>
                <a:uFillTx/>
                <a:latin typeface="ABBvoice"/>
                <a:cs typeface="ABBvoice"/>
              </a:rPr>
              <a:t>—</a:t>
            </a:r>
            <a:endParaRPr kumimoji="0" sz="3100" b="0" i="0" u="none" strike="noStrike" kern="0" cap="none" spc="0" normalizeH="0" baseline="0" noProof="0">
              <a:ln>
                <a:noFill/>
              </a:ln>
              <a:solidFill>
                <a:sysClr val="windowText" lastClr="000000"/>
              </a:solidFill>
              <a:effectLst/>
              <a:uLnTx/>
              <a:uFillTx/>
              <a:latin typeface="ABBvoice"/>
              <a:cs typeface="ABBvoice"/>
            </a:endParaRPr>
          </a:p>
        </p:txBody>
      </p:sp>
      <p:sp>
        <p:nvSpPr>
          <p:cNvPr id="3" name="object 3"/>
          <p:cNvSpPr txBox="1"/>
          <p:nvPr/>
        </p:nvSpPr>
        <p:spPr>
          <a:xfrm>
            <a:off x="405384" y="1960625"/>
            <a:ext cx="2954655" cy="2463800"/>
          </a:xfrm>
          <a:prstGeom prst="rect">
            <a:avLst/>
          </a:prstGeom>
        </p:spPr>
        <p:txBody>
          <a:bodyPr vert="horz" wrap="square" lIns="0" tIns="11430" rIns="0" bIns="0" rtlCol="0">
            <a:spAutoFit/>
          </a:bodyPr>
          <a:lstStyle/>
          <a:p>
            <a:pPr marL="0" marR="0" lvl="0" indent="0" defTabSz="914400" eaLnBrk="1" fontAlgn="auto" latinLnBrk="0" hangingPunct="1">
              <a:lnSpc>
                <a:spcPct val="100000"/>
              </a:lnSpc>
              <a:spcBef>
                <a:spcPts val="90"/>
              </a:spcBef>
              <a:spcAft>
                <a:spcPts val="0"/>
              </a:spcAft>
              <a:buClrTx/>
              <a:buSzTx/>
              <a:buFontTx/>
              <a:buNone/>
              <a:tabLst/>
              <a:defRPr/>
            </a:pPr>
            <a:r>
              <a:rPr kumimoji="0" sz="3200" b="1" i="0" u="none" strike="noStrike" kern="0" cap="none" spc="-10" normalizeH="0" baseline="0" noProof="0">
                <a:ln>
                  <a:noFill/>
                </a:ln>
                <a:solidFill>
                  <a:sysClr val="windowText" lastClr="000000"/>
                </a:solidFill>
                <a:effectLst/>
                <a:uLnTx/>
                <a:uFillTx/>
                <a:latin typeface="ABBvoice"/>
                <a:cs typeface="ABBvoice"/>
              </a:rPr>
              <a:t>Acknowledged </a:t>
            </a:r>
            <a:r>
              <a:rPr kumimoji="0" sz="3200" b="1" i="0" u="none" strike="noStrike" kern="0" cap="none" spc="0" normalizeH="0" baseline="0" noProof="0">
                <a:ln>
                  <a:noFill/>
                </a:ln>
                <a:solidFill>
                  <a:sysClr val="windowText" lastClr="000000"/>
                </a:solidFill>
                <a:effectLst/>
                <a:uLnTx/>
                <a:uFillTx/>
                <a:latin typeface="ABBvoice"/>
                <a:cs typeface="ABBvoice"/>
              </a:rPr>
              <a:t>history</a:t>
            </a:r>
            <a:r>
              <a:rPr kumimoji="0" sz="3200" b="1" i="0" u="none" strike="noStrike" kern="0" cap="none" spc="-100" normalizeH="0" baseline="0" noProof="0">
                <a:ln>
                  <a:noFill/>
                </a:ln>
                <a:solidFill>
                  <a:sysClr val="windowText" lastClr="000000"/>
                </a:solidFill>
                <a:effectLst/>
                <a:uLnTx/>
                <a:uFillTx/>
                <a:latin typeface="ABBvoice"/>
                <a:cs typeface="ABBvoice"/>
              </a:rPr>
              <a:t> </a:t>
            </a:r>
            <a:r>
              <a:rPr kumimoji="0" sz="3200" b="1" i="0" u="none" strike="noStrike" kern="0" cap="none" spc="-25" normalizeH="0" baseline="0" noProof="0">
                <a:ln>
                  <a:noFill/>
                </a:ln>
                <a:solidFill>
                  <a:sysClr val="windowText" lastClr="000000"/>
                </a:solidFill>
                <a:effectLst/>
                <a:uLnTx/>
                <a:uFillTx/>
                <a:latin typeface="ABBvoice"/>
                <a:cs typeface="ABBvoice"/>
              </a:rPr>
              <a:t>in </a:t>
            </a:r>
            <a:r>
              <a:rPr kumimoji="0" sz="3200" b="1" i="0" u="none" strike="noStrike" kern="0" cap="none" spc="-10" normalizeH="0" baseline="0" noProof="0">
                <a:ln>
                  <a:noFill/>
                </a:ln>
                <a:solidFill>
                  <a:sysClr val="windowText" lastClr="000000"/>
                </a:solidFill>
                <a:effectLst/>
                <a:uLnTx/>
                <a:uFillTx/>
                <a:latin typeface="ABBvoice"/>
                <a:cs typeface="ABBvoice"/>
              </a:rPr>
              <a:t>sustainability, </a:t>
            </a:r>
            <a:r>
              <a:rPr kumimoji="0" sz="3200" b="0" i="0" u="none" strike="noStrike" kern="0" cap="none" spc="0" normalizeH="0" baseline="0" noProof="0">
                <a:ln>
                  <a:noFill/>
                </a:ln>
                <a:solidFill>
                  <a:sysClr val="windowText" lastClr="000000"/>
                </a:solidFill>
                <a:effectLst/>
                <a:uLnTx/>
                <a:uFillTx/>
                <a:latin typeface="ABBvoice-Light"/>
                <a:cs typeface="ABBvoice-Light"/>
              </a:rPr>
              <a:t>with</a:t>
            </a:r>
            <a:r>
              <a:rPr kumimoji="0" sz="3200" b="0" i="0" u="none" strike="noStrike" kern="0" cap="none" spc="-25" normalizeH="0" baseline="0" noProof="0">
                <a:ln>
                  <a:noFill/>
                </a:ln>
                <a:solidFill>
                  <a:sysClr val="windowText" lastClr="000000"/>
                </a:solidFill>
                <a:effectLst/>
                <a:uLnTx/>
                <a:uFillTx/>
                <a:latin typeface="ABBvoice-Light"/>
                <a:cs typeface="ABBvoice-Light"/>
              </a:rPr>
              <a:t> </a:t>
            </a:r>
            <a:r>
              <a:rPr kumimoji="0" sz="3200" b="0" i="0" u="none" strike="noStrike" kern="0" cap="none" spc="0" normalizeH="0" baseline="0" noProof="0">
                <a:ln>
                  <a:noFill/>
                </a:ln>
                <a:solidFill>
                  <a:sysClr val="windowText" lastClr="000000"/>
                </a:solidFill>
                <a:effectLst/>
                <a:uLnTx/>
                <a:uFillTx/>
                <a:latin typeface="ABBvoice-Light"/>
                <a:cs typeface="ABBvoice-Light"/>
              </a:rPr>
              <a:t>a</a:t>
            </a:r>
            <a:r>
              <a:rPr kumimoji="0" sz="3200" b="0" i="0" u="none" strike="noStrike" kern="0" cap="none" spc="-60" normalizeH="0" baseline="0" noProof="0">
                <a:ln>
                  <a:noFill/>
                </a:ln>
                <a:solidFill>
                  <a:sysClr val="windowText" lastClr="000000"/>
                </a:solidFill>
                <a:effectLst/>
                <a:uLnTx/>
                <a:uFillTx/>
                <a:latin typeface="ABBvoice-Light"/>
                <a:cs typeface="ABBvoice-Light"/>
              </a:rPr>
              <a:t> </a:t>
            </a:r>
            <a:r>
              <a:rPr kumimoji="0" sz="3200" b="0" i="0" u="none" strike="noStrike" kern="0" cap="none" spc="0" normalizeH="0" baseline="0" noProof="0">
                <a:ln>
                  <a:noFill/>
                </a:ln>
                <a:solidFill>
                  <a:sysClr val="windowText" lastClr="000000"/>
                </a:solidFill>
                <a:effectLst/>
                <a:uLnTx/>
                <a:uFillTx/>
                <a:latin typeface="ABBvoice-Light"/>
                <a:cs typeface="ABBvoice-Light"/>
              </a:rPr>
              <a:t>new</a:t>
            </a:r>
            <a:r>
              <a:rPr kumimoji="0" sz="3200" b="0" i="0" u="none" strike="noStrike" kern="0" cap="none" spc="-35" normalizeH="0" baseline="0" noProof="0">
                <a:ln>
                  <a:noFill/>
                </a:ln>
                <a:solidFill>
                  <a:sysClr val="windowText" lastClr="000000"/>
                </a:solidFill>
                <a:effectLst/>
                <a:uLnTx/>
                <a:uFillTx/>
                <a:latin typeface="ABBvoice-Light"/>
                <a:cs typeface="ABBvoice-Light"/>
              </a:rPr>
              <a:t> </a:t>
            </a:r>
            <a:r>
              <a:rPr kumimoji="0" sz="3200" b="0" i="0" u="none" strike="noStrike" kern="0" cap="none" spc="-10" normalizeH="0" baseline="0" noProof="0">
                <a:ln>
                  <a:noFill/>
                </a:ln>
                <a:solidFill>
                  <a:sysClr val="windowText" lastClr="000000"/>
                </a:solidFill>
                <a:effectLst/>
                <a:uLnTx/>
                <a:uFillTx/>
                <a:latin typeface="ABBvoice-Light"/>
                <a:cs typeface="ABBvoice-Light"/>
              </a:rPr>
              <a:t>level </a:t>
            </a:r>
            <a:r>
              <a:rPr kumimoji="0" sz="3200" b="0" i="0" u="none" strike="noStrike" kern="0" cap="none" spc="0" normalizeH="0" baseline="0" noProof="0">
                <a:ln>
                  <a:noFill/>
                </a:ln>
                <a:solidFill>
                  <a:sysClr val="windowText" lastClr="000000"/>
                </a:solidFill>
                <a:effectLst/>
                <a:uLnTx/>
                <a:uFillTx/>
                <a:latin typeface="ABBvoice-Light"/>
                <a:cs typeface="ABBvoice-Light"/>
              </a:rPr>
              <a:t>of</a:t>
            </a:r>
            <a:r>
              <a:rPr kumimoji="0" sz="3200" b="0" i="0" u="none" strike="noStrike" kern="0" cap="none" spc="-20" normalizeH="0" baseline="0" noProof="0">
                <a:ln>
                  <a:noFill/>
                </a:ln>
                <a:solidFill>
                  <a:sysClr val="windowText" lastClr="000000"/>
                </a:solidFill>
                <a:effectLst/>
                <a:uLnTx/>
                <a:uFillTx/>
                <a:latin typeface="ABBvoice-Light"/>
                <a:cs typeface="ABBvoice-Light"/>
              </a:rPr>
              <a:t> </a:t>
            </a:r>
            <a:r>
              <a:rPr kumimoji="0" sz="3200" b="0" i="0" u="none" strike="noStrike" kern="0" cap="none" spc="-10" normalizeH="0" baseline="0" noProof="0">
                <a:ln>
                  <a:noFill/>
                </a:ln>
                <a:solidFill>
                  <a:sysClr val="windowText" lastClr="000000"/>
                </a:solidFill>
                <a:effectLst/>
                <a:uLnTx/>
                <a:uFillTx/>
                <a:latin typeface="ABBvoice-Light"/>
                <a:cs typeface="ABBvoice-Light"/>
              </a:rPr>
              <a:t>ambition</a:t>
            </a:r>
            <a:endParaRPr kumimoji="0" sz="3200" b="0" i="0" u="none" strike="noStrike" kern="0" cap="none" spc="0" normalizeH="0" baseline="0" noProof="0">
              <a:ln>
                <a:noFill/>
              </a:ln>
              <a:solidFill>
                <a:sysClr val="windowText" lastClr="000000"/>
              </a:solidFill>
              <a:effectLst/>
              <a:uLnTx/>
              <a:uFillTx/>
              <a:latin typeface="ABBvoice-Light"/>
              <a:cs typeface="ABBvoice-Light"/>
            </a:endParaRPr>
          </a:p>
        </p:txBody>
      </p:sp>
      <p:sp>
        <p:nvSpPr>
          <p:cNvPr id="7" name="object 7"/>
          <p:cNvSpPr txBox="1"/>
          <p:nvPr/>
        </p:nvSpPr>
        <p:spPr>
          <a:xfrm>
            <a:off x="4024121" y="1945386"/>
            <a:ext cx="3312160" cy="2860675"/>
          </a:xfrm>
          <a:prstGeom prst="rect">
            <a:avLst/>
          </a:prstGeom>
        </p:spPr>
        <p:txBody>
          <a:bodyPr vert="horz" wrap="square" lIns="0" tIns="12065" rIns="0" bIns="0" rtlCol="0">
            <a:spAutoFit/>
          </a:bodyPr>
          <a:lstStyle/>
          <a:p>
            <a:pPr marL="12700" marR="5080" lvl="0" indent="0" defTabSz="914400" eaLnBrk="1" fontAlgn="auto" latinLnBrk="0" hangingPunct="1">
              <a:lnSpc>
                <a:spcPct val="100000"/>
              </a:lnSpc>
              <a:spcBef>
                <a:spcPts val="95"/>
              </a:spcBef>
              <a:spcAft>
                <a:spcPts val="0"/>
              </a:spcAft>
              <a:buClrTx/>
              <a:buSzTx/>
              <a:buFontTx/>
              <a:buNone/>
              <a:tabLst/>
              <a:defRPr/>
            </a:pPr>
            <a:r>
              <a:rPr kumimoji="0" sz="3100" b="0" i="0" u="none" strike="noStrike" kern="0" cap="none" spc="0" normalizeH="0" baseline="0" noProof="0">
                <a:ln>
                  <a:noFill/>
                </a:ln>
                <a:solidFill>
                  <a:srgbClr val="FFFFFF"/>
                </a:solidFill>
                <a:effectLst/>
                <a:uLnTx/>
                <a:uFillTx/>
                <a:latin typeface="ABBvoice"/>
                <a:cs typeface="ABBvoice"/>
              </a:rPr>
              <a:t>Rooted</a:t>
            </a:r>
            <a:r>
              <a:rPr kumimoji="0" sz="3100" b="0" i="0" u="none" strike="noStrike" kern="0" cap="none" spc="-95" normalizeH="0" baseline="0" noProof="0">
                <a:ln>
                  <a:noFill/>
                </a:ln>
                <a:solidFill>
                  <a:srgbClr val="FFFFFF"/>
                </a:solidFill>
                <a:effectLst/>
                <a:uLnTx/>
                <a:uFillTx/>
                <a:latin typeface="ABBvoice"/>
                <a:cs typeface="ABBvoice"/>
              </a:rPr>
              <a:t> </a:t>
            </a:r>
            <a:r>
              <a:rPr kumimoji="0" sz="3100" b="0" i="0" u="none" strike="noStrike" kern="0" cap="none" spc="-25" normalizeH="0" baseline="0" noProof="0">
                <a:ln>
                  <a:noFill/>
                </a:ln>
                <a:solidFill>
                  <a:srgbClr val="FFFFFF"/>
                </a:solidFill>
                <a:effectLst/>
                <a:uLnTx/>
                <a:uFillTx/>
                <a:latin typeface="ABBvoice"/>
                <a:cs typeface="ABBvoice"/>
              </a:rPr>
              <a:t>in </a:t>
            </a:r>
            <a:r>
              <a:rPr kumimoji="0" sz="3100" b="0" i="0" u="none" strike="noStrike" kern="0" cap="none" spc="-10" normalizeH="0" baseline="0" noProof="0">
                <a:ln>
                  <a:noFill/>
                </a:ln>
                <a:solidFill>
                  <a:srgbClr val="FFFFFF"/>
                </a:solidFill>
                <a:effectLst/>
                <a:uLnTx/>
                <a:uFillTx/>
                <a:latin typeface="ABBvoice"/>
                <a:cs typeface="ABBvoice"/>
              </a:rPr>
              <a:t>purpose, </a:t>
            </a:r>
            <a:r>
              <a:rPr kumimoji="0" sz="3100" b="1" i="0" u="none" strike="noStrike" kern="0" cap="none" spc="-10" normalizeH="0" baseline="0" noProof="0">
                <a:ln>
                  <a:noFill/>
                </a:ln>
                <a:solidFill>
                  <a:srgbClr val="FFFFFF"/>
                </a:solidFill>
                <a:effectLst/>
                <a:uLnTx/>
                <a:uFillTx/>
                <a:latin typeface="ABBvoice"/>
                <a:cs typeface="ABBvoice"/>
              </a:rPr>
              <a:t>embedding sustainability </a:t>
            </a:r>
            <a:r>
              <a:rPr kumimoji="0" sz="3100" b="0" i="0" u="none" strike="noStrike" kern="0" cap="none" spc="0" normalizeH="0" baseline="0" noProof="0">
                <a:ln>
                  <a:noFill/>
                </a:ln>
                <a:solidFill>
                  <a:srgbClr val="FFFFFF"/>
                </a:solidFill>
                <a:effectLst/>
                <a:uLnTx/>
                <a:uFillTx/>
                <a:latin typeface="ABBvoice"/>
                <a:cs typeface="ABBvoice"/>
              </a:rPr>
              <a:t>across</a:t>
            </a:r>
            <a:r>
              <a:rPr kumimoji="0" sz="3100" b="0" i="0" u="none" strike="noStrike" kern="0" cap="none" spc="-70" normalizeH="0" baseline="0" noProof="0">
                <a:ln>
                  <a:noFill/>
                </a:ln>
                <a:solidFill>
                  <a:srgbClr val="FFFFFF"/>
                </a:solidFill>
                <a:effectLst/>
                <a:uLnTx/>
                <a:uFillTx/>
                <a:latin typeface="ABBvoice"/>
                <a:cs typeface="ABBvoice"/>
              </a:rPr>
              <a:t> </a:t>
            </a:r>
            <a:r>
              <a:rPr kumimoji="0" sz="3100" b="0" i="0" u="none" strike="noStrike" kern="0" cap="none" spc="0" normalizeH="0" baseline="0" noProof="0">
                <a:ln>
                  <a:noFill/>
                </a:ln>
                <a:solidFill>
                  <a:srgbClr val="FFFFFF"/>
                </a:solidFill>
                <a:effectLst/>
                <a:uLnTx/>
                <a:uFillTx/>
                <a:latin typeface="ABBvoice"/>
                <a:cs typeface="ABBvoice"/>
              </a:rPr>
              <a:t>all</a:t>
            </a:r>
            <a:r>
              <a:rPr kumimoji="0" sz="3100" b="0" i="0" u="none" strike="noStrike" kern="0" cap="none" spc="-25" normalizeH="0" baseline="0" noProof="0">
                <a:ln>
                  <a:noFill/>
                </a:ln>
                <a:solidFill>
                  <a:srgbClr val="FFFFFF"/>
                </a:solidFill>
                <a:effectLst/>
                <a:uLnTx/>
                <a:uFillTx/>
                <a:latin typeface="ABBvoice"/>
                <a:cs typeface="ABBvoice"/>
              </a:rPr>
              <a:t> </a:t>
            </a:r>
            <a:r>
              <a:rPr kumimoji="0" sz="3100" b="0" i="0" u="none" strike="noStrike" kern="0" cap="none" spc="-10" normalizeH="0" baseline="0" noProof="0">
                <a:ln>
                  <a:noFill/>
                </a:ln>
                <a:solidFill>
                  <a:srgbClr val="FFFFFF"/>
                </a:solidFill>
                <a:effectLst/>
                <a:uLnTx/>
                <a:uFillTx/>
                <a:latin typeface="ABBvoice"/>
                <a:cs typeface="ABBvoice"/>
              </a:rPr>
              <a:t>aspects </a:t>
            </a:r>
            <a:r>
              <a:rPr kumimoji="0" sz="3100" b="0" i="0" u="none" strike="noStrike" kern="0" cap="none" spc="0" normalizeH="0" baseline="0" noProof="0">
                <a:ln>
                  <a:noFill/>
                </a:ln>
                <a:solidFill>
                  <a:srgbClr val="FFFFFF"/>
                </a:solidFill>
                <a:effectLst/>
                <a:uLnTx/>
                <a:uFillTx/>
                <a:latin typeface="ABBvoice"/>
                <a:cs typeface="ABBvoice"/>
              </a:rPr>
              <a:t>of</a:t>
            </a:r>
            <a:r>
              <a:rPr kumimoji="0" sz="3100" b="0" i="0" u="none" strike="noStrike" kern="0" cap="none" spc="-55" normalizeH="0" baseline="0" noProof="0">
                <a:ln>
                  <a:noFill/>
                </a:ln>
                <a:solidFill>
                  <a:srgbClr val="FFFFFF"/>
                </a:solidFill>
                <a:effectLst/>
                <a:uLnTx/>
                <a:uFillTx/>
                <a:latin typeface="ABBvoice"/>
                <a:cs typeface="ABBvoice"/>
              </a:rPr>
              <a:t> </a:t>
            </a:r>
            <a:r>
              <a:rPr kumimoji="0" sz="3100" b="0" i="0" u="none" strike="noStrike" kern="0" cap="none" spc="0" normalizeH="0" baseline="0" noProof="0">
                <a:ln>
                  <a:noFill/>
                </a:ln>
                <a:solidFill>
                  <a:srgbClr val="FFFFFF"/>
                </a:solidFill>
                <a:effectLst/>
                <a:uLnTx/>
                <a:uFillTx/>
                <a:latin typeface="ABBvoice"/>
                <a:cs typeface="ABBvoice"/>
              </a:rPr>
              <a:t>value</a:t>
            </a:r>
            <a:r>
              <a:rPr kumimoji="0" sz="3100" b="0" i="0" u="none" strike="noStrike" kern="0" cap="none" spc="-55" normalizeH="0" baseline="0" noProof="0">
                <a:ln>
                  <a:noFill/>
                </a:ln>
                <a:solidFill>
                  <a:srgbClr val="FFFFFF"/>
                </a:solidFill>
                <a:effectLst/>
                <a:uLnTx/>
                <a:uFillTx/>
                <a:latin typeface="ABBvoice"/>
                <a:cs typeface="ABBvoice"/>
              </a:rPr>
              <a:t> </a:t>
            </a:r>
            <a:r>
              <a:rPr kumimoji="0" sz="3100" b="0" i="0" u="none" strike="noStrike" kern="0" cap="none" spc="-10" normalizeH="0" baseline="0" noProof="0">
                <a:ln>
                  <a:noFill/>
                </a:ln>
                <a:solidFill>
                  <a:srgbClr val="FFFFFF"/>
                </a:solidFill>
                <a:effectLst/>
                <a:uLnTx/>
                <a:uFillTx/>
                <a:latin typeface="ABBvoice"/>
                <a:cs typeface="ABBvoice"/>
              </a:rPr>
              <a:t>chain</a:t>
            </a:r>
            <a:endParaRPr kumimoji="0" sz="3100" b="0" i="0" u="none" strike="noStrike" kern="0" cap="none" spc="0" normalizeH="0" baseline="0" noProof="0">
              <a:ln>
                <a:noFill/>
              </a:ln>
              <a:solidFill>
                <a:sysClr val="windowText" lastClr="000000"/>
              </a:solidFill>
              <a:effectLst/>
              <a:uLnTx/>
              <a:uFillTx/>
              <a:latin typeface="ABBvoice"/>
              <a:cs typeface="ABBvoice"/>
            </a:endParaRPr>
          </a:p>
        </p:txBody>
      </p:sp>
      <p:sp>
        <p:nvSpPr>
          <p:cNvPr id="14" name="object 14"/>
          <p:cNvSpPr txBox="1"/>
          <p:nvPr/>
        </p:nvSpPr>
        <p:spPr>
          <a:xfrm>
            <a:off x="9040114" y="1196085"/>
            <a:ext cx="2480310" cy="75755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0" normalizeH="0" baseline="0" noProof="0">
                <a:ln>
                  <a:noFill/>
                </a:ln>
                <a:solidFill>
                  <a:sysClr val="windowText" lastClr="000000"/>
                </a:solidFill>
                <a:effectLst/>
                <a:uLnTx/>
                <a:uFillTx/>
                <a:latin typeface="ABBvoice"/>
                <a:cs typeface="ABBvoice"/>
              </a:rPr>
              <a:t>We</a:t>
            </a:r>
            <a:r>
              <a:rPr kumimoji="0" sz="2400" b="1" i="0" u="none" strike="noStrike" kern="0" cap="none" spc="-25" normalizeH="0" baseline="0" noProof="0">
                <a:ln>
                  <a:noFill/>
                </a:ln>
                <a:solidFill>
                  <a:sysClr val="windowText" lastClr="000000"/>
                </a:solidFill>
                <a:effectLst/>
                <a:uLnTx/>
                <a:uFillTx/>
                <a:latin typeface="ABBvoice"/>
                <a:cs typeface="ABBvoice"/>
              </a:rPr>
              <a:t> </a:t>
            </a:r>
            <a:r>
              <a:rPr kumimoji="0" sz="2400" b="1" i="0" u="none" strike="noStrike" kern="0" cap="none" spc="0" normalizeH="0" baseline="0" noProof="0">
                <a:ln>
                  <a:noFill/>
                </a:ln>
                <a:solidFill>
                  <a:sysClr val="windowText" lastClr="000000"/>
                </a:solidFill>
                <a:effectLst/>
                <a:uLnTx/>
                <a:uFillTx/>
                <a:latin typeface="ABBvoice"/>
                <a:cs typeface="ABBvoice"/>
              </a:rPr>
              <a:t>enable</a:t>
            </a:r>
            <a:r>
              <a:rPr kumimoji="0" sz="2400" b="1" i="0" u="none" strike="noStrike" kern="0" cap="none" spc="25" normalizeH="0" baseline="0" noProof="0">
                <a:ln>
                  <a:noFill/>
                </a:ln>
                <a:solidFill>
                  <a:sysClr val="windowText" lastClr="000000"/>
                </a:solidFill>
                <a:effectLst/>
                <a:uLnTx/>
                <a:uFillTx/>
                <a:latin typeface="ABBvoice"/>
                <a:cs typeface="ABBvoice"/>
              </a:rPr>
              <a:t> </a:t>
            </a:r>
            <a:r>
              <a:rPr kumimoji="0" sz="2400" b="1" i="0" u="none" strike="noStrike" kern="0" cap="none" spc="0" normalizeH="0" baseline="0" noProof="0">
                <a:ln>
                  <a:noFill/>
                </a:ln>
                <a:solidFill>
                  <a:sysClr val="windowText" lastClr="000000"/>
                </a:solidFill>
                <a:effectLst/>
                <a:uLnTx/>
                <a:uFillTx/>
                <a:latin typeface="ABBvoice"/>
                <a:cs typeface="ABBvoice"/>
              </a:rPr>
              <a:t>a</a:t>
            </a:r>
            <a:r>
              <a:rPr kumimoji="0" sz="2400" b="1" i="0" u="none" strike="noStrike" kern="0" cap="none" spc="-20" normalizeH="0" baseline="0" noProof="0">
                <a:ln>
                  <a:noFill/>
                </a:ln>
                <a:solidFill>
                  <a:sysClr val="windowText" lastClr="000000"/>
                </a:solidFill>
                <a:effectLst/>
                <a:uLnTx/>
                <a:uFillTx/>
                <a:latin typeface="ABBvoice"/>
                <a:cs typeface="ABBvoice"/>
              </a:rPr>
              <a:t> low- </a:t>
            </a:r>
            <a:r>
              <a:rPr kumimoji="0" sz="2400" b="1" i="0" u="none" strike="noStrike" kern="0" cap="none" spc="0" normalizeH="0" baseline="0" noProof="0">
                <a:ln>
                  <a:noFill/>
                </a:ln>
                <a:solidFill>
                  <a:sysClr val="windowText" lastClr="000000"/>
                </a:solidFill>
                <a:effectLst/>
                <a:uLnTx/>
                <a:uFillTx/>
                <a:latin typeface="ABBvoice"/>
                <a:cs typeface="ABBvoice"/>
              </a:rPr>
              <a:t>carbon</a:t>
            </a:r>
            <a:r>
              <a:rPr kumimoji="0" sz="2400" b="1" i="0" u="none" strike="noStrike" kern="0" cap="none" spc="-20" normalizeH="0" baseline="0" noProof="0">
                <a:ln>
                  <a:noFill/>
                </a:ln>
                <a:solidFill>
                  <a:sysClr val="windowText" lastClr="000000"/>
                </a:solidFill>
                <a:effectLst/>
                <a:uLnTx/>
                <a:uFillTx/>
                <a:latin typeface="ABBvoice"/>
                <a:cs typeface="ABBvoice"/>
              </a:rPr>
              <a:t> </a:t>
            </a:r>
            <a:r>
              <a:rPr kumimoji="0" sz="2400" b="1" i="0" u="none" strike="noStrike" kern="0" cap="none" spc="-10" normalizeH="0" baseline="0" noProof="0">
                <a:ln>
                  <a:noFill/>
                </a:ln>
                <a:solidFill>
                  <a:sysClr val="windowText" lastClr="000000"/>
                </a:solidFill>
                <a:effectLst/>
                <a:uLnTx/>
                <a:uFillTx/>
                <a:latin typeface="ABBvoice"/>
                <a:cs typeface="ABBvoice"/>
              </a:rPr>
              <a:t>society</a:t>
            </a:r>
            <a:endParaRPr kumimoji="0" sz="2400" b="0" i="0" u="none" strike="noStrike" kern="0" cap="none" spc="0" normalizeH="0" baseline="0" noProof="0">
              <a:ln>
                <a:noFill/>
              </a:ln>
              <a:solidFill>
                <a:sysClr val="windowText" lastClr="000000"/>
              </a:solidFill>
              <a:effectLst/>
              <a:uLnTx/>
              <a:uFillTx/>
              <a:latin typeface="ABBvoice"/>
              <a:cs typeface="ABBvoice"/>
            </a:endParaRPr>
          </a:p>
        </p:txBody>
      </p:sp>
      <p:sp>
        <p:nvSpPr>
          <p:cNvPr id="15" name="object 15"/>
          <p:cNvSpPr txBox="1"/>
          <p:nvPr/>
        </p:nvSpPr>
        <p:spPr>
          <a:xfrm>
            <a:off x="9040114" y="2567432"/>
            <a:ext cx="1838960" cy="75755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0" normalizeH="0" baseline="0" noProof="0">
                <a:ln>
                  <a:noFill/>
                </a:ln>
                <a:solidFill>
                  <a:sysClr val="windowText" lastClr="000000"/>
                </a:solidFill>
                <a:effectLst/>
                <a:uLnTx/>
                <a:uFillTx/>
                <a:latin typeface="ABBvoice"/>
                <a:cs typeface="ABBvoice"/>
              </a:rPr>
              <a:t>We</a:t>
            </a:r>
            <a:r>
              <a:rPr kumimoji="0" sz="2400" b="1" i="0" u="none" strike="noStrike" kern="0" cap="none" spc="5" normalizeH="0" baseline="0" noProof="0">
                <a:ln>
                  <a:noFill/>
                </a:ln>
                <a:solidFill>
                  <a:sysClr val="windowText" lastClr="000000"/>
                </a:solidFill>
                <a:effectLst/>
                <a:uLnTx/>
                <a:uFillTx/>
                <a:latin typeface="ABBvoice"/>
                <a:cs typeface="ABBvoice"/>
              </a:rPr>
              <a:t> </a:t>
            </a:r>
            <a:r>
              <a:rPr kumimoji="0" sz="2400" b="1" i="0" u="none" strike="noStrike" kern="0" cap="none" spc="-10" normalizeH="0" baseline="0" noProof="0">
                <a:ln>
                  <a:noFill/>
                </a:ln>
                <a:solidFill>
                  <a:sysClr val="windowText" lastClr="000000"/>
                </a:solidFill>
                <a:effectLst/>
                <a:uLnTx/>
                <a:uFillTx/>
                <a:latin typeface="ABBvoice"/>
                <a:cs typeface="ABBvoice"/>
              </a:rPr>
              <a:t>preserve resources</a:t>
            </a:r>
            <a:endParaRPr kumimoji="0" sz="2400" b="0" i="0" u="none" strike="noStrike" kern="0" cap="none" spc="0" normalizeH="0" baseline="0" noProof="0">
              <a:ln>
                <a:noFill/>
              </a:ln>
              <a:solidFill>
                <a:sysClr val="windowText" lastClr="000000"/>
              </a:solidFill>
              <a:effectLst/>
              <a:uLnTx/>
              <a:uFillTx/>
              <a:latin typeface="ABBvoice"/>
              <a:cs typeface="ABBvoice"/>
            </a:endParaRPr>
          </a:p>
        </p:txBody>
      </p:sp>
      <p:sp>
        <p:nvSpPr>
          <p:cNvPr id="16" name="object 16"/>
          <p:cNvSpPr txBox="1"/>
          <p:nvPr/>
        </p:nvSpPr>
        <p:spPr>
          <a:xfrm>
            <a:off x="9040114" y="3932301"/>
            <a:ext cx="2768600" cy="757555"/>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defRPr/>
            </a:pPr>
            <a:r>
              <a:rPr kumimoji="0" sz="2400" b="1" i="0" u="none" strike="noStrike" kern="0" cap="none" spc="0" normalizeH="0" baseline="0" noProof="0">
                <a:ln>
                  <a:noFill/>
                </a:ln>
                <a:solidFill>
                  <a:sysClr val="windowText" lastClr="000000"/>
                </a:solidFill>
                <a:effectLst/>
                <a:uLnTx/>
                <a:uFillTx/>
                <a:latin typeface="ABBvoice"/>
                <a:cs typeface="ABBvoice"/>
              </a:rPr>
              <a:t>We</a:t>
            </a:r>
            <a:r>
              <a:rPr kumimoji="0" sz="2400" b="1" i="0" u="none" strike="noStrike" kern="0" cap="none" spc="-20" normalizeH="0" baseline="0" noProof="0">
                <a:ln>
                  <a:noFill/>
                </a:ln>
                <a:solidFill>
                  <a:sysClr val="windowText" lastClr="000000"/>
                </a:solidFill>
                <a:effectLst/>
                <a:uLnTx/>
                <a:uFillTx/>
                <a:latin typeface="ABBvoice"/>
                <a:cs typeface="ABBvoice"/>
              </a:rPr>
              <a:t> </a:t>
            </a:r>
            <a:r>
              <a:rPr kumimoji="0" sz="2400" b="1" i="0" u="none" strike="noStrike" kern="0" cap="none" spc="0" normalizeH="0" baseline="0" noProof="0">
                <a:ln>
                  <a:noFill/>
                </a:ln>
                <a:solidFill>
                  <a:sysClr val="windowText" lastClr="000000"/>
                </a:solidFill>
                <a:effectLst/>
                <a:uLnTx/>
                <a:uFillTx/>
                <a:latin typeface="ABBvoice"/>
                <a:cs typeface="ABBvoice"/>
              </a:rPr>
              <a:t>promote</a:t>
            </a:r>
            <a:r>
              <a:rPr kumimoji="0" sz="2400" b="1" i="0" u="none" strike="noStrike" kern="0" cap="none" spc="25" normalizeH="0" baseline="0" noProof="0">
                <a:ln>
                  <a:noFill/>
                </a:ln>
                <a:solidFill>
                  <a:sysClr val="windowText" lastClr="000000"/>
                </a:solidFill>
                <a:effectLst/>
                <a:uLnTx/>
                <a:uFillTx/>
                <a:latin typeface="ABBvoice"/>
                <a:cs typeface="ABBvoice"/>
              </a:rPr>
              <a:t> </a:t>
            </a:r>
            <a:r>
              <a:rPr kumimoji="0" sz="2400" b="1" i="0" u="none" strike="noStrike" kern="0" cap="none" spc="-10" normalizeH="0" baseline="0" noProof="0">
                <a:ln>
                  <a:noFill/>
                </a:ln>
                <a:solidFill>
                  <a:sysClr val="windowText" lastClr="000000"/>
                </a:solidFill>
                <a:effectLst/>
                <a:uLnTx/>
                <a:uFillTx/>
                <a:latin typeface="ABBvoice"/>
                <a:cs typeface="ABBvoice"/>
              </a:rPr>
              <a:t>social progress</a:t>
            </a:r>
            <a:endParaRPr kumimoji="0" sz="2400" b="0" i="0" u="none" strike="noStrike" kern="0" cap="none" spc="0" normalizeH="0" baseline="0" noProof="0">
              <a:ln>
                <a:noFill/>
              </a:ln>
              <a:solidFill>
                <a:sysClr val="windowText" lastClr="000000"/>
              </a:solidFill>
              <a:effectLst/>
              <a:uLnTx/>
              <a:uFillTx/>
              <a:latin typeface="ABBvoice"/>
              <a:cs typeface="ABBvoice"/>
            </a:endParaRPr>
          </a:p>
        </p:txBody>
      </p:sp>
      <p:sp>
        <p:nvSpPr>
          <p:cNvPr id="17" name="object 17"/>
          <p:cNvSpPr txBox="1"/>
          <p:nvPr/>
        </p:nvSpPr>
        <p:spPr>
          <a:xfrm>
            <a:off x="8326373" y="5291124"/>
            <a:ext cx="2689225" cy="756920"/>
          </a:xfrm>
          <a:prstGeom prst="rect">
            <a:avLst/>
          </a:prstGeom>
        </p:spPr>
        <p:txBody>
          <a:bodyPr vert="horz" wrap="square" lIns="0" tIns="12700" rIns="0" bIns="0" rtlCol="0">
            <a:spAutoFit/>
          </a:bodyPr>
          <a:lstStyle/>
          <a:p>
            <a:pPr marL="12700" marR="5080" lvl="0" indent="0" defTabSz="914400" eaLnBrk="1" fontAlgn="auto" latinLnBrk="0" hangingPunct="1">
              <a:lnSpc>
                <a:spcPct val="100000"/>
              </a:lnSpc>
              <a:spcBef>
                <a:spcPts val="100"/>
              </a:spcBef>
              <a:spcAft>
                <a:spcPts val="0"/>
              </a:spcAft>
              <a:buClrTx/>
              <a:buSzTx/>
              <a:buFontTx/>
              <a:buNone/>
              <a:tabLst>
                <a:tab pos="1914525" algn="l"/>
              </a:tabLst>
              <a:defRPr/>
            </a:pPr>
            <a:r>
              <a:rPr kumimoji="0" sz="2400" b="1" i="0" u="none" strike="noStrike" kern="0" cap="none" spc="155" normalizeH="0" baseline="0" noProof="0">
                <a:ln>
                  <a:noFill/>
                </a:ln>
                <a:solidFill>
                  <a:srgbClr val="FF000E"/>
                </a:solidFill>
                <a:effectLst/>
                <a:uLnTx/>
                <a:uFillTx/>
                <a:latin typeface="ABBvoice"/>
                <a:cs typeface="ABBvoice"/>
              </a:rPr>
              <a:t>INTEGRITY</a:t>
            </a:r>
            <a:r>
              <a:rPr kumimoji="0" sz="2400" b="1" i="0" u="none" strike="noStrike" kern="0" cap="none" spc="0" normalizeH="0" baseline="0" noProof="0">
                <a:ln>
                  <a:noFill/>
                </a:ln>
                <a:solidFill>
                  <a:srgbClr val="FF000E"/>
                </a:solidFill>
                <a:effectLst/>
                <a:uLnTx/>
                <a:uFillTx/>
                <a:latin typeface="ABBvoice"/>
                <a:cs typeface="ABBvoice"/>
              </a:rPr>
              <a:t>	</a:t>
            </a:r>
            <a:r>
              <a:rPr kumimoji="0" sz="2400" b="1" i="0" u="none" strike="noStrike" kern="0" cap="none" spc="105" normalizeH="0" baseline="0" noProof="0">
                <a:ln>
                  <a:noFill/>
                </a:ln>
                <a:solidFill>
                  <a:srgbClr val="FF000E"/>
                </a:solidFill>
                <a:effectLst/>
                <a:uLnTx/>
                <a:uFillTx/>
                <a:latin typeface="ABBvoice"/>
                <a:cs typeface="ABBvoice"/>
              </a:rPr>
              <a:t>AND </a:t>
            </a:r>
            <a:r>
              <a:rPr kumimoji="0" sz="2400" b="1" i="0" u="none" strike="noStrike" kern="0" cap="none" spc="165" normalizeH="0" baseline="0" noProof="0">
                <a:ln>
                  <a:noFill/>
                </a:ln>
                <a:solidFill>
                  <a:srgbClr val="FF000E"/>
                </a:solidFill>
                <a:effectLst/>
                <a:uLnTx/>
                <a:uFillTx/>
                <a:latin typeface="ABBvoice"/>
                <a:cs typeface="ABBvoice"/>
              </a:rPr>
              <a:t>TRANSPARENCY</a:t>
            </a:r>
            <a:endParaRPr kumimoji="0" sz="2400" b="0" i="0" u="none" strike="noStrike" kern="0" cap="none" spc="0" normalizeH="0" baseline="0" noProof="0">
              <a:ln>
                <a:noFill/>
              </a:ln>
              <a:solidFill>
                <a:sysClr val="windowText" lastClr="000000"/>
              </a:solidFill>
              <a:effectLst/>
              <a:uLnTx/>
              <a:uFillTx/>
              <a:latin typeface="ABBvoice"/>
              <a:cs typeface="ABBvoice"/>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2188951" cy="6857998"/>
          </a:xfrm>
          <a:prstGeom prst="rect">
            <a:avLst/>
          </a:prstGeom>
        </p:spPr>
      </p:pic>
      <p:sp>
        <p:nvSpPr>
          <p:cNvPr id="3" name="object 3"/>
          <p:cNvSpPr txBox="1"/>
          <p:nvPr/>
        </p:nvSpPr>
        <p:spPr>
          <a:xfrm>
            <a:off x="333451" y="288493"/>
            <a:ext cx="305435" cy="391795"/>
          </a:xfrm>
          <a:prstGeom prst="rect">
            <a:avLst/>
          </a:prstGeom>
        </p:spPr>
        <p:txBody>
          <a:bodyPr vert="horz" wrap="square" lIns="0" tIns="12700" rIns="0" bIns="0" rtlCol="0">
            <a:spAutoFit/>
          </a:bodyPr>
          <a:lstStyle/>
          <a:p>
            <a:pPr>
              <a:lnSpc>
                <a:spcPct val="100000"/>
              </a:lnSpc>
              <a:spcBef>
                <a:spcPts val="100"/>
              </a:spcBef>
            </a:pPr>
            <a:r>
              <a:rPr sz="2400" b="1">
                <a:solidFill>
                  <a:srgbClr val="FF000E"/>
                </a:solidFill>
                <a:latin typeface="ABBvoice"/>
                <a:cs typeface="ABBvoice"/>
              </a:rPr>
              <a:t>—</a:t>
            </a:r>
            <a:endParaRPr sz="2400">
              <a:latin typeface="ABBvoice"/>
              <a:cs typeface="ABBvoice"/>
            </a:endParaRPr>
          </a:p>
        </p:txBody>
      </p:sp>
      <p:sp>
        <p:nvSpPr>
          <p:cNvPr id="4" name="object 4"/>
          <p:cNvSpPr txBox="1">
            <a:spLocks noGrp="1"/>
          </p:cNvSpPr>
          <p:nvPr>
            <p:ph type="title"/>
          </p:nvPr>
        </p:nvSpPr>
        <p:spPr>
          <a:xfrm>
            <a:off x="333451" y="654811"/>
            <a:ext cx="5230926" cy="813043"/>
          </a:xfrm>
          <a:prstGeom prst="rect">
            <a:avLst/>
          </a:prstGeom>
        </p:spPr>
        <p:txBody>
          <a:bodyPr vert="horz" wrap="square" lIns="0" tIns="12700" rIns="0" bIns="0" rtlCol="0">
            <a:spAutoFit/>
          </a:bodyPr>
          <a:lstStyle/>
          <a:p>
            <a:pPr>
              <a:lnSpc>
                <a:spcPct val="100000"/>
              </a:lnSpc>
              <a:spcBef>
                <a:spcPts val="100"/>
              </a:spcBef>
            </a:pPr>
            <a:r>
              <a:rPr sz="2800" b="1">
                <a:latin typeface="ABBvoice"/>
                <a:cs typeface="ABBvoice"/>
              </a:rPr>
              <a:t>Main</a:t>
            </a:r>
            <a:r>
              <a:rPr sz="2800" b="1" spc="-20">
                <a:latin typeface="ABBvoice"/>
                <a:cs typeface="ABBvoice"/>
              </a:rPr>
              <a:t> </a:t>
            </a:r>
            <a:r>
              <a:rPr sz="2800" b="1">
                <a:latin typeface="ABBvoice"/>
                <a:cs typeface="ABBvoice"/>
              </a:rPr>
              <a:t>sustainability</a:t>
            </a:r>
            <a:r>
              <a:rPr sz="2800" b="1" spc="-15">
                <a:latin typeface="ABBvoice"/>
                <a:cs typeface="ABBvoice"/>
              </a:rPr>
              <a:t> </a:t>
            </a:r>
            <a:r>
              <a:rPr sz="2800" b="1" spc="-10">
                <a:latin typeface="ABBvoice"/>
                <a:cs typeface="ABBvoice"/>
              </a:rPr>
              <a:t>ambitions</a:t>
            </a:r>
            <a:endParaRPr sz="2800">
              <a:latin typeface="ABBvoice"/>
              <a:cs typeface="ABBvoice"/>
            </a:endParaRPr>
          </a:p>
          <a:p>
            <a:pPr>
              <a:lnSpc>
                <a:spcPct val="100000"/>
              </a:lnSpc>
              <a:spcBef>
                <a:spcPts val="40"/>
              </a:spcBef>
            </a:pPr>
            <a:r>
              <a:rPr sz="2400">
                <a:latin typeface="ABBvoice-Light"/>
                <a:cs typeface="ABBvoice-Light"/>
              </a:rPr>
              <a:t>2030</a:t>
            </a:r>
            <a:r>
              <a:rPr sz="2400" spc="-30">
                <a:latin typeface="ABBvoice-Light"/>
                <a:cs typeface="ABBvoice-Light"/>
              </a:rPr>
              <a:t> </a:t>
            </a:r>
            <a:r>
              <a:rPr sz="2400" spc="-10">
                <a:latin typeface="ABBvoice-Light"/>
                <a:cs typeface="ABBvoice-Light"/>
              </a:rPr>
              <a:t>targets</a:t>
            </a:r>
            <a:endParaRPr sz="2400">
              <a:latin typeface="ABBvoice-Light"/>
              <a:cs typeface="ABBvoice-Light"/>
            </a:endParaRPr>
          </a:p>
        </p:txBody>
      </p:sp>
      <p:sp>
        <p:nvSpPr>
          <p:cNvPr id="5" name="object 5"/>
          <p:cNvSpPr/>
          <p:nvPr/>
        </p:nvSpPr>
        <p:spPr>
          <a:xfrm>
            <a:off x="164592" y="1770888"/>
            <a:ext cx="11817350" cy="4572000"/>
          </a:xfrm>
          <a:custGeom>
            <a:avLst/>
            <a:gdLst/>
            <a:ahLst/>
            <a:cxnLst/>
            <a:rect l="l" t="t" r="r" b="b"/>
            <a:pathLst>
              <a:path w="11817350" h="4572000">
                <a:moveTo>
                  <a:pt x="11817096" y="0"/>
                </a:moveTo>
                <a:lnTo>
                  <a:pt x="0" y="0"/>
                </a:lnTo>
                <a:lnTo>
                  <a:pt x="0" y="4572000"/>
                </a:lnTo>
                <a:lnTo>
                  <a:pt x="11817096" y="4572000"/>
                </a:lnTo>
                <a:lnTo>
                  <a:pt x="11817096" y="0"/>
                </a:lnTo>
                <a:close/>
              </a:path>
            </a:pathLst>
          </a:custGeom>
          <a:solidFill>
            <a:srgbClr val="FFFFFF">
              <a:alpha val="59999"/>
            </a:srgbClr>
          </a:solidFill>
        </p:spPr>
        <p:txBody>
          <a:bodyPr wrap="square" lIns="0" tIns="0" rIns="0" bIns="0" rtlCol="0"/>
          <a:lstStyle/>
          <a:p>
            <a:endParaRPr/>
          </a:p>
        </p:txBody>
      </p:sp>
      <p:sp>
        <p:nvSpPr>
          <p:cNvPr id="6" name="object 6"/>
          <p:cNvSpPr txBox="1"/>
          <p:nvPr/>
        </p:nvSpPr>
        <p:spPr>
          <a:xfrm>
            <a:off x="2947542" y="2057222"/>
            <a:ext cx="2830830" cy="757555"/>
          </a:xfrm>
          <a:prstGeom prst="rect">
            <a:avLst/>
          </a:prstGeom>
        </p:spPr>
        <p:txBody>
          <a:bodyPr vert="horz" wrap="square" lIns="0" tIns="12700" rIns="0" bIns="0" rtlCol="0">
            <a:spAutoFit/>
          </a:bodyPr>
          <a:lstStyle/>
          <a:p>
            <a:pPr marL="12700">
              <a:lnSpc>
                <a:spcPct val="100000"/>
              </a:lnSpc>
              <a:spcBef>
                <a:spcPts val="100"/>
              </a:spcBef>
            </a:pPr>
            <a:r>
              <a:rPr sz="2400">
                <a:solidFill>
                  <a:srgbClr val="FF0000"/>
                </a:solidFill>
                <a:latin typeface="ABBvoice-Light"/>
                <a:cs typeface="ABBvoice-Light"/>
              </a:rPr>
              <a:t>We</a:t>
            </a:r>
            <a:r>
              <a:rPr sz="2400" spc="-15">
                <a:solidFill>
                  <a:srgbClr val="FF0000"/>
                </a:solidFill>
                <a:latin typeface="ABBvoice-Light"/>
                <a:cs typeface="ABBvoice-Light"/>
              </a:rPr>
              <a:t> </a:t>
            </a:r>
            <a:r>
              <a:rPr sz="2400">
                <a:solidFill>
                  <a:srgbClr val="FF0000"/>
                </a:solidFill>
                <a:latin typeface="ABBvoice-Light"/>
                <a:cs typeface="ABBvoice-Light"/>
              </a:rPr>
              <a:t>enable</a:t>
            </a:r>
            <a:r>
              <a:rPr sz="2400" spc="-25">
                <a:solidFill>
                  <a:srgbClr val="FF0000"/>
                </a:solidFill>
                <a:latin typeface="ABBvoice-Light"/>
                <a:cs typeface="ABBvoice-Light"/>
              </a:rPr>
              <a:t> </a:t>
            </a:r>
            <a:r>
              <a:rPr sz="2400" spc="-50">
                <a:solidFill>
                  <a:srgbClr val="FF0000"/>
                </a:solidFill>
                <a:latin typeface="ABBvoice-Light"/>
                <a:cs typeface="ABBvoice-Light"/>
              </a:rPr>
              <a:t>a</a:t>
            </a:r>
            <a:endParaRPr sz="2400">
              <a:latin typeface="ABBvoice-Light"/>
              <a:cs typeface="ABBvoice-Light"/>
            </a:endParaRPr>
          </a:p>
          <a:p>
            <a:pPr marL="12700">
              <a:lnSpc>
                <a:spcPct val="100000"/>
              </a:lnSpc>
              <a:spcBef>
                <a:spcPts val="5"/>
              </a:spcBef>
            </a:pPr>
            <a:r>
              <a:rPr sz="2400" b="1" spc="-10">
                <a:solidFill>
                  <a:srgbClr val="FF0000"/>
                </a:solidFill>
                <a:latin typeface="ABBvoice"/>
                <a:cs typeface="ABBvoice"/>
              </a:rPr>
              <a:t>low-</a:t>
            </a:r>
            <a:r>
              <a:rPr sz="2400" b="1">
                <a:solidFill>
                  <a:srgbClr val="FF0000"/>
                </a:solidFill>
                <a:latin typeface="ABBvoice"/>
                <a:cs typeface="ABBvoice"/>
              </a:rPr>
              <a:t>carbon</a:t>
            </a:r>
            <a:r>
              <a:rPr sz="2400" b="1" spc="45">
                <a:solidFill>
                  <a:srgbClr val="FF0000"/>
                </a:solidFill>
                <a:latin typeface="ABBvoice"/>
                <a:cs typeface="ABBvoice"/>
              </a:rPr>
              <a:t> </a:t>
            </a:r>
            <a:r>
              <a:rPr sz="2400" b="1" spc="-10">
                <a:solidFill>
                  <a:srgbClr val="FF0000"/>
                </a:solidFill>
                <a:latin typeface="ABBvoice"/>
                <a:cs typeface="ABBvoice"/>
              </a:rPr>
              <a:t>society</a:t>
            </a:r>
            <a:endParaRPr sz="2400">
              <a:latin typeface="ABBvoice"/>
              <a:cs typeface="ABBvoice"/>
            </a:endParaRPr>
          </a:p>
        </p:txBody>
      </p:sp>
      <p:sp>
        <p:nvSpPr>
          <p:cNvPr id="7" name="object 7"/>
          <p:cNvSpPr txBox="1"/>
          <p:nvPr/>
        </p:nvSpPr>
        <p:spPr>
          <a:xfrm>
            <a:off x="2947542" y="3085337"/>
            <a:ext cx="2616835" cy="514350"/>
          </a:xfrm>
          <a:prstGeom prst="rect">
            <a:avLst/>
          </a:prstGeom>
        </p:spPr>
        <p:txBody>
          <a:bodyPr vert="horz" wrap="square" lIns="0" tIns="13335" rIns="0" bIns="0" rtlCol="0">
            <a:spAutoFit/>
          </a:bodyPr>
          <a:lstStyle/>
          <a:p>
            <a:pPr marL="192405" marR="5080" indent="-180340">
              <a:lnSpc>
                <a:spcPct val="100000"/>
              </a:lnSpc>
              <a:spcBef>
                <a:spcPts val="105"/>
              </a:spcBef>
            </a:pPr>
            <a:r>
              <a:rPr sz="1600">
                <a:latin typeface="Arial"/>
                <a:cs typeface="Arial"/>
              </a:rPr>
              <a:t>–</a:t>
            </a:r>
            <a:r>
              <a:rPr sz="1600" spc="110">
                <a:latin typeface="Arial"/>
                <a:cs typeface="Arial"/>
              </a:rPr>
              <a:t> </a:t>
            </a:r>
            <a:r>
              <a:rPr sz="1600" b="1">
                <a:latin typeface="ABBvoice"/>
                <a:cs typeface="ABBvoice"/>
              </a:rPr>
              <a:t>Carbon</a:t>
            </a:r>
            <a:r>
              <a:rPr sz="1600" b="1" spc="-20">
                <a:latin typeface="ABBvoice"/>
                <a:cs typeface="ABBvoice"/>
              </a:rPr>
              <a:t> </a:t>
            </a:r>
            <a:r>
              <a:rPr sz="1600" b="1">
                <a:latin typeface="ABBvoice"/>
                <a:cs typeface="ABBvoice"/>
              </a:rPr>
              <a:t>neutrality</a:t>
            </a:r>
            <a:r>
              <a:rPr sz="1600" b="1" spc="-85">
                <a:latin typeface="ABBvoice"/>
                <a:cs typeface="ABBvoice"/>
              </a:rPr>
              <a:t> </a:t>
            </a:r>
            <a:r>
              <a:rPr sz="1600">
                <a:latin typeface="ABBvoice"/>
                <a:cs typeface="ABBvoice"/>
              </a:rPr>
              <a:t>in</a:t>
            </a:r>
            <a:r>
              <a:rPr sz="1600" spc="-20">
                <a:latin typeface="ABBvoice"/>
                <a:cs typeface="ABBvoice"/>
              </a:rPr>
              <a:t> </a:t>
            </a:r>
            <a:r>
              <a:rPr sz="1600" spc="-25">
                <a:latin typeface="ABBvoice"/>
                <a:cs typeface="ABBvoice"/>
              </a:rPr>
              <a:t>own </a:t>
            </a:r>
            <a:r>
              <a:rPr sz="1600" spc="-10">
                <a:latin typeface="ABBvoice"/>
                <a:cs typeface="ABBvoice"/>
              </a:rPr>
              <a:t>operations</a:t>
            </a:r>
            <a:endParaRPr sz="1600">
              <a:latin typeface="ABBvoice"/>
              <a:cs typeface="ABBvoice"/>
            </a:endParaRPr>
          </a:p>
        </p:txBody>
      </p:sp>
      <p:sp>
        <p:nvSpPr>
          <p:cNvPr id="8" name="object 8"/>
          <p:cNvSpPr txBox="1"/>
          <p:nvPr/>
        </p:nvSpPr>
        <p:spPr>
          <a:xfrm>
            <a:off x="2922142" y="3649472"/>
            <a:ext cx="2761615" cy="1566545"/>
          </a:xfrm>
          <a:prstGeom prst="rect">
            <a:avLst/>
          </a:prstGeom>
        </p:spPr>
        <p:txBody>
          <a:bodyPr vert="horz" wrap="square" lIns="0" tIns="13335" rIns="0" bIns="0" rtlCol="0">
            <a:spAutoFit/>
          </a:bodyPr>
          <a:lstStyle/>
          <a:p>
            <a:pPr marL="217804" marR="77470" indent="-180340">
              <a:lnSpc>
                <a:spcPct val="100000"/>
              </a:lnSpc>
              <a:spcBef>
                <a:spcPts val="105"/>
              </a:spcBef>
              <a:buFont typeface="Arial"/>
              <a:buChar char="–"/>
              <a:tabLst>
                <a:tab pos="218440" algn="l"/>
              </a:tabLst>
            </a:pPr>
            <a:r>
              <a:rPr sz="1600">
                <a:latin typeface="ABBvoice"/>
                <a:cs typeface="ABBvoice"/>
              </a:rPr>
              <a:t>Support</a:t>
            </a:r>
            <a:r>
              <a:rPr sz="1600" spc="-30">
                <a:latin typeface="ABBvoice"/>
                <a:cs typeface="ABBvoice"/>
              </a:rPr>
              <a:t> </a:t>
            </a:r>
            <a:r>
              <a:rPr sz="1600">
                <a:latin typeface="ABBvoice"/>
                <a:cs typeface="ABBvoice"/>
              </a:rPr>
              <a:t>our</a:t>
            </a:r>
            <a:r>
              <a:rPr sz="1600" spc="-35">
                <a:latin typeface="ABBvoice"/>
                <a:cs typeface="ABBvoice"/>
              </a:rPr>
              <a:t> </a:t>
            </a:r>
            <a:r>
              <a:rPr sz="1600">
                <a:latin typeface="ABBvoice"/>
                <a:cs typeface="ABBvoice"/>
              </a:rPr>
              <a:t>customers</a:t>
            </a:r>
            <a:r>
              <a:rPr sz="1600" spc="-45">
                <a:latin typeface="ABBvoice"/>
                <a:cs typeface="ABBvoice"/>
              </a:rPr>
              <a:t> </a:t>
            </a:r>
            <a:r>
              <a:rPr sz="1600" spc="-25">
                <a:latin typeface="ABBvoice"/>
                <a:cs typeface="ABBvoice"/>
              </a:rPr>
              <a:t>in </a:t>
            </a:r>
            <a:r>
              <a:rPr sz="1600">
                <a:latin typeface="ABBvoice"/>
                <a:cs typeface="ABBvoice"/>
              </a:rPr>
              <a:t>reducing</a:t>
            </a:r>
            <a:r>
              <a:rPr sz="1600" spc="-20">
                <a:latin typeface="ABBvoice"/>
                <a:cs typeface="ABBvoice"/>
              </a:rPr>
              <a:t> </a:t>
            </a:r>
            <a:r>
              <a:rPr sz="1600">
                <a:latin typeface="ABBvoice"/>
                <a:cs typeface="ABBvoice"/>
              </a:rPr>
              <a:t>annual</a:t>
            </a:r>
            <a:r>
              <a:rPr sz="1600" spc="-45">
                <a:latin typeface="ABBvoice"/>
                <a:cs typeface="ABBvoice"/>
              </a:rPr>
              <a:t> </a:t>
            </a:r>
            <a:r>
              <a:rPr sz="1600" spc="-25">
                <a:latin typeface="ABBvoice"/>
                <a:cs typeface="ABBvoice"/>
              </a:rPr>
              <a:t>CO</a:t>
            </a:r>
            <a:r>
              <a:rPr sz="1575" spc="-37" baseline="-21164">
                <a:latin typeface="ABBvoice"/>
                <a:cs typeface="ABBvoice"/>
              </a:rPr>
              <a:t>2 </a:t>
            </a:r>
            <a:r>
              <a:rPr sz="1600">
                <a:latin typeface="ABBvoice"/>
                <a:cs typeface="ABBvoice"/>
              </a:rPr>
              <a:t>emissions</a:t>
            </a:r>
            <a:r>
              <a:rPr sz="1600" spc="-75">
                <a:latin typeface="ABBvoice"/>
                <a:cs typeface="ABBvoice"/>
              </a:rPr>
              <a:t> </a:t>
            </a:r>
            <a:r>
              <a:rPr sz="1600">
                <a:latin typeface="ABBvoice"/>
                <a:cs typeface="ABBvoice"/>
              </a:rPr>
              <a:t>by</a:t>
            </a:r>
            <a:r>
              <a:rPr sz="1600" spc="10">
                <a:latin typeface="ABBvoice"/>
                <a:cs typeface="ABBvoice"/>
              </a:rPr>
              <a:t> </a:t>
            </a:r>
            <a:r>
              <a:rPr sz="1600" b="1">
                <a:latin typeface="ABBvoice"/>
                <a:cs typeface="ABBvoice"/>
              </a:rPr>
              <a:t>&gt;100</a:t>
            </a:r>
            <a:r>
              <a:rPr sz="1600" b="1" spc="5">
                <a:latin typeface="ABBvoice"/>
                <a:cs typeface="ABBvoice"/>
              </a:rPr>
              <a:t> </a:t>
            </a:r>
            <a:r>
              <a:rPr sz="1600" b="1" spc="-25">
                <a:latin typeface="ABBvoice"/>
                <a:cs typeface="ABBvoice"/>
              </a:rPr>
              <a:t>Mt</a:t>
            </a:r>
            <a:r>
              <a:rPr sz="1575" spc="-37" baseline="26455">
                <a:latin typeface="ABBvoice"/>
                <a:cs typeface="ABBvoice"/>
              </a:rPr>
              <a:t>1</a:t>
            </a:r>
            <a:endParaRPr sz="1575" baseline="26455">
              <a:latin typeface="ABBvoice"/>
              <a:cs typeface="ABBvoice"/>
            </a:endParaRPr>
          </a:p>
          <a:p>
            <a:pPr marL="217804" marR="30480" indent="-180340">
              <a:lnSpc>
                <a:spcPct val="100000"/>
              </a:lnSpc>
              <a:spcBef>
                <a:spcPts val="605"/>
              </a:spcBef>
              <a:buFont typeface="Arial"/>
              <a:buChar char="–"/>
              <a:tabLst>
                <a:tab pos="218440" algn="l"/>
              </a:tabLst>
            </a:pPr>
            <a:r>
              <a:rPr sz="1600">
                <a:latin typeface="ABBvoice"/>
                <a:cs typeface="ABBvoice"/>
              </a:rPr>
              <a:t>Work</a:t>
            </a:r>
            <a:r>
              <a:rPr sz="1600" spc="-10">
                <a:latin typeface="ABBvoice"/>
                <a:cs typeface="ABBvoice"/>
              </a:rPr>
              <a:t> </a:t>
            </a:r>
            <a:r>
              <a:rPr sz="1600">
                <a:latin typeface="ABBvoice"/>
                <a:cs typeface="ABBvoice"/>
              </a:rPr>
              <a:t>with</a:t>
            </a:r>
            <a:r>
              <a:rPr sz="1600" spc="-10">
                <a:latin typeface="ABBvoice"/>
                <a:cs typeface="ABBvoice"/>
              </a:rPr>
              <a:t> </a:t>
            </a:r>
            <a:r>
              <a:rPr sz="1600">
                <a:latin typeface="ABBvoice"/>
                <a:cs typeface="ABBvoice"/>
              </a:rPr>
              <a:t>most</a:t>
            </a:r>
            <a:r>
              <a:rPr sz="1600" spc="-20">
                <a:latin typeface="ABBvoice"/>
                <a:cs typeface="ABBvoice"/>
              </a:rPr>
              <a:t> </a:t>
            </a:r>
            <a:r>
              <a:rPr sz="1600" spc="-10">
                <a:latin typeface="ABBvoice"/>
                <a:cs typeface="ABBvoice"/>
              </a:rPr>
              <a:t>impactful </a:t>
            </a:r>
            <a:r>
              <a:rPr sz="1600">
                <a:latin typeface="ABBvoice"/>
                <a:cs typeface="ABBvoice"/>
              </a:rPr>
              <a:t>suppliers</a:t>
            </a:r>
            <a:r>
              <a:rPr sz="1600" spc="-55">
                <a:latin typeface="ABBvoice"/>
                <a:cs typeface="ABBvoice"/>
              </a:rPr>
              <a:t> </a:t>
            </a:r>
            <a:r>
              <a:rPr sz="1600">
                <a:latin typeface="ABBvoice"/>
                <a:cs typeface="ABBvoice"/>
              </a:rPr>
              <a:t>to</a:t>
            </a:r>
            <a:r>
              <a:rPr sz="1600" spc="-30">
                <a:latin typeface="ABBvoice"/>
                <a:cs typeface="ABBvoice"/>
              </a:rPr>
              <a:t> </a:t>
            </a:r>
            <a:r>
              <a:rPr sz="1600">
                <a:latin typeface="ABBvoice"/>
                <a:cs typeface="ABBvoice"/>
              </a:rPr>
              <a:t>reduce</a:t>
            </a:r>
            <a:r>
              <a:rPr sz="1600" spc="-5">
                <a:latin typeface="ABBvoice"/>
                <a:cs typeface="ABBvoice"/>
              </a:rPr>
              <a:t> </a:t>
            </a:r>
            <a:r>
              <a:rPr sz="1600" spc="-10">
                <a:latin typeface="ABBvoice"/>
                <a:cs typeface="ABBvoice"/>
              </a:rPr>
              <a:t>their </a:t>
            </a:r>
            <a:r>
              <a:rPr sz="1600">
                <a:latin typeface="ABBvoice"/>
                <a:cs typeface="ABBvoice"/>
              </a:rPr>
              <a:t>emissions</a:t>
            </a:r>
            <a:r>
              <a:rPr sz="1600" spc="-65">
                <a:latin typeface="ABBvoice"/>
                <a:cs typeface="ABBvoice"/>
              </a:rPr>
              <a:t> </a:t>
            </a:r>
            <a:r>
              <a:rPr sz="1600">
                <a:latin typeface="ABBvoice"/>
                <a:cs typeface="ABBvoice"/>
              </a:rPr>
              <a:t>by</a:t>
            </a:r>
            <a:r>
              <a:rPr sz="1600" spc="20">
                <a:latin typeface="ABBvoice"/>
                <a:cs typeface="ABBvoice"/>
              </a:rPr>
              <a:t> </a:t>
            </a:r>
            <a:r>
              <a:rPr sz="1600" b="1" spc="-25">
                <a:latin typeface="ABBvoice"/>
                <a:cs typeface="ABBvoice"/>
              </a:rPr>
              <a:t>50%</a:t>
            </a:r>
            <a:endParaRPr sz="1600">
              <a:latin typeface="ABBvoice"/>
              <a:cs typeface="ABBvoice"/>
            </a:endParaRPr>
          </a:p>
        </p:txBody>
      </p:sp>
      <p:sp>
        <p:nvSpPr>
          <p:cNvPr id="9" name="object 9"/>
          <p:cNvSpPr txBox="1"/>
          <p:nvPr/>
        </p:nvSpPr>
        <p:spPr>
          <a:xfrm>
            <a:off x="8550402" y="2022094"/>
            <a:ext cx="2266315" cy="757555"/>
          </a:xfrm>
          <a:prstGeom prst="rect">
            <a:avLst/>
          </a:prstGeom>
        </p:spPr>
        <p:txBody>
          <a:bodyPr vert="horz" wrap="square" lIns="0" tIns="12700" rIns="0" bIns="0" rtlCol="0">
            <a:spAutoFit/>
          </a:bodyPr>
          <a:lstStyle/>
          <a:p>
            <a:pPr marL="12700">
              <a:lnSpc>
                <a:spcPct val="100000"/>
              </a:lnSpc>
              <a:spcBef>
                <a:spcPts val="100"/>
              </a:spcBef>
            </a:pPr>
            <a:r>
              <a:rPr sz="2400">
                <a:solidFill>
                  <a:srgbClr val="FF0000"/>
                </a:solidFill>
                <a:latin typeface="ABBvoice-Light"/>
                <a:cs typeface="ABBvoice-Light"/>
              </a:rPr>
              <a:t>We</a:t>
            </a:r>
            <a:r>
              <a:rPr sz="2400" spc="-5">
                <a:solidFill>
                  <a:srgbClr val="FF0000"/>
                </a:solidFill>
                <a:latin typeface="ABBvoice-Light"/>
                <a:cs typeface="ABBvoice-Light"/>
              </a:rPr>
              <a:t> </a:t>
            </a:r>
            <a:r>
              <a:rPr sz="2400" spc="-10">
                <a:solidFill>
                  <a:srgbClr val="FF0000"/>
                </a:solidFill>
                <a:latin typeface="ABBvoice-Light"/>
                <a:cs typeface="ABBvoice-Light"/>
              </a:rPr>
              <a:t>promote</a:t>
            </a:r>
            <a:endParaRPr sz="2400">
              <a:latin typeface="ABBvoice-Light"/>
              <a:cs typeface="ABBvoice-Light"/>
            </a:endParaRPr>
          </a:p>
          <a:p>
            <a:pPr marL="12700">
              <a:lnSpc>
                <a:spcPct val="100000"/>
              </a:lnSpc>
            </a:pPr>
            <a:r>
              <a:rPr sz="2400" b="1">
                <a:solidFill>
                  <a:srgbClr val="FF0000"/>
                </a:solidFill>
                <a:latin typeface="ABBvoice"/>
                <a:cs typeface="ABBvoice"/>
              </a:rPr>
              <a:t>social</a:t>
            </a:r>
            <a:r>
              <a:rPr sz="2400" b="1" spc="-25">
                <a:solidFill>
                  <a:srgbClr val="FF0000"/>
                </a:solidFill>
                <a:latin typeface="ABBvoice"/>
                <a:cs typeface="ABBvoice"/>
              </a:rPr>
              <a:t> </a:t>
            </a:r>
            <a:r>
              <a:rPr sz="2400" b="1" spc="-10">
                <a:solidFill>
                  <a:srgbClr val="FF0000"/>
                </a:solidFill>
                <a:latin typeface="ABBvoice"/>
                <a:cs typeface="ABBvoice"/>
              </a:rPr>
              <a:t>progress</a:t>
            </a:r>
            <a:endParaRPr sz="2400">
              <a:latin typeface="ABBvoice"/>
              <a:cs typeface="ABBvoice"/>
            </a:endParaRPr>
          </a:p>
        </p:txBody>
      </p:sp>
      <p:sp>
        <p:nvSpPr>
          <p:cNvPr id="10" name="object 10"/>
          <p:cNvSpPr txBox="1"/>
          <p:nvPr/>
        </p:nvSpPr>
        <p:spPr>
          <a:xfrm>
            <a:off x="8525002" y="3049650"/>
            <a:ext cx="3372485" cy="2207260"/>
          </a:xfrm>
          <a:prstGeom prst="rect">
            <a:avLst/>
          </a:prstGeom>
        </p:spPr>
        <p:txBody>
          <a:bodyPr vert="horz" wrap="square" lIns="0" tIns="13335" rIns="0" bIns="0" rtlCol="0">
            <a:spAutoFit/>
          </a:bodyPr>
          <a:lstStyle/>
          <a:p>
            <a:pPr marL="217804" indent="-180340">
              <a:lnSpc>
                <a:spcPct val="100000"/>
              </a:lnSpc>
              <a:spcBef>
                <a:spcPts val="105"/>
              </a:spcBef>
              <a:buFont typeface="Arial"/>
              <a:buChar char="–"/>
              <a:tabLst>
                <a:tab pos="218440" algn="l"/>
              </a:tabLst>
            </a:pPr>
            <a:r>
              <a:rPr sz="1600" b="1">
                <a:latin typeface="ABBvoice"/>
                <a:cs typeface="ABBvoice"/>
              </a:rPr>
              <a:t>Zero</a:t>
            </a:r>
            <a:r>
              <a:rPr sz="1600" b="1" spc="-35">
                <a:latin typeface="ABBvoice"/>
                <a:cs typeface="ABBvoice"/>
              </a:rPr>
              <a:t> </a:t>
            </a:r>
            <a:r>
              <a:rPr sz="1600" b="1">
                <a:latin typeface="ABBvoice"/>
                <a:cs typeface="ABBvoice"/>
              </a:rPr>
              <a:t>harm</a:t>
            </a:r>
            <a:r>
              <a:rPr sz="1600" b="1" spc="-15">
                <a:latin typeface="ABBvoice"/>
                <a:cs typeface="ABBvoice"/>
              </a:rPr>
              <a:t> </a:t>
            </a:r>
            <a:r>
              <a:rPr sz="1600">
                <a:latin typeface="ABBvoice"/>
                <a:cs typeface="ABBvoice"/>
              </a:rPr>
              <a:t>to</a:t>
            </a:r>
            <a:r>
              <a:rPr sz="1600" spc="-20">
                <a:latin typeface="ABBvoice"/>
                <a:cs typeface="ABBvoice"/>
              </a:rPr>
              <a:t> </a:t>
            </a:r>
            <a:r>
              <a:rPr sz="1600">
                <a:latin typeface="ABBvoice"/>
                <a:cs typeface="ABBvoice"/>
              </a:rPr>
              <a:t>our</a:t>
            </a:r>
            <a:r>
              <a:rPr sz="1600" spc="-25">
                <a:latin typeface="ABBvoice"/>
                <a:cs typeface="ABBvoice"/>
              </a:rPr>
              <a:t> </a:t>
            </a:r>
            <a:r>
              <a:rPr sz="1600">
                <a:latin typeface="ABBvoice"/>
                <a:cs typeface="ABBvoice"/>
              </a:rPr>
              <a:t>people</a:t>
            </a:r>
            <a:r>
              <a:rPr sz="1600" spc="5">
                <a:latin typeface="ABBvoice"/>
                <a:cs typeface="ABBvoice"/>
              </a:rPr>
              <a:t> </a:t>
            </a:r>
            <a:r>
              <a:rPr sz="1600" spc="-25">
                <a:latin typeface="ABBvoice"/>
                <a:cs typeface="ABBvoice"/>
              </a:rPr>
              <a:t>and</a:t>
            </a:r>
            <a:endParaRPr sz="1600">
              <a:latin typeface="ABBvoice"/>
              <a:cs typeface="ABBvoice"/>
            </a:endParaRPr>
          </a:p>
          <a:p>
            <a:pPr marL="217804">
              <a:lnSpc>
                <a:spcPct val="100000"/>
              </a:lnSpc>
            </a:pPr>
            <a:r>
              <a:rPr sz="1600" spc="-10">
                <a:latin typeface="ABBvoice"/>
                <a:cs typeface="ABBvoice"/>
              </a:rPr>
              <a:t>contractors</a:t>
            </a:r>
            <a:endParaRPr sz="1600">
              <a:latin typeface="ABBvoice"/>
              <a:cs typeface="ABBvoice"/>
            </a:endParaRPr>
          </a:p>
          <a:p>
            <a:pPr marL="217804" indent="-180340">
              <a:lnSpc>
                <a:spcPct val="100000"/>
              </a:lnSpc>
              <a:spcBef>
                <a:spcPts val="605"/>
              </a:spcBef>
              <a:buFont typeface="Arial"/>
              <a:buChar char="–"/>
              <a:tabLst>
                <a:tab pos="218440" algn="l"/>
              </a:tabLst>
            </a:pPr>
            <a:r>
              <a:rPr sz="1600">
                <a:latin typeface="ABBvoice"/>
                <a:cs typeface="ABBvoice"/>
              </a:rPr>
              <a:t>Comprehensive</a:t>
            </a:r>
            <a:r>
              <a:rPr sz="1600" spc="-70">
                <a:latin typeface="ABBvoice"/>
                <a:cs typeface="ABBvoice"/>
              </a:rPr>
              <a:t> </a:t>
            </a:r>
            <a:r>
              <a:rPr sz="1600">
                <a:latin typeface="ABBvoice"/>
                <a:cs typeface="ABBvoice"/>
              </a:rPr>
              <a:t>D&amp;I</a:t>
            </a:r>
            <a:r>
              <a:rPr sz="1600" spc="-5">
                <a:latin typeface="ABBvoice"/>
                <a:cs typeface="ABBvoice"/>
              </a:rPr>
              <a:t> </a:t>
            </a:r>
            <a:r>
              <a:rPr sz="1600" spc="-10">
                <a:latin typeface="ABBvoice"/>
                <a:cs typeface="ABBvoice"/>
              </a:rPr>
              <a:t>framework</a:t>
            </a:r>
            <a:r>
              <a:rPr sz="1575" spc="-15" baseline="26455">
                <a:latin typeface="ABBvoice"/>
                <a:cs typeface="ABBvoice"/>
              </a:rPr>
              <a:t>3</a:t>
            </a:r>
            <a:r>
              <a:rPr sz="1600" spc="-10">
                <a:latin typeface="ABBvoice"/>
                <a:cs typeface="ABBvoice"/>
              </a:rPr>
              <a:t>;</a:t>
            </a:r>
            <a:endParaRPr sz="1600">
              <a:latin typeface="ABBvoice"/>
              <a:cs typeface="ABBvoice"/>
            </a:endParaRPr>
          </a:p>
          <a:p>
            <a:pPr marL="38100" indent="179705">
              <a:lnSpc>
                <a:spcPct val="100000"/>
              </a:lnSpc>
            </a:pPr>
            <a:r>
              <a:rPr sz="1600" b="1">
                <a:latin typeface="ABBvoice"/>
                <a:cs typeface="ABBvoice"/>
              </a:rPr>
              <a:t>25%</a:t>
            </a:r>
            <a:r>
              <a:rPr sz="1600" b="1" spc="-25">
                <a:latin typeface="ABBvoice"/>
                <a:cs typeface="ABBvoice"/>
              </a:rPr>
              <a:t> </a:t>
            </a:r>
            <a:r>
              <a:rPr sz="1600" b="1">
                <a:latin typeface="ABBvoice"/>
                <a:cs typeface="ABBvoice"/>
              </a:rPr>
              <a:t>women</a:t>
            </a:r>
            <a:r>
              <a:rPr sz="1600" b="1" spc="-10">
                <a:latin typeface="ABBvoice"/>
                <a:cs typeface="ABBvoice"/>
              </a:rPr>
              <a:t> </a:t>
            </a:r>
            <a:r>
              <a:rPr sz="1600">
                <a:latin typeface="ABBvoice"/>
                <a:cs typeface="ABBvoice"/>
              </a:rPr>
              <a:t>among</a:t>
            </a:r>
            <a:r>
              <a:rPr sz="1600" spc="-30">
                <a:latin typeface="ABBvoice"/>
                <a:cs typeface="ABBvoice"/>
              </a:rPr>
              <a:t> </a:t>
            </a:r>
            <a:r>
              <a:rPr sz="1600">
                <a:latin typeface="ABBvoice"/>
                <a:cs typeface="ABBvoice"/>
              </a:rPr>
              <a:t>ABB</a:t>
            </a:r>
            <a:r>
              <a:rPr sz="1600" spc="-20">
                <a:latin typeface="ABBvoice"/>
                <a:cs typeface="ABBvoice"/>
              </a:rPr>
              <a:t> </a:t>
            </a:r>
            <a:r>
              <a:rPr sz="1600" spc="-10">
                <a:latin typeface="ABBvoice"/>
                <a:cs typeface="ABBvoice"/>
              </a:rPr>
              <a:t>leaders</a:t>
            </a:r>
            <a:endParaRPr sz="1600">
              <a:latin typeface="ABBvoice"/>
              <a:cs typeface="ABBvoice"/>
            </a:endParaRPr>
          </a:p>
          <a:p>
            <a:pPr marL="217804" marR="83820" indent="-180340">
              <a:lnSpc>
                <a:spcPct val="100000"/>
              </a:lnSpc>
              <a:spcBef>
                <a:spcPts val="600"/>
              </a:spcBef>
              <a:buFont typeface="Arial"/>
              <a:buChar char="–"/>
              <a:tabLst>
                <a:tab pos="218440" algn="l"/>
              </a:tabLst>
            </a:pPr>
            <a:r>
              <a:rPr sz="1600" b="1">
                <a:latin typeface="ABBvoice"/>
                <a:cs typeface="ABBvoice"/>
              </a:rPr>
              <a:t>Top-tier</a:t>
            </a:r>
            <a:r>
              <a:rPr sz="1600" b="1" spc="-65">
                <a:latin typeface="ABBvoice"/>
                <a:cs typeface="ABBvoice"/>
              </a:rPr>
              <a:t> </a:t>
            </a:r>
            <a:r>
              <a:rPr sz="1600">
                <a:latin typeface="ABBvoice"/>
                <a:cs typeface="ABBvoice"/>
              </a:rPr>
              <a:t>employee</a:t>
            </a:r>
            <a:r>
              <a:rPr sz="1600" spc="-5">
                <a:latin typeface="ABBvoice"/>
                <a:cs typeface="ABBvoice"/>
              </a:rPr>
              <a:t> </a:t>
            </a:r>
            <a:r>
              <a:rPr sz="1600" spc="-10">
                <a:latin typeface="ABBvoice"/>
                <a:cs typeface="ABBvoice"/>
              </a:rPr>
              <a:t>engagement </a:t>
            </a:r>
            <a:r>
              <a:rPr sz="1600">
                <a:latin typeface="ABBvoice"/>
                <a:cs typeface="ABBvoice"/>
              </a:rPr>
              <a:t>score</a:t>
            </a:r>
            <a:r>
              <a:rPr sz="1600" spc="-25">
                <a:latin typeface="ABBvoice"/>
                <a:cs typeface="ABBvoice"/>
              </a:rPr>
              <a:t> </a:t>
            </a:r>
            <a:r>
              <a:rPr sz="1600">
                <a:latin typeface="ABBvoice"/>
                <a:cs typeface="ABBvoice"/>
              </a:rPr>
              <a:t>in</a:t>
            </a:r>
            <a:r>
              <a:rPr sz="1600" spc="-10">
                <a:latin typeface="ABBvoice"/>
                <a:cs typeface="ABBvoice"/>
              </a:rPr>
              <a:t> </a:t>
            </a:r>
            <a:r>
              <a:rPr sz="1600">
                <a:latin typeface="ABBvoice"/>
                <a:cs typeface="ABBvoice"/>
              </a:rPr>
              <a:t>our</a:t>
            </a:r>
            <a:r>
              <a:rPr sz="1600" spc="-20">
                <a:latin typeface="ABBvoice"/>
                <a:cs typeface="ABBvoice"/>
              </a:rPr>
              <a:t> </a:t>
            </a:r>
            <a:r>
              <a:rPr sz="1600" spc="-10">
                <a:latin typeface="ABBvoice"/>
                <a:cs typeface="ABBvoice"/>
              </a:rPr>
              <a:t>industry</a:t>
            </a:r>
            <a:endParaRPr sz="1600">
              <a:latin typeface="ABBvoice"/>
              <a:cs typeface="ABBvoice"/>
            </a:endParaRPr>
          </a:p>
          <a:p>
            <a:pPr marL="217804" marR="189230" indent="-180340">
              <a:lnSpc>
                <a:spcPct val="100000"/>
              </a:lnSpc>
              <a:spcBef>
                <a:spcPts val="605"/>
              </a:spcBef>
              <a:buFont typeface="Arial"/>
              <a:buChar char="–"/>
              <a:tabLst>
                <a:tab pos="218440" algn="l"/>
              </a:tabLst>
            </a:pPr>
            <a:r>
              <a:rPr sz="1600">
                <a:latin typeface="ABBvoice"/>
                <a:cs typeface="ABBvoice"/>
              </a:rPr>
              <a:t>Impactful</a:t>
            </a:r>
            <a:r>
              <a:rPr sz="1600" spc="-70">
                <a:latin typeface="ABBvoice"/>
                <a:cs typeface="ABBvoice"/>
              </a:rPr>
              <a:t> </a:t>
            </a:r>
            <a:r>
              <a:rPr sz="1600">
                <a:latin typeface="ABBvoice"/>
                <a:cs typeface="ABBvoice"/>
              </a:rPr>
              <a:t>support</a:t>
            </a:r>
            <a:r>
              <a:rPr sz="1600" spc="-25">
                <a:latin typeface="ABBvoice"/>
                <a:cs typeface="ABBvoice"/>
              </a:rPr>
              <a:t> for </a:t>
            </a:r>
            <a:r>
              <a:rPr sz="1600" spc="-10">
                <a:latin typeface="ABBvoice"/>
                <a:cs typeface="ABBvoice"/>
              </a:rPr>
              <a:t>community-</a:t>
            </a:r>
            <a:r>
              <a:rPr sz="1600">
                <a:latin typeface="ABBvoice"/>
                <a:cs typeface="ABBvoice"/>
              </a:rPr>
              <a:t>building</a:t>
            </a:r>
            <a:r>
              <a:rPr sz="1600" spc="35">
                <a:latin typeface="ABBvoice"/>
                <a:cs typeface="ABBvoice"/>
              </a:rPr>
              <a:t> </a:t>
            </a:r>
            <a:r>
              <a:rPr sz="1600" spc="-10">
                <a:latin typeface="ABBvoice"/>
                <a:cs typeface="ABBvoice"/>
              </a:rPr>
              <a:t>initiatives</a:t>
            </a:r>
            <a:endParaRPr sz="1600">
              <a:latin typeface="ABBvoice"/>
              <a:cs typeface="ABBvoice"/>
            </a:endParaRPr>
          </a:p>
        </p:txBody>
      </p:sp>
      <p:sp>
        <p:nvSpPr>
          <p:cNvPr id="11" name="object 11"/>
          <p:cNvSpPr txBox="1"/>
          <p:nvPr/>
        </p:nvSpPr>
        <p:spPr>
          <a:xfrm>
            <a:off x="6024498" y="2057222"/>
            <a:ext cx="1754505" cy="757555"/>
          </a:xfrm>
          <a:prstGeom prst="rect">
            <a:avLst/>
          </a:prstGeom>
        </p:spPr>
        <p:txBody>
          <a:bodyPr vert="horz" wrap="square" lIns="0" tIns="12700" rIns="0" bIns="0" rtlCol="0">
            <a:spAutoFit/>
          </a:bodyPr>
          <a:lstStyle/>
          <a:p>
            <a:pPr marL="12700">
              <a:lnSpc>
                <a:spcPct val="100000"/>
              </a:lnSpc>
              <a:spcBef>
                <a:spcPts val="100"/>
              </a:spcBef>
            </a:pPr>
            <a:r>
              <a:rPr sz="2400">
                <a:solidFill>
                  <a:srgbClr val="FF0000"/>
                </a:solidFill>
                <a:latin typeface="ABBvoice-Light"/>
                <a:cs typeface="ABBvoice-Light"/>
              </a:rPr>
              <a:t>We</a:t>
            </a:r>
            <a:r>
              <a:rPr sz="2400" spc="-10">
                <a:solidFill>
                  <a:srgbClr val="FF0000"/>
                </a:solidFill>
                <a:latin typeface="ABBvoice-Light"/>
                <a:cs typeface="ABBvoice-Light"/>
              </a:rPr>
              <a:t> preserve</a:t>
            </a:r>
            <a:endParaRPr sz="2400">
              <a:latin typeface="ABBvoice-Light"/>
              <a:cs typeface="ABBvoice-Light"/>
            </a:endParaRPr>
          </a:p>
          <a:p>
            <a:pPr marL="12700">
              <a:lnSpc>
                <a:spcPct val="100000"/>
              </a:lnSpc>
              <a:spcBef>
                <a:spcPts val="5"/>
              </a:spcBef>
            </a:pPr>
            <a:r>
              <a:rPr sz="2400" b="1" spc="-10">
                <a:solidFill>
                  <a:srgbClr val="FF0000"/>
                </a:solidFill>
                <a:latin typeface="ABBvoice"/>
                <a:cs typeface="ABBvoice"/>
              </a:rPr>
              <a:t>resources</a:t>
            </a:r>
            <a:endParaRPr sz="2400">
              <a:latin typeface="ABBvoice"/>
              <a:cs typeface="ABBvoice"/>
            </a:endParaRPr>
          </a:p>
        </p:txBody>
      </p:sp>
      <p:sp>
        <p:nvSpPr>
          <p:cNvPr id="12" name="object 12"/>
          <p:cNvSpPr txBox="1"/>
          <p:nvPr/>
        </p:nvSpPr>
        <p:spPr>
          <a:xfrm>
            <a:off x="5999098" y="3085337"/>
            <a:ext cx="2421890" cy="1642745"/>
          </a:xfrm>
          <a:prstGeom prst="rect">
            <a:avLst/>
          </a:prstGeom>
        </p:spPr>
        <p:txBody>
          <a:bodyPr vert="horz" wrap="square" lIns="0" tIns="13335" rIns="0" bIns="0" rtlCol="0">
            <a:spAutoFit/>
          </a:bodyPr>
          <a:lstStyle/>
          <a:p>
            <a:pPr marL="217804" marR="30480" indent="-180340">
              <a:lnSpc>
                <a:spcPct val="100000"/>
              </a:lnSpc>
              <a:spcBef>
                <a:spcPts val="105"/>
              </a:spcBef>
              <a:buFont typeface="Arial"/>
              <a:buChar char="–"/>
              <a:tabLst>
                <a:tab pos="218440" algn="l"/>
              </a:tabLst>
            </a:pPr>
            <a:r>
              <a:rPr sz="1600" b="1">
                <a:latin typeface="ABBvoice"/>
                <a:cs typeface="ABBvoice"/>
              </a:rPr>
              <a:t>80%</a:t>
            </a:r>
            <a:r>
              <a:rPr sz="1600" b="1" spc="-15">
                <a:latin typeface="ABBvoice"/>
                <a:cs typeface="ABBvoice"/>
              </a:rPr>
              <a:t> </a:t>
            </a:r>
            <a:r>
              <a:rPr sz="1600">
                <a:latin typeface="ABBvoice"/>
                <a:cs typeface="ABBvoice"/>
              </a:rPr>
              <a:t>of ABB </a:t>
            </a:r>
            <a:r>
              <a:rPr sz="1600" spc="-10">
                <a:latin typeface="ABBvoice"/>
                <a:cs typeface="ABBvoice"/>
              </a:rPr>
              <a:t>products </a:t>
            </a:r>
            <a:r>
              <a:rPr sz="1600">
                <a:latin typeface="ABBvoice"/>
                <a:cs typeface="ABBvoice"/>
              </a:rPr>
              <a:t>&amp;</a:t>
            </a:r>
            <a:r>
              <a:rPr sz="1600" spc="-30">
                <a:latin typeface="ABBvoice"/>
                <a:cs typeface="ABBvoice"/>
              </a:rPr>
              <a:t> </a:t>
            </a:r>
            <a:r>
              <a:rPr sz="1600">
                <a:latin typeface="ABBvoice"/>
                <a:cs typeface="ABBvoice"/>
              </a:rPr>
              <a:t>solutions</a:t>
            </a:r>
            <a:r>
              <a:rPr sz="1600" spc="-35">
                <a:latin typeface="ABBvoice"/>
                <a:cs typeface="ABBvoice"/>
              </a:rPr>
              <a:t> </a:t>
            </a:r>
            <a:r>
              <a:rPr sz="1600">
                <a:latin typeface="ABBvoice"/>
                <a:cs typeface="ABBvoice"/>
              </a:rPr>
              <a:t>covered</a:t>
            </a:r>
            <a:r>
              <a:rPr sz="1600" spc="-15">
                <a:latin typeface="ABBvoice"/>
                <a:cs typeface="ABBvoice"/>
              </a:rPr>
              <a:t> </a:t>
            </a:r>
            <a:r>
              <a:rPr sz="1600" spc="-35">
                <a:latin typeface="ABBvoice"/>
                <a:cs typeface="ABBvoice"/>
              </a:rPr>
              <a:t>by </a:t>
            </a:r>
            <a:r>
              <a:rPr sz="1600">
                <a:latin typeface="ABBvoice"/>
                <a:cs typeface="ABBvoice"/>
              </a:rPr>
              <a:t>circularity</a:t>
            </a:r>
            <a:r>
              <a:rPr sz="1600" spc="-50">
                <a:latin typeface="ABBvoice"/>
                <a:cs typeface="ABBvoice"/>
              </a:rPr>
              <a:t> </a:t>
            </a:r>
            <a:r>
              <a:rPr sz="1600" spc="-10">
                <a:latin typeface="ABBvoice"/>
                <a:cs typeface="ABBvoice"/>
              </a:rPr>
              <a:t>approach</a:t>
            </a:r>
            <a:endParaRPr sz="1600">
              <a:latin typeface="ABBvoice"/>
              <a:cs typeface="ABBvoice"/>
            </a:endParaRPr>
          </a:p>
          <a:p>
            <a:pPr marL="217804" indent="-180340">
              <a:lnSpc>
                <a:spcPct val="100000"/>
              </a:lnSpc>
              <a:spcBef>
                <a:spcPts val="605"/>
              </a:spcBef>
              <a:buFont typeface="Arial"/>
              <a:buChar char="–"/>
              <a:tabLst>
                <a:tab pos="218440" algn="l"/>
              </a:tabLst>
            </a:pPr>
            <a:r>
              <a:rPr sz="1600" b="1">
                <a:latin typeface="ABBvoice"/>
                <a:cs typeface="ABBvoice"/>
              </a:rPr>
              <a:t>Zero</a:t>
            </a:r>
            <a:r>
              <a:rPr sz="1600" b="1" spc="-25">
                <a:latin typeface="ABBvoice"/>
                <a:cs typeface="ABBvoice"/>
              </a:rPr>
              <a:t> </a:t>
            </a:r>
            <a:r>
              <a:rPr sz="1600" b="1">
                <a:latin typeface="ABBvoice"/>
                <a:cs typeface="ABBvoice"/>
              </a:rPr>
              <a:t>waste</a:t>
            </a:r>
            <a:r>
              <a:rPr sz="1600" b="1" spc="-20">
                <a:latin typeface="ABBvoice"/>
                <a:cs typeface="ABBvoice"/>
              </a:rPr>
              <a:t> </a:t>
            </a:r>
            <a:r>
              <a:rPr sz="1600">
                <a:latin typeface="ABBvoice"/>
                <a:cs typeface="ABBvoice"/>
              </a:rPr>
              <a:t>to</a:t>
            </a:r>
            <a:r>
              <a:rPr sz="1600" spc="-10">
                <a:latin typeface="ABBvoice"/>
                <a:cs typeface="ABBvoice"/>
              </a:rPr>
              <a:t> landfill</a:t>
            </a:r>
            <a:r>
              <a:rPr sz="1575" spc="-15" baseline="26455">
                <a:latin typeface="ABBvoice"/>
                <a:cs typeface="ABBvoice"/>
              </a:rPr>
              <a:t>2</a:t>
            </a:r>
            <a:endParaRPr sz="1575" baseline="26455">
              <a:latin typeface="ABBvoice"/>
              <a:cs typeface="ABBvoice"/>
            </a:endParaRPr>
          </a:p>
          <a:p>
            <a:pPr marL="217804" indent="-180340">
              <a:lnSpc>
                <a:spcPct val="100000"/>
              </a:lnSpc>
              <a:spcBef>
                <a:spcPts val="600"/>
              </a:spcBef>
              <a:buFont typeface="Arial"/>
              <a:buChar char="–"/>
              <a:tabLst>
                <a:tab pos="218440" algn="l"/>
              </a:tabLst>
            </a:pPr>
            <a:r>
              <a:rPr sz="1600">
                <a:latin typeface="ABBvoice"/>
                <a:cs typeface="ABBvoice"/>
              </a:rPr>
              <a:t>Supplier</a:t>
            </a:r>
            <a:r>
              <a:rPr sz="1600" spc="-40">
                <a:latin typeface="ABBvoice"/>
                <a:cs typeface="ABBvoice"/>
              </a:rPr>
              <a:t> </a:t>
            </a:r>
            <a:r>
              <a:rPr sz="1600" spc="-10">
                <a:latin typeface="ABBvoice"/>
                <a:cs typeface="ABBvoice"/>
              </a:rPr>
              <a:t>Sustainability</a:t>
            </a:r>
            <a:endParaRPr sz="1600">
              <a:latin typeface="ABBvoice"/>
              <a:cs typeface="ABBvoice"/>
            </a:endParaRPr>
          </a:p>
          <a:p>
            <a:pPr marL="217804">
              <a:lnSpc>
                <a:spcPct val="100000"/>
              </a:lnSpc>
            </a:pPr>
            <a:r>
              <a:rPr sz="1600" spc="-10">
                <a:latin typeface="ABBvoice"/>
                <a:cs typeface="ABBvoice"/>
              </a:rPr>
              <a:t>Framework</a:t>
            </a:r>
            <a:endParaRPr sz="1600">
              <a:latin typeface="ABBvoice"/>
              <a:cs typeface="ABBvoice"/>
            </a:endParaRPr>
          </a:p>
        </p:txBody>
      </p:sp>
      <p:sp>
        <p:nvSpPr>
          <p:cNvPr id="13" name="object 13"/>
          <p:cNvSpPr txBox="1"/>
          <p:nvPr/>
        </p:nvSpPr>
        <p:spPr>
          <a:xfrm>
            <a:off x="2959607" y="5742432"/>
            <a:ext cx="8827135" cy="451484"/>
          </a:xfrm>
          <a:prstGeom prst="rect">
            <a:avLst/>
          </a:prstGeom>
          <a:solidFill>
            <a:srgbClr val="FFFFFF">
              <a:alpha val="59999"/>
            </a:srgbClr>
          </a:solidFill>
          <a:ln w="19050">
            <a:solidFill>
              <a:srgbClr val="FF000E"/>
            </a:solidFill>
          </a:ln>
        </p:spPr>
        <p:txBody>
          <a:bodyPr vert="horz" wrap="square" lIns="0" tIns="75565" rIns="0" bIns="0" rtlCol="0">
            <a:spAutoFit/>
          </a:bodyPr>
          <a:lstStyle/>
          <a:p>
            <a:pPr algn="ctr">
              <a:lnSpc>
                <a:spcPct val="100000"/>
              </a:lnSpc>
              <a:spcBef>
                <a:spcPts val="595"/>
              </a:spcBef>
            </a:pPr>
            <a:r>
              <a:rPr sz="1800" b="1">
                <a:solidFill>
                  <a:srgbClr val="FF0000"/>
                </a:solidFill>
                <a:latin typeface="ABBvoice"/>
                <a:cs typeface="ABBvoice"/>
              </a:rPr>
              <a:t>INTEGRITY AND</a:t>
            </a:r>
            <a:r>
              <a:rPr sz="1800" b="1" spc="-15">
                <a:solidFill>
                  <a:srgbClr val="FF0000"/>
                </a:solidFill>
                <a:latin typeface="ABBvoice"/>
                <a:cs typeface="ABBvoice"/>
              </a:rPr>
              <a:t> </a:t>
            </a:r>
            <a:r>
              <a:rPr sz="1800" b="1">
                <a:solidFill>
                  <a:srgbClr val="FF0000"/>
                </a:solidFill>
                <a:latin typeface="ABBvoice"/>
                <a:cs typeface="ABBvoice"/>
              </a:rPr>
              <a:t>TRANSPARENCY ACROSS</a:t>
            </a:r>
            <a:r>
              <a:rPr sz="1800" b="1" spc="-5">
                <a:solidFill>
                  <a:srgbClr val="FF0000"/>
                </a:solidFill>
                <a:latin typeface="ABBvoice"/>
                <a:cs typeface="ABBvoice"/>
              </a:rPr>
              <a:t> </a:t>
            </a:r>
            <a:r>
              <a:rPr sz="1800" b="1">
                <a:solidFill>
                  <a:srgbClr val="FF0000"/>
                </a:solidFill>
                <a:latin typeface="ABBvoice"/>
                <a:cs typeface="ABBvoice"/>
              </a:rPr>
              <a:t>OUR</a:t>
            </a:r>
            <a:r>
              <a:rPr sz="1800" b="1" spc="-10">
                <a:solidFill>
                  <a:srgbClr val="FF0000"/>
                </a:solidFill>
                <a:latin typeface="ABBvoice"/>
                <a:cs typeface="ABBvoice"/>
              </a:rPr>
              <a:t> </a:t>
            </a:r>
            <a:r>
              <a:rPr sz="1800" b="1">
                <a:solidFill>
                  <a:srgbClr val="FF0000"/>
                </a:solidFill>
                <a:latin typeface="ABBvoice"/>
                <a:cs typeface="ABBvoice"/>
              </a:rPr>
              <a:t>VALUE</a:t>
            </a:r>
            <a:r>
              <a:rPr sz="1800" b="1" spc="-10">
                <a:solidFill>
                  <a:srgbClr val="FF0000"/>
                </a:solidFill>
                <a:latin typeface="ABBvoice"/>
                <a:cs typeface="ABBvoice"/>
              </a:rPr>
              <a:t> </a:t>
            </a:r>
            <a:r>
              <a:rPr sz="1800" b="1" spc="-20">
                <a:solidFill>
                  <a:srgbClr val="FF0000"/>
                </a:solidFill>
                <a:latin typeface="ABBvoice"/>
                <a:cs typeface="ABBvoice"/>
              </a:rPr>
              <a:t>CHAIN</a:t>
            </a:r>
            <a:endParaRPr sz="1800">
              <a:latin typeface="ABBvoice"/>
              <a:cs typeface="ABBvoice"/>
            </a:endParaRPr>
          </a:p>
        </p:txBody>
      </p:sp>
      <p:pic>
        <p:nvPicPr>
          <p:cNvPr id="14" name="object 14"/>
          <p:cNvPicPr/>
          <p:nvPr/>
        </p:nvPicPr>
        <p:blipFill>
          <a:blip r:embed="rId3" cstate="print"/>
          <a:stretch>
            <a:fillRect/>
          </a:stretch>
        </p:blipFill>
        <p:spPr>
          <a:xfrm>
            <a:off x="252501" y="2663698"/>
            <a:ext cx="2415133" cy="2459101"/>
          </a:xfrm>
          <a:prstGeom prst="rect">
            <a:avLst/>
          </a:prstGeom>
        </p:spPr>
      </p:pic>
      <p:sp>
        <p:nvSpPr>
          <p:cNvPr id="15" name="object 15"/>
          <p:cNvSpPr txBox="1"/>
          <p:nvPr/>
        </p:nvSpPr>
        <p:spPr>
          <a:xfrm>
            <a:off x="518566" y="4177410"/>
            <a:ext cx="398780" cy="132080"/>
          </a:xfrm>
          <a:prstGeom prst="rect">
            <a:avLst/>
          </a:prstGeom>
        </p:spPr>
        <p:txBody>
          <a:bodyPr vert="horz" wrap="square" lIns="0" tIns="12065" rIns="0" bIns="0" rtlCol="0">
            <a:spAutoFit/>
          </a:bodyPr>
          <a:lstStyle/>
          <a:p>
            <a:pPr marL="12700">
              <a:lnSpc>
                <a:spcPct val="100000"/>
              </a:lnSpc>
              <a:spcBef>
                <a:spcPts val="95"/>
              </a:spcBef>
            </a:pPr>
            <a:r>
              <a:rPr sz="700" b="1" spc="-10">
                <a:latin typeface="ABBvoice"/>
                <a:cs typeface="ABBvoice"/>
              </a:rPr>
              <a:t>SOCIETY</a:t>
            </a:r>
            <a:endParaRPr sz="700">
              <a:latin typeface="ABBvoice"/>
              <a:cs typeface="ABBvoice"/>
            </a:endParaRPr>
          </a:p>
        </p:txBody>
      </p:sp>
      <p:sp>
        <p:nvSpPr>
          <p:cNvPr id="16" name="object 16"/>
          <p:cNvSpPr txBox="1"/>
          <p:nvPr/>
        </p:nvSpPr>
        <p:spPr>
          <a:xfrm>
            <a:off x="1349755" y="3786377"/>
            <a:ext cx="221615" cy="146685"/>
          </a:xfrm>
          <a:prstGeom prst="rect">
            <a:avLst/>
          </a:prstGeom>
        </p:spPr>
        <p:txBody>
          <a:bodyPr vert="horz" wrap="square" lIns="0" tIns="11430" rIns="0" bIns="0" rtlCol="0">
            <a:spAutoFit/>
          </a:bodyPr>
          <a:lstStyle/>
          <a:p>
            <a:pPr marL="12700">
              <a:lnSpc>
                <a:spcPct val="100000"/>
              </a:lnSpc>
              <a:spcBef>
                <a:spcPts val="90"/>
              </a:spcBef>
            </a:pPr>
            <a:r>
              <a:rPr sz="800" b="1" spc="-25">
                <a:solidFill>
                  <a:srgbClr val="FFFFFF"/>
                </a:solidFill>
                <a:latin typeface="ABBvoice"/>
                <a:cs typeface="ABBvoice"/>
              </a:rPr>
              <a:t>ABB</a:t>
            </a:r>
            <a:endParaRPr sz="800">
              <a:latin typeface="ABBvoice"/>
              <a:cs typeface="ABBvoice"/>
            </a:endParaRPr>
          </a:p>
        </p:txBody>
      </p:sp>
      <p:sp>
        <p:nvSpPr>
          <p:cNvPr id="17" name="object 17"/>
          <p:cNvSpPr txBox="1"/>
          <p:nvPr/>
        </p:nvSpPr>
        <p:spPr>
          <a:xfrm>
            <a:off x="1203452" y="2982290"/>
            <a:ext cx="511175" cy="132080"/>
          </a:xfrm>
          <a:prstGeom prst="rect">
            <a:avLst/>
          </a:prstGeom>
        </p:spPr>
        <p:txBody>
          <a:bodyPr vert="horz" wrap="square" lIns="0" tIns="12065" rIns="0" bIns="0" rtlCol="0">
            <a:spAutoFit/>
          </a:bodyPr>
          <a:lstStyle/>
          <a:p>
            <a:pPr marL="12700">
              <a:lnSpc>
                <a:spcPct val="100000"/>
              </a:lnSpc>
              <a:spcBef>
                <a:spcPts val="95"/>
              </a:spcBef>
            </a:pPr>
            <a:r>
              <a:rPr sz="700" b="1" spc="-10">
                <a:solidFill>
                  <a:srgbClr val="FFFFFF"/>
                </a:solidFill>
                <a:latin typeface="ABBvoice"/>
                <a:cs typeface="ABBvoice"/>
              </a:rPr>
              <a:t>CUSTOMER</a:t>
            </a:r>
            <a:endParaRPr sz="700">
              <a:latin typeface="ABBvoice"/>
              <a:cs typeface="ABBvoice"/>
            </a:endParaRPr>
          </a:p>
        </p:txBody>
      </p:sp>
      <p:sp>
        <p:nvSpPr>
          <p:cNvPr id="18" name="object 18"/>
          <p:cNvSpPr txBox="1"/>
          <p:nvPr/>
        </p:nvSpPr>
        <p:spPr>
          <a:xfrm>
            <a:off x="1968500" y="4177410"/>
            <a:ext cx="431800" cy="132080"/>
          </a:xfrm>
          <a:prstGeom prst="rect">
            <a:avLst/>
          </a:prstGeom>
        </p:spPr>
        <p:txBody>
          <a:bodyPr vert="horz" wrap="square" lIns="0" tIns="12065" rIns="0" bIns="0" rtlCol="0">
            <a:spAutoFit/>
          </a:bodyPr>
          <a:lstStyle/>
          <a:p>
            <a:pPr marL="12700">
              <a:lnSpc>
                <a:spcPct val="100000"/>
              </a:lnSpc>
              <a:spcBef>
                <a:spcPts val="95"/>
              </a:spcBef>
            </a:pPr>
            <a:r>
              <a:rPr sz="700" b="1" spc="-10">
                <a:latin typeface="ABBvoice"/>
                <a:cs typeface="ABBvoice"/>
              </a:rPr>
              <a:t>SUPPLIER</a:t>
            </a:r>
            <a:endParaRPr sz="700">
              <a:latin typeface="ABBvoice"/>
              <a:cs typeface="ABBvoice"/>
            </a:endParaRPr>
          </a:p>
        </p:txBody>
      </p:sp>
      <p:sp>
        <p:nvSpPr>
          <p:cNvPr id="19" name="object 19"/>
          <p:cNvSpPr txBox="1"/>
          <p:nvPr/>
        </p:nvSpPr>
        <p:spPr>
          <a:xfrm>
            <a:off x="771245" y="5230190"/>
            <a:ext cx="1494155" cy="179705"/>
          </a:xfrm>
          <a:prstGeom prst="rect">
            <a:avLst/>
          </a:prstGeom>
        </p:spPr>
        <p:txBody>
          <a:bodyPr vert="horz" wrap="square" lIns="0" tIns="13970" rIns="0" bIns="0" rtlCol="0">
            <a:spAutoFit/>
          </a:bodyPr>
          <a:lstStyle/>
          <a:p>
            <a:pPr marL="12700">
              <a:lnSpc>
                <a:spcPct val="100000"/>
              </a:lnSpc>
              <a:spcBef>
                <a:spcPts val="110"/>
              </a:spcBef>
            </a:pPr>
            <a:r>
              <a:rPr sz="1000" b="1">
                <a:latin typeface="ABBvoice"/>
                <a:cs typeface="ABBvoice"/>
              </a:rPr>
              <a:t>Sustainable</a:t>
            </a:r>
            <a:r>
              <a:rPr sz="1000" b="1" spc="-30">
                <a:latin typeface="ABBvoice"/>
                <a:cs typeface="ABBvoice"/>
              </a:rPr>
              <a:t> </a:t>
            </a:r>
            <a:r>
              <a:rPr sz="1000" b="1">
                <a:latin typeface="ABBvoice"/>
                <a:cs typeface="ABBvoice"/>
              </a:rPr>
              <a:t>Value </a:t>
            </a:r>
            <a:r>
              <a:rPr sz="1000" b="1" spc="-20">
                <a:latin typeface="ABBvoice"/>
                <a:cs typeface="ABBvoice"/>
              </a:rPr>
              <a:t>Chain</a:t>
            </a:r>
            <a:endParaRPr sz="1000">
              <a:latin typeface="ABBvoice"/>
              <a:cs typeface="ABBvoice"/>
            </a:endParaRPr>
          </a:p>
        </p:txBody>
      </p:sp>
      <p:sp>
        <p:nvSpPr>
          <p:cNvPr id="20" name="object 20"/>
          <p:cNvSpPr txBox="1"/>
          <p:nvPr/>
        </p:nvSpPr>
        <p:spPr>
          <a:xfrm>
            <a:off x="1058367" y="6372859"/>
            <a:ext cx="4114800" cy="382270"/>
          </a:xfrm>
          <a:prstGeom prst="rect">
            <a:avLst/>
          </a:prstGeom>
        </p:spPr>
        <p:txBody>
          <a:bodyPr vert="horz" wrap="square" lIns="0" tIns="52705" rIns="0" bIns="0" rtlCol="0">
            <a:spAutoFit/>
          </a:bodyPr>
          <a:lstStyle/>
          <a:p>
            <a:pPr marL="125095" indent="-113030">
              <a:lnSpc>
                <a:spcPct val="100000"/>
              </a:lnSpc>
              <a:spcBef>
                <a:spcPts val="415"/>
              </a:spcBef>
              <a:buAutoNum type="arabicPeriod"/>
              <a:tabLst>
                <a:tab pos="125730" algn="l"/>
              </a:tabLst>
            </a:pPr>
            <a:r>
              <a:rPr sz="900">
                <a:solidFill>
                  <a:srgbClr val="FFFFFF"/>
                </a:solidFill>
                <a:latin typeface="ABBvoice"/>
                <a:cs typeface="ABBvoice"/>
              </a:rPr>
              <a:t>Savings</a:t>
            </a:r>
            <a:r>
              <a:rPr sz="900" spc="100">
                <a:solidFill>
                  <a:srgbClr val="FFFFFF"/>
                </a:solidFill>
                <a:latin typeface="ABBvoice"/>
                <a:cs typeface="ABBvoice"/>
              </a:rPr>
              <a:t> </a:t>
            </a:r>
            <a:r>
              <a:rPr sz="900">
                <a:solidFill>
                  <a:srgbClr val="FFFFFF"/>
                </a:solidFill>
                <a:latin typeface="ABBvoice"/>
                <a:cs typeface="ABBvoice"/>
              </a:rPr>
              <a:t>in</a:t>
            </a:r>
            <a:r>
              <a:rPr sz="900" spc="100">
                <a:solidFill>
                  <a:srgbClr val="FFFFFF"/>
                </a:solidFill>
                <a:latin typeface="ABBvoice"/>
                <a:cs typeface="ABBvoice"/>
              </a:rPr>
              <a:t> </a:t>
            </a:r>
            <a:r>
              <a:rPr sz="900">
                <a:solidFill>
                  <a:srgbClr val="FFFFFF"/>
                </a:solidFill>
                <a:latin typeface="ABBvoice"/>
                <a:cs typeface="ABBvoice"/>
              </a:rPr>
              <a:t>the</a:t>
            </a:r>
            <a:r>
              <a:rPr sz="900" spc="114">
                <a:solidFill>
                  <a:srgbClr val="FFFFFF"/>
                </a:solidFill>
                <a:latin typeface="ABBvoice"/>
                <a:cs typeface="ABBvoice"/>
              </a:rPr>
              <a:t> </a:t>
            </a:r>
            <a:r>
              <a:rPr sz="900">
                <a:solidFill>
                  <a:srgbClr val="FFFFFF"/>
                </a:solidFill>
                <a:latin typeface="ABBvoice"/>
                <a:cs typeface="ABBvoice"/>
              </a:rPr>
              <a:t>year</a:t>
            </a:r>
            <a:r>
              <a:rPr sz="900" spc="55">
                <a:solidFill>
                  <a:srgbClr val="FFFFFF"/>
                </a:solidFill>
                <a:latin typeface="ABBvoice"/>
                <a:cs typeface="ABBvoice"/>
              </a:rPr>
              <a:t> </a:t>
            </a:r>
            <a:r>
              <a:rPr sz="900">
                <a:solidFill>
                  <a:srgbClr val="FFFFFF"/>
                </a:solidFill>
                <a:latin typeface="ABBvoice"/>
                <a:cs typeface="ABBvoice"/>
              </a:rPr>
              <a:t>2030</a:t>
            </a:r>
            <a:r>
              <a:rPr sz="900" spc="165">
                <a:solidFill>
                  <a:srgbClr val="FFFFFF"/>
                </a:solidFill>
                <a:latin typeface="ABBvoice"/>
                <a:cs typeface="ABBvoice"/>
              </a:rPr>
              <a:t> </a:t>
            </a:r>
            <a:r>
              <a:rPr sz="900">
                <a:solidFill>
                  <a:srgbClr val="FFFFFF"/>
                </a:solidFill>
                <a:latin typeface="ABBvoice"/>
                <a:cs typeface="ABBvoice"/>
              </a:rPr>
              <a:t>from</a:t>
            </a:r>
            <a:r>
              <a:rPr sz="900" spc="105">
                <a:solidFill>
                  <a:srgbClr val="FFFFFF"/>
                </a:solidFill>
                <a:latin typeface="ABBvoice"/>
                <a:cs typeface="ABBvoice"/>
              </a:rPr>
              <a:t> </a:t>
            </a:r>
            <a:r>
              <a:rPr sz="900">
                <a:solidFill>
                  <a:srgbClr val="FFFFFF"/>
                </a:solidFill>
                <a:latin typeface="ABBvoice"/>
                <a:cs typeface="ABBvoice"/>
              </a:rPr>
              <a:t>solutions</a:t>
            </a:r>
            <a:r>
              <a:rPr sz="900" spc="100">
                <a:solidFill>
                  <a:srgbClr val="FFFFFF"/>
                </a:solidFill>
                <a:latin typeface="ABBvoice"/>
                <a:cs typeface="ABBvoice"/>
              </a:rPr>
              <a:t> </a:t>
            </a:r>
            <a:r>
              <a:rPr sz="900">
                <a:solidFill>
                  <a:srgbClr val="FFFFFF"/>
                </a:solidFill>
                <a:latin typeface="ABBvoice"/>
                <a:cs typeface="ABBvoice"/>
              </a:rPr>
              <a:t>provided</a:t>
            </a:r>
            <a:r>
              <a:rPr sz="900" spc="50">
                <a:solidFill>
                  <a:srgbClr val="FFFFFF"/>
                </a:solidFill>
                <a:latin typeface="ABBvoice"/>
                <a:cs typeface="ABBvoice"/>
              </a:rPr>
              <a:t> </a:t>
            </a:r>
            <a:r>
              <a:rPr sz="900">
                <a:solidFill>
                  <a:srgbClr val="FFFFFF"/>
                </a:solidFill>
                <a:latin typeface="ABBvoice"/>
                <a:cs typeface="ABBvoice"/>
              </a:rPr>
              <a:t>to</a:t>
            </a:r>
            <a:r>
              <a:rPr sz="900" spc="110">
                <a:solidFill>
                  <a:srgbClr val="FFFFFF"/>
                </a:solidFill>
                <a:latin typeface="ABBvoice"/>
                <a:cs typeface="ABBvoice"/>
              </a:rPr>
              <a:t> </a:t>
            </a:r>
            <a:r>
              <a:rPr sz="900">
                <a:solidFill>
                  <a:srgbClr val="FFFFFF"/>
                </a:solidFill>
                <a:latin typeface="ABBvoice"/>
                <a:cs typeface="ABBvoice"/>
              </a:rPr>
              <a:t>customers</a:t>
            </a:r>
            <a:r>
              <a:rPr sz="900" spc="100">
                <a:solidFill>
                  <a:srgbClr val="FFFFFF"/>
                </a:solidFill>
                <a:latin typeface="ABBvoice"/>
                <a:cs typeface="ABBvoice"/>
              </a:rPr>
              <a:t> </a:t>
            </a:r>
            <a:r>
              <a:rPr sz="900">
                <a:solidFill>
                  <a:srgbClr val="FFFFFF"/>
                </a:solidFill>
                <a:latin typeface="ABBvoice"/>
                <a:cs typeface="ABBvoice"/>
              </a:rPr>
              <a:t>2021-</a:t>
            </a:r>
            <a:r>
              <a:rPr sz="900" spc="-25">
                <a:solidFill>
                  <a:srgbClr val="FFFFFF"/>
                </a:solidFill>
                <a:latin typeface="ABBvoice"/>
                <a:cs typeface="ABBvoice"/>
              </a:rPr>
              <a:t>30</a:t>
            </a:r>
            <a:endParaRPr sz="900">
              <a:latin typeface="ABBvoice"/>
              <a:cs typeface="ABBvoice"/>
            </a:endParaRPr>
          </a:p>
          <a:p>
            <a:pPr marL="133985" indent="-121920">
              <a:lnSpc>
                <a:spcPct val="100000"/>
              </a:lnSpc>
              <a:spcBef>
                <a:spcPts val="325"/>
              </a:spcBef>
              <a:buAutoNum type="arabicPeriod"/>
              <a:tabLst>
                <a:tab pos="134620" algn="l"/>
              </a:tabLst>
            </a:pPr>
            <a:r>
              <a:rPr sz="900">
                <a:solidFill>
                  <a:srgbClr val="FFFFFF"/>
                </a:solidFill>
                <a:latin typeface="ABBvoice"/>
                <a:cs typeface="ABBvoice"/>
              </a:rPr>
              <a:t>Wherever</a:t>
            </a:r>
            <a:r>
              <a:rPr sz="900" spc="65">
                <a:solidFill>
                  <a:srgbClr val="FFFFFF"/>
                </a:solidFill>
                <a:latin typeface="ABBvoice"/>
                <a:cs typeface="ABBvoice"/>
              </a:rPr>
              <a:t> </a:t>
            </a:r>
            <a:r>
              <a:rPr sz="900">
                <a:solidFill>
                  <a:srgbClr val="FFFFFF"/>
                </a:solidFill>
                <a:latin typeface="ABBvoice"/>
                <a:cs typeface="ABBvoice"/>
              </a:rPr>
              <a:t>local</a:t>
            </a:r>
            <a:r>
              <a:rPr sz="900" spc="145">
                <a:solidFill>
                  <a:srgbClr val="FFFFFF"/>
                </a:solidFill>
                <a:latin typeface="ABBvoice"/>
                <a:cs typeface="ABBvoice"/>
              </a:rPr>
              <a:t> </a:t>
            </a:r>
            <a:r>
              <a:rPr sz="900">
                <a:solidFill>
                  <a:srgbClr val="FFFFFF"/>
                </a:solidFill>
                <a:latin typeface="ABBvoice"/>
                <a:cs typeface="ABBvoice"/>
              </a:rPr>
              <a:t>conditions</a:t>
            </a:r>
            <a:r>
              <a:rPr sz="900" spc="120">
                <a:solidFill>
                  <a:srgbClr val="FFFFFF"/>
                </a:solidFill>
                <a:latin typeface="ABBvoice"/>
                <a:cs typeface="ABBvoice"/>
              </a:rPr>
              <a:t> </a:t>
            </a:r>
            <a:r>
              <a:rPr sz="900" spc="-10">
                <a:solidFill>
                  <a:srgbClr val="FFFFFF"/>
                </a:solidFill>
                <a:latin typeface="ABBvoice"/>
                <a:cs typeface="ABBvoice"/>
              </a:rPr>
              <a:t>allow</a:t>
            </a:r>
            <a:endParaRPr sz="900">
              <a:latin typeface="ABBvoice"/>
              <a:cs typeface="ABBvoice"/>
            </a:endParaRPr>
          </a:p>
        </p:txBody>
      </p:sp>
      <p:sp>
        <p:nvSpPr>
          <p:cNvPr id="21" name="object 21"/>
          <p:cNvSpPr txBox="1"/>
          <p:nvPr/>
        </p:nvSpPr>
        <p:spPr>
          <a:xfrm>
            <a:off x="6173470" y="6408521"/>
            <a:ext cx="1917700" cy="168275"/>
          </a:xfrm>
          <a:prstGeom prst="rect">
            <a:avLst/>
          </a:prstGeom>
        </p:spPr>
        <p:txBody>
          <a:bodyPr vert="horz" wrap="square" lIns="0" tIns="17145" rIns="0" bIns="0" rtlCol="0">
            <a:spAutoFit/>
          </a:bodyPr>
          <a:lstStyle/>
          <a:p>
            <a:pPr marL="12700">
              <a:lnSpc>
                <a:spcPct val="100000"/>
              </a:lnSpc>
              <a:spcBef>
                <a:spcPts val="135"/>
              </a:spcBef>
            </a:pPr>
            <a:r>
              <a:rPr sz="900">
                <a:solidFill>
                  <a:srgbClr val="FFFFFF"/>
                </a:solidFill>
                <a:latin typeface="ABBvoice"/>
                <a:cs typeface="ABBvoice"/>
              </a:rPr>
              <a:t>3.</a:t>
            </a:r>
            <a:r>
              <a:rPr sz="900" spc="110">
                <a:solidFill>
                  <a:srgbClr val="FFFFFF"/>
                </a:solidFill>
                <a:latin typeface="ABBvoice"/>
                <a:cs typeface="ABBvoice"/>
              </a:rPr>
              <a:t> </a:t>
            </a:r>
            <a:r>
              <a:rPr sz="900">
                <a:solidFill>
                  <a:srgbClr val="FFFFFF"/>
                </a:solidFill>
                <a:latin typeface="ABBvoice"/>
                <a:cs typeface="ABBvoice"/>
              </a:rPr>
              <a:t>Diversity</a:t>
            </a:r>
            <a:r>
              <a:rPr sz="900" spc="60">
                <a:solidFill>
                  <a:srgbClr val="FFFFFF"/>
                </a:solidFill>
                <a:latin typeface="ABBvoice"/>
                <a:cs typeface="ABBvoice"/>
              </a:rPr>
              <a:t> </a:t>
            </a:r>
            <a:r>
              <a:rPr sz="900">
                <a:solidFill>
                  <a:srgbClr val="FFFFFF"/>
                </a:solidFill>
                <a:latin typeface="ABBvoice"/>
                <a:cs typeface="ABBvoice"/>
              </a:rPr>
              <a:t>&amp;</a:t>
            </a:r>
            <a:r>
              <a:rPr sz="900" spc="80">
                <a:solidFill>
                  <a:srgbClr val="FFFFFF"/>
                </a:solidFill>
                <a:latin typeface="ABBvoice"/>
                <a:cs typeface="ABBvoice"/>
              </a:rPr>
              <a:t> </a:t>
            </a:r>
            <a:r>
              <a:rPr sz="900">
                <a:solidFill>
                  <a:srgbClr val="FFFFFF"/>
                </a:solidFill>
                <a:latin typeface="ABBvoice"/>
                <a:cs typeface="ABBvoice"/>
              </a:rPr>
              <a:t>Inclusion</a:t>
            </a:r>
            <a:r>
              <a:rPr sz="900" spc="85">
                <a:solidFill>
                  <a:srgbClr val="FFFFFF"/>
                </a:solidFill>
                <a:latin typeface="ABBvoice"/>
                <a:cs typeface="ABBvoice"/>
              </a:rPr>
              <a:t> </a:t>
            </a:r>
            <a:r>
              <a:rPr sz="900" spc="-10">
                <a:solidFill>
                  <a:srgbClr val="FFFFFF"/>
                </a:solidFill>
                <a:latin typeface="ABBvoice"/>
                <a:cs typeface="ABBvoice"/>
              </a:rPr>
              <a:t>framework</a:t>
            </a:r>
            <a:endParaRPr sz="900">
              <a:latin typeface="ABBvoice"/>
              <a:cs typeface="ABBvoice"/>
            </a:endParaRPr>
          </a:p>
        </p:txBody>
      </p:sp>
      <p:pic>
        <p:nvPicPr>
          <p:cNvPr id="22" name="object 22"/>
          <p:cNvPicPr/>
          <p:nvPr/>
        </p:nvPicPr>
        <p:blipFill>
          <a:blip r:embed="rId4" cstate="print"/>
          <a:stretch>
            <a:fillRect/>
          </a:stretch>
        </p:blipFill>
        <p:spPr>
          <a:xfrm>
            <a:off x="11344656" y="6394703"/>
            <a:ext cx="509016" cy="195072"/>
          </a:xfrm>
          <a:prstGeom prst="rect">
            <a:avLst/>
          </a:prstGeom>
        </p:spPr>
      </p:pic>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pSp>
        <p:nvGrpSpPr>
          <p:cNvPr id="2" name="object 2"/>
          <p:cNvGrpSpPr/>
          <p:nvPr/>
        </p:nvGrpSpPr>
        <p:grpSpPr>
          <a:xfrm>
            <a:off x="0" y="0"/>
            <a:ext cx="12192000" cy="6858000"/>
            <a:chOff x="0" y="0"/>
            <a:chExt cx="12192000" cy="6858000"/>
          </a:xfrm>
        </p:grpSpPr>
        <p:pic>
          <p:nvPicPr>
            <p:cNvPr id="3" name="object 3"/>
            <p:cNvPicPr/>
            <p:nvPr/>
          </p:nvPicPr>
          <p:blipFill>
            <a:blip r:embed="rId2" cstate="print"/>
            <a:stretch>
              <a:fillRect/>
            </a:stretch>
          </p:blipFill>
          <p:spPr>
            <a:xfrm>
              <a:off x="0" y="0"/>
              <a:ext cx="12191999" cy="6857997"/>
            </a:xfrm>
            <a:prstGeom prst="rect">
              <a:avLst/>
            </a:prstGeom>
          </p:spPr>
        </p:pic>
        <p:pic>
          <p:nvPicPr>
            <p:cNvPr id="4" name="object 4"/>
            <p:cNvPicPr/>
            <p:nvPr/>
          </p:nvPicPr>
          <p:blipFill>
            <a:blip r:embed="rId3" cstate="print"/>
            <a:stretch>
              <a:fillRect/>
            </a:stretch>
          </p:blipFill>
          <p:spPr>
            <a:xfrm>
              <a:off x="11344655" y="6394703"/>
              <a:ext cx="509016" cy="195072"/>
            </a:xfrm>
            <a:prstGeom prst="rect">
              <a:avLst/>
            </a:prstGeom>
          </p:spPr>
        </p:pic>
        <p:sp>
          <p:nvSpPr>
            <p:cNvPr id="5" name="object 5"/>
            <p:cNvSpPr/>
            <p:nvPr/>
          </p:nvSpPr>
          <p:spPr>
            <a:xfrm>
              <a:off x="11012424" y="252984"/>
              <a:ext cx="975360" cy="424180"/>
            </a:xfrm>
            <a:custGeom>
              <a:avLst/>
              <a:gdLst/>
              <a:ahLst/>
              <a:cxnLst/>
              <a:rect l="l" t="t" r="r" b="b"/>
              <a:pathLst>
                <a:path w="975359" h="424180">
                  <a:moveTo>
                    <a:pt x="975359" y="0"/>
                  </a:moveTo>
                  <a:lnTo>
                    <a:pt x="0" y="0"/>
                  </a:lnTo>
                  <a:lnTo>
                    <a:pt x="0" y="423672"/>
                  </a:lnTo>
                  <a:lnTo>
                    <a:pt x="975359" y="423672"/>
                  </a:lnTo>
                  <a:lnTo>
                    <a:pt x="975359" y="0"/>
                  </a:lnTo>
                  <a:close/>
                </a:path>
              </a:pathLst>
            </a:custGeom>
            <a:solidFill>
              <a:srgbClr val="F1F1F1"/>
            </a:solidFill>
          </p:spPr>
          <p:txBody>
            <a:bodyPr wrap="square" lIns="0" tIns="0" rIns="0" bIns="0" rtlCol="0"/>
            <a:lstStyle/>
            <a:p>
              <a:endParaRPr/>
            </a:p>
          </p:txBody>
        </p:sp>
      </p:gr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6EBD0B0-F841-6C19-1C92-26CF313F3666}"/>
              </a:ext>
            </a:extLst>
          </p:cNvPr>
          <p:cNvSpPr/>
          <p:nvPr/>
        </p:nvSpPr>
        <p:spPr bwMode="gray">
          <a:xfrm>
            <a:off x="1" y="679095"/>
            <a:ext cx="12192000" cy="6178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err="1"/>
          </a:p>
        </p:txBody>
      </p:sp>
      <p:pic>
        <p:nvPicPr>
          <p:cNvPr id="2" name="object 2"/>
          <p:cNvPicPr/>
          <p:nvPr/>
        </p:nvPicPr>
        <p:blipFill>
          <a:blip r:embed="rId2" cstate="print"/>
          <a:stretch>
            <a:fillRect/>
          </a:stretch>
        </p:blipFill>
        <p:spPr>
          <a:xfrm>
            <a:off x="6160008" y="0"/>
            <a:ext cx="6031991" cy="6857998"/>
          </a:xfrm>
          <a:prstGeom prst="rect">
            <a:avLst/>
          </a:prstGeom>
        </p:spPr>
      </p:pic>
      <p:sp>
        <p:nvSpPr>
          <p:cNvPr id="4" name="object 4"/>
          <p:cNvSpPr txBox="1">
            <a:spLocks noGrp="1"/>
          </p:cNvSpPr>
          <p:nvPr>
            <p:ph type="title"/>
          </p:nvPr>
        </p:nvSpPr>
        <p:spPr>
          <a:xfrm>
            <a:off x="327691" y="679095"/>
            <a:ext cx="4709973" cy="889346"/>
          </a:xfrm>
          <a:prstGeom prst="rect">
            <a:avLst/>
          </a:prstGeom>
        </p:spPr>
        <p:txBody>
          <a:bodyPr vert="horz" wrap="square" lIns="0" tIns="12065" rIns="0" bIns="0" rtlCol="0">
            <a:spAutoFit/>
          </a:bodyPr>
          <a:lstStyle/>
          <a:p>
            <a:pPr marL="12700">
              <a:lnSpc>
                <a:spcPct val="100000"/>
              </a:lnSpc>
              <a:spcBef>
                <a:spcPts val="95"/>
              </a:spcBef>
            </a:pPr>
            <a:r>
              <a:rPr sz="2800" b="1">
                <a:latin typeface="ABBvoice"/>
                <a:cs typeface="ABBvoice"/>
              </a:rPr>
              <a:t>Our</a:t>
            </a:r>
            <a:r>
              <a:rPr sz="2800" b="1" spc="-65">
                <a:latin typeface="ABBvoice"/>
                <a:cs typeface="ABBvoice"/>
              </a:rPr>
              <a:t> </a:t>
            </a:r>
            <a:r>
              <a:rPr sz="2800" b="1" spc="-10">
                <a:latin typeface="ABBvoice"/>
                <a:cs typeface="ABBvoice"/>
              </a:rPr>
              <a:t>priorities</a:t>
            </a:r>
          </a:p>
          <a:p>
            <a:pPr>
              <a:lnSpc>
                <a:spcPct val="100000"/>
              </a:lnSpc>
              <a:spcBef>
                <a:spcPts val="600"/>
              </a:spcBef>
            </a:pPr>
            <a:r>
              <a:rPr sz="2400">
                <a:latin typeface="ABBvoice Light" panose="020D0403020503020204" pitchFamily="34" charset="0"/>
                <a:ea typeface="ABBvoice Light" panose="020D0403020503020204" pitchFamily="34" charset="0"/>
                <a:cs typeface="ABBvoice Light" panose="020D0403020503020204" pitchFamily="34" charset="0"/>
              </a:rPr>
              <a:t>Financial performance</a:t>
            </a:r>
          </a:p>
        </p:txBody>
      </p:sp>
      <p:sp>
        <p:nvSpPr>
          <p:cNvPr id="5" name="object 5"/>
          <p:cNvSpPr txBox="1"/>
          <p:nvPr/>
        </p:nvSpPr>
        <p:spPr>
          <a:xfrm>
            <a:off x="319227" y="1957275"/>
            <a:ext cx="5103495" cy="3160481"/>
          </a:xfrm>
          <a:prstGeom prst="rect">
            <a:avLst/>
          </a:prstGeom>
        </p:spPr>
        <p:txBody>
          <a:bodyPr vert="horz" wrap="square" lIns="0" tIns="13335" rIns="0" bIns="0" rtlCol="0">
            <a:spAutoFit/>
          </a:bodyPr>
          <a:lstStyle/>
          <a:p>
            <a:pPr marL="88900" marR="43180">
              <a:lnSpc>
                <a:spcPct val="100000"/>
              </a:lnSpc>
              <a:spcBef>
                <a:spcPts val="105"/>
              </a:spcBef>
            </a:pPr>
            <a:r>
              <a:rPr sz="1600">
                <a:latin typeface="ABBvoice"/>
                <a:cs typeface="ABBvoice"/>
              </a:rPr>
              <a:t>By pairing</a:t>
            </a:r>
            <a:r>
              <a:rPr sz="1600" spc="-35">
                <a:latin typeface="ABBvoice"/>
                <a:cs typeface="ABBvoice"/>
              </a:rPr>
              <a:t> </a:t>
            </a:r>
            <a:r>
              <a:rPr sz="1600">
                <a:latin typeface="ABBvoice"/>
                <a:cs typeface="ABBvoice"/>
              </a:rPr>
              <a:t>our</a:t>
            </a:r>
            <a:r>
              <a:rPr sz="1600" spc="-10">
                <a:latin typeface="ABBvoice"/>
                <a:cs typeface="ABBvoice"/>
              </a:rPr>
              <a:t> </a:t>
            </a:r>
            <a:r>
              <a:rPr sz="1600">
                <a:latin typeface="ABBvoice"/>
                <a:cs typeface="ABBvoice"/>
              </a:rPr>
              <a:t>strategic</a:t>
            </a:r>
            <a:r>
              <a:rPr sz="1600" spc="-45">
                <a:latin typeface="ABBvoice"/>
                <a:cs typeface="ABBvoice"/>
              </a:rPr>
              <a:t> </a:t>
            </a:r>
            <a:r>
              <a:rPr sz="1600">
                <a:latin typeface="ABBvoice"/>
                <a:cs typeface="ABBvoice"/>
              </a:rPr>
              <a:t>priorities</a:t>
            </a:r>
            <a:r>
              <a:rPr sz="1600" spc="-25">
                <a:latin typeface="ABBvoice"/>
                <a:cs typeface="ABBvoice"/>
              </a:rPr>
              <a:t> </a:t>
            </a:r>
            <a:r>
              <a:rPr sz="1600">
                <a:latin typeface="ABBvoice"/>
                <a:cs typeface="ABBvoice"/>
              </a:rPr>
              <a:t>with</a:t>
            </a:r>
            <a:r>
              <a:rPr sz="1600" spc="-45">
                <a:latin typeface="ABBvoice"/>
                <a:cs typeface="ABBvoice"/>
              </a:rPr>
              <a:t> </a:t>
            </a:r>
            <a:r>
              <a:rPr sz="1600">
                <a:latin typeface="ABBvoice"/>
                <a:cs typeface="ABBvoice"/>
              </a:rPr>
              <a:t>a</a:t>
            </a:r>
            <a:r>
              <a:rPr sz="1600" spc="5">
                <a:latin typeface="ABBvoice"/>
                <a:cs typeface="ABBvoice"/>
              </a:rPr>
              <a:t> </a:t>
            </a:r>
            <a:r>
              <a:rPr sz="1600" spc="-10">
                <a:latin typeface="ABBvoice"/>
                <a:cs typeface="ABBvoice"/>
              </a:rPr>
              <a:t>continuous </a:t>
            </a:r>
            <a:r>
              <a:rPr sz="1600">
                <a:latin typeface="ABBvoice"/>
                <a:cs typeface="ABBvoice"/>
              </a:rPr>
              <a:t>improvement</a:t>
            </a:r>
            <a:r>
              <a:rPr sz="1600" spc="-55">
                <a:latin typeface="ABBvoice"/>
                <a:cs typeface="ABBvoice"/>
              </a:rPr>
              <a:t> </a:t>
            </a:r>
            <a:r>
              <a:rPr sz="1600">
                <a:latin typeface="ABBvoice"/>
                <a:cs typeface="ABBvoice"/>
              </a:rPr>
              <a:t>mindset,</a:t>
            </a:r>
            <a:r>
              <a:rPr sz="1600" spc="-60">
                <a:latin typeface="ABBvoice"/>
                <a:cs typeface="ABBvoice"/>
              </a:rPr>
              <a:t> </a:t>
            </a:r>
            <a:r>
              <a:rPr sz="1600">
                <a:latin typeface="ABBvoice"/>
                <a:cs typeface="ABBvoice"/>
              </a:rPr>
              <a:t>we</a:t>
            </a:r>
            <a:r>
              <a:rPr sz="1600" spc="-10">
                <a:latin typeface="ABBvoice"/>
                <a:cs typeface="ABBvoice"/>
              </a:rPr>
              <a:t> </a:t>
            </a:r>
            <a:r>
              <a:rPr sz="1600">
                <a:latin typeface="ABBvoice"/>
                <a:cs typeface="ABBvoice"/>
              </a:rPr>
              <a:t>aim</a:t>
            </a:r>
            <a:r>
              <a:rPr sz="1600" spc="-25">
                <a:latin typeface="ABBvoice"/>
                <a:cs typeface="ABBvoice"/>
              </a:rPr>
              <a:t> </a:t>
            </a:r>
            <a:r>
              <a:rPr sz="1600">
                <a:latin typeface="ABBvoice"/>
                <a:cs typeface="ABBvoice"/>
              </a:rPr>
              <a:t>to</a:t>
            </a:r>
            <a:r>
              <a:rPr sz="1600" spc="-35">
                <a:latin typeface="ABBvoice"/>
                <a:cs typeface="ABBvoice"/>
              </a:rPr>
              <a:t> </a:t>
            </a:r>
            <a:r>
              <a:rPr sz="1600">
                <a:latin typeface="ABBvoice"/>
                <a:cs typeface="ABBvoice"/>
              </a:rPr>
              <a:t>deliver</a:t>
            </a:r>
            <a:r>
              <a:rPr sz="1600" spc="-15">
                <a:latin typeface="ABBvoice"/>
                <a:cs typeface="ABBvoice"/>
              </a:rPr>
              <a:t> </a:t>
            </a:r>
            <a:r>
              <a:rPr sz="1600" spc="-10">
                <a:latin typeface="ABBvoice"/>
                <a:cs typeface="ABBvoice"/>
              </a:rPr>
              <a:t>improved </a:t>
            </a:r>
            <a:r>
              <a:rPr sz="1600">
                <a:latin typeface="ABBvoice"/>
                <a:cs typeface="ABBvoice"/>
              </a:rPr>
              <a:t>performance</a:t>
            </a:r>
            <a:r>
              <a:rPr sz="1600" spc="-35">
                <a:latin typeface="ABBvoice"/>
                <a:cs typeface="ABBvoice"/>
              </a:rPr>
              <a:t> </a:t>
            </a:r>
            <a:r>
              <a:rPr sz="1600">
                <a:latin typeface="ABBvoice"/>
                <a:cs typeface="ABBvoice"/>
              </a:rPr>
              <a:t>in line</a:t>
            </a:r>
            <a:r>
              <a:rPr sz="1600" spc="-5">
                <a:latin typeface="ABBvoice"/>
                <a:cs typeface="ABBvoice"/>
              </a:rPr>
              <a:t> </a:t>
            </a:r>
            <a:r>
              <a:rPr sz="1600">
                <a:latin typeface="ABBvoice"/>
                <a:cs typeface="ABBvoice"/>
              </a:rPr>
              <a:t>with</a:t>
            </a:r>
            <a:r>
              <a:rPr sz="1600" spc="-40">
                <a:latin typeface="ABBvoice"/>
                <a:cs typeface="ABBvoice"/>
              </a:rPr>
              <a:t> </a:t>
            </a:r>
            <a:r>
              <a:rPr sz="1600">
                <a:latin typeface="ABBvoice"/>
                <a:cs typeface="ABBvoice"/>
              </a:rPr>
              <a:t>our</a:t>
            </a:r>
            <a:r>
              <a:rPr sz="1600" spc="10">
                <a:latin typeface="ABBvoice"/>
                <a:cs typeface="ABBvoice"/>
              </a:rPr>
              <a:t> </a:t>
            </a:r>
            <a:r>
              <a:rPr sz="1600">
                <a:latin typeface="ABBvoice"/>
                <a:cs typeface="ABBvoice"/>
              </a:rPr>
              <a:t>financial</a:t>
            </a:r>
            <a:r>
              <a:rPr sz="1600" spc="-60">
                <a:latin typeface="ABBvoice"/>
                <a:cs typeface="ABBvoice"/>
              </a:rPr>
              <a:t> </a:t>
            </a:r>
            <a:r>
              <a:rPr sz="1600" spc="-10">
                <a:latin typeface="ABBvoice"/>
                <a:cs typeface="ABBvoice"/>
              </a:rPr>
              <a:t>framework:</a:t>
            </a:r>
            <a:endParaRPr sz="1600">
              <a:latin typeface="ABBvoice"/>
              <a:cs typeface="ABBvoice"/>
            </a:endParaRPr>
          </a:p>
          <a:p>
            <a:pPr>
              <a:lnSpc>
                <a:spcPct val="100000"/>
              </a:lnSpc>
              <a:spcBef>
                <a:spcPts val="45"/>
              </a:spcBef>
            </a:pPr>
            <a:endParaRPr sz="1950">
              <a:latin typeface="ABBvoice"/>
              <a:cs typeface="ABBvoice"/>
            </a:endParaRPr>
          </a:p>
          <a:p>
            <a:pPr marL="375285" indent="-287020">
              <a:lnSpc>
                <a:spcPct val="100000"/>
              </a:lnSpc>
              <a:buChar char="–"/>
              <a:tabLst>
                <a:tab pos="375285" algn="l"/>
                <a:tab pos="375920" algn="l"/>
              </a:tabLst>
            </a:pPr>
            <a:r>
              <a:rPr lang="en-US" sz="1600">
                <a:latin typeface="ABBvoice"/>
                <a:cs typeface="ABBvoice"/>
              </a:rPr>
              <a:t>7%</a:t>
            </a:r>
            <a:r>
              <a:rPr lang="en-US" sz="1600" spc="-25">
                <a:latin typeface="ABBvoice"/>
                <a:cs typeface="ABBvoice"/>
              </a:rPr>
              <a:t> </a:t>
            </a:r>
            <a:r>
              <a:rPr lang="en-US" sz="1600">
                <a:latin typeface="ABBvoice"/>
                <a:cs typeface="ABBvoice"/>
              </a:rPr>
              <a:t>average</a:t>
            </a:r>
            <a:r>
              <a:rPr lang="en-US" sz="1600" spc="-65">
                <a:latin typeface="ABBvoice"/>
                <a:cs typeface="ABBvoice"/>
              </a:rPr>
              <a:t> </a:t>
            </a:r>
            <a:r>
              <a:rPr lang="en-US" sz="1600">
                <a:latin typeface="ABBvoice"/>
                <a:cs typeface="ABBvoice"/>
              </a:rPr>
              <a:t>annual</a:t>
            </a:r>
            <a:r>
              <a:rPr lang="en-US" sz="1600" spc="-45">
                <a:latin typeface="ABBvoice"/>
                <a:cs typeface="ABBvoice"/>
              </a:rPr>
              <a:t> </a:t>
            </a:r>
            <a:r>
              <a:rPr lang="en-US" sz="1600">
                <a:latin typeface="ABBvoice"/>
                <a:cs typeface="ABBvoice"/>
              </a:rPr>
              <a:t>revenue</a:t>
            </a:r>
            <a:r>
              <a:rPr lang="en-US" sz="1600" spc="-40">
                <a:latin typeface="ABBvoice"/>
                <a:cs typeface="ABBvoice"/>
              </a:rPr>
              <a:t> </a:t>
            </a:r>
            <a:r>
              <a:rPr lang="en-US" sz="1600">
                <a:latin typeface="ABBvoice"/>
                <a:cs typeface="ABBvoice"/>
              </a:rPr>
              <a:t>growth</a:t>
            </a:r>
            <a:r>
              <a:rPr lang="en-US" sz="1600" spc="-30">
                <a:latin typeface="ABBvoice"/>
                <a:cs typeface="ABBvoice"/>
              </a:rPr>
              <a:t> </a:t>
            </a:r>
            <a:r>
              <a:rPr lang="en-US" sz="1600" spc="-10">
                <a:latin typeface="ABBvoice"/>
                <a:cs typeface="ABBvoice"/>
              </a:rPr>
              <a:t>through</a:t>
            </a:r>
            <a:endParaRPr lang="en-US" sz="1600">
              <a:latin typeface="ABBvoice"/>
              <a:cs typeface="ABBvoice"/>
            </a:endParaRPr>
          </a:p>
          <a:p>
            <a:pPr marL="375285">
              <a:lnSpc>
                <a:spcPct val="100000"/>
              </a:lnSpc>
              <a:spcBef>
                <a:spcPts val="5"/>
              </a:spcBef>
            </a:pPr>
            <a:r>
              <a:rPr lang="en-US" sz="1600">
                <a:latin typeface="ABBvoice"/>
                <a:cs typeface="ABBvoice"/>
              </a:rPr>
              <a:t>economic</a:t>
            </a:r>
            <a:r>
              <a:rPr lang="en-US" sz="1600" spc="-35">
                <a:latin typeface="ABBvoice"/>
                <a:cs typeface="ABBvoice"/>
              </a:rPr>
              <a:t> </a:t>
            </a:r>
            <a:r>
              <a:rPr lang="en-US" sz="1600" spc="-10">
                <a:latin typeface="ABBvoice"/>
                <a:cs typeface="ABBvoice"/>
              </a:rPr>
              <a:t>cycle</a:t>
            </a:r>
            <a:r>
              <a:rPr lang="en-US" sz="1575" spc="-15" baseline="26455">
                <a:latin typeface="ABBvoice"/>
                <a:cs typeface="ABBvoice"/>
              </a:rPr>
              <a:t>1</a:t>
            </a:r>
            <a:endParaRPr lang="en-US" sz="1575" baseline="26455">
              <a:latin typeface="ABBvoice"/>
              <a:cs typeface="ABBvoice"/>
            </a:endParaRPr>
          </a:p>
          <a:p>
            <a:pPr marL="375285" indent="-287655">
              <a:lnSpc>
                <a:spcPct val="100000"/>
              </a:lnSpc>
              <a:spcBef>
                <a:spcPts val="600"/>
              </a:spcBef>
              <a:buChar char="–"/>
              <a:tabLst>
                <a:tab pos="375285" algn="l"/>
                <a:tab pos="375920" algn="l"/>
              </a:tabLst>
            </a:pPr>
            <a:r>
              <a:rPr lang="en-US" sz="1600">
                <a:latin typeface="ABBvoice"/>
                <a:cs typeface="ABBvoice"/>
              </a:rPr>
              <a:t>18%</a:t>
            </a:r>
            <a:r>
              <a:rPr lang="en-US" sz="1600" spc="-25">
                <a:latin typeface="ABBvoice"/>
                <a:cs typeface="ABBvoice"/>
              </a:rPr>
              <a:t> </a:t>
            </a:r>
            <a:r>
              <a:rPr lang="en-US" sz="1600">
                <a:latin typeface="ABBvoice"/>
                <a:cs typeface="ABBvoice"/>
              </a:rPr>
              <a:t>operational</a:t>
            </a:r>
            <a:r>
              <a:rPr lang="en-US" sz="1600" spc="-30">
                <a:latin typeface="ABBvoice"/>
                <a:cs typeface="ABBvoice"/>
              </a:rPr>
              <a:t> </a:t>
            </a:r>
            <a:r>
              <a:rPr lang="en-US" sz="1600">
                <a:latin typeface="ABBvoice"/>
                <a:cs typeface="ABBvoice"/>
              </a:rPr>
              <a:t>EBITA</a:t>
            </a:r>
            <a:r>
              <a:rPr lang="en-US" sz="1600" spc="-20">
                <a:latin typeface="ABBvoice"/>
                <a:cs typeface="ABBvoice"/>
              </a:rPr>
              <a:t> </a:t>
            </a:r>
            <a:r>
              <a:rPr lang="en-US" sz="1600" spc="-10">
                <a:latin typeface="ABBvoice"/>
                <a:cs typeface="ABBvoice"/>
              </a:rPr>
              <a:t>margin</a:t>
            </a:r>
            <a:r>
              <a:rPr lang="en-US" sz="1575" spc="-15" baseline="26455">
                <a:latin typeface="ABBvoice"/>
                <a:cs typeface="ABBvoice"/>
              </a:rPr>
              <a:t>2</a:t>
            </a:r>
            <a:endParaRPr lang="en-US" sz="1575" baseline="26455">
              <a:latin typeface="ABBvoice"/>
              <a:cs typeface="ABBvoice"/>
            </a:endParaRPr>
          </a:p>
          <a:p>
            <a:pPr marL="640080" lvl="1" indent="-283845">
              <a:lnSpc>
                <a:spcPct val="100000"/>
              </a:lnSpc>
              <a:spcBef>
                <a:spcPts val="600"/>
              </a:spcBef>
              <a:buChar char="–"/>
              <a:tabLst>
                <a:tab pos="640080" algn="l"/>
                <a:tab pos="640715" algn="l"/>
              </a:tabLst>
            </a:pPr>
            <a:r>
              <a:rPr lang="en-US" sz="1600">
                <a:latin typeface="ABBvoice"/>
                <a:cs typeface="ABBvoice"/>
              </a:rPr>
              <a:t>Electrification:</a:t>
            </a:r>
            <a:r>
              <a:rPr lang="en-US" sz="1600" spc="-85">
                <a:latin typeface="ABBvoice"/>
                <a:cs typeface="ABBvoice"/>
              </a:rPr>
              <a:t> </a:t>
            </a:r>
            <a:r>
              <a:rPr lang="en-US" sz="1600" spc="-10">
                <a:latin typeface="ABBvoice"/>
                <a:cs typeface="ABBvoice"/>
              </a:rPr>
              <a:t>22%</a:t>
            </a:r>
            <a:endParaRPr lang="en-US" sz="1600">
              <a:latin typeface="ABBvoice"/>
              <a:cs typeface="ABBvoice"/>
            </a:endParaRPr>
          </a:p>
          <a:p>
            <a:pPr marL="640080" lvl="1" indent="-283845">
              <a:lnSpc>
                <a:spcPct val="100000"/>
              </a:lnSpc>
              <a:spcBef>
                <a:spcPts val="600"/>
              </a:spcBef>
              <a:buChar char="–"/>
              <a:tabLst>
                <a:tab pos="640080" algn="l"/>
                <a:tab pos="640715" algn="l"/>
              </a:tabLst>
            </a:pPr>
            <a:r>
              <a:rPr lang="en-US" sz="1600">
                <a:latin typeface="ABBvoice"/>
                <a:cs typeface="ABBvoice"/>
              </a:rPr>
              <a:t>Motion:</a:t>
            </a:r>
            <a:r>
              <a:rPr lang="en-US" sz="1600" spc="-45">
                <a:latin typeface="ABBvoice"/>
                <a:cs typeface="ABBvoice"/>
              </a:rPr>
              <a:t> </a:t>
            </a:r>
            <a:r>
              <a:rPr lang="en-US" sz="1600" spc="-20">
                <a:latin typeface="ABBvoice"/>
                <a:cs typeface="ABBvoice"/>
              </a:rPr>
              <a:t>11%</a:t>
            </a:r>
            <a:endParaRPr lang="en-US" sz="1600">
              <a:latin typeface="ABBvoice"/>
              <a:cs typeface="ABBvoice"/>
            </a:endParaRPr>
          </a:p>
          <a:p>
            <a:pPr marL="640080" lvl="1" indent="-283845">
              <a:lnSpc>
                <a:spcPct val="100000"/>
              </a:lnSpc>
              <a:spcBef>
                <a:spcPts val="605"/>
              </a:spcBef>
              <a:buChar char="–"/>
              <a:tabLst>
                <a:tab pos="640080" algn="l"/>
                <a:tab pos="640715" algn="l"/>
              </a:tabLst>
            </a:pPr>
            <a:r>
              <a:rPr lang="en-US" sz="1600">
                <a:latin typeface="ABBvoice"/>
                <a:cs typeface="ABBvoice"/>
              </a:rPr>
              <a:t>Process</a:t>
            </a:r>
            <a:r>
              <a:rPr lang="en-US" sz="1600" spc="-50">
                <a:latin typeface="ABBvoice"/>
                <a:cs typeface="ABBvoice"/>
              </a:rPr>
              <a:t> </a:t>
            </a:r>
            <a:r>
              <a:rPr lang="en-US" sz="1600">
                <a:latin typeface="ABBvoice"/>
                <a:cs typeface="ABBvoice"/>
              </a:rPr>
              <a:t>Automation:</a:t>
            </a:r>
            <a:r>
              <a:rPr lang="en-US" sz="1600" spc="-65">
                <a:latin typeface="ABBvoice"/>
                <a:cs typeface="ABBvoice"/>
              </a:rPr>
              <a:t> </a:t>
            </a:r>
            <a:r>
              <a:rPr lang="en-US" sz="1600" spc="-20">
                <a:latin typeface="ABBvoice"/>
                <a:cs typeface="ABBvoice"/>
              </a:rPr>
              <a:t>25%</a:t>
            </a:r>
            <a:endParaRPr lang="en-US" sz="1600">
              <a:latin typeface="ABBvoice"/>
              <a:cs typeface="ABBvoice"/>
            </a:endParaRPr>
          </a:p>
          <a:p>
            <a:pPr marL="640080" lvl="1" indent="-283845">
              <a:lnSpc>
                <a:spcPct val="100000"/>
              </a:lnSpc>
              <a:spcBef>
                <a:spcPts val="600"/>
              </a:spcBef>
              <a:buChar char="–"/>
              <a:tabLst>
                <a:tab pos="640080" algn="l"/>
                <a:tab pos="640715" algn="l"/>
              </a:tabLst>
            </a:pPr>
            <a:r>
              <a:rPr lang="en-US" sz="1600">
                <a:latin typeface="ABBvoice"/>
                <a:cs typeface="ABBvoice"/>
              </a:rPr>
              <a:t>Robotics</a:t>
            </a:r>
            <a:r>
              <a:rPr lang="en-US" sz="1600" spc="-40">
                <a:latin typeface="ABBvoice"/>
                <a:cs typeface="ABBvoice"/>
              </a:rPr>
              <a:t> </a:t>
            </a:r>
            <a:r>
              <a:rPr lang="en-US" sz="1600">
                <a:latin typeface="ABBvoice"/>
                <a:cs typeface="ABBvoice"/>
              </a:rPr>
              <a:t>&amp;</a:t>
            </a:r>
            <a:r>
              <a:rPr lang="en-US" sz="1600" spc="-25">
                <a:latin typeface="ABBvoice"/>
                <a:cs typeface="ABBvoice"/>
              </a:rPr>
              <a:t> </a:t>
            </a:r>
            <a:r>
              <a:rPr lang="en-US" sz="1600">
                <a:latin typeface="ABBvoice"/>
                <a:cs typeface="ABBvoice"/>
              </a:rPr>
              <a:t>Discrete</a:t>
            </a:r>
            <a:r>
              <a:rPr lang="en-US" sz="1600" spc="-50">
                <a:latin typeface="ABBvoice"/>
                <a:cs typeface="ABBvoice"/>
              </a:rPr>
              <a:t> </a:t>
            </a:r>
            <a:r>
              <a:rPr lang="en-US" sz="1600">
                <a:latin typeface="ABBvoice"/>
                <a:cs typeface="ABBvoice"/>
              </a:rPr>
              <a:t>Automation:</a:t>
            </a:r>
            <a:r>
              <a:rPr lang="en-US" sz="1600" spc="-70">
                <a:latin typeface="ABBvoice"/>
                <a:cs typeface="ABBvoice"/>
              </a:rPr>
              <a:t> </a:t>
            </a:r>
            <a:r>
              <a:rPr lang="en-US" sz="1600" spc="-20">
                <a:latin typeface="ABBvoice"/>
                <a:cs typeface="ABBvoice"/>
              </a:rPr>
              <a:t>16%</a:t>
            </a:r>
            <a:endParaRPr lang="en-US" sz="1600">
              <a:latin typeface="ABBvoice"/>
              <a:cs typeface="ABBvoice"/>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9942576" y="2063495"/>
            <a:ext cx="1106424" cy="972312"/>
          </a:xfrm>
          <a:prstGeom prst="rect">
            <a:avLst/>
          </a:prstGeom>
        </p:spPr>
      </p:pic>
      <p:pic>
        <p:nvPicPr>
          <p:cNvPr id="3" name="object 3"/>
          <p:cNvPicPr/>
          <p:nvPr/>
        </p:nvPicPr>
        <p:blipFill>
          <a:blip r:embed="rId3" cstate="print"/>
          <a:stretch>
            <a:fillRect/>
          </a:stretch>
        </p:blipFill>
        <p:spPr>
          <a:xfrm>
            <a:off x="7653528" y="2063495"/>
            <a:ext cx="1100327" cy="969263"/>
          </a:xfrm>
          <a:prstGeom prst="rect">
            <a:avLst/>
          </a:prstGeom>
        </p:spPr>
      </p:pic>
      <p:pic>
        <p:nvPicPr>
          <p:cNvPr id="4" name="object 4"/>
          <p:cNvPicPr/>
          <p:nvPr/>
        </p:nvPicPr>
        <p:blipFill>
          <a:blip r:embed="rId4" cstate="print"/>
          <a:stretch>
            <a:fillRect/>
          </a:stretch>
        </p:blipFill>
        <p:spPr>
          <a:xfrm>
            <a:off x="838200" y="2063495"/>
            <a:ext cx="1106424" cy="972312"/>
          </a:xfrm>
          <a:prstGeom prst="rect">
            <a:avLst/>
          </a:prstGeom>
        </p:spPr>
      </p:pic>
      <p:pic>
        <p:nvPicPr>
          <p:cNvPr id="5" name="object 5"/>
          <p:cNvPicPr/>
          <p:nvPr/>
        </p:nvPicPr>
        <p:blipFill>
          <a:blip r:embed="rId5" cstate="print"/>
          <a:stretch>
            <a:fillRect/>
          </a:stretch>
        </p:blipFill>
        <p:spPr>
          <a:xfrm>
            <a:off x="5334000" y="4428744"/>
            <a:ext cx="1115568" cy="975360"/>
          </a:xfrm>
          <a:prstGeom prst="rect">
            <a:avLst/>
          </a:prstGeom>
        </p:spPr>
      </p:pic>
      <p:sp>
        <p:nvSpPr>
          <p:cNvPr id="6" name="object 6"/>
          <p:cNvSpPr txBox="1"/>
          <p:nvPr/>
        </p:nvSpPr>
        <p:spPr>
          <a:xfrm>
            <a:off x="809345" y="3155950"/>
            <a:ext cx="1601470" cy="377190"/>
          </a:xfrm>
          <a:prstGeom prst="rect">
            <a:avLst/>
          </a:prstGeom>
        </p:spPr>
        <p:txBody>
          <a:bodyPr vert="horz" wrap="square" lIns="0" tIns="12700" rIns="0" bIns="0" rtlCol="0">
            <a:spAutoFit/>
          </a:bodyPr>
          <a:lstStyle/>
          <a:p>
            <a:pPr marL="12700">
              <a:lnSpc>
                <a:spcPct val="100000"/>
              </a:lnSpc>
              <a:spcBef>
                <a:spcPts val="100"/>
              </a:spcBef>
            </a:pPr>
            <a:r>
              <a:rPr sz="1200" b="1">
                <a:latin typeface="ABBvoice"/>
                <a:cs typeface="ABBvoice"/>
              </a:rPr>
              <a:t>Vince</a:t>
            </a:r>
            <a:r>
              <a:rPr sz="1200" b="1" spc="-5">
                <a:latin typeface="ABBvoice"/>
                <a:cs typeface="ABBvoice"/>
              </a:rPr>
              <a:t> </a:t>
            </a:r>
            <a:r>
              <a:rPr sz="1200" b="1" spc="-10">
                <a:latin typeface="ABBvoice"/>
                <a:cs typeface="ABBvoice"/>
              </a:rPr>
              <a:t>Pesce</a:t>
            </a:r>
            <a:endParaRPr sz="1200">
              <a:latin typeface="ABBvoice"/>
              <a:cs typeface="ABBvoice"/>
            </a:endParaRPr>
          </a:p>
          <a:p>
            <a:pPr marL="12700">
              <a:lnSpc>
                <a:spcPct val="100000"/>
              </a:lnSpc>
              <a:spcBef>
                <a:spcPts val="5"/>
              </a:spcBef>
            </a:pPr>
            <a:r>
              <a:rPr sz="1100">
                <a:latin typeface="ABBvoice"/>
                <a:cs typeface="ABBvoice"/>
              </a:rPr>
              <a:t>Country</a:t>
            </a:r>
            <a:r>
              <a:rPr sz="1100" spc="-60">
                <a:latin typeface="ABBvoice"/>
                <a:cs typeface="ABBvoice"/>
              </a:rPr>
              <a:t> </a:t>
            </a:r>
            <a:r>
              <a:rPr sz="1100">
                <a:latin typeface="ABBvoice"/>
                <a:cs typeface="ABBvoice"/>
              </a:rPr>
              <a:t>Holding</a:t>
            </a:r>
            <a:r>
              <a:rPr sz="1100" spc="-60">
                <a:latin typeface="ABBvoice"/>
                <a:cs typeface="ABBvoice"/>
              </a:rPr>
              <a:t> </a:t>
            </a:r>
            <a:r>
              <a:rPr sz="1100" spc="-10">
                <a:latin typeface="ABBvoice"/>
                <a:cs typeface="ABBvoice"/>
              </a:rPr>
              <a:t>Officer</a:t>
            </a:r>
            <a:endParaRPr sz="1100">
              <a:latin typeface="ABBvoice"/>
              <a:cs typeface="ABBvoice"/>
            </a:endParaRPr>
          </a:p>
        </p:txBody>
      </p:sp>
      <p:sp>
        <p:nvSpPr>
          <p:cNvPr id="7" name="object 7"/>
          <p:cNvSpPr txBox="1"/>
          <p:nvPr/>
        </p:nvSpPr>
        <p:spPr>
          <a:xfrm>
            <a:off x="5360923" y="5556605"/>
            <a:ext cx="1323975" cy="376555"/>
          </a:xfrm>
          <a:prstGeom prst="rect">
            <a:avLst/>
          </a:prstGeom>
        </p:spPr>
        <p:txBody>
          <a:bodyPr vert="horz" wrap="square" lIns="0" tIns="12700" rIns="0" bIns="0" rtlCol="0">
            <a:spAutoFit/>
          </a:bodyPr>
          <a:lstStyle/>
          <a:p>
            <a:pPr marL="12700">
              <a:lnSpc>
                <a:spcPct val="100000"/>
              </a:lnSpc>
              <a:spcBef>
                <a:spcPts val="100"/>
              </a:spcBef>
            </a:pPr>
            <a:r>
              <a:rPr sz="1200" b="1">
                <a:latin typeface="ABBvoice"/>
                <a:cs typeface="ABBvoice"/>
              </a:rPr>
              <a:t>Evan </a:t>
            </a:r>
            <a:r>
              <a:rPr sz="1200" b="1" spc="-10">
                <a:latin typeface="ABBvoice"/>
                <a:cs typeface="ABBvoice"/>
              </a:rPr>
              <a:t>Balaila</a:t>
            </a:r>
            <a:endParaRPr sz="1200">
              <a:latin typeface="ABBvoice"/>
              <a:cs typeface="ABBvoice"/>
            </a:endParaRPr>
          </a:p>
          <a:p>
            <a:pPr marL="12700">
              <a:lnSpc>
                <a:spcPct val="100000"/>
              </a:lnSpc>
              <a:spcBef>
                <a:spcPts val="5"/>
              </a:spcBef>
            </a:pPr>
            <a:r>
              <a:rPr sz="1100">
                <a:latin typeface="ABBvoice"/>
                <a:cs typeface="ABBvoice"/>
              </a:rPr>
              <a:t>Country</a:t>
            </a:r>
            <a:r>
              <a:rPr sz="1100" spc="-25">
                <a:latin typeface="ABBvoice"/>
                <a:cs typeface="ABBvoice"/>
              </a:rPr>
              <a:t> </a:t>
            </a:r>
            <a:r>
              <a:rPr sz="1100">
                <a:latin typeface="ABBvoice"/>
                <a:cs typeface="ABBvoice"/>
              </a:rPr>
              <a:t>IS</a:t>
            </a:r>
            <a:r>
              <a:rPr sz="1100" spc="-20">
                <a:latin typeface="ABBvoice"/>
                <a:cs typeface="ABBvoice"/>
              </a:rPr>
              <a:t> </a:t>
            </a:r>
            <a:r>
              <a:rPr sz="1100" spc="-10">
                <a:latin typeface="ABBvoice"/>
                <a:cs typeface="ABBvoice"/>
              </a:rPr>
              <a:t>Manager</a:t>
            </a:r>
            <a:endParaRPr sz="1100">
              <a:latin typeface="ABBvoice"/>
              <a:cs typeface="ABBvoice"/>
            </a:endParaRPr>
          </a:p>
        </p:txBody>
      </p:sp>
      <p:sp>
        <p:nvSpPr>
          <p:cNvPr id="8" name="object 8"/>
          <p:cNvSpPr txBox="1"/>
          <p:nvPr/>
        </p:nvSpPr>
        <p:spPr>
          <a:xfrm>
            <a:off x="3052064" y="5556605"/>
            <a:ext cx="1123315" cy="544195"/>
          </a:xfrm>
          <a:prstGeom prst="rect">
            <a:avLst/>
          </a:prstGeom>
        </p:spPr>
        <p:txBody>
          <a:bodyPr vert="horz" wrap="square" lIns="0" tIns="12700" rIns="0" bIns="0" rtlCol="0">
            <a:spAutoFit/>
          </a:bodyPr>
          <a:lstStyle/>
          <a:p>
            <a:pPr marL="12700" marR="5080">
              <a:lnSpc>
                <a:spcPct val="100000"/>
              </a:lnSpc>
              <a:spcBef>
                <a:spcPts val="100"/>
              </a:spcBef>
            </a:pPr>
            <a:r>
              <a:rPr sz="1200" b="1">
                <a:latin typeface="ABBvoice"/>
                <a:cs typeface="ABBvoice"/>
              </a:rPr>
              <a:t>Mike </a:t>
            </a:r>
            <a:r>
              <a:rPr sz="1200" b="1" spc="-10">
                <a:latin typeface="ABBvoice"/>
                <a:cs typeface="ABBvoice"/>
              </a:rPr>
              <a:t>Golden </a:t>
            </a:r>
            <a:r>
              <a:rPr sz="1100">
                <a:latin typeface="ABBvoice"/>
                <a:cs typeface="ABBvoice"/>
              </a:rPr>
              <a:t>Country</a:t>
            </a:r>
            <a:r>
              <a:rPr sz="1100" spc="-35">
                <a:latin typeface="ABBvoice"/>
                <a:cs typeface="ABBvoice"/>
              </a:rPr>
              <a:t> </a:t>
            </a:r>
            <a:r>
              <a:rPr sz="1100" spc="-10">
                <a:latin typeface="ABBvoice"/>
                <a:cs typeface="ABBvoice"/>
              </a:rPr>
              <a:t>Security Manager</a:t>
            </a:r>
            <a:endParaRPr sz="1100">
              <a:latin typeface="ABBvoice"/>
              <a:cs typeface="ABBvoice"/>
            </a:endParaRPr>
          </a:p>
        </p:txBody>
      </p:sp>
      <p:sp>
        <p:nvSpPr>
          <p:cNvPr id="9" name="object 9"/>
          <p:cNvSpPr txBox="1"/>
          <p:nvPr/>
        </p:nvSpPr>
        <p:spPr>
          <a:xfrm>
            <a:off x="7669783" y="5556605"/>
            <a:ext cx="1327785" cy="544195"/>
          </a:xfrm>
          <a:prstGeom prst="rect">
            <a:avLst/>
          </a:prstGeom>
        </p:spPr>
        <p:txBody>
          <a:bodyPr vert="horz" wrap="square" lIns="0" tIns="12700" rIns="0" bIns="0" rtlCol="0">
            <a:spAutoFit/>
          </a:bodyPr>
          <a:lstStyle/>
          <a:p>
            <a:pPr marL="12700" marR="5080">
              <a:lnSpc>
                <a:spcPct val="100000"/>
              </a:lnSpc>
              <a:spcBef>
                <a:spcPts val="100"/>
              </a:spcBef>
            </a:pPr>
            <a:r>
              <a:rPr sz="1200" b="1">
                <a:latin typeface="ABBvoice"/>
                <a:cs typeface="ABBvoice"/>
              </a:rPr>
              <a:t>Joseph</a:t>
            </a:r>
            <a:r>
              <a:rPr sz="1200" b="1" spc="-15">
                <a:latin typeface="ABBvoice"/>
                <a:cs typeface="ABBvoice"/>
              </a:rPr>
              <a:t> </a:t>
            </a:r>
            <a:r>
              <a:rPr sz="1200" b="1" spc="-10">
                <a:latin typeface="ABBvoice"/>
                <a:cs typeface="ABBvoice"/>
              </a:rPr>
              <a:t>Simard </a:t>
            </a:r>
            <a:r>
              <a:rPr sz="1100">
                <a:latin typeface="ABBvoice"/>
                <a:cs typeface="ABBvoice"/>
              </a:rPr>
              <a:t>Country</a:t>
            </a:r>
            <a:r>
              <a:rPr sz="1100" spc="-40">
                <a:latin typeface="ABBvoice"/>
                <a:cs typeface="ABBvoice"/>
              </a:rPr>
              <a:t> </a:t>
            </a:r>
            <a:r>
              <a:rPr sz="1100">
                <a:latin typeface="ABBvoice"/>
                <a:cs typeface="ABBvoice"/>
              </a:rPr>
              <a:t>Real</a:t>
            </a:r>
            <a:r>
              <a:rPr sz="1100" spc="-20">
                <a:latin typeface="ABBvoice"/>
                <a:cs typeface="ABBvoice"/>
              </a:rPr>
              <a:t> </a:t>
            </a:r>
            <a:r>
              <a:rPr sz="1100" spc="-10">
                <a:latin typeface="ABBvoice"/>
                <a:cs typeface="ABBvoice"/>
              </a:rPr>
              <a:t>Estate Manager</a:t>
            </a:r>
            <a:endParaRPr sz="1100">
              <a:latin typeface="ABBvoice"/>
              <a:cs typeface="ABBvoice"/>
            </a:endParaRPr>
          </a:p>
        </p:txBody>
      </p:sp>
      <p:grpSp>
        <p:nvGrpSpPr>
          <p:cNvPr id="10" name="object 10"/>
          <p:cNvGrpSpPr/>
          <p:nvPr/>
        </p:nvGrpSpPr>
        <p:grpSpPr>
          <a:xfrm>
            <a:off x="3038855" y="2063495"/>
            <a:ext cx="1106805" cy="1000125"/>
            <a:chOff x="3038855" y="2063495"/>
            <a:chExt cx="1106805" cy="1000125"/>
          </a:xfrm>
        </p:grpSpPr>
        <p:pic>
          <p:nvPicPr>
            <p:cNvPr id="11" name="object 11"/>
            <p:cNvPicPr/>
            <p:nvPr/>
          </p:nvPicPr>
          <p:blipFill>
            <a:blip r:embed="rId6" cstate="print"/>
            <a:stretch>
              <a:fillRect/>
            </a:stretch>
          </p:blipFill>
          <p:spPr>
            <a:xfrm>
              <a:off x="3139857" y="2087879"/>
              <a:ext cx="1005422" cy="972312"/>
            </a:xfrm>
            <a:prstGeom prst="rect">
              <a:avLst/>
            </a:prstGeom>
          </p:spPr>
        </p:pic>
        <p:pic>
          <p:nvPicPr>
            <p:cNvPr id="12" name="object 12"/>
            <p:cNvPicPr/>
            <p:nvPr/>
          </p:nvPicPr>
          <p:blipFill>
            <a:blip r:embed="rId7" cstate="print"/>
            <a:stretch>
              <a:fillRect/>
            </a:stretch>
          </p:blipFill>
          <p:spPr>
            <a:xfrm>
              <a:off x="3038855" y="2063495"/>
              <a:ext cx="1106423" cy="999743"/>
            </a:xfrm>
            <a:prstGeom prst="rect">
              <a:avLst/>
            </a:prstGeom>
          </p:spPr>
        </p:pic>
      </p:grpSp>
      <p:sp>
        <p:nvSpPr>
          <p:cNvPr id="13" name="object 13"/>
          <p:cNvSpPr txBox="1"/>
          <p:nvPr/>
        </p:nvSpPr>
        <p:spPr>
          <a:xfrm>
            <a:off x="3052064" y="3155950"/>
            <a:ext cx="1400810" cy="544830"/>
          </a:xfrm>
          <a:prstGeom prst="rect">
            <a:avLst/>
          </a:prstGeom>
        </p:spPr>
        <p:txBody>
          <a:bodyPr vert="horz" wrap="square" lIns="0" tIns="12700" rIns="0" bIns="0" rtlCol="0">
            <a:spAutoFit/>
          </a:bodyPr>
          <a:lstStyle/>
          <a:p>
            <a:pPr marL="12700" marR="5080">
              <a:lnSpc>
                <a:spcPct val="100000"/>
              </a:lnSpc>
              <a:spcBef>
                <a:spcPts val="100"/>
              </a:spcBef>
            </a:pPr>
            <a:r>
              <a:rPr sz="1200" b="1">
                <a:latin typeface="ABBvoice"/>
                <a:cs typeface="ABBvoice"/>
              </a:rPr>
              <a:t>Katie </a:t>
            </a:r>
            <a:r>
              <a:rPr sz="1200" b="1" spc="-10">
                <a:latin typeface="ABBvoice"/>
                <a:cs typeface="ABBvoice"/>
              </a:rPr>
              <a:t>Bessette </a:t>
            </a:r>
            <a:r>
              <a:rPr sz="1100">
                <a:latin typeface="ABBvoice"/>
                <a:cs typeface="ABBvoice"/>
              </a:rPr>
              <a:t>Country</a:t>
            </a:r>
            <a:r>
              <a:rPr sz="1100" spc="-35">
                <a:latin typeface="ABBvoice"/>
                <a:cs typeface="ABBvoice"/>
              </a:rPr>
              <a:t> </a:t>
            </a:r>
            <a:r>
              <a:rPr sz="1100">
                <a:latin typeface="ABBvoice"/>
                <a:cs typeface="ABBvoice"/>
              </a:rPr>
              <a:t>HR</a:t>
            </a:r>
            <a:r>
              <a:rPr sz="1100" spc="-15">
                <a:latin typeface="ABBvoice"/>
                <a:cs typeface="ABBvoice"/>
              </a:rPr>
              <a:t> </a:t>
            </a:r>
            <a:r>
              <a:rPr sz="1100" spc="-10">
                <a:latin typeface="ABBvoice"/>
                <a:cs typeface="ABBvoice"/>
              </a:rPr>
              <a:t>Manager </a:t>
            </a:r>
            <a:r>
              <a:rPr sz="1100">
                <a:latin typeface="ABBvoice"/>
                <a:cs typeface="ABBvoice"/>
              </a:rPr>
              <a:t>and</a:t>
            </a:r>
            <a:r>
              <a:rPr sz="1100" spc="-40">
                <a:latin typeface="ABBvoice"/>
                <a:cs typeface="ABBvoice"/>
              </a:rPr>
              <a:t> </a:t>
            </a:r>
            <a:r>
              <a:rPr sz="1100">
                <a:latin typeface="ABBvoice"/>
                <a:cs typeface="ABBvoice"/>
              </a:rPr>
              <a:t>HRBP</a:t>
            </a:r>
            <a:r>
              <a:rPr sz="1100" spc="-20">
                <a:latin typeface="ABBvoice"/>
                <a:cs typeface="ABBvoice"/>
              </a:rPr>
              <a:t> </a:t>
            </a:r>
            <a:r>
              <a:rPr sz="1100">
                <a:latin typeface="ABBvoice"/>
                <a:cs typeface="ABBvoice"/>
              </a:rPr>
              <a:t>–</a:t>
            </a:r>
            <a:r>
              <a:rPr sz="1100" spc="-5">
                <a:latin typeface="ABBvoice"/>
                <a:cs typeface="ABBvoice"/>
              </a:rPr>
              <a:t> </a:t>
            </a:r>
            <a:r>
              <a:rPr sz="1100">
                <a:latin typeface="ABBvoice"/>
                <a:cs typeface="ABBvoice"/>
              </a:rPr>
              <a:t>ELIP</a:t>
            </a:r>
            <a:r>
              <a:rPr sz="1100" spc="-25">
                <a:latin typeface="ABBvoice"/>
                <a:cs typeface="ABBvoice"/>
              </a:rPr>
              <a:t> Hub</a:t>
            </a:r>
            <a:endParaRPr sz="1100">
              <a:latin typeface="ABBvoice"/>
              <a:cs typeface="ABBvoice"/>
            </a:endParaRPr>
          </a:p>
        </p:txBody>
      </p:sp>
      <p:pic>
        <p:nvPicPr>
          <p:cNvPr id="14" name="object 14"/>
          <p:cNvPicPr/>
          <p:nvPr/>
        </p:nvPicPr>
        <p:blipFill>
          <a:blip r:embed="rId8" cstate="print"/>
          <a:stretch>
            <a:fillRect/>
          </a:stretch>
        </p:blipFill>
        <p:spPr>
          <a:xfrm>
            <a:off x="5334000" y="2063495"/>
            <a:ext cx="1101623" cy="972312"/>
          </a:xfrm>
          <a:prstGeom prst="rect">
            <a:avLst/>
          </a:prstGeom>
        </p:spPr>
      </p:pic>
      <p:sp>
        <p:nvSpPr>
          <p:cNvPr id="15" name="object 15"/>
          <p:cNvSpPr txBox="1"/>
          <p:nvPr/>
        </p:nvSpPr>
        <p:spPr>
          <a:xfrm>
            <a:off x="5360923" y="3155950"/>
            <a:ext cx="1692910" cy="564257"/>
          </a:xfrm>
          <a:prstGeom prst="rect">
            <a:avLst/>
          </a:prstGeom>
        </p:spPr>
        <p:txBody>
          <a:bodyPr vert="horz" wrap="square" lIns="0" tIns="12700" rIns="0" bIns="0" rtlCol="0" anchor="t">
            <a:spAutoFit/>
          </a:bodyPr>
          <a:lstStyle/>
          <a:p>
            <a:pPr marL="12700" marR="5080">
              <a:spcBef>
                <a:spcPts val="100"/>
              </a:spcBef>
            </a:pPr>
            <a:r>
              <a:rPr sz="1200" b="1">
                <a:latin typeface="ABBvoice"/>
                <a:cs typeface="ABBvoice"/>
              </a:rPr>
              <a:t>Isabelle </a:t>
            </a:r>
            <a:r>
              <a:rPr sz="1200" b="1" spc="-10">
                <a:latin typeface="ABBvoice"/>
                <a:cs typeface="ABBvoice"/>
              </a:rPr>
              <a:t>Lamarre</a:t>
            </a:r>
            <a:r>
              <a:rPr lang="en-US" sz="1200" b="1" spc="-10">
                <a:latin typeface="ABBvoice"/>
                <a:cs typeface="ABBvoice"/>
              </a:rPr>
              <a:t> </a:t>
            </a:r>
            <a:endParaRPr lang="en-US" sz="1100">
              <a:latin typeface="ABBvoice"/>
              <a:cs typeface="ABBvoice"/>
            </a:endParaRPr>
          </a:p>
          <a:p>
            <a:pPr marL="12700" marR="5080">
              <a:spcBef>
                <a:spcPts val="100"/>
              </a:spcBef>
            </a:pPr>
            <a:r>
              <a:rPr lang="en-US" sz="1200" spc="-10">
                <a:latin typeface="ABBvoice"/>
                <a:cs typeface="ABBvoice"/>
              </a:rPr>
              <a:t> </a:t>
            </a:r>
            <a:r>
              <a:rPr lang="en-US" sz="1100">
                <a:latin typeface="ABBvoice"/>
                <a:cs typeface="ABBvoice"/>
              </a:rPr>
              <a:t>Regional</a:t>
            </a:r>
            <a:r>
              <a:rPr lang="en-US" sz="1100" spc="-65">
                <a:latin typeface="ABBvoice"/>
                <a:cs typeface="ABBvoice"/>
              </a:rPr>
              <a:t> </a:t>
            </a:r>
            <a:r>
              <a:rPr lang="en-US" sz="1100">
                <a:latin typeface="ABBvoice"/>
                <a:cs typeface="ABBvoice"/>
              </a:rPr>
              <a:t>General</a:t>
            </a:r>
            <a:r>
              <a:rPr lang="en-US" sz="1100" spc="-35">
                <a:latin typeface="ABBvoice"/>
                <a:cs typeface="ABBvoice"/>
              </a:rPr>
              <a:t> </a:t>
            </a:r>
            <a:r>
              <a:rPr lang="en-US" sz="1100" spc="-10">
                <a:latin typeface="ABBvoice"/>
                <a:cs typeface="ABBvoice"/>
              </a:rPr>
              <a:t>Counsel </a:t>
            </a:r>
            <a:r>
              <a:rPr lang="en-US" sz="1100">
                <a:latin typeface="ABBvoice"/>
                <a:cs typeface="ABBvoice"/>
              </a:rPr>
              <a:t>for</a:t>
            </a:r>
            <a:r>
              <a:rPr lang="en-US" sz="1100" spc="-5">
                <a:latin typeface="ABBvoice"/>
                <a:cs typeface="ABBvoice"/>
              </a:rPr>
              <a:t> </a:t>
            </a:r>
            <a:r>
              <a:rPr lang="en-US" sz="1100" spc="-10">
                <a:latin typeface="ABBvoice"/>
                <a:cs typeface="ABBvoice"/>
              </a:rPr>
              <a:t>Americas</a:t>
            </a:r>
            <a:endParaRPr sz="1100">
              <a:latin typeface="ABBvoice"/>
              <a:cs typeface="ABBvoice"/>
            </a:endParaRPr>
          </a:p>
        </p:txBody>
      </p:sp>
      <p:pic>
        <p:nvPicPr>
          <p:cNvPr id="16" name="object 16"/>
          <p:cNvPicPr/>
          <p:nvPr/>
        </p:nvPicPr>
        <p:blipFill>
          <a:blip r:embed="rId9" cstate="print"/>
          <a:stretch>
            <a:fillRect/>
          </a:stretch>
        </p:blipFill>
        <p:spPr>
          <a:xfrm>
            <a:off x="3038855" y="4428744"/>
            <a:ext cx="1106423" cy="975360"/>
          </a:xfrm>
          <a:prstGeom prst="rect">
            <a:avLst/>
          </a:prstGeom>
        </p:spPr>
      </p:pic>
      <p:sp>
        <p:nvSpPr>
          <p:cNvPr id="17" name="object 17"/>
          <p:cNvSpPr txBox="1"/>
          <p:nvPr/>
        </p:nvSpPr>
        <p:spPr>
          <a:xfrm>
            <a:off x="7669783" y="3155950"/>
            <a:ext cx="1765300" cy="544830"/>
          </a:xfrm>
          <a:prstGeom prst="rect">
            <a:avLst/>
          </a:prstGeom>
        </p:spPr>
        <p:txBody>
          <a:bodyPr vert="horz" wrap="square" lIns="0" tIns="12700" rIns="0" bIns="0" rtlCol="0">
            <a:spAutoFit/>
          </a:bodyPr>
          <a:lstStyle/>
          <a:p>
            <a:pPr marL="12700" marR="5080">
              <a:lnSpc>
                <a:spcPct val="100000"/>
              </a:lnSpc>
              <a:spcBef>
                <a:spcPts val="100"/>
              </a:spcBef>
            </a:pPr>
            <a:r>
              <a:rPr sz="1200" b="1">
                <a:latin typeface="ABBvoice"/>
                <a:cs typeface="ABBvoice"/>
              </a:rPr>
              <a:t>Carley</a:t>
            </a:r>
            <a:r>
              <a:rPr sz="1200" b="1" spc="-15">
                <a:latin typeface="ABBvoice"/>
                <a:cs typeface="ABBvoice"/>
              </a:rPr>
              <a:t> </a:t>
            </a:r>
            <a:r>
              <a:rPr sz="1200" b="1" spc="-10">
                <a:latin typeface="ABBvoice"/>
                <a:cs typeface="ABBvoice"/>
              </a:rPr>
              <a:t>Tietolman </a:t>
            </a:r>
            <a:r>
              <a:rPr sz="1100">
                <a:latin typeface="ABBvoice"/>
                <a:cs typeface="ABBvoice"/>
              </a:rPr>
              <a:t>Country</a:t>
            </a:r>
            <a:r>
              <a:rPr sz="1100" spc="-30">
                <a:latin typeface="ABBvoice"/>
                <a:cs typeface="ABBvoice"/>
              </a:rPr>
              <a:t> </a:t>
            </a:r>
            <a:r>
              <a:rPr sz="1100">
                <a:latin typeface="ABBvoice"/>
                <a:cs typeface="ABBvoice"/>
              </a:rPr>
              <a:t>and</a:t>
            </a:r>
            <a:r>
              <a:rPr sz="1100" spc="-25">
                <a:latin typeface="ABBvoice"/>
                <a:cs typeface="ABBvoice"/>
              </a:rPr>
              <a:t> EL </a:t>
            </a:r>
            <a:r>
              <a:rPr sz="1100" spc="-10">
                <a:latin typeface="ABBvoice"/>
                <a:cs typeface="ABBvoice"/>
              </a:rPr>
              <a:t>Communications</a:t>
            </a:r>
            <a:r>
              <a:rPr sz="1100" spc="40">
                <a:latin typeface="ABBvoice"/>
                <a:cs typeface="ABBvoice"/>
              </a:rPr>
              <a:t> </a:t>
            </a:r>
            <a:r>
              <a:rPr sz="1100" spc="-10">
                <a:latin typeface="ABBvoice"/>
                <a:cs typeface="ABBvoice"/>
              </a:rPr>
              <a:t>Manager</a:t>
            </a:r>
            <a:endParaRPr sz="1100">
              <a:latin typeface="ABBvoice"/>
              <a:cs typeface="ABBvoice"/>
            </a:endParaRPr>
          </a:p>
        </p:txBody>
      </p:sp>
      <p:pic>
        <p:nvPicPr>
          <p:cNvPr id="18" name="object 18"/>
          <p:cNvPicPr/>
          <p:nvPr/>
        </p:nvPicPr>
        <p:blipFill>
          <a:blip r:embed="rId10"/>
          <a:stretch>
            <a:fillRect/>
          </a:stretch>
        </p:blipFill>
        <p:spPr>
          <a:xfrm>
            <a:off x="9937806" y="4428744"/>
            <a:ext cx="926463" cy="975360"/>
          </a:xfrm>
          <a:prstGeom prst="rect">
            <a:avLst/>
          </a:prstGeom>
        </p:spPr>
      </p:pic>
      <p:sp>
        <p:nvSpPr>
          <p:cNvPr id="19" name="object 19"/>
          <p:cNvSpPr txBox="1"/>
          <p:nvPr/>
        </p:nvSpPr>
        <p:spPr>
          <a:xfrm>
            <a:off x="9978390" y="5556605"/>
            <a:ext cx="1504315" cy="520655"/>
          </a:xfrm>
          <a:prstGeom prst="rect">
            <a:avLst/>
          </a:prstGeom>
        </p:spPr>
        <p:txBody>
          <a:bodyPr vert="horz" wrap="square" lIns="0" tIns="12700" rIns="0" bIns="0" rtlCol="0" anchor="t">
            <a:spAutoFit/>
          </a:bodyPr>
          <a:lstStyle/>
          <a:p>
            <a:pPr marL="12700" marR="5080">
              <a:lnSpc>
                <a:spcPct val="100000"/>
              </a:lnSpc>
              <a:spcBef>
                <a:spcPts val="100"/>
              </a:spcBef>
            </a:pPr>
            <a:r>
              <a:rPr lang="en-US" sz="1100" b="1">
                <a:latin typeface="ABBvoice"/>
                <a:cs typeface="ABBvoice"/>
              </a:rPr>
              <a:t>Samantha Lebreux </a:t>
            </a:r>
            <a:r>
              <a:rPr lang="en-US" sz="1100">
                <a:latin typeface="ABBvoice"/>
                <a:cs typeface="ABBvoice"/>
              </a:rPr>
              <a:t>Country Trade Compliance Officer</a:t>
            </a:r>
            <a:endParaRPr sz="1100">
              <a:latin typeface="ABBvoice"/>
              <a:cs typeface="ABBvoice"/>
            </a:endParaRPr>
          </a:p>
        </p:txBody>
      </p:sp>
      <p:sp>
        <p:nvSpPr>
          <p:cNvPr id="20" name="object 20"/>
          <p:cNvSpPr txBox="1"/>
          <p:nvPr/>
        </p:nvSpPr>
        <p:spPr>
          <a:xfrm>
            <a:off x="9978390" y="3155950"/>
            <a:ext cx="1033780" cy="544830"/>
          </a:xfrm>
          <a:prstGeom prst="rect">
            <a:avLst/>
          </a:prstGeom>
        </p:spPr>
        <p:txBody>
          <a:bodyPr vert="horz" wrap="square" lIns="0" tIns="12700" rIns="0" bIns="0" rtlCol="0">
            <a:spAutoFit/>
          </a:bodyPr>
          <a:lstStyle/>
          <a:p>
            <a:pPr marL="12700" marR="5080">
              <a:lnSpc>
                <a:spcPct val="100000"/>
              </a:lnSpc>
              <a:spcBef>
                <a:spcPts val="100"/>
              </a:spcBef>
            </a:pPr>
            <a:r>
              <a:rPr sz="1200" b="1">
                <a:latin typeface="ABBvoice"/>
                <a:cs typeface="ABBvoice"/>
              </a:rPr>
              <a:t>Said</a:t>
            </a:r>
            <a:r>
              <a:rPr sz="1200" b="1" spc="-15">
                <a:latin typeface="ABBvoice"/>
                <a:cs typeface="ABBvoice"/>
              </a:rPr>
              <a:t> </a:t>
            </a:r>
            <a:r>
              <a:rPr sz="1200" b="1" spc="-10">
                <a:latin typeface="ABBvoice"/>
                <a:cs typeface="ABBvoice"/>
              </a:rPr>
              <a:t>Elaissi </a:t>
            </a:r>
            <a:r>
              <a:rPr sz="1100">
                <a:latin typeface="ABBvoice"/>
                <a:cs typeface="ABBvoice"/>
              </a:rPr>
              <a:t>Country</a:t>
            </a:r>
            <a:r>
              <a:rPr sz="1100" spc="-30">
                <a:latin typeface="ABBvoice"/>
                <a:cs typeface="ABBvoice"/>
              </a:rPr>
              <a:t> </a:t>
            </a:r>
            <a:r>
              <a:rPr sz="1100">
                <a:latin typeface="ABBvoice"/>
                <a:cs typeface="ABBvoice"/>
              </a:rPr>
              <a:t>and</a:t>
            </a:r>
            <a:r>
              <a:rPr sz="1100" spc="-25">
                <a:latin typeface="ABBvoice"/>
                <a:cs typeface="ABBvoice"/>
              </a:rPr>
              <a:t> EL </a:t>
            </a:r>
            <a:r>
              <a:rPr sz="1100">
                <a:latin typeface="ABBvoice"/>
                <a:cs typeface="ABBvoice"/>
              </a:rPr>
              <a:t>HSE</a:t>
            </a:r>
            <a:r>
              <a:rPr sz="1100" spc="-45">
                <a:latin typeface="ABBvoice"/>
                <a:cs typeface="ABBvoice"/>
              </a:rPr>
              <a:t> </a:t>
            </a:r>
            <a:r>
              <a:rPr sz="1100" spc="-10">
                <a:latin typeface="ABBvoice"/>
                <a:cs typeface="ABBvoice"/>
              </a:rPr>
              <a:t>Manager</a:t>
            </a:r>
            <a:endParaRPr sz="1100">
              <a:latin typeface="ABBvoice"/>
              <a:cs typeface="ABBvoice"/>
            </a:endParaRPr>
          </a:p>
        </p:txBody>
      </p:sp>
      <p:sp>
        <p:nvSpPr>
          <p:cNvPr id="21" name="object 21"/>
          <p:cNvSpPr txBox="1"/>
          <p:nvPr/>
        </p:nvSpPr>
        <p:spPr>
          <a:xfrm>
            <a:off x="828547" y="5556605"/>
            <a:ext cx="1436370" cy="376555"/>
          </a:xfrm>
          <a:prstGeom prst="rect">
            <a:avLst/>
          </a:prstGeom>
        </p:spPr>
        <p:txBody>
          <a:bodyPr vert="horz" wrap="square" lIns="0" tIns="12700" rIns="0" bIns="0" rtlCol="0">
            <a:spAutoFit/>
          </a:bodyPr>
          <a:lstStyle/>
          <a:p>
            <a:pPr marL="12700">
              <a:lnSpc>
                <a:spcPct val="100000"/>
              </a:lnSpc>
              <a:spcBef>
                <a:spcPts val="100"/>
              </a:spcBef>
            </a:pPr>
            <a:r>
              <a:rPr sz="1200" b="1">
                <a:latin typeface="ABBvoice"/>
                <a:cs typeface="ABBvoice"/>
              </a:rPr>
              <a:t>Melanie</a:t>
            </a:r>
            <a:r>
              <a:rPr sz="1200" b="1" spc="-5">
                <a:latin typeface="ABBvoice"/>
                <a:cs typeface="ABBvoice"/>
              </a:rPr>
              <a:t> </a:t>
            </a:r>
            <a:r>
              <a:rPr sz="1200" b="1" spc="-10">
                <a:latin typeface="ABBvoice"/>
                <a:cs typeface="ABBvoice"/>
              </a:rPr>
              <a:t>Benoit</a:t>
            </a:r>
            <a:endParaRPr sz="1200">
              <a:latin typeface="ABBvoice"/>
              <a:cs typeface="ABBvoice"/>
            </a:endParaRPr>
          </a:p>
          <a:p>
            <a:pPr marL="12700">
              <a:lnSpc>
                <a:spcPct val="100000"/>
              </a:lnSpc>
              <a:spcBef>
                <a:spcPts val="5"/>
              </a:spcBef>
            </a:pPr>
            <a:r>
              <a:rPr sz="1100">
                <a:latin typeface="ABBvoice"/>
                <a:cs typeface="ABBvoice"/>
              </a:rPr>
              <a:t>Country</a:t>
            </a:r>
            <a:r>
              <a:rPr sz="1100" spc="-25">
                <a:latin typeface="ABBvoice"/>
                <a:cs typeface="ABBvoice"/>
              </a:rPr>
              <a:t> </a:t>
            </a:r>
            <a:r>
              <a:rPr sz="1100">
                <a:latin typeface="ABBvoice"/>
                <a:cs typeface="ABBvoice"/>
              </a:rPr>
              <a:t>Tax</a:t>
            </a:r>
            <a:r>
              <a:rPr sz="1100" spc="-25">
                <a:latin typeface="ABBvoice"/>
                <a:cs typeface="ABBvoice"/>
              </a:rPr>
              <a:t> </a:t>
            </a:r>
            <a:r>
              <a:rPr sz="1100" spc="-10">
                <a:latin typeface="ABBvoice"/>
                <a:cs typeface="ABBvoice"/>
              </a:rPr>
              <a:t>Manager</a:t>
            </a:r>
            <a:endParaRPr sz="1100">
              <a:latin typeface="ABBvoice"/>
              <a:cs typeface="ABBvoice"/>
            </a:endParaRPr>
          </a:p>
        </p:txBody>
      </p:sp>
      <p:pic>
        <p:nvPicPr>
          <p:cNvPr id="22" name="object 22"/>
          <p:cNvPicPr/>
          <p:nvPr/>
        </p:nvPicPr>
        <p:blipFill>
          <a:blip r:embed="rId11" cstate="print"/>
          <a:stretch>
            <a:fillRect/>
          </a:stretch>
        </p:blipFill>
        <p:spPr>
          <a:xfrm>
            <a:off x="838200" y="4428744"/>
            <a:ext cx="1106424" cy="975360"/>
          </a:xfrm>
          <a:prstGeom prst="rect">
            <a:avLst/>
          </a:prstGeom>
        </p:spPr>
      </p:pic>
      <p:pic>
        <p:nvPicPr>
          <p:cNvPr id="23" name="object 23"/>
          <p:cNvPicPr/>
          <p:nvPr/>
        </p:nvPicPr>
        <p:blipFill>
          <a:blip r:embed="rId12" cstate="print"/>
          <a:stretch>
            <a:fillRect/>
          </a:stretch>
        </p:blipFill>
        <p:spPr>
          <a:xfrm>
            <a:off x="7653528" y="4431791"/>
            <a:ext cx="1106424" cy="969263"/>
          </a:xfrm>
          <a:prstGeom prst="rect">
            <a:avLst/>
          </a:prstGeom>
        </p:spPr>
      </p:pic>
      <p:sp>
        <p:nvSpPr>
          <p:cNvPr id="24" name="object 24"/>
          <p:cNvSpPr txBox="1"/>
          <p:nvPr/>
        </p:nvSpPr>
        <p:spPr>
          <a:xfrm>
            <a:off x="323284" y="320836"/>
            <a:ext cx="304800" cy="391160"/>
          </a:xfrm>
          <a:prstGeom prst="rect">
            <a:avLst/>
          </a:prstGeom>
        </p:spPr>
        <p:txBody>
          <a:bodyPr vert="horz" wrap="square" lIns="0" tIns="12700" rIns="0" bIns="0" rtlCol="0">
            <a:spAutoFit/>
          </a:bodyPr>
          <a:lstStyle/>
          <a:p>
            <a:pPr>
              <a:lnSpc>
                <a:spcPct val="100000"/>
              </a:lnSpc>
              <a:spcBef>
                <a:spcPts val="100"/>
              </a:spcBef>
            </a:pPr>
            <a:r>
              <a:rPr sz="2400" b="1">
                <a:solidFill>
                  <a:srgbClr val="FF0000"/>
                </a:solidFill>
                <a:latin typeface="ABBvoice"/>
                <a:cs typeface="ABBvoice"/>
              </a:rPr>
              <a:t>—</a:t>
            </a:r>
            <a:endParaRPr sz="2400">
              <a:latin typeface="ABBvoice"/>
              <a:cs typeface="ABBvoice"/>
            </a:endParaRPr>
          </a:p>
        </p:txBody>
      </p:sp>
      <p:sp>
        <p:nvSpPr>
          <p:cNvPr id="25" name="object 25"/>
          <p:cNvSpPr txBox="1">
            <a:spLocks noGrp="1"/>
          </p:cNvSpPr>
          <p:nvPr>
            <p:ph type="title"/>
          </p:nvPr>
        </p:nvSpPr>
        <p:spPr>
          <a:xfrm>
            <a:off x="323283" y="686851"/>
            <a:ext cx="4616361" cy="443711"/>
          </a:xfrm>
          <a:prstGeom prst="rect">
            <a:avLst/>
          </a:prstGeom>
        </p:spPr>
        <p:txBody>
          <a:bodyPr vert="horz" wrap="square" lIns="0" tIns="12700" rIns="0" bIns="0" rtlCol="0">
            <a:spAutoFit/>
          </a:bodyPr>
          <a:lstStyle/>
          <a:p>
            <a:pPr>
              <a:lnSpc>
                <a:spcPct val="100000"/>
              </a:lnSpc>
              <a:spcBef>
                <a:spcPts val="100"/>
              </a:spcBef>
            </a:pPr>
            <a:r>
              <a:rPr sz="2800" b="1">
                <a:latin typeface="ABBvoice"/>
                <a:cs typeface="ABBvoice"/>
              </a:rPr>
              <a:t>ABB</a:t>
            </a:r>
            <a:r>
              <a:rPr sz="2800" b="1" spc="-50">
                <a:latin typeface="ABBvoice"/>
                <a:cs typeface="ABBvoice"/>
              </a:rPr>
              <a:t> </a:t>
            </a:r>
            <a:r>
              <a:rPr sz="2800" b="1">
                <a:latin typeface="ABBvoice"/>
                <a:cs typeface="ABBvoice"/>
              </a:rPr>
              <a:t>Canada</a:t>
            </a:r>
            <a:r>
              <a:rPr sz="2800" b="1" spc="5">
                <a:latin typeface="ABBvoice"/>
                <a:cs typeface="ABBvoice"/>
              </a:rPr>
              <a:t> </a:t>
            </a:r>
            <a:r>
              <a:rPr sz="2800" b="1" spc="-10">
                <a:latin typeface="ABBvoice"/>
                <a:cs typeface="ABBvoice"/>
              </a:rPr>
              <a:t>Organization</a:t>
            </a:r>
            <a:endParaRPr sz="2800">
              <a:latin typeface="ABBvoice"/>
              <a:cs typeface="ABBvoice"/>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4447032" y="2795016"/>
            <a:ext cx="3297936" cy="1261872"/>
          </a:xfrm>
          <a:prstGeom prst="rect">
            <a:avLst/>
          </a:prstGeom>
        </p:spPr>
      </p:pic>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a:extLst>
              <a:ext uri="{FF2B5EF4-FFF2-40B4-BE49-F238E27FC236}">
                <a16:creationId xmlns:a16="http://schemas.microsoft.com/office/drawing/2014/main" id="{98844BF6-66EB-4F04-9122-61BFCF2C8B46}"/>
              </a:ext>
            </a:extLst>
          </p:cNvPr>
          <p:cNvSpPr>
            <a:spLocks noGrp="1"/>
          </p:cNvSpPr>
          <p:nvPr>
            <p:ph type="dt" sz="half" idx="18"/>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A9A9A9"/>
                </a:solidFill>
                <a:effectLst/>
                <a:uLnTx/>
                <a:uFillTx/>
                <a:latin typeface="ABBvoice"/>
                <a:ea typeface="ABBvoice"/>
                <a:cs typeface="ABBvoice"/>
              </a:rPr>
              <a:t>March 4, 2021</a:t>
            </a:r>
          </a:p>
        </p:txBody>
      </p:sp>
      <p:pic>
        <p:nvPicPr>
          <p:cNvPr id="21" name="Picture 20">
            <a:extLst>
              <a:ext uri="{FF2B5EF4-FFF2-40B4-BE49-F238E27FC236}">
                <a16:creationId xmlns:a16="http://schemas.microsoft.com/office/drawing/2014/main" id="{1F0934DF-F8AA-4F96-BDD1-1F7955F2AF4D}"/>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4000" contrast="-2000"/>
                    </a14:imgEffect>
                  </a14:imgLayer>
                </a14:imgProps>
              </a:ext>
              <a:ext uri="{28A0092B-C50C-407E-A947-70E740481C1C}">
                <a14:useLocalDpi xmlns:a14="http://schemas.microsoft.com/office/drawing/2010/main"/>
              </a:ext>
            </a:extLst>
          </a:blip>
          <a:srcRect/>
          <a:stretch/>
        </p:blipFill>
        <p:spPr>
          <a:xfrm>
            <a:off x="6120531" y="0"/>
            <a:ext cx="3015233" cy="6858000"/>
          </a:xfrm>
          <a:prstGeom prst="rect">
            <a:avLst/>
          </a:prstGeom>
        </p:spPr>
      </p:pic>
      <p:pic>
        <p:nvPicPr>
          <p:cNvPr id="23" name="Picture 22">
            <a:extLst>
              <a:ext uri="{FF2B5EF4-FFF2-40B4-BE49-F238E27FC236}">
                <a16:creationId xmlns:a16="http://schemas.microsoft.com/office/drawing/2014/main" id="{A140D34F-8DC8-4A25-A887-2C0BD375DBC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172736" y="0"/>
            <a:ext cx="3019264" cy="6858000"/>
          </a:xfrm>
          <a:prstGeom prst="rect">
            <a:avLst/>
          </a:prstGeom>
        </p:spPr>
      </p:pic>
      <p:pic>
        <p:nvPicPr>
          <p:cNvPr id="10" name="Picture 9">
            <a:extLst>
              <a:ext uri="{FF2B5EF4-FFF2-40B4-BE49-F238E27FC236}">
                <a16:creationId xmlns:a16="http://schemas.microsoft.com/office/drawing/2014/main" id="{1ABD7A70-0503-4F3A-B752-D449A9B672A6}"/>
              </a:ext>
            </a:extLst>
          </p:cNvPr>
          <p:cNvPicPr>
            <a:picLocks noChangeAspect="1"/>
          </p:cNvPicPr>
          <p:nvPr/>
        </p:nvPicPr>
        <p:blipFill rotWithShape="1">
          <a:blip r:embed="rId6" cstate="print">
            <a:extLst>
              <a:ext uri="{BEBA8EAE-BF5A-486C-A8C5-ECC9F3942E4B}">
                <a14:imgProps xmlns:a14="http://schemas.microsoft.com/office/drawing/2010/main">
                  <a14:imgLayer r:embed="rId7">
                    <a14:imgEffect>
                      <a14:brightnessContrast bright="-9000"/>
                    </a14:imgEffect>
                  </a14:imgLayer>
                </a14:imgProps>
              </a:ext>
              <a:ext uri="{28A0092B-C50C-407E-A947-70E740481C1C}">
                <a14:useLocalDpi xmlns:a14="http://schemas.microsoft.com/office/drawing/2010/main"/>
              </a:ext>
            </a:extLst>
          </a:blip>
          <a:srcRect t="-46"/>
          <a:stretch/>
        </p:blipFill>
        <p:spPr>
          <a:xfrm>
            <a:off x="0" y="0"/>
            <a:ext cx="3019264" cy="6858000"/>
          </a:xfrm>
          <a:prstGeom prst="rect">
            <a:avLst/>
          </a:prstGeom>
        </p:spPr>
      </p:pic>
      <p:pic>
        <p:nvPicPr>
          <p:cNvPr id="5" name="Picture 4">
            <a:extLst>
              <a:ext uri="{FF2B5EF4-FFF2-40B4-BE49-F238E27FC236}">
                <a16:creationId xmlns:a16="http://schemas.microsoft.com/office/drawing/2014/main" id="{C1E10D52-0284-4237-B28D-A4AE70910EF0}"/>
              </a:ext>
            </a:extLst>
          </p:cNvPr>
          <p:cNvPicPr>
            <a:picLocks noChangeAspect="1"/>
          </p:cNvPicPr>
          <p:nvPr/>
        </p:nvPicPr>
        <p:blipFill rotWithShape="1">
          <a:blip r:embed="rId8" cstate="print">
            <a:extLst>
              <a:ext uri="{BEBA8EAE-BF5A-486C-A8C5-ECC9F3942E4B}">
                <a14:imgProps xmlns:a14="http://schemas.microsoft.com/office/drawing/2010/main">
                  <a14:imgLayer r:embed="rId9">
                    <a14:imgEffect>
                      <a14:brightnessContrast bright="6000"/>
                    </a14:imgEffect>
                  </a14:imgLayer>
                </a14:imgProps>
              </a:ext>
              <a:ext uri="{28A0092B-C50C-407E-A947-70E740481C1C}">
                <a14:useLocalDpi xmlns:a14="http://schemas.microsoft.com/office/drawing/2010/main"/>
              </a:ext>
            </a:extLst>
          </a:blip>
          <a:srcRect/>
          <a:stretch/>
        </p:blipFill>
        <p:spPr>
          <a:xfrm>
            <a:off x="3060266" y="0"/>
            <a:ext cx="3019264" cy="6858000"/>
          </a:xfrm>
          <a:prstGeom prst="rect">
            <a:avLst/>
          </a:prstGeom>
        </p:spPr>
      </p:pic>
      <p:sp>
        <p:nvSpPr>
          <p:cNvPr id="19" name="Title 1">
            <a:extLst>
              <a:ext uri="{FF2B5EF4-FFF2-40B4-BE49-F238E27FC236}">
                <a16:creationId xmlns:a16="http://schemas.microsoft.com/office/drawing/2014/main" id="{C6092F4A-F51B-410C-A3BA-EFC705EE0D00}"/>
              </a:ext>
            </a:extLst>
          </p:cNvPr>
          <p:cNvSpPr txBox="1">
            <a:spLocks/>
          </p:cNvSpPr>
          <p:nvPr/>
        </p:nvSpPr>
        <p:spPr bwMode="gray">
          <a:xfrm>
            <a:off x="333264" y="316917"/>
            <a:ext cx="2754993" cy="3732995"/>
          </a:xfrm>
          <a:prstGeom prst="rect">
            <a:avLst/>
          </a:prstGeom>
        </p:spPr>
        <p:txBody>
          <a:bodyPr vert="horz" lIns="0" tIns="0" rIns="0" bIns="0" rtlCol="0" anchor="t">
            <a:noAutofit/>
          </a:bodyPr>
          <a:lstStyle>
            <a:lvl1pPr algn="l" defTabSz="914491" rtl="0" eaLnBrk="1" latinLnBrk="0" hangingPunct="1">
              <a:spcBef>
                <a:spcPct val="0"/>
              </a:spcBef>
              <a:buNone/>
              <a:defRPr sz="2400" b="1" kern="1200">
                <a:solidFill>
                  <a:schemeClr val="tx1"/>
                </a:solidFill>
                <a:latin typeface="+mj-lt"/>
                <a:ea typeface="+mj-ea"/>
                <a:cs typeface="+mj-cs"/>
              </a:defRPr>
            </a:lvl1pPr>
          </a:lstStyle>
          <a:p>
            <a:br>
              <a:rPr lang="en-US" dirty="0">
                <a:solidFill>
                  <a:schemeClr val="bg2"/>
                </a:solidFill>
                <a:latin typeface="ABBvoice" panose="020D0603020503020204" pitchFamily="34" charset="0"/>
                <a:ea typeface="ABBvoice" panose="020D0603020503020204" pitchFamily="34" charset="0"/>
                <a:cs typeface="ABBvoice" panose="020D0603020503020204" pitchFamily="34" charset="0"/>
              </a:rPr>
            </a:br>
            <a:r>
              <a:rPr lang="en-US" dirty="0">
                <a:solidFill>
                  <a:schemeClr val="bg1"/>
                </a:solidFill>
              </a:rPr>
              <a:t>ABB has been </a:t>
            </a:r>
            <a:br>
              <a:rPr lang="en-US" dirty="0">
                <a:solidFill>
                  <a:schemeClr val="bg1"/>
                </a:solidFill>
              </a:rPr>
            </a:br>
            <a:r>
              <a:rPr lang="en-US" dirty="0">
                <a:solidFill>
                  <a:schemeClr val="bg1"/>
                </a:solidFill>
              </a:rPr>
              <a:t>pushing the </a:t>
            </a:r>
            <a:br>
              <a:rPr lang="en-US" dirty="0">
                <a:solidFill>
                  <a:schemeClr val="bg1"/>
                </a:solidFill>
              </a:rPr>
            </a:br>
            <a:r>
              <a:rPr lang="en-US" dirty="0">
                <a:solidFill>
                  <a:schemeClr val="bg1"/>
                </a:solidFill>
              </a:rPr>
              <a:t>boundaries </a:t>
            </a:r>
            <a:br>
              <a:rPr lang="en-US" dirty="0">
                <a:solidFill>
                  <a:schemeClr val="bg1"/>
                </a:solidFill>
              </a:rPr>
            </a:br>
            <a:r>
              <a:rPr lang="en-US" dirty="0">
                <a:solidFill>
                  <a:schemeClr val="bg1"/>
                </a:solidFill>
              </a:rPr>
              <a:t>of technology for +140 years</a:t>
            </a:r>
            <a:endParaRPr lang="en-US" dirty="0">
              <a:solidFill>
                <a:schemeClr val="bg1"/>
              </a:solidFill>
              <a:latin typeface="+mn-lt"/>
              <a:ea typeface="ABBvoice Light" panose="020D0403020503020204" pitchFamily="34" charset="0"/>
              <a:cs typeface="ABBvoice Light" panose="020D0403020503020204" pitchFamily="34" charset="0"/>
            </a:endParaRPr>
          </a:p>
        </p:txBody>
      </p:sp>
      <p:pic>
        <p:nvPicPr>
          <p:cNvPr id="20" name="Picture 19">
            <a:extLst>
              <a:ext uri="{FF2B5EF4-FFF2-40B4-BE49-F238E27FC236}">
                <a16:creationId xmlns:a16="http://schemas.microsoft.com/office/drawing/2014/main" id="{8B01ABD9-135B-4CD4-9D39-0FA38544FC25}"/>
              </a:ext>
            </a:extLst>
          </p:cNvPr>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2" name="object 2">
            <a:extLst>
              <a:ext uri="{FF2B5EF4-FFF2-40B4-BE49-F238E27FC236}">
                <a16:creationId xmlns:a16="http://schemas.microsoft.com/office/drawing/2014/main" id="{EE10BE40-C83A-0297-765A-8BE808325039}"/>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Tree>
    <p:extLst>
      <p:ext uri="{BB962C8B-B14F-4D97-AF65-F5344CB8AC3E}">
        <p14:creationId xmlns:p14="http://schemas.microsoft.com/office/powerpoint/2010/main" val="3363136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0" y="0"/>
            <a:ext cx="12188951" cy="6857997"/>
          </a:xfrm>
          <a:prstGeom prst="rect">
            <a:avLst/>
          </a:prstGeom>
        </p:spPr>
      </p:pic>
      <p:sp>
        <p:nvSpPr>
          <p:cNvPr id="4" name="object 4"/>
          <p:cNvSpPr txBox="1">
            <a:spLocks noGrp="1"/>
          </p:cNvSpPr>
          <p:nvPr>
            <p:ph type="title"/>
          </p:nvPr>
        </p:nvSpPr>
        <p:spPr>
          <a:xfrm>
            <a:off x="6728206" y="659079"/>
            <a:ext cx="2625725" cy="391795"/>
          </a:xfrm>
          <a:prstGeom prst="rect">
            <a:avLst/>
          </a:prstGeom>
        </p:spPr>
        <p:txBody>
          <a:bodyPr vert="horz" wrap="square" lIns="0" tIns="12700" rIns="0" bIns="0" rtlCol="0">
            <a:spAutoFit/>
          </a:bodyPr>
          <a:lstStyle/>
          <a:p>
            <a:pPr marL="12700">
              <a:lnSpc>
                <a:spcPct val="100000"/>
              </a:lnSpc>
              <a:spcBef>
                <a:spcPts val="100"/>
              </a:spcBef>
            </a:pPr>
            <a:r>
              <a:rPr sz="2400" b="1" dirty="0">
                <a:solidFill>
                  <a:srgbClr val="FFFFFF"/>
                </a:solidFill>
                <a:latin typeface="ABBvoice"/>
                <a:cs typeface="ABBvoice"/>
              </a:rPr>
              <a:t>ABB</a:t>
            </a:r>
            <a:r>
              <a:rPr sz="2400" b="1" spc="-25" dirty="0">
                <a:solidFill>
                  <a:srgbClr val="FFFFFF"/>
                </a:solidFill>
                <a:latin typeface="ABBvoice"/>
                <a:cs typeface="ABBvoice"/>
              </a:rPr>
              <a:t> </a:t>
            </a:r>
            <a:r>
              <a:rPr sz="2400" b="1" dirty="0">
                <a:solidFill>
                  <a:srgbClr val="FFFFFF"/>
                </a:solidFill>
                <a:latin typeface="ABBvoice"/>
                <a:cs typeface="ABBvoice"/>
              </a:rPr>
              <a:t>Way</a:t>
            </a:r>
            <a:r>
              <a:rPr sz="2400" b="1" spc="-20" dirty="0">
                <a:solidFill>
                  <a:srgbClr val="FFFFFF"/>
                </a:solidFill>
                <a:latin typeface="ABBvoice"/>
                <a:cs typeface="ABBvoice"/>
              </a:rPr>
              <a:t> </a:t>
            </a:r>
            <a:r>
              <a:rPr lang="en-US" sz="2400" b="1" spc="-10" dirty="0">
                <a:solidFill>
                  <a:srgbClr val="FFFFFF"/>
                </a:solidFill>
                <a:latin typeface="ABBvoice"/>
                <a:cs typeface="ABBvoice"/>
              </a:rPr>
              <a:t>F</a:t>
            </a:r>
            <a:r>
              <a:rPr sz="2400" b="1" spc="-10" dirty="0">
                <a:solidFill>
                  <a:srgbClr val="FFFFFF"/>
                </a:solidFill>
                <a:latin typeface="ABBvoice"/>
                <a:cs typeface="ABBvoice"/>
              </a:rPr>
              <a:t>orward</a:t>
            </a:r>
            <a:endParaRPr sz="2400" dirty="0">
              <a:latin typeface="ABBvoice"/>
              <a:cs typeface="ABBvoice"/>
            </a:endParaRPr>
          </a:p>
        </p:txBody>
      </p:sp>
      <p:sp>
        <p:nvSpPr>
          <p:cNvPr id="5" name="object 5"/>
          <p:cNvSpPr txBox="1"/>
          <p:nvPr/>
        </p:nvSpPr>
        <p:spPr>
          <a:xfrm>
            <a:off x="6728206" y="1080659"/>
            <a:ext cx="5415280" cy="5520486"/>
          </a:xfrm>
          <a:prstGeom prst="rect">
            <a:avLst/>
          </a:prstGeom>
        </p:spPr>
        <p:txBody>
          <a:bodyPr vert="horz" wrap="square" lIns="0" tIns="13335" rIns="0" bIns="0" rtlCol="0">
            <a:spAutoFit/>
          </a:bodyPr>
          <a:lstStyle/>
          <a:p>
            <a:pPr marL="12700" marR="231140">
              <a:lnSpc>
                <a:spcPct val="125200"/>
              </a:lnSpc>
              <a:spcBef>
                <a:spcPts val="105"/>
              </a:spcBef>
            </a:pPr>
            <a:r>
              <a:rPr sz="1800" dirty="0">
                <a:solidFill>
                  <a:srgbClr val="FFFFFF"/>
                </a:solidFill>
                <a:latin typeface="ABBvoice"/>
                <a:cs typeface="ABBvoice"/>
              </a:rPr>
              <a:t>Following</a:t>
            </a:r>
            <a:r>
              <a:rPr sz="1800" spc="-15" dirty="0">
                <a:solidFill>
                  <a:srgbClr val="FFFFFF"/>
                </a:solidFill>
                <a:latin typeface="ABBvoice"/>
                <a:cs typeface="ABBvoice"/>
              </a:rPr>
              <a:t> </a:t>
            </a:r>
            <a:r>
              <a:rPr sz="1800" dirty="0">
                <a:solidFill>
                  <a:srgbClr val="FFFFFF"/>
                </a:solidFill>
                <a:latin typeface="ABBvoice"/>
                <a:cs typeface="ABBvoice"/>
              </a:rPr>
              <a:t>our</a:t>
            </a:r>
            <a:r>
              <a:rPr sz="1800" spc="10" dirty="0">
                <a:solidFill>
                  <a:srgbClr val="FFFFFF"/>
                </a:solidFill>
                <a:latin typeface="ABBvoice"/>
                <a:cs typeface="ABBvoice"/>
              </a:rPr>
              <a:t> </a:t>
            </a:r>
            <a:r>
              <a:rPr sz="1800" dirty="0">
                <a:solidFill>
                  <a:srgbClr val="FFFFFF"/>
                </a:solidFill>
                <a:latin typeface="ABBvoice"/>
                <a:cs typeface="ABBvoice"/>
              </a:rPr>
              <a:t>purpose</a:t>
            </a:r>
            <a:r>
              <a:rPr sz="1800" spc="10" dirty="0">
                <a:solidFill>
                  <a:srgbClr val="FFFFFF"/>
                </a:solidFill>
                <a:latin typeface="ABBvoice"/>
                <a:cs typeface="ABBvoice"/>
              </a:rPr>
              <a:t> </a:t>
            </a:r>
            <a:r>
              <a:rPr sz="1800" dirty="0">
                <a:solidFill>
                  <a:srgbClr val="FFFFFF"/>
                </a:solidFill>
                <a:latin typeface="ABBvoice"/>
                <a:cs typeface="ABBvoice"/>
              </a:rPr>
              <a:t>and</a:t>
            </a:r>
            <a:r>
              <a:rPr sz="1800" spc="-5" dirty="0">
                <a:solidFill>
                  <a:srgbClr val="FFFFFF"/>
                </a:solidFill>
                <a:latin typeface="ABBvoice"/>
                <a:cs typeface="ABBvoice"/>
              </a:rPr>
              <a:t> </a:t>
            </a:r>
            <a:r>
              <a:rPr sz="1800" dirty="0">
                <a:solidFill>
                  <a:srgbClr val="FFFFFF"/>
                </a:solidFill>
                <a:latin typeface="ABBvoice"/>
                <a:cs typeface="ABBvoice"/>
              </a:rPr>
              <a:t>leveraging</a:t>
            </a:r>
            <a:r>
              <a:rPr sz="1800" spc="40" dirty="0">
                <a:solidFill>
                  <a:srgbClr val="FFFFFF"/>
                </a:solidFill>
                <a:latin typeface="ABBvoice"/>
                <a:cs typeface="ABBvoice"/>
              </a:rPr>
              <a:t> </a:t>
            </a:r>
            <a:r>
              <a:rPr sz="1800" spc="-25" dirty="0">
                <a:solidFill>
                  <a:srgbClr val="FFFFFF"/>
                </a:solidFill>
                <a:latin typeface="ABBvoice"/>
                <a:cs typeface="ABBvoice"/>
              </a:rPr>
              <a:t>our </a:t>
            </a:r>
            <a:r>
              <a:rPr sz="1800" dirty="0">
                <a:solidFill>
                  <a:srgbClr val="FFFFFF"/>
                </a:solidFill>
                <a:latin typeface="ABBvoice"/>
                <a:cs typeface="ABBvoice"/>
              </a:rPr>
              <a:t>strong</a:t>
            </a:r>
            <a:r>
              <a:rPr sz="1800" spc="400" dirty="0">
                <a:solidFill>
                  <a:srgbClr val="FFFFFF"/>
                </a:solidFill>
                <a:latin typeface="ABBvoice"/>
                <a:cs typeface="ABBvoice"/>
              </a:rPr>
              <a:t> </a:t>
            </a:r>
            <a:r>
              <a:rPr sz="1800" dirty="0">
                <a:solidFill>
                  <a:srgbClr val="FFFFFF"/>
                </a:solidFill>
                <a:latin typeface="ABBvoice"/>
                <a:cs typeface="ABBvoice"/>
              </a:rPr>
              <a:t>positions</a:t>
            </a:r>
            <a:r>
              <a:rPr sz="1800" spc="-10" dirty="0">
                <a:solidFill>
                  <a:srgbClr val="FFFFFF"/>
                </a:solidFill>
                <a:latin typeface="ABBvoice"/>
                <a:cs typeface="ABBvoice"/>
              </a:rPr>
              <a:t> </a:t>
            </a:r>
            <a:r>
              <a:rPr sz="1800" dirty="0">
                <a:solidFill>
                  <a:srgbClr val="FFFFFF"/>
                </a:solidFill>
                <a:latin typeface="ABBvoice"/>
                <a:cs typeface="ABBvoice"/>
              </a:rPr>
              <a:t>in</a:t>
            </a:r>
            <a:r>
              <a:rPr sz="1800" spc="-35" dirty="0">
                <a:solidFill>
                  <a:srgbClr val="FFFFFF"/>
                </a:solidFill>
                <a:latin typeface="ABBvoice"/>
                <a:cs typeface="ABBvoice"/>
              </a:rPr>
              <a:t> </a:t>
            </a:r>
            <a:r>
              <a:rPr sz="1800" dirty="0">
                <a:solidFill>
                  <a:srgbClr val="FFFFFF"/>
                </a:solidFill>
                <a:latin typeface="ABBvoice"/>
                <a:cs typeface="ABBvoice"/>
              </a:rPr>
              <a:t>Electrification,</a:t>
            </a:r>
            <a:r>
              <a:rPr sz="1800" spc="45" dirty="0">
                <a:solidFill>
                  <a:srgbClr val="FFFFFF"/>
                </a:solidFill>
                <a:latin typeface="ABBvoice"/>
                <a:cs typeface="ABBvoice"/>
              </a:rPr>
              <a:t> </a:t>
            </a:r>
            <a:r>
              <a:rPr sz="1800" spc="-10" dirty="0">
                <a:solidFill>
                  <a:srgbClr val="FFFFFF"/>
                </a:solidFill>
                <a:latin typeface="ABBvoice"/>
                <a:cs typeface="ABBvoice"/>
              </a:rPr>
              <a:t>Motion, </a:t>
            </a:r>
            <a:r>
              <a:rPr sz="1800" dirty="0">
                <a:solidFill>
                  <a:srgbClr val="FFFFFF"/>
                </a:solidFill>
                <a:latin typeface="ABBvoice"/>
                <a:cs typeface="ABBvoice"/>
              </a:rPr>
              <a:t>Process</a:t>
            </a:r>
            <a:r>
              <a:rPr sz="1800" spc="-5" dirty="0">
                <a:solidFill>
                  <a:srgbClr val="FFFFFF"/>
                </a:solidFill>
                <a:latin typeface="ABBvoice"/>
                <a:cs typeface="ABBvoice"/>
              </a:rPr>
              <a:t> </a:t>
            </a:r>
            <a:r>
              <a:rPr sz="1800" dirty="0">
                <a:solidFill>
                  <a:srgbClr val="FFFFFF"/>
                </a:solidFill>
                <a:latin typeface="ABBvoice"/>
                <a:cs typeface="ABBvoice"/>
              </a:rPr>
              <a:t>Automation</a:t>
            </a:r>
            <a:r>
              <a:rPr sz="1800" spc="15" dirty="0">
                <a:solidFill>
                  <a:srgbClr val="FFFFFF"/>
                </a:solidFill>
                <a:latin typeface="ABBvoice"/>
                <a:cs typeface="ABBvoice"/>
              </a:rPr>
              <a:t> </a:t>
            </a:r>
            <a:r>
              <a:rPr sz="1800" dirty="0">
                <a:solidFill>
                  <a:srgbClr val="FFFFFF"/>
                </a:solidFill>
                <a:latin typeface="ABBvoice"/>
                <a:cs typeface="ABBvoice"/>
              </a:rPr>
              <a:t>and</a:t>
            </a:r>
            <a:r>
              <a:rPr sz="1800" spc="-5" dirty="0">
                <a:solidFill>
                  <a:srgbClr val="FFFFFF"/>
                </a:solidFill>
                <a:latin typeface="ABBvoice"/>
                <a:cs typeface="ABBvoice"/>
              </a:rPr>
              <a:t> </a:t>
            </a:r>
            <a:r>
              <a:rPr sz="1800" dirty="0">
                <a:solidFill>
                  <a:srgbClr val="FFFFFF"/>
                </a:solidFill>
                <a:latin typeface="ABBvoice"/>
                <a:cs typeface="ABBvoice"/>
              </a:rPr>
              <a:t>Robotics</a:t>
            </a:r>
            <a:r>
              <a:rPr sz="1800" spc="5" dirty="0">
                <a:solidFill>
                  <a:srgbClr val="FFFFFF"/>
                </a:solidFill>
                <a:latin typeface="ABBvoice"/>
                <a:cs typeface="ABBvoice"/>
              </a:rPr>
              <a:t> </a:t>
            </a:r>
            <a:r>
              <a:rPr sz="1800" dirty="0">
                <a:solidFill>
                  <a:srgbClr val="FFFFFF"/>
                </a:solidFill>
                <a:latin typeface="ABBvoice"/>
                <a:cs typeface="ABBvoice"/>
              </a:rPr>
              <a:t>&amp;</a:t>
            </a:r>
            <a:r>
              <a:rPr sz="1800" spc="-5" dirty="0">
                <a:solidFill>
                  <a:srgbClr val="FFFFFF"/>
                </a:solidFill>
                <a:latin typeface="ABBvoice"/>
                <a:cs typeface="ABBvoice"/>
              </a:rPr>
              <a:t> </a:t>
            </a:r>
            <a:r>
              <a:rPr sz="1800" spc="-10" dirty="0">
                <a:solidFill>
                  <a:srgbClr val="FFFFFF"/>
                </a:solidFill>
                <a:latin typeface="ABBvoice"/>
                <a:cs typeface="ABBvoice"/>
              </a:rPr>
              <a:t>Discrete </a:t>
            </a:r>
            <a:r>
              <a:rPr sz="1800" dirty="0">
                <a:solidFill>
                  <a:srgbClr val="FFFFFF"/>
                </a:solidFill>
                <a:latin typeface="ABBvoice"/>
                <a:cs typeface="ABBvoice"/>
              </a:rPr>
              <a:t>Automation,</a:t>
            </a:r>
            <a:r>
              <a:rPr sz="1800" spc="5" dirty="0">
                <a:solidFill>
                  <a:srgbClr val="FFFFFF"/>
                </a:solidFill>
                <a:latin typeface="ABBvoice"/>
                <a:cs typeface="ABBvoice"/>
              </a:rPr>
              <a:t> </a:t>
            </a:r>
            <a:r>
              <a:rPr sz="1800" dirty="0">
                <a:solidFill>
                  <a:srgbClr val="FFFFFF"/>
                </a:solidFill>
                <a:latin typeface="ABBvoice"/>
                <a:cs typeface="ABBvoice"/>
              </a:rPr>
              <a:t>we</a:t>
            </a:r>
            <a:r>
              <a:rPr sz="1800" spc="-15" dirty="0">
                <a:solidFill>
                  <a:srgbClr val="FFFFFF"/>
                </a:solidFill>
                <a:latin typeface="ABBvoice"/>
                <a:cs typeface="ABBvoice"/>
              </a:rPr>
              <a:t> </a:t>
            </a:r>
            <a:r>
              <a:rPr sz="1800" dirty="0">
                <a:solidFill>
                  <a:srgbClr val="FFFFFF"/>
                </a:solidFill>
                <a:latin typeface="ABBvoice"/>
                <a:cs typeface="ABBvoice"/>
              </a:rPr>
              <a:t>aim</a:t>
            </a:r>
            <a:r>
              <a:rPr sz="1800" spc="-25" dirty="0">
                <a:solidFill>
                  <a:srgbClr val="FFFFFF"/>
                </a:solidFill>
                <a:latin typeface="ABBvoice"/>
                <a:cs typeface="ABBvoice"/>
              </a:rPr>
              <a:t> </a:t>
            </a:r>
            <a:r>
              <a:rPr sz="1800" dirty="0">
                <a:solidFill>
                  <a:srgbClr val="FFFFFF"/>
                </a:solidFill>
                <a:latin typeface="ABBvoice"/>
                <a:cs typeface="ABBvoice"/>
              </a:rPr>
              <a:t>to</a:t>
            </a:r>
            <a:r>
              <a:rPr sz="1800" spc="-10" dirty="0">
                <a:solidFill>
                  <a:srgbClr val="FFFFFF"/>
                </a:solidFill>
                <a:latin typeface="ABBvoice"/>
                <a:cs typeface="ABBvoice"/>
              </a:rPr>
              <a:t> </a:t>
            </a:r>
            <a:r>
              <a:rPr sz="1800" dirty="0">
                <a:solidFill>
                  <a:srgbClr val="FFFFFF"/>
                </a:solidFill>
                <a:latin typeface="ABBvoice"/>
                <a:cs typeface="ABBvoice"/>
              </a:rPr>
              <a:t>create</a:t>
            </a:r>
            <a:r>
              <a:rPr sz="1800" spc="30" dirty="0">
                <a:solidFill>
                  <a:srgbClr val="FFFFFF"/>
                </a:solidFill>
                <a:latin typeface="ABBvoice"/>
                <a:cs typeface="ABBvoice"/>
              </a:rPr>
              <a:t> </a:t>
            </a:r>
            <a:r>
              <a:rPr sz="1800" dirty="0">
                <a:solidFill>
                  <a:srgbClr val="FFFFFF"/>
                </a:solidFill>
                <a:latin typeface="ABBvoice"/>
                <a:cs typeface="ABBvoice"/>
              </a:rPr>
              <a:t>superior</a:t>
            </a:r>
            <a:r>
              <a:rPr sz="1800" spc="25" dirty="0">
                <a:solidFill>
                  <a:srgbClr val="FFFFFF"/>
                </a:solidFill>
                <a:latin typeface="ABBvoice"/>
                <a:cs typeface="ABBvoice"/>
              </a:rPr>
              <a:t> </a:t>
            </a:r>
            <a:r>
              <a:rPr sz="1800" dirty="0">
                <a:solidFill>
                  <a:srgbClr val="FFFFFF"/>
                </a:solidFill>
                <a:latin typeface="ABBvoice"/>
                <a:cs typeface="ABBvoice"/>
              </a:rPr>
              <a:t>value</a:t>
            </a:r>
            <a:r>
              <a:rPr sz="1800" spc="-15" dirty="0">
                <a:solidFill>
                  <a:srgbClr val="FFFFFF"/>
                </a:solidFill>
                <a:latin typeface="ABBvoice"/>
                <a:cs typeface="ABBvoice"/>
              </a:rPr>
              <a:t> </a:t>
            </a:r>
            <a:r>
              <a:rPr sz="1800" spc="-25" dirty="0">
                <a:solidFill>
                  <a:srgbClr val="FFFFFF"/>
                </a:solidFill>
                <a:latin typeface="ABBvoice"/>
                <a:cs typeface="ABBvoice"/>
              </a:rPr>
              <a:t>for</a:t>
            </a:r>
            <a:endParaRPr sz="1800" dirty="0">
              <a:latin typeface="ABBvoice"/>
              <a:cs typeface="ABBvoice"/>
            </a:endParaRPr>
          </a:p>
          <a:p>
            <a:pPr marL="12700">
              <a:lnSpc>
                <a:spcPct val="100000"/>
              </a:lnSpc>
              <a:spcBef>
                <a:spcPts val="530"/>
              </a:spcBef>
            </a:pPr>
            <a:r>
              <a:rPr sz="1800" dirty="0">
                <a:solidFill>
                  <a:srgbClr val="FFFFFF"/>
                </a:solidFill>
                <a:latin typeface="ABBvoice"/>
                <a:cs typeface="ABBvoice"/>
              </a:rPr>
              <a:t>all</a:t>
            </a:r>
            <a:r>
              <a:rPr sz="1800" spc="-15" dirty="0">
                <a:solidFill>
                  <a:srgbClr val="FFFFFF"/>
                </a:solidFill>
                <a:latin typeface="ABBvoice"/>
                <a:cs typeface="ABBvoice"/>
              </a:rPr>
              <a:t> </a:t>
            </a:r>
            <a:r>
              <a:rPr sz="1800" dirty="0">
                <a:solidFill>
                  <a:srgbClr val="FFFFFF"/>
                </a:solidFill>
                <a:latin typeface="ABBvoice"/>
                <a:cs typeface="ABBvoice"/>
              </a:rPr>
              <a:t>our</a:t>
            </a:r>
            <a:r>
              <a:rPr sz="1800" spc="-5" dirty="0">
                <a:solidFill>
                  <a:srgbClr val="FFFFFF"/>
                </a:solidFill>
                <a:latin typeface="ABBvoice"/>
                <a:cs typeface="ABBvoice"/>
              </a:rPr>
              <a:t> </a:t>
            </a:r>
            <a:r>
              <a:rPr sz="1800" dirty="0">
                <a:solidFill>
                  <a:srgbClr val="FFFFFF"/>
                </a:solidFill>
                <a:latin typeface="ABBvoice"/>
                <a:cs typeface="ABBvoice"/>
              </a:rPr>
              <a:t>stakeholders.</a:t>
            </a:r>
            <a:r>
              <a:rPr sz="1800" spc="45" dirty="0">
                <a:solidFill>
                  <a:srgbClr val="FFFFFF"/>
                </a:solidFill>
                <a:latin typeface="ABBvoice"/>
                <a:cs typeface="ABBvoice"/>
              </a:rPr>
              <a:t> </a:t>
            </a:r>
            <a:r>
              <a:rPr sz="1800" dirty="0">
                <a:solidFill>
                  <a:srgbClr val="FFFFFF"/>
                </a:solidFill>
                <a:latin typeface="ABBvoice"/>
                <a:cs typeface="ABBvoice"/>
              </a:rPr>
              <a:t>With</a:t>
            </a:r>
            <a:r>
              <a:rPr sz="1800" spc="-5" dirty="0">
                <a:solidFill>
                  <a:srgbClr val="FFFFFF"/>
                </a:solidFill>
                <a:latin typeface="ABBvoice"/>
                <a:cs typeface="ABBvoice"/>
              </a:rPr>
              <a:t> </a:t>
            </a:r>
            <a:r>
              <a:rPr sz="1800" dirty="0">
                <a:solidFill>
                  <a:srgbClr val="FFFFFF"/>
                </a:solidFill>
                <a:latin typeface="ABBvoice"/>
                <a:cs typeface="ABBvoice"/>
              </a:rPr>
              <a:t>our</a:t>
            </a:r>
            <a:r>
              <a:rPr sz="1800" spc="-5" dirty="0">
                <a:solidFill>
                  <a:srgbClr val="FFFFFF"/>
                </a:solidFill>
                <a:latin typeface="ABBvoice"/>
                <a:cs typeface="ABBvoice"/>
              </a:rPr>
              <a:t> </a:t>
            </a:r>
            <a:r>
              <a:rPr sz="1800" dirty="0">
                <a:solidFill>
                  <a:srgbClr val="FFFFFF"/>
                </a:solidFill>
                <a:latin typeface="ABBvoice"/>
                <a:cs typeface="ABBvoice"/>
              </a:rPr>
              <a:t>purpose</a:t>
            </a:r>
            <a:r>
              <a:rPr sz="1800" spc="40" dirty="0">
                <a:solidFill>
                  <a:srgbClr val="FFFFFF"/>
                </a:solidFill>
                <a:latin typeface="ABBvoice"/>
                <a:cs typeface="ABBvoice"/>
              </a:rPr>
              <a:t> </a:t>
            </a:r>
            <a:r>
              <a:rPr sz="1800" dirty="0">
                <a:solidFill>
                  <a:srgbClr val="FFFFFF"/>
                </a:solidFill>
                <a:latin typeface="ABBvoice"/>
                <a:cs typeface="ABBvoice"/>
              </a:rPr>
              <a:t>at</a:t>
            </a:r>
            <a:r>
              <a:rPr sz="1800" spc="-25" dirty="0">
                <a:solidFill>
                  <a:srgbClr val="FFFFFF"/>
                </a:solidFill>
                <a:latin typeface="ABBvoice"/>
                <a:cs typeface="ABBvoice"/>
              </a:rPr>
              <a:t> </a:t>
            </a:r>
            <a:r>
              <a:rPr sz="1800" dirty="0">
                <a:solidFill>
                  <a:srgbClr val="FFFFFF"/>
                </a:solidFill>
                <a:latin typeface="ABBvoice"/>
                <a:cs typeface="ABBvoice"/>
              </a:rPr>
              <a:t>its</a:t>
            </a:r>
            <a:r>
              <a:rPr sz="1800" spc="-10" dirty="0">
                <a:solidFill>
                  <a:srgbClr val="FFFFFF"/>
                </a:solidFill>
                <a:latin typeface="ABBvoice"/>
                <a:cs typeface="ABBvoice"/>
              </a:rPr>
              <a:t> </a:t>
            </a:r>
            <a:r>
              <a:rPr sz="1800" spc="-20" dirty="0">
                <a:solidFill>
                  <a:srgbClr val="FFFFFF"/>
                </a:solidFill>
                <a:latin typeface="ABBvoice"/>
                <a:cs typeface="ABBvoice"/>
              </a:rPr>
              <a:t>core,</a:t>
            </a:r>
            <a:endParaRPr sz="1800" dirty="0">
              <a:latin typeface="ABBvoice"/>
              <a:cs typeface="ABBvoice"/>
            </a:endParaRPr>
          </a:p>
          <a:p>
            <a:pPr marL="12700">
              <a:lnSpc>
                <a:spcPct val="100000"/>
              </a:lnSpc>
              <a:spcBef>
                <a:spcPts val="550"/>
              </a:spcBef>
            </a:pPr>
            <a:r>
              <a:rPr sz="1800" dirty="0">
                <a:solidFill>
                  <a:srgbClr val="FFFFFF"/>
                </a:solidFill>
                <a:latin typeface="ABBvoice"/>
                <a:cs typeface="ABBvoice"/>
              </a:rPr>
              <a:t>the</a:t>
            </a:r>
            <a:r>
              <a:rPr sz="1800" spc="-15" dirty="0">
                <a:solidFill>
                  <a:srgbClr val="FFFFFF"/>
                </a:solidFill>
                <a:latin typeface="ABBvoice"/>
                <a:cs typeface="ABBvoice"/>
              </a:rPr>
              <a:t> </a:t>
            </a:r>
            <a:r>
              <a:rPr sz="1800" dirty="0">
                <a:solidFill>
                  <a:srgbClr val="FFFFFF"/>
                </a:solidFill>
                <a:latin typeface="ABBvoice"/>
                <a:cs typeface="ABBvoice"/>
              </a:rPr>
              <a:t>way</a:t>
            </a:r>
            <a:r>
              <a:rPr sz="1800" spc="-10" dirty="0">
                <a:solidFill>
                  <a:srgbClr val="FFFFFF"/>
                </a:solidFill>
                <a:latin typeface="ABBvoice"/>
                <a:cs typeface="ABBvoice"/>
              </a:rPr>
              <a:t> </a:t>
            </a:r>
            <a:r>
              <a:rPr sz="1800" dirty="0">
                <a:solidFill>
                  <a:srgbClr val="FFFFFF"/>
                </a:solidFill>
                <a:latin typeface="ABBvoice"/>
                <a:cs typeface="ABBvoice"/>
              </a:rPr>
              <a:t>we</a:t>
            </a:r>
            <a:r>
              <a:rPr sz="1800" spc="-5" dirty="0">
                <a:solidFill>
                  <a:srgbClr val="FFFFFF"/>
                </a:solidFill>
                <a:latin typeface="ABBvoice"/>
                <a:cs typeface="ABBvoice"/>
              </a:rPr>
              <a:t> </a:t>
            </a:r>
            <a:r>
              <a:rPr sz="1800" dirty="0">
                <a:solidFill>
                  <a:srgbClr val="FFFFFF"/>
                </a:solidFill>
                <a:latin typeface="ABBvoice"/>
                <a:cs typeface="ABBvoice"/>
              </a:rPr>
              <a:t>operate</a:t>
            </a:r>
            <a:r>
              <a:rPr sz="1800" spc="55" dirty="0">
                <a:solidFill>
                  <a:srgbClr val="FFFFFF"/>
                </a:solidFill>
                <a:latin typeface="ABBvoice"/>
                <a:cs typeface="ABBvoice"/>
              </a:rPr>
              <a:t> </a:t>
            </a:r>
            <a:r>
              <a:rPr sz="1800" dirty="0">
                <a:solidFill>
                  <a:srgbClr val="FFFFFF"/>
                </a:solidFill>
                <a:latin typeface="ABBvoice"/>
                <a:cs typeface="ABBvoice"/>
              </a:rPr>
              <a:t>– the ABB</a:t>
            </a:r>
            <a:r>
              <a:rPr sz="1800" spc="-10" dirty="0">
                <a:solidFill>
                  <a:srgbClr val="FFFFFF"/>
                </a:solidFill>
                <a:latin typeface="ABBvoice"/>
                <a:cs typeface="ABBvoice"/>
              </a:rPr>
              <a:t> </a:t>
            </a:r>
            <a:r>
              <a:rPr sz="1800" dirty="0">
                <a:solidFill>
                  <a:srgbClr val="FFFFFF"/>
                </a:solidFill>
                <a:latin typeface="ABBvoice"/>
                <a:cs typeface="ABBvoice"/>
              </a:rPr>
              <a:t>Way</a:t>
            </a:r>
            <a:r>
              <a:rPr sz="1800" spc="-15" dirty="0">
                <a:solidFill>
                  <a:srgbClr val="FFFFFF"/>
                </a:solidFill>
                <a:latin typeface="ABBvoice"/>
                <a:cs typeface="ABBvoice"/>
              </a:rPr>
              <a:t> </a:t>
            </a:r>
            <a:r>
              <a:rPr sz="1800" dirty="0">
                <a:solidFill>
                  <a:srgbClr val="FFFFFF"/>
                </a:solidFill>
                <a:latin typeface="ABBvoice"/>
                <a:cs typeface="ABBvoice"/>
              </a:rPr>
              <a:t>– is</a:t>
            </a:r>
            <a:r>
              <a:rPr sz="1800" spc="-5" dirty="0">
                <a:solidFill>
                  <a:srgbClr val="FFFFFF"/>
                </a:solidFill>
                <a:latin typeface="ABBvoice"/>
                <a:cs typeface="ABBvoice"/>
              </a:rPr>
              <a:t> </a:t>
            </a:r>
            <a:r>
              <a:rPr sz="1800" dirty="0">
                <a:solidFill>
                  <a:srgbClr val="FFFFFF"/>
                </a:solidFill>
                <a:latin typeface="ABBvoice"/>
                <a:cs typeface="ABBvoice"/>
              </a:rPr>
              <a:t>our</a:t>
            </a:r>
            <a:r>
              <a:rPr sz="1800" spc="-5" dirty="0">
                <a:solidFill>
                  <a:srgbClr val="FFFFFF"/>
                </a:solidFill>
                <a:latin typeface="ABBvoice"/>
                <a:cs typeface="ABBvoice"/>
              </a:rPr>
              <a:t> </a:t>
            </a:r>
            <a:r>
              <a:rPr sz="1800" dirty="0">
                <a:solidFill>
                  <a:srgbClr val="FFFFFF"/>
                </a:solidFill>
                <a:latin typeface="ABBvoice"/>
                <a:cs typeface="ABBvoice"/>
              </a:rPr>
              <a:t>lever</a:t>
            </a:r>
            <a:r>
              <a:rPr sz="1800" spc="20" dirty="0">
                <a:solidFill>
                  <a:srgbClr val="FFFFFF"/>
                </a:solidFill>
                <a:latin typeface="ABBvoice"/>
                <a:cs typeface="ABBvoice"/>
              </a:rPr>
              <a:t> </a:t>
            </a:r>
            <a:r>
              <a:rPr sz="1800" spc="-25" dirty="0">
                <a:solidFill>
                  <a:srgbClr val="FFFFFF"/>
                </a:solidFill>
                <a:latin typeface="ABBvoice"/>
                <a:cs typeface="ABBvoice"/>
              </a:rPr>
              <a:t>to</a:t>
            </a:r>
            <a:endParaRPr sz="1800" dirty="0">
              <a:latin typeface="ABBvoice"/>
              <a:cs typeface="ABBvoice"/>
            </a:endParaRPr>
          </a:p>
          <a:p>
            <a:pPr marL="12700">
              <a:lnSpc>
                <a:spcPct val="100000"/>
              </a:lnSpc>
              <a:spcBef>
                <a:spcPts val="530"/>
              </a:spcBef>
            </a:pPr>
            <a:r>
              <a:rPr sz="1800">
                <a:solidFill>
                  <a:srgbClr val="FFFFFF"/>
                </a:solidFill>
                <a:latin typeface="ABBvoice"/>
                <a:cs typeface="ABBvoice"/>
              </a:rPr>
              <a:t>implement</a:t>
            </a:r>
            <a:r>
              <a:rPr sz="1800" spc="25">
                <a:solidFill>
                  <a:srgbClr val="FFFFFF"/>
                </a:solidFill>
                <a:latin typeface="ABBvoice"/>
                <a:cs typeface="ABBvoice"/>
              </a:rPr>
              <a:t> </a:t>
            </a:r>
            <a:r>
              <a:rPr sz="1800">
                <a:solidFill>
                  <a:srgbClr val="FFFFFF"/>
                </a:solidFill>
                <a:latin typeface="ABBvoice"/>
                <a:cs typeface="ABBvoice"/>
              </a:rPr>
              <a:t>our</a:t>
            </a:r>
            <a:r>
              <a:rPr sz="1800" spc="10">
                <a:solidFill>
                  <a:srgbClr val="FFFFFF"/>
                </a:solidFill>
                <a:latin typeface="ABBvoice"/>
                <a:cs typeface="ABBvoice"/>
              </a:rPr>
              <a:t> </a:t>
            </a:r>
            <a:r>
              <a:rPr sz="1800" spc="-10">
                <a:solidFill>
                  <a:srgbClr val="FFFFFF"/>
                </a:solidFill>
                <a:latin typeface="ABBvoice"/>
                <a:cs typeface="ABBvoice"/>
              </a:rPr>
              <a:t>strategy.</a:t>
            </a:r>
            <a:endParaRPr lang="en-US" sz="1800" spc="-10">
              <a:solidFill>
                <a:srgbClr val="FFFFFF"/>
              </a:solidFill>
              <a:latin typeface="ABBvoice"/>
              <a:cs typeface="ABBvoice"/>
            </a:endParaRPr>
          </a:p>
          <a:p>
            <a:pPr marL="12700">
              <a:lnSpc>
                <a:spcPct val="100000"/>
              </a:lnSpc>
              <a:spcBef>
                <a:spcPts val="530"/>
              </a:spcBef>
            </a:pPr>
            <a:endParaRPr sz="1800">
              <a:latin typeface="ABBvoice"/>
              <a:cs typeface="ABBvoice"/>
            </a:endParaRPr>
          </a:p>
          <a:p>
            <a:pPr marL="12700" marR="22225">
              <a:lnSpc>
                <a:spcPct val="125000"/>
              </a:lnSpc>
              <a:spcBef>
                <a:spcPts val="15"/>
              </a:spcBef>
            </a:pPr>
            <a:r>
              <a:rPr sz="1800" dirty="0">
                <a:solidFill>
                  <a:srgbClr val="FFFFFF"/>
                </a:solidFill>
                <a:latin typeface="ABBvoice"/>
                <a:cs typeface="ABBvoice"/>
              </a:rPr>
              <a:t>By</a:t>
            </a:r>
            <a:r>
              <a:rPr sz="1800" spc="-35" dirty="0">
                <a:solidFill>
                  <a:srgbClr val="FFFFFF"/>
                </a:solidFill>
                <a:latin typeface="ABBvoice"/>
                <a:cs typeface="ABBvoice"/>
              </a:rPr>
              <a:t> </a:t>
            </a:r>
            <a:r>
              <a:rPr sz="1800" dirty="0">
                <a:solidFill>
                  <a:srgbClr val="FFFFFF"/>
                </a:solidFill>
                <a:latin typeface="ABBvoice"/>
                <a:cs typeface="ABBvoice"/>
              </a:rPr>
              <a:t>pushing</a:t>
            </a:r>
            <a:r>
              <a:rPr sz="1800" spc="-20" dirty="0">
                <a:solidFill>
                  <a:srgbClr val="FFFFFF"/>
                </a:solidFill>
                <a:latin typeface="ABBvoice"/>
                <a:cs typeface="ABBvoice"/>
              </a:rPr>
              <a:t> </a:t>
            </a:r>
            <a:r>
              <a:rPr sz="1800" dirty="0">
                <a:solidFill>
                  <a:srgbClr val="FFFFFF"/>
                </a:solidFill>
                <a:latin typeface="ABBvoice"/>
                <a:cs typeface="ABBvoice"/>
              </a:rPr>
              <a:t>the</a:t>
            </a:r>
            <a:r>
              <a:rPr sz="1800" spc="-5" dirty="0">
                <a:solidFill>
                  <a:srgbClr val="FFFFFF"/>
                </a:solidFill>
                <a:latin typeface="ABBvoice"/>
                <a:cs typeface="ABBvoice"/>
              </a:rPr>
              <a:t> </a:t>
            </a:r>
            <a:r>
              <a:rPr sz="1800" dirty="0">
                <a:solidFill>
                  <a:srgbClr val="FFFFFF"/>
                </a:solidFill>
                <a:latin typeface="ABBvoice"/>
                <a:cs typeface="ABBvoice"/>
              </a:rPr>
              <a:t>boundaries</a:t>
            </a:r>
            <a:r>
              <a:rPr sz="1800" spc="35" dirty="0">
                <a:solidFill>
                  <a:srgbClr val="FFFFFF"/>
                </a:solidFill>
                <a:latin typeface="ABBvoice"/>
                <a:cs typeface="ABBvoice"/>
              </a:rPr>
              <a:t> </a:t>
            </a:r>
            <a:r>
              <a:rPr sz="1800" dirty="0">
                <a:solidFill>
                  <a:srgbClr val="FFFFFF"/>
                </a:solidFill>
                <a:latin typeface="ABBvoice"/>
                <a:cs typeface="ABBvoice"/>
              </a:rPr>
              <a:t>of</a:t>
            </a:r>
            <a:r>
              <a:rPr sz="1800" spc="-45" dirty="0">
                <a:solidFill>
                  <a:srgbClr val="FFFFFF"/>
                </a:solidFill>
                <a:latin typeface="ABBvoice"/>
                <a:cs typeface="ABBvoice"/>
              </a:rPr>
              <a:t> </a:t>
            </a:r>
            <a:r>
              <a:rPr sz="1800" dirty="0">
                <a:solidFill>
                  <a:srgbClr val="FFFFFF"/>
                </a:solidFill>
                <a:latin typeface="ABBvoice"/>
                <a:cs typeface="ABBvoice"/>
              </a:rPr>
              <a:t>technology</a:t>
            </a:r>
            <a:r>
              <a:rPr sz="1800" spc="60" dirty="0">
                <a:solidFill>
                  <a:srgbClr val="FFFFFF"/>
                </a:solidFill>
                <a:latin typeface="ABBvoice"/>
                <a:cs typeface="ABBvoice"/>
              </a:rPr>
              <a:t> </a:t>
            </a:r>
            <a:r>
              <a:rPr sz="1800" spc="-25" dirty="0">
                <a:solidFill>
                  <a:srgbClr val="FFFFFF"/>
                </a:solidFill>
                <a:latin typeface="ABBvoice"/>
                <a:cs typeface="ABBvoice"/>
              </a:rPr>
              <a:t>and </a:t>
            </a:r>
            <a:r>
              <a:rPr sz="1800" dirty="0">
                <a:solidFill>
                  <a:srgbClr val="FFFFFF"/>
                </a:solidFill>
                <a:latin typeface="ABBvoice"/>
                <a:cs typeface="ABBvoice"/>
              </a:rPr>
              <a:t>embedding</a:t>
            </a:r>
            <a:r>
              <a:rPr sz="1800" spc="45" dirty="0">
                <a:solidFill>
                  <a:srgbClr val="FFFFFF"/>
                </a:solidFill>
                <a:latin typeface="ABBvoice"/>
                <a:cs typeface="ABBvoice"/>
              </a:rPr>
              <a:t> </a:t>
            </a:r>
            <a:r>
              <a:rPr sz="1800" dirty="0">
                <a:solidFill>
                  <a:srgbClr val="FFFFFF"/>
                </a:solidFill>
                <a:latin typeface="ABBvoice"/>
                <a:cs typeface="ABBvoice"/>
              </a:rPr>
              <a:t>sustainability</a:t>
            </a:r>
            <a:r>
              <a:rPr sz="1800" spc="-25" dirty="0">
                <a:solidFill>
                  <a:srgbClr val="FFFFFF"/>
                </a:solidFill>
                <a:latin typeface="ABBvoice"/>
                <a:cs typeface="ABBvoice"/>
              </a:rPr>
              <a:t> </a:t>
            </a:r>
            <a:r>
              <a:rPr sz="1800" dirty="0">
                <a:solidFill>
                  <a:srgbClr val="FFFFFF"/>
                </a:solidFill>
                <a:latin typeface="ABBvoice"/>
                <a:cs typeface="ABBvoice"/>
              </a:rPr>
              <a:t>in</a:t>
            </a:r>
            <a:r>
              <a:rPr sz="1800" spc="-10" dirty="0">
                <a:solidFill>
                  <a:srgbClr val="FFFFFF"/>
                </a:solidFill>
                <a:latin typeface="ABBvoice"/>
                <a:cs typeface="ABBvoice"/>
              </a:rPr>
              <a:t> </a:t>
            </a:r>
            <a:r>
              <a:rPr sz="1800" dirty="0">
                <a:solidFill>
                  <a:srgbClr val="FFFFFF"/>
                </a:solidFill>
                <a:latin typeface="ABBvoice"/>
                <a:cs typeface="ABBvoice"/>
              </a:rPr>
              <a:t>everything</a:t>
            </a:r>
            <a:r>
              <a:rPr sz="1800" spc="40" dirty="0">
                <a:solidFill>
                  <a:srgbClr val="FFFFFF"/>
                </a:solidFill>
                <a:latin typeface="ABBvoice"/>
                <a:cs typeface="ABBvoice"/>
              </a:rPr>
              <a:t> </a:t>
            </a:r>
            <a:r>
              <a:rPr sz="1800" dirty="0">
                <a:solidFill>
                  <a:srgbClr val="FFFFFF"/>
                </a:solidFill>
                <a:latin typeface="ABBvoice"/>
                <a:cs typeface="ABBvoice"/>
              </a:rPr>
              <a:t>we</a:t>
            </a:r>
            <a:r>
              <a:rPr sz="1800" spc="-35" dirty="0">
                <a:solidFill>
                  <a:srgbClr val="FFFFFF"/>
                </a:solidFill>
                <a:latin typeface="ABBvoice"/>
                <a:cs typeface="ABBvoice"/>
              </a:rPr>
              <a:t> </a:t>
            </a:r>
            <a:r>
              <a:rPr sz="1800" spc="-25" dirty="0">
                <a:solidFill>
                  <a:srgbClr val="FFFFFF"/>
                </a:solidFill>
                <a:latin typeface="ABBvoice"/>
                <a:cs typeface="ABBvoice"/>
              </a:rPr>
              <a:t>do,</a:t>
            </a:r>
            <a:r>
              <a:rPr sz="1800" spc="500" dirty="0">
                <a:solidFill>
                  <a:srgbClr val="FFFFFF"/>
                </a:solidFill>
                <a:latin typeface="ABBvoice"/>
                <a:cs typeface="ABBvoice"/>
              </a:rPr>
              <a:t> </a:t>
            </a:r>
            <a:r>
              <a:rPr sz="1800" dirty="0">
                <a:solidFill>
                  <a:srgbClr val="FFFFFF"/>
                </a:solidFill>
                <a:latin typeface="ABBvoice"/>
                <a:cs typeface="ABBvoice"/>
              </a:rPr>
              <a:t>our people drive the</a:t>
            </a:r>
            <a:r>
              <a:rPr sz="1800" spc="-25" dirty="0">
                <a:solidFill>
                  <a:srgbClr val="FFFFFF"/>
                </a:solidFill>
                <a:latin typeface="ABBvoice"/>
                <a:cs typeface="ABBvoice"/>
              </a:rPr>
              <a:t> </a:t>
            </a:r>
            <a:r>
              <a:rPr sz="1800" dirty="0">
                <a:solidFill>
                  <a:srgbClr val="FFFFFF"/>
                </a:solidFill>
                <a:latin typeface="ABBvoice"/>
                <a:cs typeface="ABBvoice"/>
              </a:rPr>
              <a:t>performance</a:t>
            </a:r>
            <a:r>
              <a:rPr sz="1800" spc="70" dirty="0">
                <a:solidFill>
                  <a:srgbClr val="FFFFFF"/>
                </a:solidFill>
                <a:latin typeface="ABBvoice"/>
                <a:cs typeface="ABBvoice"/>
              </a:rPr>
              <a:t> </a:t>
            </a:r>
            <a:r>
              <a:rPr sz="1800" dirty="0">
                <a:solidFill>
                  <a:srgbClr val="FFFFFF"/>
                </a:solidFill>
                <a:latin typeface="ABBvoice"/>
                <a:cs typeface="ABBvoice"/>
              </a:rPr>
              <a:t>of</a:t>
            </a:r>
            <a:r>
              <a:rPr sz="1800" spc="-20" dirty="0">
                <a:solidFill>
                  <a:srgbClr val="FFFFFF"/>
                </a:solidFill>
                <a:latin typeface="ABBvoice"/>
                <a:cs typeface="ABBvoice"/>
              </a:rPr>
              <a:t> </a:t>
            </a:r>
            <a:r>
              <a:rPr sz="1800" dirty="0">
                <a:solidFill>
                  <a:srgbClr val="FFFFFF"/>
                </a:solidFill>
                <a:latin typeface="ABBvoice"/>
                <a:cs typeface="ABBvoice"/>
              </a:rPr>
              <a:t>our</a:t>
            </a:r>
            <a:r>
              <a:rPr sz="1800" spc="5" dirty="0">
                <a:solidFill>
                  <a:srgbClr val="FFFFFF"/>
                </a:solidFill>
                <a:latin typeface="ABBvoice"/>
                <a:cs typeface="ABBvoice"/>
              </a:rPr>
              <a:t> </a:t>
            </a:r>
            <a:r>
              <a:rPr sz="1800" spc="-10" dirty="0">
                <a:solidFill>
                  <a:srgbClr val="FFFFFF"/>
                </a:solidFill>
                <a:latin typeface="ABBvoice"/>
                <a:cs typeface="ABBvoice"/>
              </a:rPr>
              <a:t>market- </a:t>
            </a:r>
            <a:r>
              <a:rPr sz="1800" dirty="0">
                <a:solidFill>
                  <a:srgbClr val="FFFFFF"/>
                </a:solidFill>
                <a:latin typeface="ABBvoice"/>
                <a:cs typeface="ABBvoice"/>
              </a:rPr>
              <a:t>leading</a:t>
            </a:r>
            <a:r>
              <a:rPr sz="1800" spc="-5" dirty="0">
                <a:solidFill>
                  <a:srgbClr val="FFFFFF"/>
                </a:solidFill>
                <a:latin typeface="ABBvoice"/>
                <a:cs typeface="ABBvoice"/>
              </a:rPr>
              <a:t> </a:t>
            </a:r>
            <a:r>
              <a:rPr sz="1800" dirty="0">
                <a:solidFill>
                  <a:srgbClr val="FFFFFF"/>
                </a:solidFill>
                <a:latin typeface="ABBvoice"/>
                <a:cs typeface="ABBvoice"/>
              </a:rPr>
              <a:t>and</a:t>
            </a:r>
            <a:r>
              <a:rPr sz="1800" spc="-10" dirty="0">
                <a:solidFill>
                  <a:srgbClr val="FFFFFF"/>
                </a:solidFill>
                <a:latin typeface="ABBvoice"/>
                <a:cs typeface="ABBvoice"/>
              </a:rPr>
              <a:t> </a:t>
            </a:r>
            <a:r>
              <a:rPr sz="1800" dirty="0">
                <a:solidFill>
                  <a:srgbClr val="FFFFFF"/>
                </a:solidFill>
                <a:latin typeface="ABBvoice"/>
                <a:cs typeface="ABBvoice"/>
              </a:rPr>
              <a:t>empowered</a:t>
            </a:r>
            <a:r>
              <a:rPr sz="1800" spc="55" dirty="0">
                <a:solidFill>
                  <a:srgbClr val="FFFFFF"/>
                </a:solidFill>
                <a:latin typeface="ABBvoice"/>
                <a:cs typeface="ABBvoice"/>
              </a:rPr>
              <a:t> </a:t>
            </a:r>
            <a:r>
              <a:rPr sz="1800" dirty="0">
                <a:solidFill>
                  <a:srgbClr val="FFFFFF"/>
                </a:solidFill>
                <a:latin typeface="ABBvoice"/>
                <a:cs typeface="ABBvoice"/>
              </a:rPr>
              <a:t>businesses</a:t>
            </a:r>
            <a:r>
              <a:rPr sz="1800" spc="-5" dirty="0">
                <a:solidFill>
                  <a:srgbClr val="FFFFFF"/>
                </a:solidFill>
                <a:latin typeface="ABBvoice"/>
                <a:cs typeface="ABBvoice"/>
              </a:rPr>
              <a:t> </a:t>
            </a:r>
            <a:r>
              <a:rPr sz="1800" dirty="0">
                <a:solidFill>
                  <a:srgbClr val="FFFFFF"/>
                </a:solidFill>
                <a:latin typeface="ABBvoice"/>
                <a:cs typeface="ABBvoice"/>
              </a:rPr>
              <a:t>to</a:t>
            </a:r>
            <a:r>
              <a:rPr sz="1800" spc="-30" dirty="0">
                <a:solidFill>
                  <a:srgbClr val="FFFFFF"/>
                </a:solidFill>
                <a:latin typeface="ABBvoice"/>
                <a:cs typeface="ABBvoice"/>
              </a:rPr>
              <a:t> </a:t>
            </a:r>
            <a:r>
              <a:rPr sz="1800" dirty="0">
                <a:solidFill>
                  <a:srgbClr val="FFFFFF"/>
                </a:solidFill>
                <a:latin typeface="ABBvoice"/>
                <a:cs typeface="ABBvoice"/>
              </a:rPr>
              <a:t>new</a:t>
            </a:r>
            <a:r>
              <a:rPr sz="1800" spc="5" dirty="0">
                <a:solidFill>
                  <a:srgbClr val="FFFFFF"/>
                </a:solidFill>
                <a:latin typeface="ABBvoice"/>
                <a:cs typeface="ABBvoice"/>
              </a:rPr>
              <a:t> </a:t>
            </a:r>
            <a:r>
              <a:rPr sz="1800" spc="-10" dirty="0">
                <a:solidFill>
                  <a:srgbClr val="FFFFFF"/>
                </a:solidFill>
                <a:latin typeface="ABBvoice"/>
                <a:cs typeface="ABBvoice"/>
              </a:rPr>
              <a:t>levels. </a:t>
            </a:r>
            <a:r>
              <a:rPr sz="1800" dirty="0">
                <a:solidFill>
                  <a:srgbClr val="FFFFFF"/>
                </a:solidFill>
                <a:latin typeface="ABBvoice"/>
                <a:cs typeface="ABBvoice"/>
              </a:rPr>
              <a:t>Together</a:t>
            </a:r>
            <a:r>
              <a:rPr sz="1800" spc="40" dirty="0">
                <a:solidFill>
                  <a:srgbClr val="FFFFFF"/>
                </a:solidFill>
                <a:latin typeface="ABBvoice"/>
                <a:cs typeface="ABBvoice"/>
              </a:rPr>
              <a:t> </a:t>
            </a:r>
            <a:r>
              <a:rPr sz="1800" dirty="0">
                <a:solidFill>
                  <a:srgbClr val="FFFFFF"/>
                </a:solidFill>
                <a:latin typeface="ABBvoice"/>
                <a:cs typeface="ABBvoice"/>
              </a:rPr>
              <a:t>with</a:t>
            </a:r>
            <a:r>
              <a:rPr sz="1800" spc="-45" dirty="0">
                <a:solidFill>
                  <a:srgbClr val="FFFFFF"/>
                </a:solidFill>
                <a:latin typeface="ABBvoice"/>
                <a:cs typeface="ABBvoice"/>
              </a:rPr>
              <a:t> </a:t>
            </a:r>
            <a:r>
              <a:rPr sz="1800" dirty="0">
                <a:solidFill>
                  <a:srgbClr val="FFFFFF"/>
                </a:solidFill>
                <a:latin typeface="ABBvoice"/>
                <a:cs typeface="ABBvoice"/>
              </a:rPr>
              <a:t>our</a:t>
            </a:r>
            <a:r>
              <a:rPr sz="1800" spc="-25" dirty="0">
                <a:solidFill>
                  <a:srgbClr val="FFFFFF"/>
                </a:solidFill>
                <a:latin typeface="ABBvoice"/>
                <a:cs typeface="ABBvoice"/>
              </a:rPr>
              <a:t> </a:t>
            </a:r>
            <a:r>
              <a:rPr sz="1800" dirty="0">
                <a:solidFill>
                  <a:srgbClr val="FFFFFF"/>
                </a:solidFill>
                <a:latin typeface="ABBvoice"/>
                <a:cs typeface="ABBvoice"/>
              </a:rPr>
              <a:t>common</a:t>
            </a:r>
            <a:r>
              <a:rPr sz="1800" spc="25" dirty="0">
                <a:solidFill>
                  <a:srgbClr val="FFFFFF"/>
                </a:solidFill>
                <a:latin typeface="ABBvoice"/>
                <a:cs typeface="ABBvoice"/>
              </a:rPr>
              <a:t> </a:t>
            </a:r>
            <a:r>
              <a:rPr sz="1800" dirty="0">
                <a:solidFill>
                  <a:srgbClr val="FFFFFF"/>
                </a:solidFill>
                <a:latin typeface="ABBvoice"/>
                <a:cs typeface="ABBvoice"/>
              </a:rPr>
              <a:t>values,</a:t>
            </a:r>
            <a:r>
              <a:rPr sz="1800" spc="-15" dirty="0">
                <a:solidFill>
                  <a:srgbClr val="FFFFFF"/>
                </a:solidFill>
                <a:latin typeface="ABBvoice"/>
                <a:cs typeface="ABBvoice"/>
              </a:rPr>
              <a:t> </a:t>
            </a:r>
            <a:r>
              <a:rPr sz="1800" dirty="0">
                <a:solidFill>
                  <a:srgbClr val="FFFFFF"/>
                </a:solidFill>
                <a:latin typeface="ABBvoice"/>
                <a:cs typeface="ABBvoice"/>
              </a:rPr>
              <a:t>strong</a:t>
            </a:r>
            <a:r>
              <a:rPr sz="1800" spc="-15" dirty="0">
                <a:solidFill>
                  <a:srgbClr val="FFFFFF"/>
                </a:solidFill>
                <a:latin typeface="ABBvoice"/>
                <a:cs typeface="ABBvoice"/>
              </a:rPr>
              <a:t> </a:t>
            </a:r>
            <a:r>
              <a:rPr sz="1800" spc="-10" dirty="0">
                <a:solidFill>
                  <a:srgbClr val="FFFFFF"/>
                </a:solidFill>
                <a:latin typeface="ABBvoice"/>
                <a:cs typeface="ABBvoice"/>
              </a:rPr>
              <a:t>brand </a:t>
            </a:r>
            <a:r>
              <a:rPr sz="1800" dirty="0">
                <a:solidFill>
                  <a:srgbClr val="FFFFFF"/>
                </a:solidFill>
                <a:latin typeface="ABBvoice"/>
                <a:cs typeface="ABBvoice"/>
              </a:rPr>
              <a:t>and</a:t>
            </a:r>
            <a:r>
              <a:rPr sz="1800" spc="-5" dirty="0">
                <a:solidFill>
                  <a:srgbClr val="FFFFFF"/>
                </a:solidFill>
                <a:latin typeface="ABBvoice"/>
                <a:cs typeface="ABBvoice"/>
              </a:rPr>
              <a:t> </a:t>
            </a:r>
            <a:r>
              <a:rPr sz="1800" dirty="0">
                <a:solidFill>
                  <a:srgbClr val="FFFFFF"/>
                </a:solidFill>
                <a:latin typeface="ABBvoice"/>
                <a:cs typeface="ABBvoice"/>
              </a:rPr>
              <a:t>governance</a:t>
            </a:r>
            <a:r>
              <a:rPr sz="1800" spc="55" dirty="0">
                <a:solidFill>
                  <a:srgbClr val="FFFFFF"/>
                </a:solidFill>
                <a:latin typeface="ABBvoice"/>
                <a:cs typeface="ABBvoice"/>
              </a:rPr>
              <a:t> </a:t>
            </a:r>
            <a:r>
              <a:rPr sz="1800" dirty="0">
                <a:solidFill>
                  <a:srgbClr val="FFFFFF"/>
                </a:solidFill>
                <a:latin typeface="ABBvoice"/>
                <a:cs typeface="ABBvoice"/>
              </a:rPr>
              <a:t>framework,</a:t>
            </a:r>
            <a:r>
              <a:rPr sz="1800" spc="15" dirty="0">
                <a:solidFill>
                  <a:srgbClr val="FFFFFF"/>
                </a:solidFill>
                <a:latin typeface="ABBvoice"/>
                <a:cs typeface="ABBvoice"/>
              </a:rPr>
              <a:t> </a:t>
            </a:r>
            <a:r>
              <a:rPr sz="1800" dirty="0">
                <a:solidFill>
                  <a:srgbClr val="FFFFFF"/>
                </a:solidFill>
                <a:latin typeface="ABBvoice"/>
                <a:cs typeface="ABBvoice"/>
              </a:rPr>
              <a:t>the</a:t>
            </a:r>
            <a:r>
              <a:rPr sz="1800" spc="15" dirty="0">
                <a:solidFill>
                  <a:srgbClr val="FFFFFF"/>
                </a:solidFill>
                <a:latin typeface="ABBvoice"/>
                <a:cs typeface="ABBvoice"/>
              </a:rPr>
              <a:t> </a:t>
            </a:r>
            <a:r>
              <a:rPr sz="1800" dirty="0">
                <a:solidFill>
                  <a:srgbClr val="FFFFFF"/>
                </a:solidFill>
                <a:latin typeface="ABBvoice"/>
                <a:cs typeface="ABBvoice"/>
              </a:rPr>
              <a:t>ABB</a:t>
            </a:r>
            <a:r>
              <a:rPr sz="1800" spc="-20" dirty="0">
                <a:solidFill>
                  <a:srgbClr val="FFFFFF"/>
                </a:solidFill>
                <a:latin typeface="ABBvoice"/>
                <a:cs typeface="ABBvoice"/>
              </a:rPr>
              <a:t> </a:t>
            </a:r>
            <a:r>
              <a:rPr sz="1800" dirty="0">
                <a:solidFill>
                  <a:srgbClr val="FFFFFF"/>
                </a:solidFill>
                <a:latin typeface="ABBvoice"/>
                <a:cs typeface="ABBvoice"/>
              </a:rPr>
              <a:t>Way</a:t>
            </a:r>
            <a:r>
              <a:rPr sz="1800" spc="-15" dirty="0">
                <a:solidFill>
                  <a:srgbClr val="FFFFFF"/>
                </a:solidFill>
                <a:latin typeface="ABBvoice"/>
                <a:cs typeface="ABBvoice"/>
              </a:rPr>
              <a:t> </a:t>
            </a:r>
            <a:r>
              <a:rPr sz="1800" spc="-25" dirty="0">
                <a:solidFill>
                  <a:srgbClr val="FFFFFF"/>
                </a:solidFill>
                <a:latin typeface="ABBvoice"/>
                <a:cs typeface="ABBvoice"/>
              </a:rPr>
              <a:t>is </a:t>
            </a:r>
            <a:r>
              <a:rPr sz="1800" dirty="0">
                <a:solidFill>
                  <a:srgbClr val="FFFFFF"/>
                </a:solidFill>
                <a:latin typeface="ABBvoice"/>
                <a:cs typeface="ABBvoice"/>
              </a:rPr>
              <a:t>leading</a:t>
            </a:r>
            <a:r>
              <a:rPr sz="1800" spc="10" dirty="0">
                <a:solidFill>
                  <a:srgbClr val="FFFFFF"/>
                </a:solidFill>
                <a:latin typeface="ABBvoice"/>
                <a:cs typeface="ABBvoice"/>
              </a:rPr>
              <a:t> </a:t>
            </a:r>
            <a:r>
              <a:rPr sz="1800" dirty="0">
                <a:solidFill>
                  <a:srgbClr val="FFFFFF"/>
                </a:solidFill>
                <a:latin typeface="ABBvoice"/>
                <a:cs typeface="ABBvoice"/>
              </a:rPr>
              <a:t>us</a:t>
            </a:r>
            <a:r>
              <a:rPr sz="1800" spc="-30" dirty="0">
                <a:solidFill>
                  <a:srgbClr val="FFFFFF"/>
                </a:solidFill>
                <a:latin typeface="ABBvoice"/>
                <a:cs typeface="ABBvoice"/>
              </a:rPr>
              <a:t> </a:t>
            </a:r>
            <a:r>
              <a:rPr sz="1800" dirty="0">
                <a:solidFill>
                  <a:srgbClr val="FFFFFF"/>
                </a:solidFill>
                <a:latin typeface="ABBvoice"/>
                <a:cs typeface="ABBvoice"/>
              </a:rPr>
              <a:t>to</a:t>
            </a:r>
            <a:r>
              <a:rPr sz="1800" spc="-10" dirty="0">
                <a:solidFill>
                  <a:srgbClr val="FFFFFF"/>
                </a:solidFill>
                <a:latin typeface="ABBvoice"/>
                <a:cs typeface="ABBvoice"/>
              </a:rPr>
              <a:t> </a:t>
            </a:r>
            <a:r>
              <a:rPr sz="1800" dirty="0">
                <a:solidFill>
                  <a:srgbClr val="FFFFFF"/>
                </a:solidFill>
                <a:latin typeface="ABBvoice"/>
                <a:cs typeface="ABBvoice"/>
              </a:rPr>
              <a:t>become</a:t>
            </a:r>
            <a:r>
              <a:rPr sz="1800" spc="25" dirty="0">
                <a:solidFill>
                  <a:srgbClr val="FFFFFF"/>
                </a:solidFill>
                <a:latin typeface="ABBvoice"/>
                <a:cs typeface="ABBvoice"/>
              </a:rPr>
              <a:t> </a:t>
            </a:r>
            <a:r>
              <a:rPr sz="1800" dirty="0">
                <a:solidFill>
                  <a:srgbClr val="FFFFFF"/>
                </a:solidFill>
                <a:latin typeface="ABBvoice"/>
                <a:cs typeface="ABBvoice"/>
              </a:rPr>
              <a:t>a</a:t>
            </a:r>
            <a:r>
              <a:rPr sz="1800" spc="-10" dirty="0">
                <a:solidFill>
                  <a:srgbClr val="FFFFFF"/>
                </a:solidFill>
                <a:latin typeface="ABBvoice"/>
                <a:cs typeface="ABBvoice"/>
              </a:rPr>
              <a:t> </a:t>
            </a:r>
            <a:r>
              <a:rPr sz="1800" dirty="0">
                <a:solidFill>
                  <a:srgbClr val="FFFFFF"/>
                </a:solidFill>
                <a:latin typeface="ABBvoice"/>
                <a:cs typeface="ABBvoice"/>
              </a:rPr>
              <a:t>more focused,</a:t>
            </a:r>
            <a:r>
              <a:rPr sz="1800" spc="10" dirty="0">
                <a:solidFill>
                  <a:srgbClr val="FFFFFF"/>
                </a:solidFill>
                <a:latin typeface="ABBvoice"/>
                <a:cs typeface="ABBvoice"/>
              </a:rPr>
              <a:t> </a:t>
            </a:r>
            <a:r>
              <a:rPr sz="1800" spc="-10" dirty="0">
                <a:solidFill>
                  <a:srgbClr val="FFFFFF"/>
                </a:solidFill>
                <a:latin typeface="ABBvoice"/>
                <a:cs typeface="ABBvoice"/>
              </a:rPr>
              <a:t>successful, value-</a:t>
            </a:r>
            <a:r>
              <a:rPr sz="1800" dirty="0">
                <a:solidFill>
                  <a:srgbClr val="FFFFFF"/>
                </a:solidFill>
                <a:latin typeface="ABBvoice"/>
                <a:cs typeface="ABBvoice"/>
              </a:rPr>
              <a:t>creating</a:t>
            </a:r>
            <a:r>
              <a:rPr sz="1800" spc="60" dirty="0">
                <a:solidFill>
                  <a:srgbClr val="FFFFFF"/>
                </a:solidFill>
                <a:latin typeface="ABBvoice"/>
                <a:cs typeface="ABBvoice"/>
              </a:rPr>
              <a:t> </a:t>
            </a:r>
            <a:r>
              <a:rPr sz="1800" spc="-10" dirty="0">
                <a:solidFill>
                  <a:srgbClr val="FFFFFF"/>
                </a:solidFill>
                <a:latin typeface="ABBvoice"/>
                <a:cs typeface="ABBvoice"/>
              </a:rPr>
              <a:t>company.</a:t>
            </a:r>
            <a:endParaRPr sz="1800" dirty="0">
              <a:latin typeface="ABBvoice"/>
              <a:cs typeface="ABBvoice"/>
            </a:endParaRPr>
          </a:p>
        </p:txBody>
      </p:sp>
      <p:pic>
        <p:nvPicPr>
          <p:cNvPr id="6" name="object 6"/>
          <p:cNvPicPr/>
          <p:nvPr/>
        </p:nvPicPr>
        <p:blipFill>
          <a:blip r:embed="rId3" cstate="print"/>
          <a:stretch>
            <a:fillRect/>
          </a:stretch>
        </p:blipFill>
        <p:spPr>
          <a:xfrm>
            <a:off x="11344656" y="6394703"/>
            <a:ext cx="509016" cy="195072"/>
          </a:xfrm>
          <a:prstGeom prst="rect">
            <a:avLst/>
          </a:prstGeom>
        </p:spPr>
      </p:pic>
      <p:sp>
        <p:nvSpPr>
          <p:cNvPr id="8" name="object 2">
            <a:extLst>
              <a:ext uri="{FF2B5EF4-FFF2-40B4-BE49-F238E27FC236}">
                <a16:creationId xmlns:a16="http://schemas.microsoft.com/office/drawing/2014/main" id="{0FC27C16-29DB-C841-A149-72F8C0F8F969}"/>
              </a:ext>
            </a:extLst>
          </p:cNvPr>
          <p:cNvSpPr txBox="1"/>
          <p:nvPr/>
        </p:nvSpPr>
        <p:spPr>
          <a:xfrm>
            <a:off x="6741222"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p:txBody>
      </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13443CC-F7FB-35E2-9448-A2E92910E17D}"/>
              </a:ext>
            </a:extLst>
          </p:cNvPr>
          <p:cNvSpPr/>
          <p:nvPr/>
        </p:nvSpPr>
        <p:spPr bwMode="gray">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p>
        </p:txBody>
      </p:sp>
      <p:sp>
        <p:nvSpPr>
          <p:cNvPr id="37" name="Rectangle 36">
            <a:extLst>
              <a:ext uri="{FF2B5EF4-FFF2-40B4-BE49-F238E27FC236}">
                <a16:creationId xmlns:a16="http://schemas.microsoft.com/office/drawing/2014/main" id="{2BEBE180-4401-4E1E-9403-0C1C724AEB6C}"/>
              </a:ext>
            </a:extLst>
          </p:cNvPr>
          <p:cNvSpPr/>
          <p:nvPr/>
        </p:nvSpPr>
        <p:spPr bwMode="gray">
          <a:xfrm>
            <a:off x="180975" y="5972175"/>
            <a:ext cx="12006495" cy="762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FFFFFF"/>
              </a:solidFill>
              <a:effectLst/>
              <a:uLnTx/>
              <a:uFillTx/>
              <a:latin typeface="ABBvoice"/>
              <a:ea typeface="ABBvoice"/>
              <a:cs typeface="ABBvoice"/>
            </a:endParaRPr>
          </a:p>
        </p:txBody>
      </p:sp>
      <p:sp>
        <p:nvSpPr>
          <p:cNvPr id="2" name="Content Placeholder 1">
            <a:extLst>
              <a:ext uri="{FF2B5EF4-FFF2-40B4-BE49-F238E27FC236}">
                <a16:creationId xmlns:a16="http://schemas.microsoft.com/office/drawing/2014/main" id="{0DFD250B-F435-486B-90F4-2FA1CC7EE338}"/>
              </a:ext>
            </a:extLst>
          </p:cNvPr>
          <p:cNvSpPr>
            <a:spLocks noGrp="1"/>
          </p:cNvSpPr>
          <p:nvPr>
            <p:ph sz="quarter" idx="21"/>
          </p:nvPr>
        </p:nvSpPr>
        <p:spPr/>
        <p:txBody>
          <a:bodyPr/>
          <a:lstStyle/>
          <a:p>
            <a:r>
              <a:rPr lang="en-US"/>
              <a:t> </a:t>
            </a:r>
          </a:p>
        </p:txBody>
      </p:sp>
      <p:sp>
        <p:nvSpPr>
          <p:cNvPr id="6" name="Subtitle 5">
            <a:extLst>
              <a:ext uri="{FF2B5EF4-FFF2-40B4-BE49-F238E27FC236}">
                <a16:creationId xmlns:a16="http://schemas.microsoft.com/office/drawing/2014/main" id="{D5C8EEA6-5850-453A-B272-D03637E340AC}"/>
              </a:ext>
            </a:extLst>
          </p:cNvPr>
          <p:cNvSpPr>
            <a:spLocks noGrp="1"/>
          </p:cNvSpPr>
          <p:nvPr>
            <p:ph type="subTitle" idx="13"/>
          </p:nvPr>
        </p:nvSpPr>
        <p:spPr/>
        <p:txBody>
          <a:bodyPr/>
          <a:lstStyle/>
          <a:p>
            <a:r>
              <a:rPr lang="en-US"/>
              <a:t> </a:t>
            </a:r>
          </a:p>
        </p:txBody>
      </p:sp>
      <p:sp>
        <p:nvSpPr>
          <p:cNvPr id="12" name="Title 2">
            <a:extLst>
              <a:ext uri="{FF2B5EF4-FFF2-40B4-BE49-F238E27FC236}">
                <a16:creationId xmlns:a16="http://schemas.microsoft.com/office/drawing/2014/main" id="{08F16611-70D9-4D0F-9C10-45D398A28521}"/>
              </a:ext>
            </a:extLst>
          </p:cNvPr>
          <p:cNvSpPr>
            <a:spLocks noGrp="1"/>
          </p:cNvSpPr>
          <p:nvPr>
            <p:ph type="title"/>
          </p:nvPr>
        </p:nvSpPr>
        <p:spPr>
          <a:xfrm>
            <a:off x="333264" y="682313"/>
            <a:ext cx="3481426" cy="396000"/>
          </a:xfrm>
        </p:spPr>
        <p:txBody>
          <a:bodyPr/>
          <a:lstStyle/>
          <a:p>
            <a:r>
              <a:rPr lang="en-US" sz="2800">
                <a:latin typeface="ABBvoice" panose="020D0603020503020204" pitchFamily="34" charset="0"/>
                <a:ea typeface="ABBvoice" panose="020D0603020503020204" pitchFamily="34" charset="0"/>
                <a:cs typeface="ABBvoice" panose="020D0603020503020204" pitchFamily="34" charset="0"/>
              </a:rPr>
              <a:t>Our business areas</a:t>
            </a:r>
            <a:endParaRPr lang="en-US" sz="2800" noProof="0"/>
          </a:p>
        </p:txBody>
      </p:sp>
      <p:sp>
        <p:nvSpPr>
          <p:cNvPr id="14" name="Content Placeholder 3">
            <a:extLst>
              <a:ext uri="{FF2B5EF4-FFF2-40B4-BE49-F238E27FC236}">
                <a16:creationId xmlns:a16="http://schemas.microsoft.com/office/drawing/2014/main" id="{57ED6B41-33C9-441E-8ED2-74CE8743EE31}"/>
              </a:ext>
            </a:extLst>
          </p:cNvPr>
          <p:cNvSpPr txBox="1">
            <a:spLocks/>
          </p:cNvSpPr>
          <p:nvPr/>
        </p:nvSpPr>
        <p:spPr bwMode="gray">
          <a:xfrm>
            <a:off x="333263" y="1547637"/>
            <a:ext cx="3378658" cy="2226078"/>
          </a:xfrm>
          <a:prstGeom prst="rect">
            <a:avLst/>
          </a:prstGeom>
        </p:spPr>
        <p:txBody>
          <a:bodyPr lIns="0" tIns="0" rIns="0" bIns="0"/>
          <a:lstStyle>
            <a:lvl1pPr marL="0" indent="0" algn="l" defTabSz="914491" rtl="0" eaLnBrk="1" latinLnBrk="0" hangingPunct="1">
              <a:spcBef>
                <a:spcPts val="600"/>
              </a:spcBef>
              <a:buFont typeface="Arial" panose="020B0604020202020204" pitchFamily="34" charset="0"/>
              <a:buNone/>
              <a:defRPr sz="1400" kern="1200">
                <a:solidFill>
                  <a:schemeClr val="tx1"/>
                </a:solidFill>
                <a:latin typeface="+mn-lt"/>
                <a:ea typeface="+mn-ea"/>
                <a:cs typeface="+mn-cs"/>
              </a:defRPr>
            </a:lvl1pPr>
            <a:lvl2pPr marL="180018" indent="-180018" algn="l" defTabSz="914491" rtl="0" eaLnBrk="1" latinLnBrk="0" hangingPunct="1">
              <a:spcBef>
                <a:spcPts val="600"/>
              </a:spcBef>
              <a:buFont typeface="ABBvoiceOffice" panose="020D0603020503020204" pitchFamily="34" charset="0"/>
              <a:buChar char="–"/>
              <a:defRPr sz="1400" kern="1200">
                <a:solidFill>
                  <a:schemeClr val="tx1"/>
                </a:solidFill>
                <a:latin typeface="+mn-lt"/>
                <a:ea typeface="+mn-ea"/>
                <a:cs typeface="+mn-cs"/>
              </a:defRPr>
            </a:lvl2pPr>
            <a:lvl3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3pPr>
            <a:lvl4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4pPr>
            <a:lvl5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5pPr>
            <a:lvl6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6pPr>
            <a:lvl7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7pPr>
            <a:lvl8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8pPr>
            <a:lvl9pPr marL="360036" indent="-180018" algn="l" defTabSz="914491" rtl="0" eaLnBrk="1" latinLnBrk="0" hangingPunct="1">
              <a:spcBef>
                <a:spcPts val="600"/>
              </a:spcBef>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91" rtl="0" eaLnBrk="1" fontAlgn="auto" latinLnBrk="0" hangingPunct="1">
              <a:lnSpc>
                <a:spcPts val="27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Light" panose="020D0403020503020204" pitchFamily="34" charset="0"/>
                <a:ea typeface="ABBvoice Light" panose="020D0403020503020204" pitchFamily="34" charset="0"/>
                <a:cs typeface="ABBvoice Light" panose="020D0403020503020204" pitchFamily="34" charset="0"/>
              </a:rPr>
              <a:t>Electrification</a:t>
            </a:r>
          </a:p>
          <a:p>
            <a:pPr marL="0" marR="0" lvl="0" indent="0" algn="l" defTabSz="914491" rtl="0" eaLnBrk="1" fontAlgn="auto" latinLnBrk="0" hangingPunct="1">
              <a:lnSpc>
                <a:spcPts val="27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Light" panose="020D0403020503020204" pitchFamily="34" charset="0"/>
                <a:ea typeface="ABBvoice Light" panose="020D0403020503020204" pitchFamily="34" charset="0"/>
                <a:cs typeface="ABBvoice Light" panose="020D0403020503020204" pitchFamily="34" charset="0"/>
              </a:rPr>
              <a:t>Motion</a:t>
            </a:r>
          </a:p>
          <a:p>
            <a:pPr marL="0" marR="0" lvl="0" indent="0" algn="l" defTabSz="914491" rtl="0" eaLnBrk="1" fontAlgn="auto" latinLnBrk="0" hangingPunct="1">
              <a:lnSpc>
                <a:spcPts val="27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Light" panose="020D0403020503020204" pitchFamily="34" charset="0"/>
                <a:ea typeface="ABBvoice Light" panose="020D0403020503020204" pitchFamily="34" charset="0"/>
                <a:cs typeface="ABBvoice Light" panose="020D0403020503020204" pitchFamily="34" charset="0"/>
              </a:rPr>
              <a:t>Process Automation</a:t>
            </a:r>
          </a:p>
          <a:p>
            <a:pPr marL="0" marR="0" lvl="0" indent="0" algn="l" defTabSz="914491" rtl="0" eaLnBrk="1" fontAlgn="auto" latinLnBrk="0" hangingPunct="1">
              <a:lnSpc>
                <a:spcPts val="2700"/>
              </a:lnSpc>
              <a:spcBef>
                <a:spcPts val="600"/>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000000"/>
                </a:solidFill>
                <a:effectLst/>
                <a:uLnTx/>
                <a:uFillTx/>
                <a:latin typeface="ABBvoice Light" panose="020D0403020503020204" pitchFamily="34" charset="0"/>
                <a:ea typeface="ABBvoice Light" panose="020D0403020503020204" pitchFamily="34" charset="0"/>
                <a:cs typeface="ABBvoice Light" panose="020D0403020503020204" pitchFamily="34" charset="0"/>
              </a:rPr>
              <a:t>Robotics &amp; Discrete Automation</a:t>
            </a:r>
          </a:p>
          <a:p>
            <a:pPr marL="176213" marR="0" lvl="0" indent="-176213" algn="l" defTabSz="914491" rtl="0" eaLnBrk="1" fontAlgn="auto" latinLnBrk="0" hangingPunct="1">
              <a:lnSpc>
                <a:spcPct val="100000"/>
              </a:lnSpc>
              <a:spcBef>
                <a:spcPts val="900"/>
              </a:spcBef>
              <a:spcAft>
                <a:spcPts val="0"/>
              </a:spcAft>
              <a:buClrTx/>
              <a:buSzTx/>
              <a:buFont typeface="Symbol" panose="05050102010706020507" pitchFamily="18" charset="2"/>
              <a:buChar char="-"/>
              <a:tabLst/>
              <a:defRPr/>
            </a:pPr>
            <a:endParaRPr kumimoji="0" lang="en-US" sz="1200" b="0" i="0" u="none" strike="noStrike" kern="1200" cap="none" spc="0" normalizeH="0" baseline="0" noProof="0">
              <a:ln>
                <a:noFill/>
              </a:ln>
              <a:solidFill>
                <a:srgbClr val="000000"/>
              </a:solidFill>
              <a:effectLst/>
              <a:uLnTx/>
              <a:uFillTx/>
              <a:latin typeface="ABBvoice"/>
              <a:ea typeface="ABBvoice"/>
              <a:cs typeface="ABBvoice"/>
            </a:endParaRPr>
          </a:p>
        </p:txBody>
      </p:sp>
      <p:pic>
        <p:nvPicPr>
          <p:cNvPr id="24" name="Picture 23">
            <a:extLst>
              <a:ext uri="{FF2B5EF4-FFF2-40B4-BE49-F238E27FC236}">
                <a16:creationId xmlns:a16="http://schemas.microsoft.com/office/drawing/2014/main" id="{E2F10766-2633-4C2F-B987-B26EA840934D}"/>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8067289" y="0"/>
            <a:ext cx="4124711" cy="3365667"/>
          </a:xfrm>
          <a:prstGeom prst="rect">
            <a:avLst/>
          </a:prstGeom>
        </p:spPr>
      </p:pic>
      <p:pic>
        <p:nvPicPr>
          <p:cNvPr id="16" name="Picture 15">
            <a:extLst>
              <a:ext uri="{FF2B5EF4-FFF2-40B4-BE49-F238E27FC236}">
                <a16:creationId xmlns:a16="http://schemas.microsoft.com/office/drawing/2014/main" id="{FBC5B346-3986-43C9-BBC4-4507E1A22102}"/>
              </a:ext>
            </a:extLst>
          </p:cNvPr>
          <p:cNvPicPr>
            <a:picLocks noChangeAspect="1"/>
          </p:cNvPicPr>
          <p:nvPr/>
        </p:nvPicPr>
        <p:blipFill rotWithShape="1">
          <a:blip r:embed="rId3"/>
          <a:srcRect r="7936"/>
          <a:stretch/>
        </p:blipFill>
        <p:spPr>
          <a:xfrm>
            <a:off x="3814690" y="0"/>
            <a:ext cx="4129240" cy="3363906"/>
          </a:xfrm>
          <a:prstGeom prst="rect">
            <a:avLst/>
          </a:prstGeom>
        </p:spPr>
      </p:pic>
      <p:pic>
        <p:nvPicPr>
          <p:cNvPr id="4" name="Imagen 3">
            <a:extLst>
              <a:ext uri="{FF2B5EF4-FFF2-40B4-BE49-F238E27FC236}">
                <a16:creationId xmlns:a16="http://schemas.microsoft.com/office/drawing/2014/main" id="{31AD6C48-1C1B-4273-AED4-9DBB3C77B0AE}"/>
              </a:ext>
            </a:extLst>
          </p:cNvPr>
          <p:cNvPicPr>
            <a:picLocks noChangeAspect="1"/>
          </p:cNvPicPr>
          <p:nvPr/>
        </p:nvPicPr>
        <p:blipFill rotWithShape="1">
          <a:blip r:embed="rId4"/>
          <a:srcRect l="25336" r="5596"/>
          <a:stretch/>
        </p:blipFill>
        <p:spPr>
          <a:xfrm>
            <a:off x="3814691" y="3494398"/>
            <a:ext cx="4124710" cy="3363602"/>
          </a:xfrm>
          <a:prstGeom prst="rect">
            <a:avLst/>
          </a:prstGeom>
        </p:spPr>
      </p:pic>
      <p:pic>
        <p:nvPicPr>
          <p:cNvPr id="18" name="Picture 4">
            <a:extLst>
              <a:ext uri="{FF2B5EF4-FFF2-40B4-BE49-F238E27FC236}">
                <a16:creationId xmlns:a16="http://schemas.microsoft.com/office/drawing/2014/main" id="{F8EA6D0C-3464-4105-BFBA-709730C9A93E}"/>
              </a:ext>
            </a:extLst>
          </p:cNvPr>
          <p:cNvPicPr>
            <a:picLocks noChangeAspect="1" noChangeArrowheads="1"/>
          </p:cNvPicPr>
          <p:nvPr/>
        </p:nvPicPr>
        <p:blipFill rotWithShape="1">
          <a:blip r:embed="rId5">
            <a:extLst>
              <a:ext uri="{28A0092B-C50C-407E-A947-70E740481C1C}">
                <a14:useLocalDpi xmlns:a14="http://schemas.microsoft.com/office/drawing/2010/main"/>
              </a:ext>
            </a:extLst>
          </a:blip>
          <a:srcRect/>
          <a:stretch/>
        </p:blipFill>
        <p:spPr bwMode="auto">
          <a:xfrm>
            <a:off x="8062760" y="3487734"/>
            <a:ext cx="4129240" cy="337026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9">
            <a:extLst>
              <a:ext uri="{FF2B5EF4-FFF2-40B4-BE49-F238E27FC236}">
                <a16:creationId xmlns:a16="http://schemas.microsoft.com/office/drawing/2014/main" id="{8B9B4D39-A51A-477D-8ADD-637A561D00BE}"/>
              </a:ext>
            </a:extLst>
          </p:cNvPr>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11345664" y="6393976"/>
            <a:ext cx="507600" cy="194623"/>
          </a:xfrm>
          <a:prstGeom prst="rect">
            <a:avLst/>
          </a:prstGeom>
          <a:noFill/>
          <a:extLst>
            <a:ext uri="{909E8E84-426E-40DD-AFC4-6F175D3DCCD1}">
              <a14:hiddenFill xmlns:a14="http://schemas.microsoft.com/office/drawing/2010/main">
                <a:solidFill>
                  <a:srgbClr val="FFFFFF"/>
                </a:solidFill>
              </a14:hiddenFill>
            </a:ext>
          </a:extLst>
        </p:spPr>
      </p:pic>
      <p:sp>
        <p:nvSpPr>
          <p:cNvPr id="7" name="object 2">
            <a:extLst>
              <a:ext uri="{FF2B5EF4-FFF2-40B4-BE49-F238E27FC236}">
                <a16:creationId xmlns:a16="http://schemas.microsoft.com/office/drawing/2014/main" id="{3E663106-8BBD-9D50-521E-5038F6103B92}"/>
              </a:ext>
            </a:extLst>
          </p:cNvPr>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Tree>
    <p:extLst>
      <p:ext uri="{BB962C8B-B14F-4D97-AF65-F5344CB8AC3E}">
        <p14:creationId xmlns:p14="http://schemas.microsoft.com/office/powerpoint/2010/main" val="1698243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1149"/>
            <a:ext cx="2826385" cy="812402"/>
          </a:xfrm>
          <a:prstGeom prst="rect">
            <a:avLst/>
          </a:prstGeom>
        </p:spPr>
        <p:txBody>
          <a:bodyPr vert="horz" wrap="square" lIns="0" tIns="12065" rIns="0" bIns="0" rtlCol="0">
            <a:spAutoFit/>
          </a:bodyPr>
          <a:lstStyle/>
          <a:p>
            <a:pPr>
              <a:lnSpc>
                <a:spcPct val="100000"/>
              </a:lnSpc>
              <a:spcBef>
                <a:spcPts val="95"/>
              </a:spcBef>
            </a:pPr>
            <a:r>
              <a:rPr sz="2800" b="1">
                <a:latin typeface="ABBvoice"/>
                <a:cs typeface="ABBvoice"/>
              </a:rPr>
              <a:t>ABB</a:t>
            </a:r>
            <a:r>
              <a:rPr sz="2800" b="1" spc="-50">
                <a:latin typeface="ABBvoice"/>
                <a:cs typeface="ABBvoice"/>
              </a:rPr>
              <a:t> </a:t>
            </a:r>
            <a:r>
              <a:rPr sz="2800" b="1">
                <a:latin typeface="ABBvoice"/>
                <a:cs typeface="ABBvoice"/>
              </a:rPr>
              <a:t>in</a:t>
            </a:r>
            <a:r>
              <a:rPr sz="2800" b="1" spc="-50">
                <a:latin typeface="ABBvoice"/>
                <a:cs typeface="ABBvoice"/>
              </a:rPr>
              <a:t> </a:t>
            </a:r>
            <a:r>
              <a:rPr sz="2800" b="1" spc="-10">
                <a:latin typeface="ABBvoice"/>
                <a:cs typeface="ABBvoice"/>
              </a:rPr>
              <a:t>Canada</a:t>
            </a:r>
          </a:p>
          <a:p>
            <a:pPr>
              <a:lnSpc>
                <a:spcPct val="100000"/>
              </a:lnSpc>
            </a:pPr>
            <a:r>
              <a:rPr sz="2400">
                <a:latin typeface="ABBvoice Light" panose="020D0403020503020204" pitchFamily="34" charset="0"/>
                <a:ea typeface="ABBvoice Light" panose="020D0403020503020204" pitchFamily="34" charset="0"/>
                <a:cs typeface="ABBvoice Light" panose="020D0403020503020204" pitchFamily="34" charset="0"/>
              </a:rPr>
              <a:t>At</a:t>
            </a:r>
            <a:r>
              <a:rPr sz="2400" spc="-3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a</a:t>
            </a:r>
            <a:r>
              <a:rPr sz="2400" spc="-30">
                <a:latin typeface="ABBvoice Light" panose="020D0403020503020204" pitchFamily="34" charset="0"/>
                <a:ea typeface="ABBvoice Light" panose="020D0403020503020204" pitchFamily="34" charset="0"/>
                <a:cs typeface="ABBvoice Light" panose="020D0403020503020204" pitchFamily="34" charset="0"/>
              </a:rPr>
              <a:t> </a:t>
            </a:r>
            <a:r>
              <a:rPr sz="2400" spc="-10">
                <a:latin typeface="ABBvoice Light" panose="020D0403020503020204" pitchFamily="34" charset="0"/>
                <a:ea typeface="ABBvoice Light" panose="020D0403020503020204" pitchFamily="34" charset="0"/>
                <a:cs typeface="ABBvoice Light" panose="020D0403020503020204" pitchFamily="34" charset="0"/>
              </a:rPr>
              <a:t>glance</a:t>
            </a:r>
          </a:p>
        </p:txBody>
      </p:sp>
      <p:sp>
        <p:nvSpPr>
          <p:cNvPr id="4" name="object 4"/>
          <p:cNvSpPr txBox="1"/>
          <p:nvPr/>
        </p:nvSpPr>
        <p:spPr>
          <a:xfrm>
            <a:off x="1235760" y="2401011"/>
            <a:ext cx="1814830" cy="451484"/>
          </a:xfrm>
          <a:prstGeom prst="rect">
            <a:avLst/>
          </a:prstGeom>
        </p:spPr>
        <p:txBody>
          <a:bodyPr vert="horz" wrap="square" lIns="0" tIns="12065" rIns="0" bIns="0" rtlCol="0">
            <a:spAutoFit/>
          </a:bodyPr>
          <a:lstStyle/>
          <a:p>
            <a:pPr marL="12700">
              <a:lnSpc>
                <a:spcPct val="100000"/>
              </a:lnSpc>
              <a:spcBef>
                <a:spcPts val="95"/>
              </a:spcBef>
            </a:pPr>
            <a:r>
              <a:rPr sz="1400" b="1" dirty="0">
                <a:latin typeface="ABBvoice"/>
                <a:cs typeface="ABBvoice"/>
              </a:rPr>
              <a:t>Region</a:t>
            </a:r>
            <a:r>
              <a:rPr sz="1400" b="1" spc="-50" dirty="0">
                <a:latin typeface="ABBvoice"/>
                <a:cs typeface="ABBvoice"/>
              </a:rPr>
              <a:t> </a:t>
            </a:r>
            <a:r>
              <a:rPr sz="1400" b="1" spc="-10" dirty="0">
                <a:latin typeface="ABBvoice"/>
                <a:cs typeface="ABBvoice"/>
              </a:rPr>
              <a:t>headquarters</a:t>
            </a:r>
            <a:endParaRPr sz="1400" dirty="0">
              <a:latin typeface="ABBvoice"/>
              <a:cs typeface="ABBvoice"/>
            </a:endParaRPr>
          </a:p>
          <a:p>
            <a:pPr marL="12700">
              <a:lnSpc>
                <a:spcPct val="100000"/>
              </a:lnSpc>
            </a:pPr>
            <a:r>
              <a:rPr sz="1400" b="1" dirty="0">
                <a:solidFill>
                  <a:srgbClr val="D90000"/>
                </a:solidFill>
                <a:latin typeface="ABBvoice"/>
                <a:cs typeface="ABBvoice"/>
              </a:rPr>
              <a:t>Montreal</a:t>
            </a:r>
            <a:r>
              <a:rPr sz="1400" dirty="0">
                <a:latin typeface="ABBvoice"/>
                <a:cs typeface="ABBvoice"/>
              </a:rPr>
              <a:t>,</a:t>
            </a:r>
            <a:r>
              <a:rPr sz="1400" spc="-65" dirty="0">
                <a:latin typeface="ABBvoice"/>
                <a:cs typeface="ABBvoice"/>
              </a:rPr>
              <a:t> </a:t>
            </a:r>
            <a:r>
              <a:rPr sz="1400" spc="-10" dirty="0">
                <a:latin typeface="ABBvoice"/>
                <a:cs typeface="ABBvoice"/>
              </a:rPr>
              <a:t>Quebec</a:t>
            </a:r>
            <a:endParaRPr sz="1400" dirty="0">
              <a:latin typeface="ABBvoice"/>
              <a:cs typeface="ABBvoice"/>
            </a:endParaRPr>
          </a:p>
        </p:txBody>
      </p:sp>
      <p:sp>
        <p:nvSpPr>
          <p:cNvPr id="5" name="object 5"/>
          <p:cNvSpPr txBox="1"/>
          <p:nvPr/>
        </p:nvSpPr>
        <p:spPr>
          <a:xfrm>
            <a:off x="1254963" y="3441319"/>
            <a:ext cx="1790700" cy="621665"/>
          </a:xfrm>
          <a:prstGeom prst="rect">
            <a:avLst/>
          </a:prstGeom>
        </p:spPr>
        <p:txBody>
          <a:bodyPr vert="horz" wrap="square" lIns="0" tIns="36194" rIns="0" bIns="0" rtlCol="0" anchor="t">
            <a:spAutoFit/>
          </a:bodyPr>
          <a:lstStyle/>
          <a:p>
            <a:pPr marL="12700" marR="5080">
              <a:lnSpc>
                <a:spcPts val="1510"/>
              </a:lnSpc>
              <a:spcBef>
                <a:spcPts val="284"/>
              </a:spcBef>
            </a:pPr>
            <a:r>
              <a:rPr sz="1400" b="1">
                <a:latin typeface="ABBvoice"/>
                <a:cs typeface="ABBvoice"/>
              </a:rPr>
              <a:t>Over</a:t>
            </a:r>
            <a:r>
              <a:rPr lang="en-US" sz="1400" b="1" spc="-35">
                <a:latin typeface="ABBvoice"/>
                <a:cs typeface="ABBvoice"/>
              </a:rPr>
              <a:t> </a:t>
            </a:r>
            <a:r>
              <a:rPr lang="en-US" sz="1400" b="1" spc="-35">
                <a:solidFill>
                  <a:srgbClr val="FF0000"/>
                </a:solidFill>
                <a:latin typeface="ABBvoice"/>
                <a:cs typeface="ABBvoice"/>
              </a:rPr>
              <a:t>~ </a:t>
            </a:r>
            <a:r>
              <a:rPr lang="en-US" sz="1400" b="1">
                <a:solidFill>
                  <a:srgbClr val="D90000"/>
                </a:solidFill>
                <a:latin typeface="ABBvoice"/>
                <a:cs typeface="ABBvoice"/>
              </a:rPr>
              <a:t>100</a:t>
            </a:r>
            <a:r>
              <a:rPr sz="1400" b="1" spc="-20">
                <a:solidFill>
                  <a:srgbClr val="D90000"/>
                </a:solidFill>
                <a:latin typeface="ABBvoice"/>
                <a:cs typeface="ABBvoice"/>
              </a:rPr>
              <a:t> </a:t>
            </a:r>
            <a:r>
              <a:rPr sz="1400">
                <a:latin typeface="ABBvoice"/>
                <a:cs typeface="ABBvoice"/>
              </a:rPr>
              <a:t>years</a:t>
            </a:r>
            <a:r>
              <a:rPr sz="1400" spc="-15">
                <a:latin typeface="ABBvoice"/>
                <a:cs typeface="ABBvoice"/>
              </a:rPr>
              <a:t> </a:t>
            </a:r>
            <a:r>
              <a:rPr sz="1400" spc="-25">
                <a:latin typeface="ABBvoice"/>
                <a:cs typeface="ABBvoice"/>
              </a:rPr>
              <a:t>of </a:t>
            </a:r>
            <a:r>
              <a:rPr sz="1400" spc="-10">
                <a:latin typeface="ABBvoice"/>
                <a:cs typeface="ABBvoice"/>
              </a:rPr>
              <a:t>technological </a:t>
            </a:r>
            <a:r>
              <a:rPr sz="1400">
                <a:latin typeface="ABBvoice"/>
                <a:cs typeface="ABBvoice"/>
              </a:rPr>
              <a:t>innovation in</a:t>
            </a:r>
            <a:r>
              <a:rPr sz="1400" spc="-60">
                <a:latin typeface="ABBvoice"/>
                <a:cs typeface="ABBvoice"/>
              </a:rPr>
              <a:t> </a:t>
            </a:r>
            <a:r>
              <a:rPr sz="1400" spc="-10">
                <a:latin typeface="ABBvoice"/>
                <a:cs typeface="ABBvoice"/>
              </a:rPr>
              <a:t>Canada</a:t>
            </a:r>
            <a:endParaRPr sz="1400">
              <a:latin typeface="ABBvoice"/>
              <a:cs typeface="ABBvoice"/>
            </a:endParaRPr>
          </a:p>
        </p:txBody>
      </p:sp>
      <p:sp>
        <p:nvSpPr>
          <p:cNvPr id="6" name="object 6"/>
          <p:cNvSpPr txBox="1"/>
          <p:nvPr/>
        </p:nvSpPr>
        <p:spPr>
          <a:xfrm>
            <a:off x="4424934" y="2401011"/>
            <a:ext cx="1605280" cy="451484"/>
          </a:xfrm>
          <a:prstGeom prst="rect">
            <a:avLst/>
          </a:prstGeom>
        </p:spPr>
        <p:txBody>
          <a:bodyPr vert="horz" wrap="square" lIns="0" tIns="12065" rIns="0" bIns="0" rtlCol="0">
            <a:spAutoFit/>
          </a:bodyPr>
          <a:lstStyle/>
          <a:p>
            <a:pPr marL="12700">
              <a:lnSpc>
                <a:spcPct val="100000"/>
              </a:lnSpc>
              <a:spcBef>
                <a:spcPts val="95"/>
              </a:spcBef>
            </a:pPr>
            <a:r>
              <a:rPr sz="1400" b="1" dirty="0">
                <a:solidFill>
                  <a:srgbClr val="D90000"/>
                </a:solidFill>
                <a:latin typeface="ABBvoice"/>
                <a:cs typeface="ABBvoice"/>
              </a:rPr>
              <a:t>~</a:t>
            </a:r>
            <a:r>
              <a:rPr sz="1400" b="1" spc="-30" dirty="0">
                <a:solidFill>
                  <a:srgbClr val="D90000"/>
                </a:solidFill>
                <a:latin typeface="ABBvoice"/>
                <a:cs typeface="ABBvoice"/>
              </a:rPr>
              <a:t> </a:t>
            </a:r>
            <a:r>
              <a:rPr sz="1400" b="1" dirty="0">
                <a:solidFill>
                  <a:srgbClr val="D90000"/>
                </a:solidFill>
                <a:latin typeface="ABBvoice"/>
                <a:cs typeface="ABBvoice"/>
              </a:rPr>
              <a:t>3,</a:t>
            </a:r>
            <a:r>
              <a:rPr lang="fr-CA" sz="1400" b="1" dirty="0">
                <a:solidFill>
                  <a:srgbClr val="D90000"/>
                </a:solidFill>
                <a:latin typeface="ABBvoice"/>
                <a:cs typeface="ABBvoice"/>
              </a:rPr>
              <a:t>2</a:t>
            </a:r>
            <a:r>
              <a:rPr sz="1400" b="1" dirty="0">
                <a:solidFill>
                  <a:srgbClr val="D90000"/>
                </a:solidFill>
                <a:latin typeface="ABBvoice"/>
                <a:cs typeface="ABBvoice"/>
              </a:rPr>
              <a:t>00</a:t>
            </a:r>
            <a:r>
              <a:rPr sz="1400" b="1" spc="20" dirty="0">
                <a:solidFill>
                  <a:srgbClr val="D90000"/>
                </a:solidFill>
                <a:latin typeface="ABBvoice"/>
                <a:cs typeface="ABBvoice"/>
              </a:rPr>
              <a:t> </a:t>
            </a:r>
            <a:r>
              <a:rPr sz="1400" b="1" spc="-10" dirty="0">
                <a:latin typeface="ABBvoice"/>
                <a:cs typeface="ABBvoice"/>
              </a:rPr>
              <a:t>employees</a:t>
            </a:r>
            <a:endParaRPr sz="1400" dirty="0">
              <a:latin typeface="ABBvoice"/>
              <a:cs typeface="ABBvoice"/>
            </a:endParaRPr>
          </a:p>
          <a:p>
            <a:pPr marL="12700">
              <a:lnSpc>
                <a:spcPct val="100000"/>
              </a:lnSpc>
            </a:pPr>
            <a:r>
              <a:rPr sz="1400" dirty="0">
                <a:latin typeface="ABBvoice"/>
                <a:cs typeface="ABBvoice"/>
              </a:rPr>
              <a:t>in</a:t>
            </a:r>
            <a:r>
              <a:rPr sz="1400" spc="-5" dirty="0">
                <a:latin typeface="ABBvoice"/>
                <a:cs typeface="ABBvoice"/>
              </a:rPr>
              <a:t> </a:t>
            </a:r>
            <a:r>
              <a:rPr sz="1400" spc="-10" dirty="0">
                <a:latin typeface="ABBvoice"/>
                <a:cs typeface="ABBvoice"/>
              </a:rPr>
              <a:t>Canada</a:t>
            </a:r>
            <a:endParaRPr sz="1400" dirty="0">
              <a:latin typeface="ABBvoice"/>
              <a:cs typeface="ABBvoice"/>
            </a:endParaRPr>
          </a:p>
        </p:txBody>
      </p:sp>
      <p:sp>
        <p:nvSpPr>
          <p:cNvPr id="7" name="object 7"/>
          <p:cNvSpPr txBox="1"/>
          <p:nvPr/>
        </p:nvSpPr>
        <p:spPr>
          <a:xfrm>
            <a:off x="4424934" y="3430651"/>
            <a:ext cx="1235710" cy="664845"/>
          </a:xfrm>
          <a:prstGeom prst="rect">
            <a:avLst/>
          </a:prstGeom>
        </p:spPr>
        <p:txBody>
          <a:bodyPr vert="horz" wrap="square" lIns="0" tIns="11430" rIns="0" bIns="0" rtlCol="0">
            <a:spAutoFit/>
          </a:bodyPr>
          <a:lstStyle/>
          <a:p>
            <a:pPr marL="12700">
              <a:lnSpc>
                <a:spcPct val="100000"/>
              </a:lnSpc>
              <a:spcBef>
                <a:spcPts val="90"/>
              </a:spcBef>
            </a:pPr>
            <a:r>
              <a:rPr lang="en-US" sz="1400" b="1">
                <a:solidFill>
                  <a:srgbClr val="D90000"/>
                </a:solidFill>
                <a:latin typeface="ABBvoice"/>
                <a:cs typeface="ABBvoice"/>
              </a:rPr>
              <a:t>18</a:t>
            </a:r>
            <a:endParaRPr sz="1400">
              <a:latin typeface="ABBvoice"/>
              <a:cs typeface="ABBvoice"/>
            </a:endParaRPr>
          </a:p>
          <a:p>
            <a:pPr marL="12700" marR="5080">
              <a:lnSpc>
                <a:spcPct val="100000"/>
              </a:lnSpc>
            </a:pPr>
            <a:r>
              <a:rPr sz="1400">
                <a:latin typeface="ABBvoice"/>
                <a:cs typeface="ABBvoice"/>
              </a:rPr>
              <a:t>sales</a:t>
            </a:r>
            <a:r>
              <a:rPr sz="1400" spc="10">
                <a:latin typeface="ABBvoice"/>
                <a:cs typeface="ABBvoice"/>
              </a:rPr>
              <a:t> </a:t>
            </a:r>
            <a:r>
              <a:rPr sz="1400">
                <a:latin typeface="ABBvoice"/>
                <a:cs typeface="ABBvoice"/>
              </a:rPr>
              <a:t>&amp;</a:t>
            </a:r>
            <a:r>
              <a:rPr sz="1400" spc="-45">
                <a:latin typeface="ABBvoice"/>
                <a:cs typeface="ABBvoice"/>
              </a:rPr>
              <a:t> </a:t>
            </a:r>
            <a:r>
              <a:rPr sz="1400" spc="-10">
                <a:latin typeface="ABBvoice"/>
                <a:cs typeface="ABBvoice"/>
              </a:rPr>
              <a:t>service locations</a:t>
            </a:r>
            <a:endParaRPr sz="1400">
              <a:latin typeface="ABBvoice"/>
              <a:cs typeface="ABBvoice"/>
            </a:endParaRPr>
          </a:p>
        </p:txBody>
      </p:sp>
      <p:sp>
        <p:nvSpPr>
          <p:cNvPr id="8" name="object 8"/>
          <p:cNvSpPr txBox="1"/>
          <p:nvPr/>
        </p:nvSpPr>
        <p:spPr>
          <a:xfrm>
            <a:off x="1235760" y="4656314"/>
            <a:ext cx="2121535" cy="770890"/>
          </a:xfrm>
          <a:prstGeom prst="rect">
            <a:avLst/>
          </a:prstGeom>
        </p:spPr>
        <p:txBody>
          <a:bodyPr vert="horz" wrap="square" lIns="0" tIns="12700" rIns="0" bIns="0" rtlCol="0">
            <a:spAutoFit/>
          </a:bodyPr>
          <a:lstStyle/>
          <a:p>
            <a:pPr marL="12700" marR="5080">
              <a:lnSpc>
                <a:spcPct val="116500"/>
              </a:lnSpc>
              <a:spcBef>
                <a:spcPts val="100"/>
              </a:spcBef>
            </a:pPr>
            <a:r>
              <a:rPr sz="1400" b="1" dirty="0">
                <a:latin typeface="ABBvoice"/>
                <a:cs typeface="ABBvoice"/>
              </a:rPr>
              <a:t>Ranked</a:t>
            </a:r>
            <a:r>
              <a:rPr sz="1400" b="1" spc="-40" dirty="0">
                <a:latin typeface="ABBvoice"/>
                <a:cs typeface="ABBvoice"/>
              </a:rPr>
              <a:t> </a:t>
            </a:r>
            <a:r>
              <a:rPr sz="1400" b="1" dirty="0">
                <a:latin typeface="ABBvoice"/>
                <a:cs typeface="ABBvoice"/>
              </a:rPr>
              <a:t>in</a:t>
            </a:r>
            <a:r>
              <a:rPr sz="1400" b="1" spc="-50" dirty="0">
                <a:latin typeface="ABBvoice"/>
                <a:cs typeface="ABBvoice"/>
              </a:rPr>
              <a:t> </a:t>
            </a:r>
            <a:r>
              <a:rPr sz="1400" b="1" dirty="0">
                <a:solidFill>
                  <a:srgbClr val="D90000"/>
                </a:solidFill>
                <a:latin typeface="ABBvoice"/>
                <a:cs typeface="ABBvoice"/>
              </a:rPr>
              <a:t>top</a:t>
            </a:r>
            <a:r>
              <a:rPr sz="1400" b="1" spc="-40" dirty="0">
                <a:solidFill>
                  <a:srgbClr val="D90000"/>
                </a:solidFill>
                <a:latin typeface="ABBvoice"/>
                <a:cs typeface="ABBvoice"/>
              </a:rPr>
              <a:t> </a:t>
            </a:r>
            <a:r>
              <a:rPr sz="1400" b="1" spc="-25" dirty="0">
                <a:solidFill>
                  <a:srgbClr val="D90000"/>
                </a:solidFill>
                <a:latin typeface="ABBvoice"/>
                <a:cs typeface="ABBvoice"/>
              </a:rPr>
              <a:t>100 </a:t>
            </a:r>
            <a:r>
              <a:rPr sz="1400" spc="-10" dirty="0">
                <a:latin typeface="ABBvoice"/>
                <a:cs typeface="ABBvoice"/>
              </a:rPr>
              <a:t>Canada’s</a:t>
            </a:r>
            <a:r>
              <a:rPr sz="1400" spc="-55" dirty="0">
                <a:latin typeface="ABBvoice"/>
                <a:cs typeface="ABBvoice"/>
              </a:rPr>
              <a:t> </a:t>
            </a:r>
            <a:r>
              <a:rPr sz="1400" dirty="0">
                <a:latin typeface="ABBvoice"/>
                <a:cs typeface="ABBvoice"/>
              </a:rPr>
              <a:t>Best</a:t>
            </a:r>
            <a:r>
              <a:rPr sz="1400" spc="-55" dirty="0">
                <a:latin typeface="ABBvoice"/>
                <a:cs typeface="ABBvoice"/>
              </a:rPr>
              <a:t> </a:t>
            </a:r>
            <a:r>
              <a:rPr sz="1400" spc="-10" dirty="0">
                <a:latin typeface="ABBvoice"/>
                <a:cs typeface="ABBvoice"/>
              </a:rPr>
              <a:t>Employers </a:t>
            </a:r>
            <a:r>
              <a:rPr sz="1400" dirty="0">
                <a:latin typeface="ABBvoice"/>
                <a:cs typeface="ABBvoice"/>
              </a:rPr>
              <a:t>(2021</a:t>
            </a:r>
            <a:r>
              <a:rPr sz="1400" spc="-40" dirty="0">
                <a:latin typeface="ABBvoice"/>
                <a:cs typeface="ABBvoice"/>
              </a:rPr>
              <a:t> </a:t>
            </a:r>
            <a:r>
              <a:rPr sz="1400" dirty="0">
                <a:latin typeface="ABBvoice"/>
                <a:cs typeface="ABBvoice"/>
              </a:rPr>
              <a:t>to</a:t>
            </a:r>
            <a:r>
              <a:rPr sz="1400" spc="-35" dirty="0">
                <a:latin typeface="ABBvoice"/>
                <a:cs typeface="ABBvoice"/>
              </a:rPr>
              <a:t> </a:t>
            </a:r>
            <a:r>
              <a:rPr sz="1400" spc="-10" dirty="0">
                <a:latin typeface="ABBvoice"/>
                <a:cs typeface="ABBvoice"/>
              </a:rPr>
              <a:t>202</a:t>
            </a:r>
            <a:r>
              <a:rPr lang="en-US" sz="1400" spc="-10" dirty="0">
                <a:latin typeface="ABBvoice"/>
                <a:cs typeface="ABBvoice"/>
              </a:rPr>
              <a:t>4</a:t>
            </a:r>
            <a:r>
              <a:rPr sz="1400" spc="-10" dirty="0">
                <a:latin typeface="ABBvoice"/>
                <a:cs typeface="ABBvoice"/>
              </a:rPr>
              <a:t>)</a:t>
            </a:r>
            <a:endParaRPr sz="1400" dirty="0">
              <a:latin typeface="ABBvoice"/>
              <a:cs typeface="ABBvoice"/>
            </a:endParaRPr>
          </a:p>
        </p:txBody>
      </p:sp>
      <p:pic>
        <p:nvPicPr>
          <p:cNvPr id="9" name="object 9"/>
          <p:cNvPicPr/>
          <p:nvPr/>
        </p:nvPicPr>
        <p:blipFill>
          <a:blip r:embed="rId2" cstate="print"/>
          <a:stretch>
            <a:fillRect/>
          </a:stretch>
        </p:blipFill>
        <p:spPr>
          <a:xfrm>
            <a:off x="3716528" y="2484120"/>
            <a:ext cx="558799" cy="355599"/>
          </a:xfrm>
          <a:prstGeom prst="rect">
            <a:avLst/>
          </a:prstGeom>
        </p:spPr>
      </p:pic>
      <p:sp>
        <p:nvSpPr>
          <p:cNvPr id="11" name="object 11"/>
          <p:cNvSpPr txBox="1"/>
          <p:nvPr/>
        </p:nvSpPr>
        <p:spPr>
          <a:xfrm>
            <a:off x="4424934" y="4585157"/>
            <a:ext cx="1413510" cy="878840"/>
          </a:xfrm>
          <a:prstGeom prst="rect">
            <a:avLst/>
          </a:prstGeom>
        </p:spPr>
        <p:txBody>
          <a:bodyPr vert="horz" wrap="square" lIns="0" tIns="12065" rIns="0" bIns="0" rtlCol="0">
            <a:spAutoFit/>
          </a:bodyPr>
          <a:lstStyle/>
          <a:p>
            <a:pPr marL="12700" marR="5080">
              <a:lnSpc>
                <a:spcPct val="100000"/>
              </a:lnSpc>
              <a:spcBef>
                <a:spcPts val="95"/>
              </a:spcBef>
            </a:pPr>
            <a:r>
              <a:rPr sz="1400" dirty="0">
                <a:latin typeface="ABBvoice"/>
                <a:cs typeface="ABBvoice"/>
              </a:rPr>
              <a:t>North</a:t>
            </a:r>
            <a:r>
              <a:rPr sz="1400" spc="-45" dirty="0">
                <a:latin typeface="ABBvoice"/>
                <a:cs typeface="ABBvoice"/>
              </a:rPr>
              <a:t> </a:t>
            </a:r>
            <a:r>
              <a:rPr sz="1400" spc="-10" dirty="0">
                <a:latin typeface="ABBvoice"/>
                <a:cs typeface="ABBvoice"/>
              </a:rPr>
              <a:t>American </a:t>
            </a:r>
            <a:r>
              <a:rPr sz="1400" b="1" dirty="0">
                <a:solidFill>
                  <a:srgbClr val="D90000"/>
                </a:solidFill>
                <a:latin typeface="ABBvoice"/>
                <a:cs typeface="ABBvoice"/>
              </a:rPr>
              <a:t>Center</a:t>
            </a:r>
            <a:r>
              <a:rPr sz="1400" b="1" spc="-50" dirty="0">
                <a:solidFill>
                  <a:srgbClr val="D90000"/>
                </a:solidFill>
                <a:latin typeface="ABBvoice"/>
                <a:cs typeface="ABBvoice"/>
              </a:rPr>
              <a:t> </a:t>
            </a:r>
            <a:r>
              <a:rPr sz="1400" b="1" spc="-25" dirty="0">
                <a:solidFill>
                  <a:srgbClr val="D90000"/>
                </a:solidFill>
                <a:latin typeface="ABBvoice"/>
                <a:cs typeface="ABBvoice"/>
              </a:rPr>
              <a:t>of </a:t>
            </a:r>
            <a:r>
              <a:rPr sz="1400" b="1" dirty="0">
                <a:solidFill>
                  <a:srgbClr val="D90000"/>
                </a:solidFill>
                <a:latin typeface="ABBvoice"/>
                <a:cs typeface="ABBvoice"/>
              </a:rPr>
              <a:t>Excellence</a:t>
            </a:r>
            <a:r>
              <a:rPr sz="1400" b="1" spc="-40" dirty="0">
                <a:solidFill>
                  <a:srgbClr val="D90000"/>
                </a:solidFill>
                <a:latin typeface="ABBvoice"/>
                <a:cs typeface="ABBvoice"/>
              </a:rPr>
              <a:t> </a:t>
            </a:r>
            <a:r>
              <a:rPr sz="1400" dirty="0">
                <a:latin typeface="ABBvoice"/>
                <a:cs typeface="ABBvoice"/>
              </a:rPr>
              <a:t>for</a:t>
            </a:r>
            <a:r>
              <a:rPr sz="1400" spc="-50" dirty="0">
                <a:latin typeface="ABBvoice"/>
                <a:cs typeface="ABBvoice"/>
              </a:rPr>
              <a:t> </a:t>
            </a:r>
            <a:r>
              <a:rPr sz="1400" spc="-25" dirty="0">
                <a:latin typeface="ABBvoice"/>
                <a:cs typeface="ABBvoice"/>
              </a:rPr>
              <a:t>E- </a:t>
            </a:r>
            <a:r>
              <a:rPr sz="1400" spc="-10" dirty="0">
                <a:latin typeface="ABBvoice"/>
                <a:cs typeface="ABBvoice"/>
              </a:rPr>
              <a:t>Mobility</a:t>
            </a:r>
            <a:endParaRPr sz="1400" dirty="0">
              <a:latin typeface="ABBvoice"/>
              <a:cs typeface="ABBvoice"/>
            </a:endParaRPr>
          </a:p>
        </p:txBody>
      </p:sp>
      <p:sp>
        <p:nvSpPr>
          <p:cNvPr id="12" name="object 12"/>
          <p:cNvSpPr txBox="1"/>
          <p:nvPr/>
        </p:nvSpPr>
        <p:spPr>
          <a:xfrm>
            <a:off x="7185786" y="2362311"/>
            <a:ext cx="1252220" cy="780415"/>
          </a:xfrm>
          <a:prstGeom prst="rect">
            <a:avLst/>
          </a:prstGeom>
        </p:spPr>
        <p:txBody>
          <a:bodyPr vert="horz" wrap="square" lIns="0" tIns="11430" rIns="0" bIns="0" rtlCol="0">
            <a:spAutoFit/>
          </a:bodyPr>
          <a:lstStyle/>
          <a:p>
            <a:pPr marL="12700">
              <a:lnSpc>
                <a:spcPts val="1550"/>
              </a:lnSpc>
              <a:spcBef>
                <a:spcPts val="90"/>
              </a:spcBef>
            </a:pPr>
            <a:r>
              <a:rPr lang="en-US" sz="1400" b="1">
                <a:solidFill>
                  <a:srgbClr val="D90000"/>
                </a:solidFill>
                <a:latin typeface="ABBvoice"/>
                <a:cs typeface="ABBvoice"/>
              </a:rPr>
              <a:t>15</a:t>
            </a:r>
            <a:endParaRPr sz="1400">
              <a:latin typeface="ABBvoice"/>
              <a:cs typeface="ABBvoice"/>
            </a:endParaRPr>
          </a:p>
          <a:p>
            <a:pPr marL="12700" marR="5080">
              <a:lnSpc>
                <a:spcPct val="85000"/>
              </a:lnSpc>
              <a:spcBef>
                <a:spcPts val="120"/>
              </a:spcBef>
            </a:pPr>
            <a:r>
              <a:rPr sz="1400" spc="-10">
                <a:latin typeface="ABBvoice"/>
                <a:cs typeface="ABBvoice"/>
              </a:rPr>
              <a:t>Manufacturing </a:t>
            </a:r>
            <a:r>
              <a:rPr sz="1400">
                <a:latin typeface="ABBvoice"/>
                <a:cs typeface="ABBvoice"/>
              </a:rPr>
              <a:t>&amp; </a:t>
            </a:r>
            <a:r>
              <a:rPr sz="1400" spc="-10">
                <a:latin typeface="ABBvoice"/>
                <a:cs typeface="ABBvoice"/>
              </a:rPr>
              <a:t>assembly locations</a:t>
            </a:r>
            <a:endParaRPr sz="1400">
              <a:latin typeface="ABBvoice"/>
              <a:cs typeface="ABBvoice"/>
            </a:endParaRPr>
          </a:p>
        </p:txBody>
      </p:sp>
      <p:pic>
        <p:nvPicPr>
          <p:cNvPr id="13" name="object 13"/>
          <p:cNvPicPr/>
          <p:nvPr/>
        </p:nvPicPr>
        <p:blipFill>
          <a:blip r:embed="rId3" cstate="print"/>
          <a:stretch>
            <a:fillRect/>
          </a:stretch>
        </p:blipFill>
        <p:spPr>
          <a:xfrm>
            <a:off x="6526276" y="2496678"/>
            <a:ext cx="431799" cy="558799"/>
          </a:xfrm>
          <a:prstGeom prst="rect">
            <a:avLst/>
          </a:prstGeom>
        </p:spPr>
      </p:pic>
      <p:sp>
        <p:nvSpPr>
          <p:cNvPr id="14" name="object 14"/>
          <p:cNvSpPr txBox="1"/>
          <p:nvPr/>
        </p:nvSpPr>
        <p:spPr>
          <a:xfrm>
            <a:off x="7091065" y="3593609"/>
            <a:ext cx="1226185" cy="417830"/>
          </a:xfrm>
          <a:prstGeom prst="rect">
            <a:avLst/>
          </a:prstGeom>
        </p:spPr>
        <p:txBody>
          <a:bodyPr vert="horz" wrap="square" lIns="0" tIns="11430" rIns="0" bIns="0" rtlCol="0">
            <a:spAutoFit/>
          </a:bodyPr>
          <a:lstStyle/>
          <a:p>
            <a:pPr marL="12700">
              <a:lnSpc>
                <a:spcPts val="1550"/>
              </a:lnSpc>
              <a:spcBef>
                <a:spcPts val="90"/>
              </a:spcBef>
            </a:pPr>
            <a:r>
              <a:rPr lang="fr-CA" sz="1400" b="1" spc="-25" dirty="0">
                <a:solidFill>
                  <a:srgbClr val="D90000"/>
                </a:solidFill>
                <a:latin typeface="ABBvoice"/>
                <a:cs typeface="ABBvoice"/>
              </a:rPr>
              <a:t>33</a:t>
            </a:r>
            <a:r>
              <a:rPr sz="1400" b="1" spc="-25" dirty="0">
                <a:solidFill>
                  <a:srgbClr val="D90000"/>
                </a:solidFill>
                <a:latin typeface="ABBvoice"/>
                <a:cs typeface="ABBvoice"/>
              </a:rPr>
              <a:t> </a:t>
            </a:r>
            <a:r>
              <a:rPr sz="1400" b="1" spc="-10" dirty="0">
                <a:solidFill>
                  <a:srgbClr val="D90000"/>
                </a:solidFill>
                <a:latin typeface="ABBvoice"/>
                <a:cs typeface="ABBvoice"/>
              </a:rPr>
              <a:t>locations</a:t>
            </a:r>
            <a:endParaRPr sz="1400" dirty="0">
              <a:latin typeface="ABBvoice"/>
              <a:cs typeface="ABBvoice"/>
            </a:endParaRPr>
          </a:p>
          <a:p>
            <a:pPr marL="12700">
              <a:lnSpc>
                <a:spcPts val="1550"/>
              </a:lnSpc>
            </a:pPr>
            <a:r>
              <a:rPr sz="1400" dirty="0">
                <a:latin typeface="ABBvoice"/>
                <a:cs typeface="ABBvoice"/>
              </a:rPr>
              <a:t>coast</a:t>
            </a:r>
            <a:r>
              <a:rPr sz="1400" spc="-25" dirty="0">
                <a:latin typeface="ABBvoice"/>
                <a:cs typeface="ABBvoice"/>
              </a:rPr>
              <a:t> </a:t>
            </a:r>
            <a:r>
              <a:rPr sz="1400" dirty="0">
                <a:latin typeface="ABBvoice"/>
                <a:cs typeface="ABBvoice"/>
              </a:rPr>
              <a:t>to</a:t>
            </a:r>
            <a:r>
              <a:rPr sz="1400" spc="-10" dirty="0">
                <a:latin typeface="ABBvoice"/>
                <a:cs typeface="ABBvoice"/>
              </a:rPr>
              <a:t> coast</a:t>
            </a:r>
            <a:endParaRPr sz="1400" dirty="0">
              <a:latin typeface="ABBvoice"/>
              <a:cs typeface="ABBvoice"/>
            </a:endParaRPr>
          </a:p>
        </p:txBody>
      </p:sp>
      <p:sp>
        <p:nvSpPr>
          <p:cNvPr id="15" name="object 15"/>
          <p:cNvSpPr txBox="1"/>
          <p:nvPr/>
        </p:nvSpPr>
        <p:spPr>
          <a:xfrm>
            <a:off x="7091065" y="4552364"/>
            <a:ext cx="1520190" cy="1019810"/>
          </a:xfrm>
          <a:prstGeom prst="rect">
            <a:avLst/>
          </a:prstGeom>
        </p:spPr>
        <p:txBody>
          <a:bodyPr vert="horz" wrap="square" lIns="0" tIns="12700" rIns="0" bIns="0" rtlCol="0">
            <a:spAutoFit/>
          </a:bodyPr>
          <a:lstStyle/>
          <a:p>
            <a:pPr marL="12700" marR="5080">
              <a:lnSpc>
                <a:spcPct val="116500"/>
              </a:lnSpc>
              <a:spcBef>
                <a:spcPts val="100"/>
              </a:spcBef>
            </a:pPr>
            <a:r>
              <a:rPr sz="1400" b="1" dirty="0">
                <a:latin typeface="ABBvoice"/>
                <a:cs typeface="ABBvoice"/>
              </a:rPr>
              <a:t>Close</a:t>
            </a:r>
            <a:r>
              <a:rPr sz="1400" b="1" spc="-40" dirty="0">
                <a:latin typeface="ABBvoice"/>
                <a:cs typeface="ABBvoice"/>
              </a:rPr>
              <a:t> </a:t>
            </a:r>
            <a:r>
              <a:rPr sz="1400" b="1" dirty="0">
                <a:latin typeface="ABBvoice"/>
                <a:cs typeface="ABBvoice"/>
              </a:rPr>
              <a:t>to</a:t>
            </a:r>
            <a:r>
              <a:rPr sz="1400" b="1" spc="-45" dirty="0">
                <a:latin typeface="ABBvoice"/>
                <a:cs typeface="ABBvoice"/>
              </a:rPr>
              <a:t> </a:t>
            </a:r>
            <a:r>
              <a:rPr sz="1400" b="1" spc="-10" dirty="0">
                <a:solidFill>
                  <a:srgbClr val="D90000"/>
                </a:solidFill>
                <a:latin typeface="ABBvoice"/>
                <a:cs typeface="ABBvoice"/>
              </a:rPr>
              <a:t>$400K </a:t>
            </a:r>
            <a:r>
              <a:rPr sz="1400" dirty="0">
                <a:latin typeface="ABBvoice"/>
                <a:cs typeface="ABBvoice"/>
              </a:rPr>
              <a:t>given</a:t>
            </a:r>
            <a:r>
              <a:rPr sz="1400" spc="-60" dirty="0">
                <a:latin typeface="ABBvoice"/>
                <a:cs typeface="ABBvoice"/>
              </a:rPr>
              <a:t> </a:t>
            </a:r>
            <a:r>
              <a:rPr sz="1400" dirty="0">
                <a:latin typeface="ABBvoice"/>
                <a:cs typeface="ABBvoice"/>
              </a:rPr>
              <a:t>to</a:t>
            </a:r>
            <a:r>
              <a:rPr sz="1400" spc="-40" dirty="0">
                <a:latin typeface="ABBvoice"/>
                <a:cs typeface="ABBvoice"/>
              </a:rPr>
              <a:t> </a:t>
            </a:r>
            <a:r>
              <a:rPr sz="1400" spc="-20" dirty="0">
                <a:latin typeface="ABBvoice"/>
                <a:cs typeface="ABBvoice"/>
              </a:rPr>
              <a:t>Canadian </a:t>
            </a:r>
            <a:r>
              <a:rPr sz="1400" spc="-10" dirty="0">
                <a:latin typeface="ABBvoice"/>
                <a:cs typeface="ABBvoice"/>
              </a:rPr>
              <a:t>communities</a:t>
            </a:r>
            <a:r>
              <a:rPr sz="1400" spc="-50" dirty="0">
                <a:latin typeface="ABBvoice"/>
                <a:cs typeface="ABBvoice"/>
              </a:rPr>
              <a:t> </a:t>
            </a:r>
            <a:r>
              <a:rPr sz="1400" spc="-25" dirty="0">
                <a:latin typeface="ABBvoice"/>
                <a:cs typeface="ABBvoice"/>
              </a:rPr>
              <a:t>in </a:t>
            </a:r>
            <a:r>
              <a:rPr sz="1400" spc="-20" dirty="0">
                <a:latin typeface="ABBvoice"/>
                <a:cs typeface="ABBvoice"/>
              </a:rPr>
              <a:t>202</a:t>
            </a:r>
            <a:r>
              <a:rPr lang="en-US" sz="1400" spc="-20" dirty="0">
                <a:latin typeface="ABBvoice"/>
                <a:cs typeface="ABBvoice"/>
              </a:rPr>
              <a:t>3</a:t>
            </a:r>
            <a:endParaRPr sz="1400" dirty="0">
              <a:latin typeface="ABBvoice"/>
              <a:cs typeface="ABBvoice"/>
            </a:endParaRPr>
          </a:p>
        </p:txBody>
      </p:sp>
      <p:pic>
        <p:nvPicPr>
          <p:cNvPr id="16" name="object 16"/>
          <p:cNvPicPr/>
          <p:nvPr/>
        </p:nvPicPr>
        <p:blipFill>
          <a:blip r:embed="rId4" cstate="print"/>
          <a:stretch>
            <a:fillRect/>
          </a:stretch>
        </p:blipFill>
        <p:spPr>
          <a:xfrm>
            <a:off x="6456955" y="4648897"/>
            <a:ext cx="380999" cy="558799"/>
          </a:xfrm>
          <a:prstGeom prst="rect">
            <a:avLst/>
          </a:prstGeom>
        </p:spPr>
      </p:pic>
      <p:pic>
        <p:nvPicPr>
          <p:cNvPr id="18" name="object 18"/>
          <p:cNvPicPr/>
          <p:nvPr/>
        </p:nvPicPr>
        <p:blipFill>
          <a:blip r:embed="rId5" cstate="print"/>
          <a:stretch>
            <a:fillRect/>
          </a:stretch>
        </p:blipFill>
        <p:spPr>
          <a:xfrm>
            <a:off x="6443112" y="3542682"/>
            <a:ext cx="482599" cy="558799"/>
          </a:xfrm>
          <a:prstGeom prst="rect">
            <a:avLst/>
          </a:prstGeom>
        </p:spPr>
      </p:pic>
      <p:pic>
        <p:nvPicPr>
          <p:cNvPr id="19" name="object 19"/>
          <p:cNvPicPr/>
          <p:nvPr/>
        </p:nvPicPr>
        <p:blipFill>
          <a:blip r:embed="rId6" cstate="print"/>
          <a:stretch>
            <a:fillRect/>
          </a:stretch>
        </p:blipFill>
        <p:spPr>
          <a:xfrm>
            <a:off x="3716528" y="3490976"/>
            <a:ext cx="558799" cy="558799"/>
          </a:xfrm>
          <a:prstGeom prst="rect">
            <a:avLst/>
          </a:prstGeom>
        </p:spPr>
      </p:pic>
      <p:pic>
        <p:nvPicPr>
          <p:cNvPr id="20" name="object 20"/>
          <p:cNvPicPr/>
          <p:nvPr/>
        </p:nvPicPr>
        <p:blipFill>
          <a:blip r:embed="rId7" cstate="print"/>
          <a:stretch>
            <a:fillRect/>
          </a:stretch>
        </p:blipFill>
        <p:spPr>
          <a:xfrm>
            <a:off x="3818128" y="4752847"/>
            <a:ext cx="419099" cy="558799"/>
          </a:xfrm>
          <a:prstGeom prst="rect">
            <a:avLst/>
          </a:prstGeom>
        </p:spPr>
      </p:pic>
      <p:pic>
        <p:nvPicPr>
          <p:cNvPr id="21" name="object 21"/>
          <p:cNvPicPr/>
          <p:nvPr/>
        </p:nvPicPr>
        <p:blipFill>
          <a:blip r:embed="rId8" cstate="print"/>
          <a:stretch>
            <a:fillRect/>
          </a:stretch>
        </p:blipFill>
        <p:spPr>
          <a:xfrm>
            <a:off x="538733" y="3490976"/>
            <a:ext cx="488949" cy="558799"/>
          </a:xfrm>
          <a:prstGeom prst="rect">
            <a:avLst/>
          </a:prstGeom>
        </p:spPr>
      </p:pic>
      <p:grpSp>
        <p:nvGrpSpPr>
          <p:cNvPr id="22" name="object 22"/>
          <p:cNvGrpSpPr/>
          <p:nvPr/>
        </p:nvGrpSpPr>
        <p:grpSpPr>
          <a:xfrm>
            <a:off x="506983" y="4752847"/>
            <a:ext cx="584200" cy="558800"/>
            <a:chOff x="506983" y="4752847"/>
            <a:chExt cx="584200" cy="558800"/>
          </a:xfrm>
        </p:grpSpPr>
        <p:pic>
          <p:nvPicPr>
            <p:cNvPr id="23" name="object 23"/>
            <p:cNvPicPr/>
            <p:nvPr/>
          </p:nvPicPr>
          <p:blipFill>
            <a:blip r:embed="rId9" cstate="print"/>
            <a:stretch>
              <a:fillRect/>
            </a:stretch>
          </p:blipFill>
          <p:spPr>
            <a:xfrm>
              <a:off x="506983" y="4752847"/>
              <a:ext cx="558799" cy="558799"/>
            </a:xfrm>
            <a:prstGeom prst="rect">
              <a:avLst/>
            </a:prstGeom>
          </p:spPr>
        </p:pic>
        <p:pic>
          <p:nvPicPr>
            <p:cNvPr id="24" name="object 24"/>
            <p:cNvPicPr/>
            <p:nvPr/>
          </p:nvPicPr>
          <p:blipFill>
            <a:blip r:embed="rId10" cstate="print"/>
            <a:stretch>
              <a:fillRect/>
            </a:stretch>
          </p:blipFill>
          <p:spPr>
            <a:xfrm>
              <a:off x="950975" y="4952999"/>
              <a:ext cx="140208" cy="158495"/>
            </a:xfrm>
            <a:prstGeom prst="rect">
              <a:avLst/>
            </a:prstGeom>
          </p:spPr>
        </p:pic>
      </p:grpSp>
      <p:pic>
        <p:nvPicPr>
          <p:cNvPr id="25" name="object 25"/>
          <p:cNvPicPr/>
          <p:nvPr/>
        </p:nvPicPr>
        <p:blipFill>
          <a:blip r:embed="rId11" cstate="print"/>
          <a:stretch>
            <a:fillRect/>
          </a:stretch>
        </p:blipFill>
        <p:spPr>
          <a:xfrm>
            <a:off x="395662" y="2332322"/>
            <a:ext cx="679872" cy="600300"/>
          </a:xfrm>
          <a:prstGeom prst="rect">
            <a:avLst/>
          </a:prstGeom>
        </p:spPr>
      </p:pic>
      <p:sp>
        <p:nvSpPr>
          <p:cNvPr id="26" name="object 26"/>
          <p:cNvSpPr txBox="1"/>
          <p:nvPr/>
        </p:nvSpPr>
        <p:spPr>
          <a:xfrm>
            <a:off x="10003028" y="2445229"/>
            <a:ext cx="1730375" cy="664845"/>
          </a:xfrm>
          <a:prstGeom prst="rect">
            <a:avLst/>
          </a:prstGeom>
        </p:spPr>
        <p:txBody>
          <a:bodyPr vert="horz" wrap="square" lIns="0" tIns="11430" rIns="0" bIns="0" rtlCol="0" anchor="t">
            <a:spAutoFit/>
          </a:bodyPr>
          <a:lstStyle/>
          <a:p>
            <a:pPr marL="12700" marR="5080">
              <a:lnSpc>
                <a:spcPct val="100000"/>
              </a:lnSpc>
              <a:spcBef>
                <a:spcPts val="90"/>
              </a:spcBef>
            </a:pPr>
            <a:r>
              <a:rPr lang="en-US" sz="1400" dirty="0">
                <a:latin typeface="ABBvoice"/>
                <a:cs typeface="ABBvoice"/>
              </a:rPr>
              <a:t>Global</a:t>
            </a:r>
            <a:r>
              <a:rPr lang="en-US" sz="1400" spc="-40" dirty="0">
                <a:latin typeface="ABBvoice"/>
                <a:cs typeface="ABBvoice"/>
              </a:rPr>
              <a:t> </a:t>
            </a:r>
            <a:r>
              <a:rPr lang="en-US" sz="1400" dirty="0">
                <a:latin typeface="ABBvoice"/>
                <a:cs typeface="ABBvoice"/>
              </a:rPr>
              <a:t>Centre</a:t>
            </a:r>
            <a:r>
              <a:rPr lang="en-US" sz="1400" spc="-30" dirty="0">
                <a:latin typeface="ABBvoice"/>
                <a:cs typeface="ABBvoice"/>
              </a:rPr>
              <a:t> </a:t>
            </a:r>
            <a:r>
              <a:rPr lang="en-US" sz="1400" spc="-25" dirty="0">
                <a:latin typeface="ABBvoice"/>
                <a:cs typeface="ABBvoice"/>
              </a:rPr>
              <a:t>for </a:t>
            </a:r>
            <a:r>
              <a:rPr lang="en-US" sz="1400" b="1" dirty="0">
                <a:solidFill>
                  <a:srgbClr val="D90000"/>
                </a:solidFill>
                <a:latin typeface="ABBvoice"/>
                <a:cs typeface="ABBvoice"/>
              </a:rPr>
              <a:t>Emergency</a:t>
            </a:r>
            <a:r>
              <a:rPr lang="en-US" sz="1400" b="1" spc="-65" dirty="0">
                <a:solidFill>
                  <a:srgbClr val="D90000"/>
                </a:solidFill>
                <a:latin typeface="ABBvoice"/>
                <a:cs typeface="ABBvoice"/>
              </a:rPr>
              <a:t> </a:t>
            </a:r>
            <a:r>
              <a:rPr lang="en-US" sz="1400" b="1" spc="-10" dirty="0">
                <a:solidFill>
                  <a:srgbClr val="D90000"/>
                </a:solidFill>
                <a:latin typeface="ABBvoice"/>
                <a:cs typeface="ABBvoice"/>
              </a:rPr>
              <a:t>Lighting </a:t>
            </a:r>
            <a:r>
              <a:rPr lang="en-US" sz="1400" b="1" spc="-25" dirty="0">
                <a:solidFill>
                  <a:srgbClr val="D90000"/>
                </a:solidFill>
                <a:latin typeface="ABBvoice"/>
                <a:cs typeface="ABBvoice"/>
              </a:rPr>
              <a:t>R&amp;D</a:t>
            </a:r>
            <a:endParaRPr lang="en-US" sz="1400" dirty="0">
              <a:latin typeface="ABBvoice"/>
              <a:cs typeface="ABBvoice"/>
            </a:endParaRPr>
          </a:p>
        </p:txBody>
      </p:sp>
      <p:grpSp>
        <p:nvGrpSpPr>
          <p:cNvPr id="27" name="object 27"/>
          <p:cNvGrpSpPr/>
          <p:nvPr/>
        </p:nvGrpSpPr>
        <p:grpSpPr>
          <a:xfrm>
            <a:off x="9310985" y="2506619"/>
            <a:ext cx="502284" cy="553085"/>
            <a:chOff x="9310985" y="3492041"/>
            <a:chExt cx="502284" cy="553085"/>
          </a:xfrm>
        </p:grpSpPr>
        <p:pic>
          <p:nvPicPr>
            <p:cNvPr id="28" name="object 28"/>
            <p:cNvPicPr/>
            <p:nvPr/>
          </p:nvPicPr>
          <p:blipFill>
            <a:blip r:embed="rId12" cstate="print"/>
            <a:stretch>
              <a:fillRect/>
            </a:stretch>
          </p:blipFill>
          <p:spPr>
            <a:xfrm>
              <a:off x="9649909" y="3492041"/>
              <a:ext cx="138087" cy="138139"/>
            </a:xfrm>
            <a:prstGeom prst="rect">
              <a:avLst/>
            </a:prstGeom>
          </p:spPr>
        </p:pic>
        <p:sp>
          <p:nvSpPr>
            <p:cNvPr id="29" name="object 29"/>
            <p:cNvSpPr/>
            <p:nvPr/>
          </p:nvSpPr>
          <p:spPr>
            <a:xfrm>
              <a:off x="9323541" y="3592505"/>
              <a:ext cx="477520" cy="440055"/>
            </a:xfrm>
            <a:custGeom>
              <a:avLst/>
              <a:gdLst/>
              <a:ahLst/>
              <a:cxnLst/>
              <a:rect l="l" t="t" r="r" b="b"/>
              <a:pathLst>
                <a:path w="477520" h="440054">
                  <a:moveTo>
                    <a:pt x="313818" y="125597"/>
                  </a:moveTo>
                  <a:lnTo>
                    <a:pt x="313818" y="175836"/>
                  </a:lnTo>
                  <a:lnTo>
                    <a:pt x="477019" y="175836"/>
                  </a:lnTo>
                  <a:lnTo>
                    <a:pt x="477019" y="125597"/>
                  </a:lnTo>
                  <a:lnTo>
                    <a:pt x="364029" y="125597"/>
                  </a:lnTo>
                  <a:lnTo>
                    <a:pt x="364029" y="62798"/>
                  </a:lnTo>
                  <a:lnTo>
                    <a:pt x="301265" y="0"/>
                  </a:lnTo>
                  <a:lnTo>
                    <a:pt x="138079" y="0"/>
                  </a:lnTo>
                  <a:lnTo>
                    <a:pt x="37657" y="100477"/>
                  </a:lnTo>
                  <a:lnTo>
                    <a:pt x="75316" y="138156"/>
                  </a:lnTo>
                  <a:lnTo>
                    <a:pt x="163185" y="50238"/>
                  </a:lnTo>
                  <a:lnTo>
                    <a:pt x="238501" y="50238"/>
                  </a:lnTo>
                  <a:lnTo>
                    <a:pt x="112974" y="175836"/>
                  </a:lnTo>
                  <a:lnTo>
                    <a:pt x="112974" y="288873"/>
                  </a:lnTo>
                  <a:lnTo>
                    <a:pt x="0" y="288873"/>
                  </a:lnTo>
                  <a:lnTo>
                    <a:pt x="0" y="351672"/>
                  </a:lnTo>
                  <a:lnTo>
                    <a:pt x="188291" y="351672"/>
                  </a:lnTo>
                  <a:lnTo>
                    <a:pt x="188291" y="238634"/>
                  </a:lnTo>
                  <a:lnTo>
                    <a:pt x="288713" y="339112"/>
                  </a:lnTo>
                  <a:lnTo>
                    <a:pt x="288713" y="439589"/>
                  </a:lnTo>
                  <a:lnTo>
                    <a:pt x="351477" y="439589"/>
                  </a:lnTo>
                  <a:lnTo>
                    <a:pt x="351476" y="288873"/>
                  </a:lnTo>
                  <a:lnTo>
                    <a:pt x="251054" y="188395"/>
                  </a:lnTo>
                  <a:lnTo>
                    <a:pt x="313818" y="125597"/>
                  </a:lnTo>
                  <a:close/>
                </a:path>
              </a:pathLst>
            </a:custGeom>
            <a:ln w="25113">
              <a:solidFill>
                <a:srgbClr val="000000"/>
              </a:solidFill>
            </a:ln>
          </p:spPr>
          <p:txBody>
            <a:bodyPr wrap="square" lIns="0" tIns="0" rIns="0" bIns="0" rtlCol="0"/>
            <a:lstStyle/>
            <a:p>
              <a:endParaRPr/>
            </a:p>
          </p:txBody>
        </p:sp>
      </p:grpSp>
      <p:sp>
        <p:nvSpPr>
          <p:cNvPr id="30" name="object 30"/>
          <p:cNvSpPr txBox="1"/>
          <p:nvPr/>
        </p:nvSpPr>
        <p:spPr>
          <a:xfrm>
            <a:off x="10003028" y="3577982"/>
            <a:ext cx="1851025" cy="1088760"/>
          </a:xfrm>
          <a:prstGeom prst="rect">
            <a:avLst/>
          </a:prstGeom>
        </p:spPr>
        <p:txBody>
          <a:bodyPr vert="horz" wrap="square" lIns="0" tIns="11430" rIns="0" bIns="0" rtlCol="0">
            <a:spAutoFit/>
          </a:bodyPr>
          <a:lstStyle/>
          <a:p>
            <a:pPr marL="12700" marR="5080" indent="42545">
              <a:lnSpc>
                <a:spcPct val="100000"/>
              </a:lnSpc>
              <a:spcBef>
                <a:spcPts val="90"/>
              </a:spcBef>
            </a:pPr>
            <a:r>
              <a:rPr lang="en-US" sz="1400" b="1" spc="-30" dirty="0">
                <a:solidFill>
                  <a:srgbClr val="D90000"/>
                </a:solidFill>
                <a:latin typeface="ABBvoice"/>
                <a:cs typeface="ABBvoice"/>
              </a:rPr>
              <a:t>Over</a:t>
            </a:r>
            <a:r>
              <a:rPr sz="1400" b="1" spc="-30" dirty="0">
                <a:solidFill>
                  <a:srgbClr val="D90000"/>
                </a:solidFill>
                <a:latin typeface="ABBvoice"/>
                <a:cs typeface="ABBvoice"/>
              </a:rPr>
              <a:t> </a:t>
            </a:r>
            <a:r>
              <a:rPr sz="1400" b="1" dirty="0">
                <a:solidFill>
                  <a:srgbClr val="D90000"/>
                </a:solidFill>
                <a:latin typeface="ABBvoice"/>
                <a:cs typeface="ABBvoice"/>
              </a:rPr>
              <a:t>70</a:t>
            </a:r>
            <a:r>
              <a:rPr sz="1400" b="1" spc="-15" dirty="0">
                <a:solidFill>
                  <a:srgbClr val="D90000"/>
                </a:solidFill>
                <a:latin typeface="ABBvoice"/>
                <a:cs typeface="ABBvoice"/>
              </a:rPr>
              <a:t> </a:t>
            </a:r>
            <a:r>
              <a:rPr sz="1400" b="1" dirty="0">
                <a:solidFill>
                  <a:srgbClr val="D90000"/>
                </a:solidFill>
                <a:latin typeface="ABBvoice"/>
                <a:cs typeface="ABBvoice"/>
              </a:rPr>
              <a:t>million</a:t>
            </a:r>
            <a:r>
              <a:rPr sz="1400" b="1" spc="-25" dirty="0">
                <a:solidFill>
                  <a:srgbClr val="D90000"/>
                </a:solidFill>
                <a:latin typeface="ABBvoice"/>
                <a:cs typeface="ABBvoice"/>
              </a:rPr>
              <a:t> </a:t>
            </a:r>
            <a:r>
              <a:rPr sz="1400" spc="-10" dirty="0">
                <a:latin typeface="ABBvoice"/>
                <a:cs typeface="ABBvoice"/>
              </a:rPr>
              <a:t>digitally </a:t>
            </a:r>
            <a:r>
              <a:rPr sz="1400" dirty="0">
                <a:latin typeface="ABBvoice"/>
                <a:cs typeface="ABBvoice"/>
              </a:rPr>
              <a:t>enabled</a:t>
            </a:r>
            <a:r>
              <a:rPr sz="1400" spc="-40" dirty="0">
                <a:latin typeface="ABBvoice"/>
                <a:cs typeface="ABBvoice"/>
              </a:rPr>
              <a:t> </a:t>
            </a:r>
            <a:r>
              <a:rPr sz="1400" dirty="0">
                <a:latin typeface="ABBvoice"/>
                <a:cs typeface="ABBvoice"/>
              </a:rPr>
              <a:t>devices</a:t>
            </a:r>
            <a:r>
              <a:rPr sz="1400" spc="-60" dirty="0">
                <a:latin typeface="ABBvoice"/>
                <a:cs typeface="ABBvoice"/>
              </a:rPr>
              <a:t> </a:t>
            </a:r>
            <a:r>
              <a:rPr sz="1400" spc="-20" dirty="0">
                <a:latin typeface="ABBvoice"/>
                <a:cs typeface="ABBvoice"/>
              </a:rPr>
              <a:t>that </a:t>
            </a:r>
            <a:r>
              <a:rPr sz="1400" dirty="0">
                <a:latin typeface="ABBvoice"/>
                <a:cs typeface="ABBvoice"/>
              </a:rPr>
              <a:t>create</a:t>
            </a:r>
            <a:r>
              <a:rPr sz="1400" spc="-20" dirty="0">
                <a:latin typeface="ABBvoice"/>
                <a:cs typeface="ABBvoice"/>
              </a:rPr>
              <a:t> </a:t>
            </a:r>
            <a:r>
              <a:rPr sz="1400" dirty="0">
                <a:latin typeface="ABBvoice"/>
                <a:cs typeface="ABBvoice"/>
              </a:rPr>
              <a:t>the</a:t>
            </a:r>
            <a:r>
              <a:rPr sz="1400" spc="-35" dirty="0">
                <a:latin typeface="ABBvoice"/>
                <a:cs typeface="ABBvoice"/>
              </a:rPr>
              <a:t> </a:t>
            </a:r>
            <a:r>
              <a:rPr sz="1400" spc="-10" dirty="0">
                <a:latin typeface="ABBvoice"/>
                <a:cs typeface="ABBvoice"/>
              </a:rPr>
              <a:t>foundation </a:t>
            </a:r>
            <a:r>
              <a:rPr sz="1400" dirty="0">
                <a:latin typeface="ABBvoice"/>
                <a:cs typeface="ABBvoice"/>
              </a:rPr>
              <a:t>of</a:t>
            </a:r>
            <a:r>
              <a:rPr sz="1400" spc="-15" dirty="0">
                <a:latin typeface="ABBvoice"/>
                <a:cs typeface="ABBvoice"/>
              </a:rPr>
              <a:t> </a:t>
            </a:r>
            <a:r>
              <a:rPr sz="1400" dirty="0">
                <a:latin typeface="ABBvoice"/>
                <a:cs typeface="ABBvoice"/>
              </a:rPr>
              <a:t>the </a:t>
            </a:r>
            <a:r>
              <a:rPr sz="1400" spc="-20" dirty="0" err="1">
                <a:latin typeface="ABBvoice"/>
                <a:cs typeface="ABBvoice"/>
              </a:rPr>
              <a:t>IIoT</a:t>
            </a:r>
            <a:endParaRPr sz="1400" dirty="0">
              <a:latin typeface="ABBvoice"/>
              <a:cs typeface="ABBvoice"/>
            </a:endParaRPr>
          </a:p>
        </p:txBody>
      </p:sp>
      <p:sp>
        <p:nvSpPr>
          <p:cNvPr id="31" name="object 31"/>
          <p:cNvSpPr/>
          <p:nvPr/>
        </p:nvSpPr>
        <p:spPr>
          <a:xfrm>
            <a:off x="9456075" y="3623571"/>
            <a:ext cx="276225" cy="530225"/>
          </a:xfrm>
          <a:custGeom>
            <a:avLst/>
            <a:gdLst/>
            <a:ahLst/>
            <a:cxnLst/>
            <a:rect l="l" t="t" r="r" b="b"/>
            <a:pathLst>
              <a:path w="276225" h="530225">
                <a:moveTo>
                  <a:pt x="0" y="467004"/>
                </a:moveTo>
                <a:lnTo>
                  <a:pt x="0" y="0"/>
                </a:lnTo>
                <a:lnTo>
                  <a:pt x="276160" y="0"/>
                </a:lnTo>
                <a:lnTo>
                  <a:pt x="276161" y="467004"/>
                </a:lnTo>
              </a:path>
              <a:path w="276225" h="530225">
                <a:moveTo>
                  <a:pt x="0" y="467004"/>
                </a:moveTo>
                <a:lnTo>
                  <a:pt x="1981" y="476806"/>
                </a:lnTo>
                <a:lnTo>
                  <a:pt x="7375" y="484833"/>
                </a:lnTo>
                <a:lnTo>
                  <a:pt x="15358" y="490256"/>
                </a:lnTo>
                <a:lnTo>
                  <a:pt x="25106" y="492248"/>
                </a:lnTo>
                <a:lnTo>
                  <a:pt x="251055" y="492248"/>
                </a:lnTo>
              </a:path>
              <a:path w="276225" h="530225">
                <a:moveTo>
                  <a:pt x="251055" y="492248"/>
                </a:moveTo>
                <a:lnTo>
                  <a:pt x="260803" y="490256"/>
                </a:lnTo>
                <a:lnTo>
                  <a:pt x="268786" y="484833"/>
                </a:lnTo>
                <a:lnTo>
                  <a:pt x="274180" y="476806"/>
                </a:lnTo>
                <a:lnTo>
                  <a:pt x="276161" y="467004"/>
                </a:lnTo>
              </a:path>
              <a:path w="276225" h="530225">
                <a:moveTo>
                  <a:pt x="251055" y="492248"/>
                </a:moveTo>
                <a:lnTo>
                  <a:pt x="251055" y="530113"/>
                </a:lnTo>
                <a:lnTo>
                  <a:pt x="25106" y="530113"/>
                </a:lnTo>
                <a:lnTo>
                  <a:pt x="25106" y="492248"/>
                </a:lnTo>
              </a:path>
              <a:path w="276225" h="530225">
                <a:moveTo>
                  <a:pt x="50211" y="290296"/>
                </a:moveTo>
                <a:lnTo>
                  <a:pt x="225949" y="290296"/>
                </a:lnTo>
                <a:lnTo>
                  <a:pt x="225949" y="50477"/>
                </a:lnTo>
                <a:lnTo>
                  <a:pt x="50211" y="50477"/>
                </a:lnTo>
                <a:lnTo>
                  <a:pt x="50211" y="290296"/>
                </a:lnTo>
                <a:close/>
              </a:path>
              <a:path w="276225" h="530225">
                <a:moveTo>
                  <a:pt x="87869" y="227185"/>
                </a:moveTo>
                <a:lnTo>
                  <a:pt x="112975" y="227185"/>
                </a:lnTo>
              </a:path>
              <a:path w="276225" h="530225">
                <a:moveTo>
                  <a:pt x="163186" y="227185"/>
                </a:moveTo>
                <a:lnTo>
                  <a:pt x="188291" y="227185"/>
                </a:lnTo>
              </a:path>
              <a:path w="276225" h="530225">
                <a:moveTo>
                  <a:pt x="125527" y="201941"/>
                </a:moveTo>
                <a:lnTo>
                  <a:pt x="150633" y="201941"/>
                </a:lnTo>
              </a:path>
              <a:path w="276225" h="530225">
                <a:moveTo>
                  <a:pt x="125527" y="252430"/>
                </a:moveTo>
                <a:lnTo>
                  <a:pt x="150633" y="252430"/>
                </a:lnTo>
              </a:path>
              <a:path w="276225" h="530225">
                <a:moveTo>
                  <a:pt x="50211" y="164075"/>
                </a:moveTo>
                <a:lnTo>
                  <a:pt x="225949" y="164075"/>
                </a:lnTo>
              </a:path>
              <a:path w="276225" h="530225">
                <a:moveTo>
                  <a:pt x="37658" y="416516"/>
                </a:moveTo>
                <a:lnTo>
                  <a:pt x="138080" y="441760"/>
                </a:lnTo>
                <a:lnTo>
                  <a:pt x="238502" y="416516"/>
                </a:lnTo>
              </a:path>
            </a:pathLst>
          </a:custGeom>
          <a:ln w="25174">
            <a:solidFill>
              <a:srgbClr val="000000"/>
            </a:solidFill>
          </a:ln>
        </p:spPr>
        <p:txBody>
          <a:bodyPr wrap="square" lIns="0" tIns="0" rIns="0" bIns="0" rtlCol="0"/>
          <a:lstStyle/>
          <a:p>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object 2"/>
          <p:cNvSpPr txBox="1"/>
          <p:nvPr/>
        </p:nvSpPr>
        <p:spPr>
          <a:xfrm>
            <a:off x="408127" y="223215"/>
            <a:ext cx="405765" cy="512445"/>
          </a:xfrm>
          <a:prstGeom prst="rect">
            <a:avLst/>
          </a:prstGeom>
        </p:spPr>
        <p:txBody>
          <a:bodyPr vert="horz" wrap="square" lIns="0" tIns="12065" rIns="0" bIns="0" rtlCol="0">
            <a:spAutoFit/>
          </a:bodyPr>
          <a:lstStyle/>
          <a:p>
            <a:pPr>
              <a:lnSpc>
                <a:spcPct val="100000"/>
              </a:lnSpc>
              <a:spcBef>
                <a:spcPts val="95"/>
              </a:spcBef>
            </a:pPr>
            <a:r>
              <a:rPr sz="3200" b="1" spc="-10">
                <a:solidFill>
                  <a:srgbClr val="FF0000"/>
                </a:solidFill>
                <a:latin typeface="ABBvoice"/>
                <a:cs typeface="ABBvoice"/>
              </a:rPr>
              <a:t>—</a:t>
            </a:r>
            <a:endParaRPr sz="3200">
              <a:latin typeface="ABBvoice"/>
              <a:cs typeface="ABBvoice"/>
            </a:endParaRPr>
          </a:p>
        </p:txBody>
      </p:sp>
      <p:sp>
        <p:nvSpPr>
          <p:cNvPr id="3" name="object 3"/>
          <p:cNvSpPr txBox="1">
            <a:spLocks noGrp="1"/>
          </p:cNvSpPr>
          <p:nvPr>
            <p:ph type="title"/>
          </p:nvPr>
        </p:nvSpPr>
        <p:spPr>
          <a:xfrm>
            <a:off x="408127" y="711149"/>
            <a:ext cx="9650273" cy="812402"/>
          </a:xfrm>
          <a:prstGeom prst="rect">
            <a:avLst/>
          </a:prstGeom>
        </p:spPr>
        <p:txBody>
          <a:bodyPr vert="horz" wrap="square" lIns="0" tIns="12065" rIns="0" bIns="0" rtlCol="0">
            <a:spAutoFit/>
          </a:bodyPr>
          <a:lstStyle/>
          <a:p>
            <a:pPr>
              <a:lnSpc>
                <a:spcPct val="100000"/>
              </a:lnSpc>
              <a:spcBef>
                <a:spcPts val="95"/>
              </a:spcBef>
            </a:pPr>
            <a:r>
              <a:rPr sz="2800" b="1">
                <a:latin typeface="ABBvoice"/>
                <a:cs typeface="ABBvoice"/>
              </a:rPr>
              <a:t>The</a:t>
            </a:r>
            <a:r>
              <a:rPr sz="2800" b="1" spc="-80">
                <a:latin typeface="ABBvoice"/>
                <a:cs typeface="ABBvoice"/>
              </a:rPr>
              <a:t> </a:t>
            </a:r>
            <a:r>
              <a:rPr sz="2800" b="1">
                <a:latin typeface="ABBvoice"/>
                <a:cs typeface="ABBvoice"/>
              </a:rPr>
              <a:t>Canada</a:t>
            </a:r>
            <a:r>
              <a:rPr sz="2800" b="1" spc="-90">
                <a:latin typeface="ABBvoice"/>
                <a:cs typeface="ABBvoice"/>
              </a:rPr>
              <a:t> </a:t>
            </a:r>
            <a:r>
              <a:rPr sz="2800" b="1" spc="-10">
                <a:latin typeface="ABBvoice"/>
                <a:cs typeface="ABBvoice"/>
              </a:rPr>
              <a:t>story</a:t>
            </a:r>
          </a:p>
          <a:p>
            <a:pPr>
              <a:lnSpc>
                <a:spcPct val="100000"/>
              </a:lnSpc>
            </a:pPr>
            <a:r>
              <a:rPr sz="2400">
                <a:latin typeface="ABBvoice Light" panose="020D0403020503020204" pitchFamily="34" charset="0"/>
                <a:ea typeface="ABBvoice Light" panose="020D0403020503020204" pitchFamily="34" charset="0"/>
                <a:cs typeface="ABBvoice Light" panose="020D0403020503020204" pitchFamily="34" charset="0"/>
              </a:rPr>
              <a:t>Strategically</a:t>
            </a:r>
            <a:r>
              <a:rPr sz="2400" spc="-6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growing</a:t>
            </a:r>
            <a:r>
              <a:rPr sz="2400" spc="-8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in</a:t>
            </a:r>
            <a:r>
              <a:rPr sz="2400" spc="-8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the</a:t>
            </a:r>
            <a:r>
              <a:rPr sz="2400" spc="-75">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markets</a:t>
            </a:r>
            <a:r>
              <a:rPr sz="2400" spc="-100">
                <a:latin typeface="ABBvoice Light" panose="020D0403020503020204" pitchFamily="34" charset="0"/>
                <a:ea typeface="ABBvoice Light" panose="020D0403020503020204" pitchFamily="34" charset="0"/>
                <a:cs typeface="ABBvoice Light" panose="020D0403020503020204" pitchFamily="34" charset="0"/>
              </a:rPr>
              <a:t> </a:t>
            </a:r>
            <a:r>
              <a:rPr sz="2400">
                <a:latin typeface="ABBvoice Light" panose="020D0403020503020204" pitchFamily="34" charset="0"/>
                <a:ea typeface="ABBvoice Light" panose="020D0403020503020204" pitchFamily="34" charset="0"/>
                <a:cs typeface="ABBvoice Light" panose="020D0403020503020204" pitchFamily="34" charset="0"/>
              </a:rPr>
              <a:t>we</a:t>
            </a:r>
            <a:r>
              <a:rPr sz="2400" spc="-70">
                <a:latin typeface="ABBvoice Light" panose="020D0403020503020204" pitchFamily="34" charset="0"/>
                <a:ea typeface="ABBvoice Light" panose="020D0403020503020204" pitchFamily="34" charset="0"/>
                <a:cs typeface="ABBvoice Light" panose="020D0403020503020204" pitchFamily="34" charset="0"/>
              </a:rPr>
              <a:t> </a:t>
            </a:r>
            <a:r>
              <a:rPr sz="2400" spc="-10">
                <a:latin typeface="ABBvoice Light" panose="020D0403020503020204" pitchFamily="34" charset="0"/>
                <a:ea typeface="ABBvoice Light" panose="020D0403020503020204" pitchFamily="34" charset="0"/>
                <a:cs typeface="ABBvoice Light" panose="020D0403020503020204" pitchFamily="34" charset="0"/>
              </a:rPr>
              <a:t>serve</a:t>
            </a:r>
          </a:p>
        </p:txBody>
      </p:sp>
      <p:graphicFrame>
        <p:nvGraphicFramePr>
          <p:cNvPr id="4" name="object 4"/>
          <p:cNvGraphicFramePr>
            <a:graphicFrameLocks noGrp="1"/>
          </p:cNvGraphicFramePr>
          <p:nvPr/>
        </p:nvGraphicFramePr>
        <p:xfrm>
          <a:off x="457200" y="2426207"/>
          <a:ext cx="7059930" cy="4107813"/>
        </p:xfrm>
        <a:graphic>
          <a:graphicData uri="http://schemas.openxmlformats.org/drawingml/2006/table">
            <a:tbl>
              <a:tblPr firstRow="1" bandRow="1">
                <a:tableStyleId>{2D5ABB26-0587-4C30-8999-92F81FD0307C}</a:tableStyleId>
              </a:tblPr>
              <a:tblGrid>
                <a:gridCol w="394335">
                  <a:extLst>
                    <a:ext uri="{9D8B030D-6E8A-4147-A177-3AD203B41FA5}">
                      <a16:colId xmlns:a16="http://schemas.microsoft.com/office/drawing/2014/main" val="20000"/>
                    </a:ext>
                  </a:extLst>
                </a:gridCol>
                <a:gridCol w="6665595">
                  <a:extLst>
                    <a:ext uri="{9D8B030D-6E8A-4147-A177-3AD203B41FA5}">
                      <a16:colId xmlns:a16="http://schemas.microsoft.com/office/drawing/2014/main" val="20001"/>
                    </a:ext>
                  </a:extLst>
                </a:gridCol>
              </a:tblGrid>
              <a:tr h="473075">
                <a:tc>
                  <a:txBody>
                    <a:bodyPr/>
                    <a:lstStyle/>
                    <a:p>
                      <a:pPr marL="22225">
                        <a:lnSpc>
                          <a:spcPct val="100000"/>
                        </a:lnSpc>
                        <a:spcBef>
                          <a:spcPts val="590"/>
                        </a:spcBef>
                      </a:pPr>
                      <a:r>
                        <a:rPr sz="1100" b="1" spc="-20">
                          <a:latin typeface="ABBvoice"/>
                          <a:cs typeface="ABBvoice"/>
                        </a:rPr>
                        <a:t>1989</a:t>
                      </a:r>
                      <a:endParaRPr sz="1100">
                        <a:latin typeface="ABBvoice"/>
                        <a:cs typeface="ABBvoice"/>
                      </a:endParaRPr>
                    </a:p>
                  </a:txBody>
                  <a:tcPr marL="0" marR="0" marT="74930" marB="0">
                    <a:lnT w="12700">
                      <a:solidFill>
                        <a:srgbClr val="000000"/>
                      </a:solidFill>
                      <a:prstDash val="solid"/>
                    </a:lnT>
                  </a:tcPr>
                </a:tc>
                <a:tc>
                  <a:txBody>
                    <a:bodyPr/>
                    <a:lstStyle/>
                    <a:p>
                      <a:pPr marL="52705">
                        <a:lnSpc>
                          <a:spcPct val="100000"/>
                        </a:lnSpc>
                        <a:spcBef>
                          <a:spcPts val="590"/>
                        </a:spcBef>
                      </a:pPr>
                      <a:r>
                        <a:rPr sz="1100">
                          <a:latin typeface="ABBvoice"/>
                          <a:cs typeface="ABBvoice"/>
                        </a:rPr>
                        <a:t>ABB</a:t>
                      </a:r>
                      <a:r>
                        <a:rPr sz="1100" spc="15">
                          <a:latin typeface="ABBvoice"/>
                          <a:cs typeface="ABBvoice"/>
                        </a:rPr>
                        <a:t> </a:t>
                      </a:r>
                      <a:r>
                        <a:rPr sz="1100">
                          <a:latin typeface="ABBvoice"/>
                          <a:cs typeface="ABBvoice"/>
                        </a:rPr>
                        <a:t>acquires</a:t>
                      </a:r>
                      <a:r>
                        <a:rPr sz="1100" spc="-35">
                          <a:latin typeface="ABBvoice"/>
                          <a:cs typeface="ABBvoice"/>
                        </a:rPr>
                        <a:t> </a:t>
                      </a:r>
                      <a:r>
                        <a:rPr sz="1100">
                          <a:latin typeface="ABBvoice"/>
                          <a:cs typeface="ABBvoice"/>
                        </a:rPr>
                        <a:t>the</a:t>
                      </a:r>
                      <a:r>
                        <a:rPr sz="1100" spc="25">
                          <a:latin typeface="ABBvoice"/>
                          <a:cs typeface="ABBvoice"/>
                        </a:rPr>
                        <a:t> </a:t>
                      </a:r>
                      <a:r>
                        <a:rPr sz="1100" b="1">
                          <a:solidFill>
                            <a:srgbClr val="D90000"/>
                          </a:solidFill>
                          <a:latin typeface="ABBvoice"/>
                          <a:cs typeface="ABBvoice"/>
                        </a:rPr>
                        <a:t>Westinghouse</a:t>
                      </a:r>
                      <a:r>
                        <a:rPr sz="1100" b="1" spc="-90">
                          <a:solidFill>
                            <a:srgbClr val="D90000"/>
                          </a:solidFill>
                          <a:latin typeface="ABBvoice"/>
                          <a:cs typeface="ABBvoice"/>
                        </a:rPr>
                        <a:t> </a:t>
                      </a:r>
                      <a:r>
                        <a:rPr sz="1100" spc="-10">
                          <a:latin typeface="ABBvoice"/>
                          <a:cs typeface="ABBvoice"/>
                        </a:rPr>
                        <a:t>transmission</a:t>
                      </a:r>
                      <a:r>
                        <a:rPr sz="1100" spc="-50">
                          <a:latin typeface="ABBvoice"/>
                          <a:cs typeface="ABBvoice"/>
                        </a:rPr>
                        <a:t> </a:t>
                      </a:r>
                      <a:r>
                        <a:rPr sz="1100">
                          <a:latin typeface="ABBvoice"/>
                          <a:cs typeface="ABBvoice"/>
                        </a:rPr>
                        <a:t>&amp;</a:t>
                      </a:r>
                      <a:r>
                        <a:rPr sz="1100" spc="15">
                          <a:latin typeface="ABBvoice"/>
                          <a:cs typeface="ABBvoice"/>
                        </a:rPr>
                        <a:t> </a:t>
                      </a:r>
                      <a:r>
                        <a:rPr sz="1100" spc="-10">
                          <a:latin typeface="ABBvoice"/>
                          <a:cs typeface="ABBvoice"/>
                        </a:rPr>
                        <a:t>distribution</a:t>
                      </a:r>
                      <a:r>
                        <a:rPr sz="1100" spc="-45">
                          <a:latin typeface="ABBvoice"/>
                          <a:cs typeface="ABBvoice"/>
                        </a:rPr>
                        <a:t> </a:t>
                      </a:r>
                      <a:r>
                        <a:rPr sz="1100">
                          <a:latin typeface="ABBvoice"/>
                          <a:cs typeface="ABBvoice"/>
                        </a:rPr>
                        <a:t>business,</a:t>
                      </a:r>
                      <a:r>
                        <a:rPr sz="1100" spc="-40">
                          <a:latin typeface="ABBvoice"/>
                          <a:cs typeface="ABBvoice"/>
                        </a:rPr>
                        <a:t> </a:t>
                      </a:r>
                      <a:r>
                        <a:rPr sz="1100">
                          <a:latin typeface="ABBvoice"/>
                          <a:cs typeface="ABBvoice"/>
                        </a:rPr>
                        <a:t>marking</a:t>
                      </a:r>
                      <a:r>
                        <a:rPr sz="1100" spc="-15">
                          <a:latin typeface="ABBvoice"/>
                          <a:cs typeface="ABBvoice"/>
                        </a:rPr>
                        <a:t> </a:t>
                      </a:r>
                      <a:r>
                        <a:rPr sz="1100">
                          <a:latin typeface="ABBvoice"/>
                          <a:cs typeface="ABBvoice"/>
                        </a:rPr>
                        <a:t>ABB’s</a:t>
                      </a:r>
                      <a:r>
                        <a:rPr sz="1100" spc="15">
                          <a:latin typeface="ABBvoice"/>
                          <a:cs typeface="ABBvoice"/>
                        </a:rPr>
                        <a:t> </a:t>
                      </a:r>
                      <a:r>
                        <a:rPr sz="1100">
                          <a:latin typeface="ABBvoice"/>
                          <a:cs typeface="ABBvoice"/>
                        </a:rPr>
                        <a:t>entrance</a:t>
                      </a:r>
                      <a:r>
                        <a:rPr sz="1100" spc="-5">
                          <a:latin typeface="ABBvoice"/>
                          <a:cs typeface="ABBvoice"/>
                        </a:rPr>
                        <a:t> </a:t>
                      </a:r>
                      <a:r>
                        <a:rPr sz="1100" spc="-25">
                          <a:latin typeface="ABBvoice"/>
                          <a:cs typeface="ABBvoice"/>
                        </a:rPr>
                        <a:t>to</a:t>
                      </a:r>
                      <a:endParaRPr sz="1100">
                        <a:latin typeface="ABBvoice"/>
                        <a:cs typeface="ABBvoice"/>
                      </a:endParaRPr>
                    </a:p>
                    <a:p>
                      <a:pPr marL="34290">
                        <a:lnSpc>
                          <a:spcPct val="100000"/>
                        </a:lnSpc>
                      </a:pPr>
                      <a:r>
                        <a:rPr sz="1100">
                          <a:latin typeface="ABBvoice"/>
                          <a:cs typeface="ABBvoice"/>
                        </a:rPr>
                        <a:t>North</a:t>
                      </a:r>
                      <a:r>
                        <a:rPr sz="1100" spc="-10">
                          <a:latin typeface="ABBvoice"/>
                          <a:cs typeface="ABBvoice"/>
                        </a:rPr>
                        <a:t> </a:t>
                      </a:r>
                      <a:r>
                        <a:rPr sz="1100">
                          <a:latin typeface="ABBvoice"/>
                          <a:cs typeface="ABBvoice"/>
                        </a:rPr>
                        <a:t>American</a:t>
                      </a:r>
                      <a:r>
                        <a:rPr sz="1100" spc="-45">
                          <a:latin typeface="ABBvoice"/>
                          <a:cs typeface="ABBvoice"/>
                        </a:rPr>
                        <a:t> </a:t>
                      </a:r>
                      <a:r>
                        <a:rPr sz="1100">
                          <a:latin typeface="ABBvoice"/>
                          <a:cs typeface="ABBvoice"/>
                        </a:rPr>
                        <a:t>power</a:t>
                      </a:r>
                      <a:r>
                        <a:rPr sz="1100" spc="5">
                          <a:latin typeface="ABBvoice"/>
                          <a:cs typeface="ABBvoice"/>
                        </a:rPr>
                        <a:t> </a:t>
                      </a:r>
                      <a:r>
                        <a:rPr sz="1100">
                          <a:latin typeface="ABBvoice"/>
                          <a:cs typeface="ABBvoice"/>
                        </a:rPr>
                        <a:t>and</a:t>
                      </a:r>
                      <a:r>
                        <a:rPr sz="1100" spc="-40">
                          <a:latin typeface="ABBvoice"/>
                          <a:cs typeface="ABBvoice"/>
                        </a:rPr>
                        <a:t> </a:t>
                      </a:r>
                      <a:r>
                        <a:rPr sz="1100">
                          <a:latin typeface="ABBvoice"/>
                          <a:cs typeface="ABBvoice"/>
                        </a:rPr>
                        <a:t>industrial</a:t>
                      </a:r>
                      <a:r>
                        <a:rPr sz="1100" spc="-65">
                          <a:latin typeface="ABBvoice"/>
                          <a:cs typeface="ABBvoice"/>
                        </a:rPr>
                        <a:t> </a:t>
                      </a:r>
                      <a:r>
                        <a:rPr sz="1100" spc="-10">
                          <a:latin typeface="ABBvoice"/>
                          <a:cs typeface="ABBvoice"/>
                        </a:rPr>
                        <a:t>market</a:t>
                      </a:r>
                      <a:endParaRPr sz="1100">
                        <a:latin typeface="ABBvoice"/>
                        <a:cs typeface="ABBvoice"/>
                      </a:endParaRPr>
                    </a:p>
                  </a:txBody>
                  <a:tcPr marL="0" marR="0" marT="74930" marB="0">
                    <a:lnT w="12700">
                      <a:solidFill>
                        <a:srgbClr val="000000"/>
                      </a:solidFill>
                      <a:prstDash val="solid"/>
                    </a:lnT>
                  </a:tcPr>
                </a:tc>
                <a:extLst>
                  <a:ext uri="{0D108BD9-81ED-4DB2-BD59-A6C34878D82A}">
                    <a16:rowId xmlns:a16="http://schemas.microsoft.com/office/drawing/2014/main" val="10000"/>
                  </a:ext>
                </a:extLst>
              </a:tr>
              <a:tr h="411480">
                <a:tc>
                  <a:txBody>
                    <a:bodyPr/>
                    <a:lstStyle/>
                    <a:p>
                      <a:pPr marL="22225">
                        <a:lnSpc>
                          <a:spcPct val="100000"/>
                        </a:lnSpc>
                        <a:spcBef>
                          <a:spcPts val="100"/>
                        </a:spcBef>
                      </a:pPr>
                      <a:r>
                        <a:rPr sz="1100" b="1" spc="-20">
                          <a:latin typeface="ABBvoice"/>
                          <a:cs typeface="ABBvoice"/>
                        </a:rPr>
                        <a:t>1990</a:t>
                      </a:r>
                      <a:endParaRPr sz="1100">
                        <a:latin typeface="ABBvoice"/>
                        <a:cs typeface="ABBvoice"/>
                      </a:endParaRPr>
                    </a:p>
                  </a:txBody>
                  <a:tcPr marL="0" marR="0" marT="12700" marB="0"/>
                </a:tc>
                <a:tc>
                  <a:txBody>
                    <a:bodyPr/>
                    <a:lstStyle/>
                    <a:p>
                      <a:pPr marL="34290" marR="560070">
                        <a:lnSpc>
                          <a:spcPct val="100000"/>
                        </a:lnSpc>
                        <a:spcBef>
                          <a:spcPts val="100"/>
                        </a:spcBef>
                      </a:pPr>
                      <a:r>
                        <a:rPr sz="1100">
                          <a:latin typeface="ABBvoice"/>
                          <a:cs typeface="ABBvoice"/>
                        </a:rPr>
                        <a:t>ABB</a:t>
                      </a:r>
                      <a:r>
                        <a:rPr sz="1100" spc="-45">
                          <a:latin typeface="ABBvoice"/>
                          <a:cs typeface="ABBvoice"/>
                        </a:rPr>
                        <a:t> </a:t>
                      </a:r>
                      <a:r>
                        <a:rPr sz="1100">
                          <a:latin typeface="ABBvoice"/>
                          <a:cs typeface="ABBvoice"/>
                        </a:rPr>
                        <a:t>acquires</a:t>
                      </a:r>
                      <a:r>
                        <a:rPr sz="1100" spc="-30">
                          <a:latin typeface="ABBvoice"/>
                          <a:cs typeface="ABBvoice"/>
                        </a:rPr>
                        <a:t> </a:t>
                      </a:r>
                      <a:r>
                        <a:rPr sz="1100" b="1">
                          <a:solidFill>
                            <a:srgbClr val="D90000"/>
                          </a:solidFill>
                          <a:latin typeface="ABBvoice"/>
                          <a:cs typeface="ABBvoice"/>
                        </a:rPr>
                        <a:t>Bomem</a:t>
                      </a:r>
                      <a:r>
                        <a:rPr sz="1100" b="1" spc="-55">
                          <a:solidFill>
                            <a:srgbClr val="D90000"/>
                          </a:solidFill>
                          <a:latin typeface="ABBvoice"/>
                          <a:cs typeface="ABBvoice"/>
                        </a:rPr>
                        <a:t> </a:t>
                      </a:r>
                      <a:r>
                        <a:rPr sz="1100" b="1">
                          <a:solidFill>
                            <a:srgbClr val="D90000"/>
                          </a:solidFill>
                          <a:latin typeface="ABBvoice"/>
                          <a:cs typeface="ABBvoice"/>
                        </a:rPr>
                        <a:t>Inc.</a:t>
                      </a:r>
                      <a:r>
                        <a:rPr sz="1100" b="1" spc="-30">
                          <a:solidFill>
                            <a:srgbClr val="D90000"/>
                          </a:solidFill>
                          <a:latin typeface="ABBvoice"/>
                          <a:cs typeface="ABBvoice"/>
                        </a:rPr>
                        <a:t> </a:t>
                      </a:r>
                      <a:r>
                        <a:rPr sz="1100">
                          <a:latin typeface="ABBvoice"/>
                          <a:cs typeface="ABBvoice"/>
                        </a:rPr>
                        <a:t>a</a:t>
                      </a:r>
                      <a:r>
                        <a:rPr sz="1100" spc="-35">
                          <a:latin typeface="ABBvoice"/>
                          <a:cs typeface="ABBvoice"/>
                        </a:rPr>
                        <a:t> </a:t>
                      </a:r>
                      <a:r>
                        <a:rPr sz="1100">
                          <a:latin typeface="ABBvoice"/>
                          <a:cs typeface="ABBvoice"/>
                        </a:rPr>
                        <a:t>leader</a:t>
                      </a:r>
                      <a:r>
                        <a:rPr sz="1100" spc="5">
                          <a:latin typeface="ABBvoice"/>
                          <a:cs typeface="ABBvoice"/>
                        </a:rPr>
                        <a:t> </a:t>
                      </a:r>
                      <a:r>
                        <a:rPr sz="1100">
                          <a:latin typeface="ABBvoice"/>
                          <a:cs typeface="ABBvoice"/>
                        </a:rPr>
                        <a:t>in</a:t>
                      </a:r>
                      <a:r>
                        <a:rPr sz="1100" spc="-45">
                          <a:latin typeface="ABBvoice"/>
                          <a:cs typeface="ABBvoice"/>
                        </a:rPr>
                        <a:t> </a:t>
                      </a:r>
                      <a:r>
                        <a:rPr sz="1100">
                          <a:latin typeface="ABBvoice"/>
                          <a:cs typeface="ABBvoice"/>
                        </a:rPr>
                        <a:t>FTIR</a:t>
                      </a:r>
                      <a:r>
                        <a:rPr sz="1100" spc="-30">
                          <a:latin typeface="ABBvoice"/>
                          <a:cs typeface="ABBvoice"/>
                        </a:rPr>
                        <a:t> </a:t>
                      </a:r>
                      <a:r>
                        <a:rPr sz="1100">
                          <a:latin typeface="ABBvoice"/>
                          <a:cs typeface="ABBvoice"/>
                        </a:rPr>
                        <a:t>technologies,</a:t>
                      </a:r>
                      <a:r>
                        <a:rPr sz="1100" spc="-20">
                          <a:latin typeface="ABBvoice"/>
                          <a:cs typeface="ABBvoice"/>
                        </a:rPr>
                        <a:t> </a:t>
                      </a:r>
                      <a:r>
                        <a:rPr sz="1100">
                          <a:latin typeface="ABBvoice"/>
                          <a:cs typeface="ABBvoice"/>
                        </a:rPr>
                        <a:t>pushing</a:t>
                      </a:r>
                      <a:r>
                        <a:rPr sz="1100" spc="-60">
                          <a:latin typeface="ABBvoice"/>
                          <a:cs typeface="ABBvoice"/>
                        </a:rPr>
                        <a:t> </a:t>
                      </a:r>
                      <a:r>
                        <a:rPr sz="1100">
                          <a:latin typeface="ABBvoice"/>
                          <a:cs typeface="ABBvoice"/>
                        </a:rPr>
                        <a:t>the</a:t>
                      </a:r>
                      <a:r>
                        <a:rPr sz="1100" spc="-10">
                          <a:latin typeface="ABBvoice"/>
                          <a:cs typeface="ABBvoice"/>
                        </a:rPr>
                        <a:t> </a:t>
                      </a:r>
                      <a:r>
                        <a:rPr sz="1100">
                          <a:latin typeface="ABBvoice"/>
                          <a:cs typeface="ABBvoice"/>
                        </a:rPr>
                        <a:t>envelope</a:t>
                      </a:r>
                      <a:r>
                        <a:rPr sz="1100" spc="-5">
                          <a:latin typeface="ABBvoice"/>
                          <a:cs typeface="ABBvoice"/>
                        </a:rPr>
                        <a:t> </a:t>
                      </a:r>
                      <a:r>
                        <a:rPr sz="1100">
                          <a:latin typeface="ABBvoice"/>
                          <a:cs typeface="ABBvoice"/>
                        </a:rPr>
                        <a:t>for</a:t>
                      </a:r>
                      <a:r>
                        <a:rPr sz="1100" spc="-20">
                          <a:latin typeface="ABBvoice"/>
                          <a:cs typeface="ABBvoice"/>
                        </a:rPr>
                        <a:t> </a:t>
                      </a:r>
                      <a:r>
                        <a:rPr sz="1100">
                          <a:latin typeface="ABBvoice"/>
                          <a:cs typeface="ABBvoice"/>
                        </a:rPr>
                        <a:t>quality</a:t>
                      </a:r>
                      <a:r>
                        <a:rPr sz="1100" spc="-40">
                          <a:latin typeface="ABBvoice"/>
                          <a:cs typeface="ABBvoice"/>
                        </a:rPr>
                        <a:t> </a:t>
                      </a:r>
                      <a:r>
                        <a:rPr sz="1100" spc="-25">
                          <a:latin typeface="ABBvoice"/>
                          <a:cs typeface="ABBvoice"/>
                        </a:rPr>
                        <a:t>and </a:t>
                      </a:r>
                      <a:r>
                        <a:rPr sz="1100" spc="-10">
                          <a:latin typeface="ABBvoice"/>
                          <a:cs typeface="ABBvoice"/>
                        </a:rPr>
                        <a:t>precision</a:t>
                      </a:r>
                      <a:r>
                        <a:rPr sz="1100" spc="-45">
                          <a:latin typeface="ABBvoice"/>
                          <a:cs typeface="ABBvoice"/>
                        </a:rPr>
                        <a:t> </a:t>
                      </a:r>
                      <a:r>
                        <a:rPr sz="1100">
                          <a:latin typeface="ABBvoice"/>
                          <a:cs typeface="ABBvoice"/>
                        </a:rPr>
                        <a:t>of</a:t>
                      </a:r>
                      <a:r>
                        <a:rPr sz="1100" spc="30">
                          <a:latin typeface="ABBvoice"/>
                          <a:cs typeface="ABBvoice"/>
                        </a:rPr>
                        <a:t> </a:t>
                      </a:r>
                      <a:r>
                        <a:rPr sz="1100" spc="-10">
                          <a:latin typeface="ABBvoice"/>
                          <a:cs typeface="ABBvoice"/>
                        </a:rPr>
                        <a:t>analytical</a:t>
                      </a:r>
                      <a:r>
                        <a:rPr sz="1100" spc="-30">
                          <a:latin typeface="ABBvoice"/>
                          <a:cs typeface="ABBvoice"/>
                        </a:rPr>
                        <a:t> </a:t>
                      </a:r>
                      <a:r>
                        <a:rPr sz="1100">
                          <a:latin typeface="ABBvoice"/>
                          <a:cs typeface="ABBvoice"/>
                        </a:rPr>
                        <a:t>products</a:t>
                      </a:r>
                      <a:r>
                        <a:rPr sz="1100" spc="10">
                          <a:latin typeface="ABBvoice"/>
                          <a:cs typeface="ABBvoice"/>
                        </a:rPr>
                        <a:t> </a:t>
                      </a:r>
                      <a:r>
                        <a:rPr sz="1100">
                          <a:latin typeface="ABBvoice"/>
                          <a:cs typeface="ABBvoice"/>
                        </a:rPr>
                        <a:t>and</a:t>
                      </a:r>
                      <a:r>
                        <a:rPr sz="1100" spc="5">
                          <a:latin typeface="ABBvoice"/>
                          <a:cs typeface="ABBvoice"/>
                        </a:rPr>
                        <a:t> </a:t>
                      </a:r>
                      <a:r>
                        <a:rPr sz="1100" spc="-10">
                          <a:latin typeface="ABBvoice"/>
                          <a:cs typeface="ABBvoice"/>
                        </a:rPr>
                        <a:t>systems</a:t>
                      </a:r>
                      <a:endParaRPr sz="1100">
                        <a:latin typeface="ABBvoice"/>
                        <a:cs typeface="ABBvoice"/>
                      </a:endParaRPr>
                    </a:p>
                  </a:txBody>
                  <a:tcPr marL="0" marR="0" marT="12700" marB="0"/>
                </a:tc>
                <a:extLst>
                  <a:ext uri="{0D108BD9-81ED-4DB2-BD59-A6C34878D82A}">
                    <a16:rowId xmlns:a16="http://schemas.microsoft.com/office/drawing/2014/main" val="10001"/>
                  </a:ext>
                </a:extLst>
              </a:tr>
              <a:tr h="243204">
                <a:tc>
                  <a:txBody>
                    <a:bodyPr/>
                    <a:lstStyle/>
                    <a:p>
                      <a:pPr marL="22225">
                        <a:lnSpc>
                          <a:spcPct val="100000"/>
                        </a:lnSpc>
                        <a:spcBef>
                          <a:spcPts val="100"/>
                        </a:spcBef>
                      </a:pPr>
                      <a:r>
                        <a:rPr sz="1100" b="1" spc="-20">
                          <a:latin typeface="ABBvoice"/>
                          <a:cs typeface="ABBvoice"/>
                        </a:rPr>
                        <a:t>1999</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35">
                          <a:latin typeface="ABBvoice"/>
                          <a:cs typeface="ABBvoice"/>
                        </a:rPr>
                        <a:t> </a:t>
                      </a:r>
                      <a:r>
                        <a:rPr sz="1100">
                          <a:latin typeface="ABBvoice"/>
                          <a:cs typeface="ABBvoice"/>
                        </a:rPr>
                        <a:t>acquires</a:t>
                      </a:r>
                      <a:r>
                        <a:rPr sz="1100" spc="-25">
                          <a:latin typeface="ABBvoice"/>
                          <a:cs typeface="ABBvoice"/>
                        </a:rPr>
                        <a:t> </a:t>
                      </a:r>
                      <a:r>
                        <a:rPr sz="1100" b="1">
                          <a:solidFill>
                            <a:srgbClr val="D90000"/>
                          </a:solidFill>
                          <a:latin typeface="ABBvoice"/>
                          <a:cs typeface="ABBvoice"/>
                        </a:rPr>
                        <a:t>Elsag</a:t>
                      </a:r>
                      <a:r>
                        <a:rPr sz="1100" b="1" spc="-5">
                          <a:solidFill>
                            <a:srgbClr val="D90000"/>
                          </a:solidFill>
                          <a:latin typeface="ABBvoice"/>
                          <a:cs typeface="ABBvoice"/>
                        </a:rPr>
                        <a:t> </a:t>
                      </a:r>
                      <a:r>
                        <a:rPr sz="1100" b="1">
                          <a:solidFill>
                            <a:srgbClr val="D90000"/>
                          </a:solidFill>
                          <a:latin typeface="ABBvoice"/>
                          <a:cs typeface="ABBvoice"/>
                        </a:rPr>
                        <a:t>Bailey</a:t>
                      </a:r>
                      <a:r>
                        <a:rPr sz="1100" b="1" spc="-35">
                          <a:solidFill>
                            <a:srgbClr val="D90000"/>
                          </a:solidFill>
                          <a:latin typeface="ABBvoice"/>
                          <a:cs typeface="ABBvoice"/>
                        </a:rPr>
                        <a:t> </a:t>
                      </a:r>
                      <a:r>
                        <a:rPr sz="1100">
                          <a:latin typeface="ABBvoice"/>
                          <a:cs typeface="ABBvoice"/>
                        </a:rPr>
                        <a:t>(US</a:t>
                      </a:r>
                      <a:r>
                        <a:rPr sz="1100" spc="-20">
                          <a:latin typeface="ABBvoice"/>
                          <a:cs typeface="ABBvoice"/>
                        </a:rPr>
                        <a:t> </a:t>
                      </a:r>
                      <a:r>
                        <a:rPr sz="1100">
                          <a:latin typeface="ABBvoice"/>
                          <a:cs typeface="ABBvoice"/>
                        </a:rPr>
                        <a:t>$2</a:t>
                      </a:r>
                      <a:r>
                        <a:rPr sz="1100" spc="-25">
                          <a:latin typeface="ABBvoice"/>
                          <a:cs typeface="ABBvoice"/>
                        </a:rPr>
                        <a:t> </a:t>
                      </a:r>
                      <a:r>
                        <a:rPr sz="1100">
                          <a:latin typeface="ABBvoice"/>
                          <a:cs typeface="ABBvoice"/>
                        </a:rPr>
                        <a:t>bn),</a:t>
                      </a:r>
                      <a:r>
                        <a:rPr sz="1100" spc="-35">
                          <a:latin typeface="ABBvoice"/>
                          <a:cs typeface="ABBvoice"/>
                        </a:rPr>
                        <a:t> </a:t>
                      </a:r>
                      <a:r>
                        <a:rPr sz="1100">
                          <a:latin typeface="ABBvoice"/>
                          <a:cs typeface="ABBvoice"/>
                        </a:rPr>
                        <a:t>supporting</a:t>
                      </a:r>
                      <a:r>
                        <a:rPr sz="1100" spc="-30">
                          <a:latin typeface="ABBvoice"/>
                          <a:cs typeface="ABBvoice"/>
                        </a:rPr>
                        <a:t> </a:t>
                      </a:r>
                      <a:r>
                        <a:rPr sz="1100">
                          <a:latin typeface="ABBvoice"/>
                          <a:cs typeface="ABBvoice"/>
                        </a:rPr>
                        <a:t>growth</a:t>
                      </a:r>
                      <a:r>
                        <a:rPr sz="1100" spc="-15">
                          <a:latin typeface="ABBvoice"/>
                          <a:cs typeface="ABBvoice"/>
                        </a:rPr>
                        <a:t> </a:t>
                      </a:r>
                      <a:r>
                        <a:rPr sz="1100">
                          <a:latin typeface="ABBvoice"/>
                          <a:cs typeface="ABBvoice"/>
                        </a:rPr>
                        <a:t>in</a:t>
                      </a:r>
                      <a:r>
                        <a:rPr sz="1100" spc="-35">
                          <a:latin typeface="ABBvoice"/>
                          <a:cs typeface="ABBvoice"/>
                        </a:rPr>
                        <a:t> </a:t>
                      </a:r>
                      <a:r>
                        <a:rPr sz="1100">
                          <a:latin typeface="ABBvoice"/>
                          <a:cs typeface="ABBvoice"/>
                        </a:rPr>
                        <a:t>various</a:t>
                      </a:r>
                      <a:r>
                        <a:rPr sz="1100" spc="-35">
                          <a:latin typeface="ABBvoice"/>
                          <a:cs typeface="ABBvoice"/>
                        </a:rPr>
                        <a:t> </a:t>
                      </a:r>
                      <a:r>
                        <a:rPr sz="1100">
                          <a:latin typeface="ABBvoice"/>
                          <a:cs typeface="ABBvoice"/>
                        </a:rPr>
                        <a:t>process</a:t>
                      </a:r>
                      <a:r>
                        <a:rPr sz="1100" spc="-25">
                          <a:latin typeface="ABBvoice"/>
                          <a:cs typeface="ABBvoice"/>
                        </a:rPr>
                        <a:t> </a:t>
                      </a:r>
                      <a:r>
                        <a:rPr sz="1100" spc="-10">
                          <a:latin typeface="ABBvoice"/>
                          <a:cs typeface="ABBvoice"/>
                        </a:rPr>
                        <a:t>industries</a:t>
                      </a:r>
                      <a:endParaRPr sz="1100">
                        <a:latin typeface="ABBvoice"/>
                        <a:cs typeface="ABBvoice"/>
                      </a:endParaRPr>
                    </a:p>
                  </a:txBody>
                  <a:tcPr marL="0" marR="0" marT="12700" marB="0"/>
                </a:tc>
                <a:extLst>
                  <a:ext uri="{0D108BD9-81ED-4DB2-BD59-A6C34878D82A}">
                    <a16:rowId xmlns:a16="http://schemas.microsoft.com/office/drawing/2014/main" val="10002"/>
                  </a:ext>
                </a:extLst>
              </a:tr>
              <a:tr h="411480">
                <a:tc>
                  <a:txBody>
                    <a:bodyPr/>
                    <a:lstStyle/>
                    <a:p>
                      <a:pPr marL="22225">
                        <a:lnSpc>
                          <a:spcPct val="100000"/>
                        </a:lnSpc>
                        <a:spcBef>
                          <a:spcPts val="100"/>
                        </a:spcBef>
                      </a:pPr>
                      <a:r>
                        <a:rPr sz="1100" b="1" spc="-20">
                          <a:latin typeface="ABBvoice"/>
                          <a:cs typeface="ABBvoice"/>
                        </a:rPr>
                        <a:t>2008</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5">
                          <a:latin typeface="ABBvoice"/>
                          <a:cs typeface="ABBvoice"/>
                        </a:rPr>
                        <a:t> </a:t>
                      </a:r>
                      <a:r>
                        <a:rPr sz="1100">
                          <a:latin typeface="ABBvoice"/>
                          <a:cs typeface="ABBvoice"/>
                        </a:rPr>
                        <a:t>acquires</a:t>
                      </a:r>
                      <a:r>
                        <a:rPr sz="1100" spc="-15">
                          <a:latin typeface="ABBvoice"/>
                          <a:cs typeface="ABBvoice"/>
                        </a:rPr>
                        <a:t> </a:t>
                      </a:r>
                      <a:r>
                        <a:rPr sz="1100" b="1">
                          <a:solidFill>
                            <a:srgbClr val="D90000"/>
                          </a:solidFill>
                          <a:latin typeface="ABBvoice"/>
                          <a:cs typeface="ABBvoice"/>
                        </a:rPr>
                        <a:t>Ber-Mac</a:t>
                      </a:r>
                      <a:r>
                        <a:rPr sz="1100" b="1" spc="-15">
                          <a:solidFill>
                            <a:srgbClr val="D90000"/>
                          </a:solidFill>
                          <a:latin typeface="ABBvoice"/>
                          <a:cs typeface="ABBvoice"/>
                        </a:rPr>
                        <a:t> </a:t>
                      </a:r>
                      <a:r>
                        <a:rPr sz="1100" b="1">
                          <a:solidFill>
                            <a:srgbClr val="D90000"/>
                          </a:solidFill>
                          <a:latin typeface="ABBvoice"/>
                          <a:cs typeface="ABBvoice"/>
                        </a:rPr>
                        <a:t>Electrical</a:t>
                      </a:r>
                      <a:r>
                        <a:rPr sz="1100" b="1" spc="-40">
                          <a:solidFill>
                            <a:srgbClr val="D90000"/>
                          </a:solidFill>
                          <a:latin typeface="ABBvoice"/>
                          <a:cs typeface="ABBvoice"/>
                        </a:rPr>
                        <a:t> </a:t>
                      </a:r>
                      <a:r>
                        <a:rPr sz="1100" b="1">
                          <a:solidFill>
                            <a:srgbClr val="D90000"/>
                          </a:solidFill>
                          <a:latin typeface="ABBvoice"/>
                          <a:cs typeface="ABBvoice"/>
                        </a:rPr>
                        <a:t>and</a:t>
                      </a:r>
                      <a:r>
                        <a:rPr sz="1100" b="1" spc="30">
                          <a:solidFill>
                            <a:srgbClr val="D90000"/>
                          </a:solidFill>
                          <a:latin typeface="ABBvoice"/>
                          <a:cs typeface="ABBvoice"/>
                        </a:rPr>
                        <a:t> </a:t>
                      </a:r>
                      <a:r>
                        <a:rPr sz="1100" b="1" spc="-10">
                          <a:solidFill>
                            <a:srgbClr val="D90000"/>
                          </a:solidFill>
                          <a:latin typeface="ABBvoice"/>
                          <a:cs typeface="ABBvoice"/>
                        </a:rPr>
                        <a:t>Instrumentation</a:t>
                      </a:r>
                      <a:r>
                        <a:rPr sz="1100" spc="-10">
                          <a:latin typeface="ABBvoice"/>
                          <a:cs typeface="ABBvoice"/>
                        </a:rPr>
                        <a:t>,</a:t>
                      </a:r>
                      <a:r>
                        <a:rPr sz="1100" spc="-60">
                          <a:latin typeface="ABBvoice"/>
                          <a:cs typeface="ABBvoice"/>
                        </a:rPr>
                        <a:t> </a:t>
                      </a:r>
                      <a:r>
                        <a:rPr sz="1100" spc="-10">
                          <a:latin typeface="ABBvoice"/>
                          <a:cs typeface="ABBvoice"/>
                        </a:rPr>
                        <a:t>expanding</a:t>
                      </a:r>
                      <a:r>
                        <a:rPr sz="1100" spc="-40">
                          <a:latin typeface="ABBvoice"/>
                          <a:cs typeface="ABBvoice"/>
                        </a:rPr>
                        <a:t> </a:t>
                      </a:r>
                      <a:r>
                        <a:rPr sz="1100">
                          <a:latin typeface="ABBvoice"/>
                          <a:cs typeface="ABBvoice"/>
                        </a:rPr>
                        <a:t>its</a:t>
                      </a:r>
                      <a:r>
                        <a:rPr sz="1100" spc="-10">
                          <a:latin typeface="ABBvoice"/>
                          <a:cs typeface="ABBvoice"/>
                        </a:rPr>
                        <a:t> </a:t>
                      </a:r>
                      <a:r>
                        <a:rPr sz="1100">
                          <a:latin typeface="ABBvoice"/>
                          <a:cs typeface="ABBvoice"/>
                        </a:rPr>
                        <a:t>presence</a:t>
                      </a:r>
                      <a:r>
                        <a:rPr sz="1100" spc="20">
                          <a:latin typeface="ABBvoice"/>
                          <a:cs typeface="ABBvoice"/>
                        </a:rPr>
                        <a:t> </a:t>
                      </a:r>
                      <a:r>
                        <a:rPr sz="1100">
                          <a:latin typeface="ABBvoice"/>
                          <a:cs typeface="ABBvoice"/>
                        </a:rPr>
                        <a:t>and</a:t>
                      </a:r>
                      <a:r>
                        <a:rPr sz="1100" spc="-15">
                          <a:latin typeface="ABBvoice"/>
                          <a:cs typeface="ABBvoice"/>
                        </a:rPr>
                        <a:t> </a:t>
                      </a:r>
                      <a:r>
                        <a:rPr sz="1100" spc="-10">
                          <a:latin typeface="ABBvoice"/>
                          <a:cs typeface="ABBvoice"/>
                        </a:rPr>
                        <a:t>capabilities</a:t>
                      </a:r>
                      <a:r>
                        <a:rPr sz="1100" spc="-65">
                          <a:latin typeface="ABBvoice"/>
                          <a:cs typeface="ABBvoice"/>
                        </a:rPr>
                        <a:t> </a:t>
                      </a:r>
                      <a:r>
                        <a:rPr sz="1100">
                          <a:latin typeface="ABBvoice"/>
                          <a:cs typeface="ABBvoice"/>
                        </a:rPr>
                        <a:t>in</a:t>
                      </a:r>
                      <a:r>
                        <a:rPr sz="1100" spc="10">
                          <a:latin typeface="ABBvoice"/>
                          <a:cs typeface="ABBvoice"/>
                        </a:rPr>
                        <a:t> </a:t>
                      </a:r>
                      <a:r>
                        <a:rPr sz="1100" spc="-25">
                          <a:latin typeface="ABBvoice"/>
                          <a:cs typeface="ABBvoice"/>
                        </a:rPr>
                        <a:t>the</a:t>
                      </a:r>
                      <a:endParaRPr sz="1100">
                        <a:latin typeface="ABBvoice"/>
                        <a:cs typeface="ABBvoice"/>
                      </a:endParaRPr>
                    </a:p>
                    <a:p>
                      <a:pPr marL="34290">
                        <a:lnSpc>
                          <a:spcPct val="100000"/>
                        </a:lnSpc>
                        <a:spcBef>
                          <a:spcPts val="5"/>
                        </a:spcBef>
                      </a:pPr>
                      <a:r>
                        <a:rPr sz="1100">
                          <a:latin typeface="ABBvoice"/>
                          <a:cs typeface="ABBvoice"/>
                        </a:rPr>
                        <a:t>oil</a:t>
                      </a:r>
                      <a:r>
                        <a:rPr sz="1100" spc="-10">
                          <a:latin typeface="ABBvoice"/>
                          <a:cs typeface="ABBvoice"/>
                        </a:rPr>
                        <a:t> </a:t>
                      </a:r>
                      <a:r>
                        <a:rPr sz="1100">
                          <a:latin typeface="ABBvoice"/>
                          <a:cs typeface="ABBvoice"/>
                        </a:rPr>
                        <a:t>and</a:t>
                      </a:r>
                      <a:r>
                        <a:rPr sz="1100" spc="-30">
                          <a:latin typeface="ABBvoice"/>
                          <a:cs typeface="ABBvoice"/>
                        </a:rPr>
                        <a:t> </a:t>
                      </a:r>
                      <a:r>
                        <a:rPr sz="1100">
                          <a:latin typeface="ABBvoice"/>
                          <a:cs typeface="ABBvoice"/>
                        </a:rPr>
                        <a:t>gas</a:t>
                      </a:r>
                      <a:r>
                        <a:rPr sz="1100" spc="-45">
                          <a:latin typeface="ABBvoice"/>
                          <a:cs typeface="ABBvoice"/>
                        </a:rPr>
                        <a:t> </a:t>
                      </a:r>
                      <a:r>
                        <a:rPr sz="1100" spc="-10">
                          <a:latin typeface="ABBvoice"/>
                          <a:cs typeface="ABBvoice"/>
                        </a:rPr>
                        <a:t>sector</a:t>
                      </a:r>
                      <a:endParaRPr sz="1100">
                        <a:latin typeface="ABBvoice"/>
                        <a:cs typeface="ABBvoice"/>
                      </a:endParaRPr>
                    </a:p>
                  </a:txBody>
                  <a:tcPr marL="0" marR="0" marT="12700" marB="0"/>
                </a:tc>
                <a:extLst>
                  <a:ext uri="{0D108BD9-81ED-4DB2-BD59-A6C34878D82A}">
                    <a16:rowId xmlns:a16="http://schemas.microsoft.com/office/drawing/2014/main" val="10003"/>
                  </a:ext>
                </a:extLst>
              </a:tr>
              <a:tr h="411480">
                <a:tc>
                  <a:txBody>
                    <a:bodyPr/>
                    <a:lstStyle/>
                    <a:p>
                      <a:pPr marL="22225">
                        <a:lnSpc>
                          <a:spcPct val="100000"/>
                        </a:lnSpc>
                        <a:spcBef>
                          <a:spcPts val="100"/>
                        </a:spcBef>
                      </a:pPr>
                      <a:r>
                        <a:rPr sz="1100" b="1" spc="-20">
                          <a:latin typeface="ABBvoice"/>
                          <a:cs typeface="ABBvoice"/>
                        </a:rPr>
                        <a:t>2009</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10">
                          <a:latin typeface="ABBvoice"/>
                          <a:cs typeface="ABBvoice"/>
                        </a:rPr>
                        <a:t> </a:t>
                      </a:r>
                      <a:r>
                        <a:rPr sz="1100">
                          <a:latin typeface="ABBvoice"/>
                          <a:cs typeface="ABBvoice"/>
                        </a:rPr>
                        <a:t>acquires</a:t>
                      </a:r>
                      <a:r>
                        <a:rPr sz="1100" spc="-5">
                          <a:latin typeface="ABBvoice"/>
                          <a:cs typeface="ABBvoice"/>
                        </a:rPr>
                        <a:t> </a:t>
                      </a:r>
                      <a:r>
                        <a:rPr sz="1100" b="1">
                          <a:solidFill>
                            <a:srgbClr val="D90000"/>
                          </a:solidFill>
                          <a:latin typeface="ABBvoice"/>
                          <a:cs typeface="ABBvoice"/>
                        </a:rPr>
                        <a:t>Sinai</a:t>
                      </a:r>
                      <a:r>
                        <a:rPr sz="1100" b="1" spc="15">
                          <a:solidFill>
                            <a:srgbClr val="D90000"/>
                          </a:solidFill>
                          <a:latin typeface="ABBvoice"/>
                          <a:cs typeface="ABBvoice"/>
                        </a:rPr>
                        <a:t> </a:t>
                      </a:r>
                      <a:r>
                        <a:rPr sz="1100" b="1" spc="-10">
                          <a:solidFill>
                            <a:srgbClr val="D90000"/>
                          </a:solidFill>
                          <a:latin typeface="ABBvoice"/>
                          <a:cs typeface="ABBvoice"/>
                        </a:rPr>
                        <a:t>Engineering</a:t>
                      </a:r>
                      <a:r>
                        <a:rPr sz="1100" b="1" spc="-50">
                          <a:solidFill>
                            <a:srgbClr val="D90000"/>
                          </a:solidFill>
                          <a:latin typeface="ABBvoice"/>
                          <a:cs typeface="ABBvoice"/>
                        </a:rPr>
                        <a:t> </a:t>
                      </a:r>
                      <a:r>
                        <a:rPr sz="1100" b="1">
                          <a:solidFill>
                            <a:srgbClr val="D90000"/>
                          </a:solidFill>
                          <a:latin typeface="ABBvoice"/>
                          <a:cs typeface="ABBvoice"/>
                        </a:rPr>
                        <a:t>Corporation</a:t>
                      </a:r>
                      <a:r>
                        <a:rPr sz="1100">
                          <a:latin typeface="ABBvoice"/>
                          <a:cs typeface="ABBvoice"/>
                        </a:rPr>
                        <a:t>,</a:t>
                      </a:r>
                      <a:r>
                        <a:rPr sz="1100" spc="-60">
                          <a:latin typeface="ABBvoice"/>
                          <a:cs typeface="ABBvoice"/>
                        </a:rPr>
                        <a:t> </a:t>
                      </a:r>
                      <a:r>
                        <a:rPr sz="1100">
                          <a:latin typeface="ABBvoice"/>
                          <a:cs typeface="ABBvoice"/>
                        </a:rPr>
                        <a:t>to</a:t>
                      </a:r>
                      <a:r>
                        <a:rPr sz="1100" spc="20">
                          <a:latin typeface="ABBvoice"/>
                          <a:cs typeface="ABBvoice"/>
                        </a:rPr>
                        <a:t> </a:t>
                      </a:r>
                      <a:r>
                        <a:rPr sz="1100">
                          <a:latin typeface="ABBvoice"/>
                          <a:cs typeface="ABBvoice"/>
                        </a:rPr>
                        <a:t>enhance</a:t>
                      </a:r>
                      <a:r>
                        <a:rPr sz="1100" spc="-5">
                          <a:latin typeface="ABBvoice"/>
                          <a:cs typeface="ABBvoice"/>
                        </a:rPr>
                        <a:t> </a:t>
                      </a:r>
                      <a:r>
                        <a:rPr sz="1100">
                          <a:latin typeface="ABBvoice"/>
                          <a:cs typeface="ABBvoice"/>
                        </a:rPr>
                        <a:t>its</a:t>
                      </a:r>
                      <a:r>
                        <a:rPr sz="1100" spc="-10">
                          <a:latin typeface="ABBvoice"/>
                          <a:cs typeface="ABBvoice"/>
                        </a:rPr>
                        <a:t> </a:t>
                      </a:r>
                      <a:r>
                        <a:rPr sz="1100">
                          <a:latin typeface="ABBvoice"/>
                          <a:cs typeface="ABBvoice"/>
                        </a:rPr>
                        <a:t>presence</a:t>
                      </a:r>
                      <a:r>
                        <a:rPr sz="1100" spc="-5">
                          <a:latin typeface="ABBvoice"/>
                          <a:cs typeface="ABBvoice"/>
                        </a:rPr>
                        <a:t> </a:t>
                      </a:r>
                      <a:r>
                        <a:rPr sz="1100">
                          <a:latin typeface="ABBvoice"/>
                          <a:cs typeface="ABBvoice"/>
                        </a:rPr>
                        <a:t>and</a:t>
                      </a:r>
                      <a:r>
                        <a:rPr sz="1100" spc="-20">
                          <a:latin typeface="ABBvoice"/>
                          <a:cs typeface="ABBvoice"/>
                        </a:rPr>
                        <a:t> </a:t>
                      </a:r>
                      <a:r>
                        <a:rPr sz="1100" spc="-10">
                          <a:latin typeface="ABBvoice"/>
                          <a:cs typeface="ABBvoice"/>
                        </a:rPr>
                        <a:t>capabilities</a:t>
                      </a:r>
                      <a:r>
                        <a:rPr sz="1100" spc="-60">
                          <a:latin typeface="ABBvoice"/>
                          <a:cs typeface="ABBvoice"/>
                        </a:rPr>
                        <a:t> </a:t>
                      </a:r>
                      <a:r>
                        <a:rPr sz="1100" spc="-25">
                          <a:latin typeface="ABBvoice"/>
                          <a:cs typeface="ABBvoice"/>
                        </a:rPr>
                        <a:t>in</a:t>
                      </a:r>
                      <a:endParaRPr sz="1100">
                        <a:latin typeface="ABBvoice"/>
                        <a:cs typeface="ABBvoice"/>
                      </a:endParaRPr>
                    </a:p>
                    <a:p>
                      <a:pPr marL="34290">
                        <a:lnSpc>
                          <a:spcPct val="100000"/>
                        </a:lnSpc>
                      </a:pPr>
                      <a:r>
                        <a:rPr sz="1100">
                          <a:latin typeface="ABBvoice"/>
                          <a:cs typeface="ABBvoice"/>
                        </a:rPr>
                        <a:t>Western</a:t>
                      </a:r>
                      <a:r>
                        <a:rPr sz="1100" spc="-55">
                          <a:latin typeface="ABBvoice"/>
                          <a:cs typeface="ABBvoice"/>
                        </a:rPr>
                        <a:t> </a:t>
                      </a:r>
                      <a:r>
                        <a:rPr sz="1100" spc="-10">
                          <a:latin typeface="ABBvoice"/>
                          <a:cs typeface="ABBvoice"/>
                        </a:rPr>
                        <a:t>Canada.</a:t>
                      </a:r>
                      <a:endParaRPr sz="1100">
                        <a:latin typeface="ABBvoice"/>
                        <a:cs typeface="ABBvoice"/>
                      </a:endParaRPr>
                    </a:p>
                  </a:txBody>
                  <a:tcPr marL="0" marR="0" marT="12700" marB="0"/>
                </a:tc>
                <a:extLst>
                  <a:ext uri="{0D108BD9-81ED-4DB2-BD59-A6C34878D82A}">
                    <a16:rowId xmlns:a16="http://schemas.microsoft.com/office/drawing/2014/main" val="10004"/>
                  </a:ext>
                </a:extLst>
              </a:tr>
              <a:tr h="243840">
                <a:tc>
                  <a:txBody>
                    <a:bodyPr/>
                    <a:lstStyle/>
                    <a:p>
                      <a:pPr marL="22225">
                        <a:lnSpc>
                          <a:spcPct val="100000"/>
                        </a:lnSpc>
                        <a:spcBef>
                          <a:spcPts val="100"/>
                        </a:spcBef>
                      </a:pPr>
                      <a:r>
                        <a:rPr sz="1100" b="1" spc="-20">
                          <a:latin typeface="ABBvoice"/>
                          <a:cs typeface="ABBvoice"/>
                        </a:rPr>
                        <a:t>2010</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25">
                          <a:latin typeface="ABBvoice"/>
                          <a:cs typeface="ABBvoice"/>
                        </a:rPr>
                        <a:t> </a:t>
                      </a:r>
                      <a:r>
                        <a:rPr sz="1100">
                          <a:latin typeface="ABBvoice"/>
                          <a:cs typeface="ABBvoice"/>
                        </a:rPr>
                        <a:t>acquires</a:t>
                      </a:r>
                      <a:r>
                        <a:rPr sz="1100" spc="-25">
                          <a:latin typeface="ABBvoice"/>
                          <a:cs typeface="ABBvoice"/>
                        </a:rPr>
                        <a:t> </a:t>
                      </a:r>
                      <a:r>
                        <a:rPr sz="1100" b="1">
                          <a:solidFill>
                            <a:srgbClr val="D90000"/>
                          </a:solidFill>
                          <a:latin typeface="ABBvoice"/>
                          <a:cs typeface="ABBvoice"/>
                        </a:rPr>
                        <a:t>Ventyx</a:t>
                      </a:r>
                      <a:r>
                        <a:rPr sz="1100" b="1" spc="-55">
                          <a:solidFill>
                            <a:srgbClr val="D90000"/>
                          </a:solidFill>
                          <a:latin typeface="ABBvoice"/>
                          <a:cs typeface="ABBvoice"/>
                        </a:rPr>
                        <a:t> </a:t>
                      </a:r>
                      <a:r>
                        <a:rPr sz="1100">
                          <a:latin typeface="ABBvoice"/>
                          <a:cs typeface="ABBvoice"/>
                        </a:rPr>
                        <a:t>(US</a:t>
                      </a:r>
                      <a:r>
                        <a:rPr sz="1100" spc="-45">
                          <a:latin typeface="ABBvoice"/>
                          <a:cs typeface="ABBvoice"/>
                        </a:rPr>
                        <a:t> </a:t>
                      </a:r>
                      <a:r>
                        <a:rPr sz="1100">
                          <a:latin typeface="ABBvoice"/>
                          <a:cs typeface="ABBvoice"/>
                        </a:rPr>
                        <a:t>$1</a:t>
                      </a:r>
                      <a:r>
                        <a:rPr sz="1100" spc="-15">
                          <a:latin typeface="ABBvoice"/>
                          <a:cs typeface="ABBvoice"/>
                        </a:rPr>
                        <a:t> </a:t>
                      </a:r>
                      <a:r>
                        <a:rPr sz="1100">
                          <a:latin typeface="ABBvoice"/>
                          <a:cs typeface="ABBvoice"/>
                        </a:rPr>
                        <a:t>bn),</a:t>
                      </a:r>
                      <a:r>
                        <a:rPr sz="1100" spc="-5">
                          <a:latin typeface="ABBvoice"/>
                          <a:cs typeface="ABBvoice"/>
                        </a:rPr>
                        <a:t> </a:t>
                      </a:r>
                      <a:r>
                        <a:rPr sz="1100">
                          <a:latin typeface="ABBvoice"/>
                          <a:cs typeface="ABBvoice"/>
                        </a:rPr>
                        <a:t>adding</a:t>
                      </a:r>
                      <a:r>
                        <a:rPr sz="1100" spc="-60">
                          <a:latin typeface="ABBvoice"/>
                          <a:cs typeface="ABBvoice"/>
                        </a:rPr>
                        <a:t> </a:t>
                      </a:r>
                      <a:r>
                        <a:rPr sz="1100">
                          <a:latin typeface="ABBvoice"/>
                          <a:cs typeface="ABBvoice"/>
                        </a:rPr>
                        <a:t>robust</a:t>
                      </a:r>
                      <a:r>
                        <a:rPr sz="1100" spc="-35">
                          <a:latin typeface="ABBvoice"/>
                          <a:cs typeface="ABBvoice"/>
                        </a:rPr>
                        <a:t> </a:t>
                      </a:r>
                      <a:r>
                        <a:rPr sz="1100">
                          <a:latin typeface="ABBvoice"/>
                          <a:cs typeface="ABBvoice"/>
                        </a:rPr>
                        <a:t>enterprise software</a:t>
                      </a:r>
                      <a:r>
                        <a:rPr sz="1100" spc="-25">
                          <a:latin typeface="ABBvoice"/>
                          <a:cs typeface="ABBvoice"/>
                        </a:rPr>
                        <a:t> </a:t>
                      </a:r>
                      <a:r>
                        <a:rPr sz="1100">
                          <a:latin typeface="ABBvoice"/>
                          <a:cs typeface="ABBvoice"/>
                        </a:rPr>
                        <a:t>to</a:t>
                      </a:r>
                      <a:r>
                        <a:rPr sz="1100" spc="-20">
                          <a:latin typeface="ABBvoice"/>
                          <a:cs typeface="ABBvoice"/>
                        </a:rPr>
                        <a:t> </a:t>
                      </a:r>
                      <a:r>
                        <a:rPr sz="1100">
                          <a:latin typeface="ABBvoice"/>
                          <a:cs typeface="ABBvoice"/>
                        </a:rPr>
                        <a:t>our</a:t>
                      </a:r>
                      <a:r>
                        <a:rPr sz="1100" spc="10">
                          <a:latin typeface="ABBvoice"/>
                          <a:cs typeface="ABBvoice"/>
                        </a:rPr>
                        <a:t> </a:t>
                      </a:r>
                      <a:r>
                        <a:rPr sz="1100" spc="-10">
                          <a:latin typeface="ABBvoice"/>
                          <a:cs typeface="ABBvoice"/>
                        </a:rPr>
                        <a:t>portfolio</a:t>
                      </a:r>
                      <a:endParaRPr sz="1100">
                        <a:latin typeface="ABBvoice"/>
                        <a:cs typeface="ABBvoice"/>
                      </a:endParaRPr>
                    </a:p>
                  </a:txBody>
                  <a:tcPr marL="0" marR="0" marT="12700" marB="0"/>
                </a:tc>
                <a:extLst>
                  <a:ext uri="{0D108BD9-81ED-4DB2-BD59-A6C34878D82A}">
                    <a16:rowId xmlns:a16="http://schemas.microsoft.com/office/drawing/2014/main" val="10005"/>
                  </a:ext>
                </a:extLst>
              </a:tr>
              <a:tr h="243204">
                <a:tc>
                  <a:txBody>
                    <a:bodyPr/>
                    <a:lstStyle/>
                    <a:p>
                      <a:pPr marL="22225">
                        <a:lnSpc>
                          <a:spcPct val="100000"/>
                        </a:lnSpc>
                        <a:spcBef>
                          <a:spcPts val="100"/>
                        </a:spcBef>
                      </a:pPr>
                      <a:r>
                        <a:rPr sz="1100" b="1" spc="-20">
                          <a:latin typeface="ABBvoice"/>
                          <a:cs typeface="ABBvoice"/>
                        </a:rPr>
                        <a:t>2011</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35">
                          <a:latin typeface="ABBvoice"/>
                          <a:cs typeface="ABBvoice"/>
                        </a:rPr>
                        <a:t> </a:t>
                      </a:r>
                      <a:r>
                        <a:rPr sz="1100">
                          <a:latin typeface="ABBvoice"/>
                          <a:cs typeface="ABBvoice"/>
                        </a:rPr>
                        <a:t>acquires</a:t>
                      </a:r>
                      <a:r>
                        <a:rPr sz="1100" spc="-25">
                          <a:latin typeface="ABBvoice"/>
                          <a:cs typeface="ABBvoice"/>
                        </a:rPr>
                        <a:t> </a:t>
                      </a:r>
                      <a:r>
                        <a:rPr sz="1100" b="1">
                          <a:solidFill>
                            <a:srgbClr val="D90000"/>
                          </a:solidFill>
                          <a:latin typeface="ABBvoice"/>
                          <a:cs typeface="ABBvoice"/>
                        </a:rPr>
                        <a:t>Baldor</a:t>
                      </a:r>
                      <a:r>
                        <a:rPr sz="1100" b="1" spc="-25">
                          <a:solidFill>
                            <a:srgbClr val="D90000"/>
                          </a:solidFill>
                          <a:latin typeface="ABBvoice"/>
                          <a:cs typeface="ABBvoice"/>
                        </a:rPr>
                        <a:t> </a:t>
                      </a:r>
                      <a:r>
                        <a:rPr sz="1100">
                          <a:latin typeface="ABBvoice"/>
                          <a:cs typeface="ABBvoice"/>
                        </a:rPr>
                        <a:t>(US</a:t>
                      </a:r>
                      <a:r>
                        <a:rPr sz="1100" spc="-20">
                          <a:latin typeface="ABBvoice"/>
                          <a:cs typeface="ABBvoice"/>
                        </a:rPr>
                        <a:t> </a:t>
                      </a:r>
                      <a:r>
                        <a:rPr sz="1100">
                          <a:latin typeface="ABBvoice"/>
                          <a:cs typeface="ABBvoice"/>
                        </a:rPr>
                        <a:t>$4.2</a:t>
                      </a:r>
                      <a:r>
                        <a:rPr sz="1100" spc="-30">
                          <a:latin typeface="ABBvoice"/>
                          <a:cs typeface="ABBvoice"/>
                        </a:rPr>
                        <a:t> </a:t>
                      </a:r>
                      <a:r>
                        <a:rPr sz="1100">
                          <a:latin typeface="ABBvoice"/>
                          <a:cs typeface="ABBvoice"/>
                        </a:rPr>
                        <a:t>bn),</a:t>
                      </a:r>
                      <a:r>
                        <a:rPr sz="1100" spc="-35">
                          <a:latin typeface="ABBvoice"/>
                          <a:cs typeface="ABBvoice"/>
                        </a:rPr>
                        <a:t> </a:t>
                      </a:r>
                      <a:r>
                        <a:rPr sz="1100">
                          <a:latin typeface="ABBvoice"/>
                          <a:cs typeface="ABBvoice"/>
                        </a:rPr>
                        <a:t>supporting</a:t>
                      </a:r>
                      <a:r>
                        <a:rPr sz="1100" spc="-35">
                          <a:latin typeface="ABBvoice"/>
                          <a:cs typeface="ABBvoice"/>
                        </a:rPr>
                        <a:t> </a:t>
                      </a:r>
                      <a:r>
                        <a:rPr sz="1100">
                          <a:latin typeface="ABBvoice"/>
                          <a:cs typeface="ABBvoice"/>
                        </a:rPr>
                        <a:t>growth</a:t>
                      </a:r>
                      <a:r>
                        <a:rPr sz="1100" spc="-15">
                          <a:latin typeface="ABBvoice"/>
                          <a:cs typeface="ABBvoice"/>
                        </a:rPr>
                        <a:t> </a:t>
                      </a:r>
                      <a:r>
                        <a:rPr sz="1100">
                          <a:latin typeface="ABBvoice"/>
                          <a:cs typeface="ABBvoice"/>
                        </a:rPr>
                        <a:t>with</a:t>
                      </a:r>
                      <a:r>
                        <a:rPr sz="1100" spc="-15">
                          <a:latin typeface="ABBvoice"/>
                          <a:cs typeface="ABBvoice"/>
                        </a:rPr>
                        <a:t> </a:t>
                      </a:r>
                      <a:r>
                        <a:rPr sz="1100">
                          <a:latin typeface="ABBvoice"/>
                          <a:cs typeface="ABBvoice"/>
                        </a:rPr>
                        <a:t>industrial</a:t>
                      </a:r>
                      <a:r>
                        <a:rPr sz="1100" spc="-65">
                          <a:latin typeface="ABBvoice"/>
                          <a:cs typeface="ABBvoice"/>
                        </a:rPr>
                        <a:t> </a:t>
                      </a:r>
                      <a:r>
                        <a:rPr sz="1100">
                          <a:latin typeface="ABBvoice"/>
                          <a:cs typeface="ABBvoice"/>
                        </a:rPr>
                        <a:t>motors</a:t>
                      </a:r>
                      <a:r>
                        <a:rPr sz="1100" spc="-10">
                          <a:latin typeface="ABBvoice"/>
                          <a:cs typeface="ABBvoice"/>
                        </a:rPr>
                        <a:t> </a:t>
                      </a:r>
                      <a:r>
                        <a:rPr sz="1100">
                          <a:latin typeface="ABBvoice"/>
                          <a:cs typeface="ABBvoice"/>
                        </a:rPr>
                        <a:t>and</a:t>
                      </a:r>
                      <a:r>
                        <a:rPr sz="1100" spc="-30">
                          <a:latin typeface="ABBvoice"/>
                          <a:cs typeface="ABBvoice"/>
                        </a:rPr>
                        <a:t> </a:t>
                      </a:r>
                      <a:r>
                        <a:rPr sz="1100" spc="-10">
                          <a:latin typeface="ABBvoice"/>
                          <a:cs typeface="ABBvoice"/>
                        </a:rPr>
                        <a:t>drives</a:t>
                      </a:r>
                      <a:endParaRPr sz="1100">
                        <a:latin typeface="ABBvoice"/>
                        <a:cs typeface="ABBvoice"/>
                      </a:endParaRPr>
                    </a:p>
                  </a:txBody>
                  <a:tcPr marL="0" marR="0" marT="12700" marB="0"/>
                </a:tc>
                <a:extLst>
                  <a:ext uri="{0D108BD9-81ED-4DB2-BD59-A6C34878D82A}">
                    <a16:rowId xmlns:a16="http://schemas.microsoft.com/office/drawing/2014/main" val="10006"/>
                  </a:ext>
                </a:extLst>
              </a:tr>
              <a:tr h="411480">
                <a:tc>
                  <a:txBody>
                    <a:bodyPr/>
                    <a:lstStyle/>
                    <a:p>
                      <a:pPr marL="22225">
                        <a:lnSpc>
                          <a:spcPct val="100000"/>
                        </a:lnSpc>
                        <a:spcBef>
                          <a:spcPts val="100"/>
                        </a:spcBef>
                      </a:pPr>
                      <a:r>
                        <a:rPr sz="1100" b="1" spc="-20">
                          <a:latin typeface="ABBvoice"/>
                          <a:cs typeface="ABBvoice"/>
                        </a:rPr>
                        <a:t>2011</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40">
                          <a:latin typeface="ABBvoice"/>
                          <a:cs typeface="ABBvoice"/>
                        </a:rPr>
                        <a:t> </a:t>
                      </a:r>
                      <a:r>
                        <a:rPr sz="1100">
                          <a:latin typeface="ABBvoice"/>
                          <a:cs typeface="ABBvoice"/>
                        </a:rPr>
                        <a:t>acquires</a:t>
                      </a:r>
                      <a:r>
                        <a:rPr sz="1100" spc="-30">
                          <a:latin typeface="ABBvoice"/>
                          <a:cs typeface="ABBvoice"/>
                        </a:rPr>
                        <a:t> </a:t>
                      </a:r>
                      <a:r>
                        <a:rPr sz="1100" b="1">
                          <a:solidFill>
                            <a:srgbClr val="D90000"/>
                          </a:solidFill>
                          <a:latin typeface="ABBvoice"/>
                          <a:cs typeface="ABBvoice"/>
                        </a:rPr>
                        <a:t>Envitech</a:t>
                      </a:r>
                      <a:r>
                        <a:rPr sz="1100" b="1" spc="-70">
                          <a:solidFill>
                            <a:srgbClr val="D90000"/>
                          </a:solidFill>
                          <a:latin typeface="ABBvoice"/>
                          <a:cs typeface="ABBvoice"/>
                        </a:rPr>
                        <a:t> </a:t>
                      </a:r>
                      <a:r>
                        <a:rPr sz="1100" b="1">
                          <a:solidFill>
                            <a:srgbClr val="D90000"/>
                          </a:solidFill>
                          <a:latin typeface="ABBvoice"/>
                          <a:cs typeface="ABBvoice"/>
                        </a:rPr>
                        <a:t>Energy</a:t>
                      </a:r>
                      <a:r>
                        <a:rPr sz="1100" b="1" spc="-35">
                          <a:solidFill>
                            <a:srgbClr val="D90000"/>
                          </a:solidFill>
                          <a:latin typeface="ABBvoice"/>
                          <a:cs typeface="ABBvoice"/>
                        </a:rPr>
                        <a:t> </a:t>
                      </a:r>
                      <a:r>
                        <a:rPr sz="1100">
                          <a:latin typeface="ABBvoice"/>
                          <a:cs typeface="ABBvoice"/>
                        </a:rPr>
                        <a:t>to</a:t>
                      </a:r>
                      <a:r>
                        <a:rPr sz="1100" spc="-20">
                          <a:latin typeface="ABBvoice"/>
                          <a:cs typeface="ABBvoice"/>
                        </a:rPr>
                        <a:t> </a:t>
                      </a:r>
                      <a:r>
                        <a:rPr sz="1100">
                          <a:latin typeface="ABBvoice"/>
                          <a:cs typeface="ABBvoice"/>
                        </a:rPr>
                        <a:t>strengthen its</a:t>
                      </a:r>
                      <a:r>
                        <a:rPr sz="1100" spc="-35">
                          <a:latin typeface="ABBvoice"/>
                          <a:cs typeface="ABBvoice"/>
                        </a:rPr>
                        <a:t> </a:t>
                      </a:r>
                      <a:r>
                        <a:rPr sz="1100">
                          <a:latin typeface="ABBvoice"/>
                          <a:cs typeface="ABBvoice"/>
                        </a:rPr>
                        <a:t>offering</a:t>
                      </a:r>
                      <a:r>
                        <a:rPr sz="1100" spc="-10">
                          <a:latin typeface="ABBvoice"/>
                          <a:cs typeface="ABBvoice"/>
                        </a:rPr>
                        <a:t> </a:t>
                      </a:r>
                      <a:r>
                        <a:rPr sz="1100">
                          <a:latin typeface="ABBvoice"/>
                          <a:cs typeface="ABBvoice"/>
                        </a:rPr>
                        <a:t>and</a:t>
                      </a:r>
                      <a:r>
                        <a:rPr sz="1100" spc="-45">
                          <a:latin typeface="ABBvoice"/>
                          <a:cs typeface="ABBvoice"/>
                        </a:rPr>
                        <a:t> </a:t>
                      </a:r>
                      <a:r>
                        <a:rPr sz="1100" spc="-10">
                          <a:latin typeface="ABBvoice"/>
                          <a:cs typeface="ABBvoice"/>
                        </a:rPr>
                        <a:t>solutions</a:t>
                      </a:r>
                      <a:r>
                        <a:rPr sz="1100" spc="-30">
                          <a:latin typeface="ABBvoice"/>
                          <a:cs typeface="ABBvoice"/>
                        </a:rPr>
                        <a:t> </a:t>
                      </a:r>
                      <a:r>
                        <a:rPr sz="1100">
                          <a:latin typeface="ABBvoice"/>
                          <a:cs typeface="ABBvoice"/>
                        </a:rPr>
                        <a:t>for</a:t>
                      </a:r>
                      <a:r>
                        <a:rPr sz="1100" spc="-20">
                          <a:latin typeface="ABBvoice"/>
                          <a:cs typeface="ABBvoice"/>
                        </a:rPr>
                        <a:t> </a:t>
                      </a:r>
                      <a:r>
                        <a:rPr sz="1100">
                          <a:latin typeface="ABBvoice"/>
                          <a:cs typeface="ABBvoice"/>
                        </a:rPr>
                        <a:t>the </a:t>
                      </a:r>
                      <a:r>
                        <a:rPr sz="1100" spc="-20">
                          <a:latin typeface="ABBvoice"/>
                          <a:cs typeface="ABBvoice"/>
                        </a:rPr>
                        <a:t>rail</a:t>
                      </a:r>
                      <a:endParaRPr sz="1100">
                        <a:latin typeface="ABBvoice"/>
                        <a:cs typeface="ABBvoice"/>
                      </a:endParaRPr>
                    </a:p>
                    <a:p>
                      <a:pPr marL="34290">
                        <a:lnSpc>
                          <a:spcPct val="100000"/>
                        </a:lnSpc>
                        <a:spcBef>
                          <a:spcPts val="5"/>
                        </a:spcBef>
                      </a:pPr>
                      <a:r>
                        <a:rPr sz="1100">
                          <a:latin typeface="ABBvoice"/>
                          <a:cs typeface="ABBvoice"/>
                        </a:rPr>
                        <a:t>infrastructure</a:t>
                      </a:r>
                      <a:r>
                        <a:rPr sz="1100" spc="-35">
                          <a:latin typeface="ABBvoice"/>
                          <a:cs typeface="ABBvoice"/>
                        </a:rPr>
                        <a:t> </a:t>
                      </a:r>
                      <a:r>
                        <a:rPr sz="1100" spc="-10">
                          <a:latin typeface="ABBvoice"/>
                          <a:cs typeface="ABBvoice"/>
                        </a:rPr>
                        <a:t>market</a:t>
                      </a:r>
                      <a:endParaRPr sz="1100">
                        <a:latin typeface="ABBvoice"/>
                        <a:cs typeface="ABBvoice"/>
                      </a:endParaRPr>
                    </a:p>
                  </a:txBody>
                  <a:tcPr marL="0" marR="0" marT="12700" marB="0"/>
                </a:tc>
                <a:extLst>
                  <a:ext uri="{0D108BD9-81ED-4DB2-BD59-A6C34878D82A}">
                    <a16:rowId xmlns:a16="http://schemas.microsoft.com/office/drawing/2014/main" val="10007"/>
                  </a:ext>
                </a:extLst>
              </a:tr>
              <a:tr h="411480">
                <a:tc>
                  <a:txBody>
                    <a:bodyPr/>
                    <a:lstStyle/>
                    <a:p>
                      <a:pPr marL="22225">
                        <a:lnSpc>
                          <a:spcPct val="100000"/>
                        </a:lnSpc>
                        <a:spcBef>
                          <a:spcPts val="100"/>
                        </a:spcBef>
                      </a:pPr>
                      <a:r>
                        <a:rPr sz="1100" b="1" spc="-20">
                          <a:latin typeface="ABBvoice"/>
                          <a:cs typeface="ABBvoice"/>
                        </a:rPr>
                        <a:t>2012</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15">
                          <a:latin typeface="ABBvoice"/>
                          <a:cs typeface="ABBvoice"/>
                        </a:rPr>
                        <a:t> </a:t>
                      </a:r>
                      <a:r>
                        <a:rPr sz="1100">
                          <a:latin typeface="ABBvoice"/>
                          <a:cs typeface="ABBvoice"/>
                        </a:rPr>
                        <a:t>acquires</a:t>
                      </a:r>
                      <a:r>
                        <a:rPr sz="1100" spc="-15">
                          <a:latin typeface="ABBvoice"/>
                          <a:cs typeface="ABBvoice"/>
                        </a:rPr>
                        <a:t> </a:t>
                      </a:r>
                      <a:r>
                        <a:rPr sz="1100" b="1">
                          <a:solidFill>
                            <a:srgbClr val="D90000"/>
                          </a:solidFill>
                          <a:latin typeface="ABBvoice"/>
                          <a:cs typeface="ABBvoice"/>
                        </a:rPr>
                        <a:t>Thomas</a:t>
                      </a:r>
                      <a:r>
                        <a:rPr sz="1100" b="1" spc="-30">
                          <a:solidFill>
                            <a:srgbClr val="D90000"/>
                          </a:solidFill>
                          <a:latin typeface="ABBvoice"/>
                          <a:cs typeface="ABBvoice"/>
                        </a:rPr>
                        <a:t> </a:t>
                      </a:r>
                      <a:r>
                        <a:rPr sz="1100" b="1">
                          <a:solidFill>
                            <a:srgbClr val="D90000"/>
                          </a:solidFill>
                          <a:latin typeface="ABBvoice"/>
                          <a:cs typeface="ABBvoice"/>
                        </a:rPr>
                        <a:t>&amp;</a:t>
                      </a:r>
                      <a:r>
                        <a:rPr sz="1100" b="1" spc="-15">
                          <a:solidFill>
                            <a:srgbClr val="D90000"/>
                          </a:solidFill>
                          <a:latin typeface="ABBvoice"/>
                          <a:cs typeface="ABBvoice"/>
                        </a:rPr>
                        <a:t> </a:t>
                      </a:r>
                      <a:r>
                        <a:rPr sz="1100" b="1">
                          <a:solidFill>
                            <a:srgbClr val="D90000"/>
                          </a:solidFill>
                          <a:latin typeface="ABBvoice"/>
                          <a:cs typeface="ABBvoice"/>
                        </a:rPr>
                        <a:t>Betts</a:t>
                      </a:r>
                      <a:r>
                        <a:rPr sz="1100" b="1" spc="-45">
                          <a:solidFill>
                            <a:srgbClr val="D90000"/>
                          </a:solidFill>
                          <a:latin typeface="ABBvoice"/>
                          <a:cs typeface="ABBvoice"/>
                        </a:rPr>
                        <a:t> </a:t>
                      </a:r>
                      <a:r>
                        <a:rPr sz="1100">
                          <a:latin typeface="ABBvoice"/>
                          <a:cs typeface="ABBvoice"/>
                        </a:rPr>
                        <a:t>(US</a:t>
                      </a:r>
                      <a:r>
                        <a:rPr sz="1100" spc="-10">
                          <a:latin typeface="ABBvoice"/>
                          <a:cs typeface="ABBvoice"/>
                        </a:rPr>
                        <a:t> </a:t>
                      </a:r>
                      <a:r>
                        <a:rPr sz="1100">
                          <a:latin typeface="ABBvoice"/>
                          <a:cs typeface="ABBvoice"/>
                        </a:rPr>
                        <a:t>$3.9</a:t>
                      </a:r>
                      <a:r>
                        <a:rPr sz="1100" spc="-25">
                          <a:latin typeface="ABBvoice"/>
                          <a:cs typeface="ABBvoice"/>
                        </a:rPr>
                        <a:t> </a:t>
                      </a:r>
                      <a:r>
                        <a:rPr sz="1100">
                          <a:latin typeface="ABBvoice"/>
                          <a:cs typeface="ABBvoice"/>
                        </a:rPr>
                        <a:t>bn), </a:t>
                      </a:r>
                      <a:r>
                        <a:rPr sz="1100" spc="-10">
                          <a:latin typeface="ABBvoice"/>
                          <a:cs typeface="ABBvoice"/>
                        </a:rPr>
                        <a:t>supporting</a:t>
                      </a:r>
                      <a:r>
                        <a:rPr sz="1100" spc="-50">
                          <a:latin typeface="ABBvoice"/>
                          <a:cs typeface="ABBvoice"/>
                        </a:rPr>
                        <a:t> </a:t>
                      </a:r>
                      <a:r>
                        <a:rPr sz="1100">
                          <a:latin typeface="ABBvoice"/>
                          <a:cs typeface="ABBvoice"/>
                        </a:rPr>
                        <a:t>growth</a:t>
                      </a:r>
                      <a:r>
                        <a:rPr sz="1100" spc="-5">
                          <a:latin typeface="ABBvoice"/>
                          <a:cs typeface="ABBvoice"/>
                        </a:rPr>
                        <a:t> </a:t>
                      </a:r>
                      <a:r>
                        <a:rPr sz="1100">
                          <a:latin typeface="ABBvoice"/>
                          <a:cs typeface="ABBvoice"/>
                        </a:rPr>
                        <a:t>with</a:t>
                      </a:r>
                      <a:r>
                        <a:rPr sz="1100" spc="-5">
                          <a:latin typeface="ABBvoice"/>
                          <a:cs typeface="ABBvoice"/>
                        </a:rPr>
                        <a:t> </a:t>
                      </a:r>
                      <a:r>
                        <a:rPr sz="1100">
                          <a:latin typeface="ABBvoice"/>
                          <a:cs typeface="ABBvoice"/>
                        </a:rPr>
                        <a:t>distributors</a:t>
                      </a:r>
                      <a:r>
                        <a:rPr sz="1100" spc="-20">
                          <a:latin typeface="ABBvoice"/>
                          <a:cs typeface="ABBvoice"/>
                        </a:rPr>
                        <a:t> </a:t>
                      </a:r>
                      <a:r>
                        <a:rPr sz="1100" spc="-25">
                          <a:latin typeface="ABBvoice"/>
                          <a:cs typeface="ABBvoice"/>
                        </a:rPr>
                        <a:t>and</a:t>
                      </a:r>
                      <a:endParaRPr sz="1100">
                        <a:latin typeface="ABBvoice"/>
                        <a:cs typeface="ABBvoice"/>
                      </a:endParaRPr>
                    </a:p>
                    <a:p>
                      <a:pPr marL="34290">
                        <a:lnSpc>
                          <a:spcPct val="100000"/>
                        </a:lnSpc>
                      </a:pPr>
                      <a:r>
                        <a:rPr sz="1100" spc="-10">
                          <a:latin typeface="ABBvoice"/>
                          <a:cs typeface="ABBvoice"/>
                        </a:rPr>
                        <a:t>electrification</a:t>
                      </a:r>
                      <a:r>
                        <a:rPr sz="1100" spc="65">
                          <a:latin typeface="ABBvoice"/>
                          <a:cs typeface="ABBvoice"/>
                        </a:rPr>
                        <a:t> </a:t>
                      </a:r>
                      <a:r>
                        <a:rPr sz="1100" spc="-10">
                          <a:latin typeface="ABBvoice"/>
                          <a:cs typeface="ABBvoice"/>
                        </a:rPr>
                        <a:t>products</a:t>
                      </a:r>
                      <a:endParaRPr sz="1100">
                        <a:latin typeface="ABBvoice"/>
                        <a:cs typeface="ABBvoice"/>
                      </a:endParaRPr>
                    </a:p>
                  </a:txBody>
                  <a:tcPr marL="0" marR="0" marT="12700" marB="0"/>
                </a:tc>
                <a:extLst>
                  <a:ext uri="{0D108BD9-81ED-4DB2-BD59-A6C34878D82A}">
                    <a16:rowId xmlns:a16="http://schemas.microsoft.com/office/drawing/2014/main" val="10008"/>
                  </a:ext>
                </a:extLst>
              </a:tr>
              <a:tr h="243840">
                <a:tc>
                  <a:txBody>
                    <a:bodyPr/>
                    <a:lstStyle/>
                    <a:p>
                      <a:pPr marL="22225">
                        <a:lnSpc>
                          <a:spcPct val="100000"/>
                        </a:lnSpc>
                        <a:spcBef>
                          <a:spcPts val="100"/>
                        </a:spcBef>
                      </a:pPr>
                      <a:r>
                        <a:rPr sz="1100" b="1" spc="-20">
                          <a:latin typeface="ABBvoice"/>
                          <a:cs typeface="ABBvoice"/>
                        </a:rPr>
                        <a:t>2013</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35">
                          <a:latin typeface="ABBvoice"/>
                          <a:cs typeface="ABBvoice"/>
                        </a:rPr>
                        <a:t> </a:t>
                      </a:r>
                      <a:r>
                        <a:rPr sz="1100">
                          <a:latin typeface="ABBvoice"/>
                          <a:cs typeface="ABBvoice"/>
                        </a:rPr>
                        <a:t>acquires</a:t>
                      </a:r>
                      <a:r>
                        <a:rPr sz="1100" spc="-25">
                          <a:latin typeface="ABBvoice"/>
                          <a:cs typeface="ABBvoice"/>
                        </a:rPr>
                        <a:t> </a:t>
                      </a:r>
                      <a:r>
                        <a:rPr sz="1100" b="1">
                          <a:solidFill>
                            <a:srgbClr val="D90000"/>
                          </a:solidFill>
                          <a:latin typeface="ABBvoice"/>
                          <a:cs typeface="ABBvoice"/>
                        </a:rPr>
                        <a:t>Power-</a:t>
                      </a:r>
                      <a:r>
                        <a:rPr sz="1100" b="1" spc="-10">
                          <a:solidFill>
                            <a:srgbClr val="D90000"/>
                          </a:solidFill>
                          <a:latin typeface="ABBvoice"/>
                          <a:cs typeface="ABBvoice"/>
                        </a:rPr>
                        <a:t>One</a:t>
                      </a:r>
                      <a:r>
                        <a:rPr sz="1100" b="1" spc="-70">
                          <a:solidFill>
                            <a:srgbClr val="D90000"/>
                          </a:solidFill>
                          <a:latin typeface="ABBvoice"/>
                          <a:cs typeface="ABBvoice"/>
                        </a:rPr>
                        <a:t> </a:t>
                      </a:r>
                      <a:r>
                        <a:rPr sz="1100">
                          <a:latin typeface="ABBvoice"/>
                          <a:cs typeface="ABBvoice"/>
                        </a:rPr>
                        <a:t>(US</a:t>
                      </a:r>
                      <a:r>
                        <a:rPr sz="1100" spc="-20">
                          <a:latin typeface="ABBvoice"/>
                          <a:cs typeface="ABBvoice"/>
                        </a:rPr>
                        <a:t> </a:t>
                      </a:r>
                      <a:r>
                        <a:rPr sz="1100">
                          <a:latin typeface="ABBvoice"/>
                          <a:cs typeface="ABBvoice"/>
                        </a:rPr>
                        <a:t>$1</a:t>
                      </a:r>
                      <a:r>
                        <a:rPr sz="1100" spc="-20">
                          <a:latin typeface="ABBvoice"/>
                          <a:cs typeface="ABBvoice"/>
                        </a:rPr>
                        <a:t> </a:t>
                      </a:r>
                      <a:r>
                        <a:rPr sz="1100">
                          <a:latin typeface="ABBvoice"/>
                          <a:cs typeface="ABBvoice"/>
                        </a:rPr>
                        <a:t>bn),</a:t>
                      </a:r>
                      <a:r>
                        <a:rPr sz="1100" spc="-35">
                          <a:latin typeface="ABBvoice"/>
                          <a:cs typeface="ABBvoice"/>
                        </a:rPr>
                        <a:t> </a:t>
                      </a:r>
                      <a:r>
                        <a:rPr sz="1100">
                          <a:latin typeface="ABBvoice"/>
                          <a:cs typeface="ABBvoice"/>
                        </a:rPr>
                        <a:t>supporting</a:t>
                      </a:r>
                      <a:r>
                        <a:rPr sz="1100" spc="-35">
                          <a:latin typeface="ABBvoice"/>
                          <a:cs typeface="ABBvoice"/>
                        </a:rPr>
                        <a:t> </a:t>
                      </a:r>
                      <a:r>
                        <a:rPr sz="1100">
                          <a:latin typeface="ABBvoice"/>
                          <a:cs typeface="ABBvoice"/>
                        </a:rPr>
                        <a:t>growth</a:t>
                      </a:r>
                      <a:r>
                        <a:rPr sz="1100" spc="-15">
                          <a:latin typeface="ABBvoice"/>
                          <a:cs typeface="ABBvoice"/>
                        </a:rPr>
                        <a:t> </a:t>
                      </a:r>
                      <a:r>
                        <a:rPr sz="1100">
                          <a:latin typeface="ABBvoice"/>
                          <a:cs typeface="ABBvoice"/>
                        </a:rPr>
                        <a:t>in</a:t>
                      </a:r>
                      <a:r>
                        <a:rPr sz="1100" spc="-15">
                          <a:latin typeface="ABBvoice"/>
                          <a:cs typeface="ABBvoice"/>
                        </a:rPr>
                        <a:t> </a:t>
                      </a:r>
                      <a:r>
                        <a:rPr sz="1100">
                          <a:latin typeface="ABBvoice"/>
                          <a:cs typeface="ABBvoice"/>
                        </a:rPr>
                        <a:t>renewable</a:t>
                      </a:r>
                      <a:r>
                        <a:rPr sz="1100" spc="-25">
                          <a:latin typeface="ABBvoice"/>
                          <a:cs typeface="ABBvoice"/>
                        </a:rPr>
                        <a:t> </a:t>
                      </a:r>
                      <a:r>
                        <a:rPr sz="1100">
                          <a:latin typeface="ABBvoice"/>
                          <a:cs typeface="ABBvoice"/>
                        </a:rPr>
                        <a:t>energy</a:t>
                      </a:r>
                      <a:r>
                        <a:rPr sz="1100" spc="5">
                          <a:latin typeface="ABBvoice"/>
                          <a:cs typeface="ABBvoice"/>
                        </a:rPr>
                        <a:t> </a:t>
                      </a:r>
                      <a:r>
                        <a:rPr sz="1100" spc="-10">
                          <a:latin typeface="ABBvoice"/>
                          <a:cs typeface="ABBvoice"/>
                        </a:rPr>
                        <a:t>markets</a:t>
                      </a:r>
                      <a:endParaRPr sz="1100">
                        <a:latin typeface="ABBvoice"/>
                        <a:cs typeface="ABBvoice"/>
                      </a:endParaRPr>
                    </a:p>
                  </a:txBody>
                  <a:tcPr marL="0" marR="0" marT="12700" marB="0"/>
                </a:tc>
                <a:extLst>
                  <a:ext uri="{0D108BD9-81ED-4DB2-BD59-A6C34878D82A}">
                    <a16:rowId xmlns:a16="http://schemas.microsoft.com/office/drawing/2014/main" val="10009"/>
                  </a:ext>
                </a:extLst>
              </a:tr>
              <a:tr h="411480">
                <a:tc>
                  <a:txBody>
                    <a:bodyPr/>
                    <a:lstStyle/>
                    <a:p>
                      <a:pPr marL="22225">
                        <a:lnSpc>
                          <a:spcPct val="100000"/>
                        </a:lnSpc>
                        <a:spcBef>
                          <a:spcPts val="100"/>
                        </a:spcBef>
                      </a:pPr>
                      <a:r>
                        <a:rPr sz="1100" b="1" spc="-20">
                          <a:latin typeface="ABBvoice"/>
                          <a:cs typeface="ABBvoice"/>
                        </a:rPr>
                        <a:t>2017</a:t>
                      </a:r>
                      <a:endParaRPr sz="1100">
                        <a:latin typeface="ABBvoice"/>
                        <a:cs typeface="ABBvoice"/>
                      </a:endParaRPr>
                    </a:p>
                  </a:txBody>
                  <a:tcPr marL="0" marR="0" marT="12700" marB="0"/>
                </a:tc>
                <a:tc>
                  <a:txBody>
                    <a:bodyPr/>
                    <a:lstStyle/>
                    <a:p>
                      <a:pPr marL="34290">
                        <a:lnSpc>
                          <a:spcPct val="100000"/>
                        </a:lnSpc>
                        <a:spcBef>
                          <a:spcPts val="100"/>
                        </a:spcBef>
                      </a:pPr>
                      <a:r>
                        <a:rPr sz="1100">
                          <a:latin typeface="ABBvoice"/>
                          <a:cs typeface="ABBvoice"/>
                        </a:rPr>
                        <a:t>ABB</a:t>
                      </a:r>
                      <a:r>
                        <a:rPr sz="1100" spc="-30">
                          <a:latin typeface="ABBvoice"/>
                          <a:cs typeface="ABBvoice"/>
                        </a:rPr>
                        <a:t> </a:t>
                      </a:r>
                      <a:r>
                        <a:rPr sz="1100">
                          <a:latin typeface="ABBvoice"/>
                          <a:cs typeface="ABBvoice"/>
                        </a:rPr>
                        <a:t>acquires</a:t>
                      </a:r>
                      <a:r>
                        <a:rPr sz="1100" spc="-15">
                          <a:latin typeface="ABBvoice"/>
                          <a:cs typeface="ABBvoice"/>
                        </a:rPr>
                        <a:t> </a:t>
                      </a:r>
                      <a:r>
                        <a:rPr sz="1100" b="1">
                          <a:solidFill>
                            <a:srgbClr val="D90000"/>
                          </a:solidFill>
                          <a:latin typeface="ABBvoice"/>
                          <a:cs typeface="ABBvoice"/>
                        </a:rPr>
                        <a:t>B&amp;R</a:t>
                      </a:r>
                      <a:r>
                        <a:rPr sz="1100" b="1" spc="-10">
                          <a:solidFill>
                            <a:srgbClr val="D90000"/>
                          </a:solidFill>
                          <a:latin typeface="ABBvoice"/>
                          <a:cs typeface="ABBvoice"/>
                        </a:rPr>
                        <a:t> </a:t>
                      </a:r>
                      <a:r>
                        <a:rPr sz="1100">
                          <a:latin typeface="ABBvoice"/>
                          <a:cs typeface="ABBvoice"/>
                        </a:rPr>
                        <a:t>to</a:t>
                      </a:r>
                      <a:r>
                        <a:rPr sz="1100" spc="-15">
                          <a:latin typeface="ABBvoice"/>
                          <a:cs typeface="ABBvoice"/>
                        </a:rPr>
                        <a:t> </a:t>
                      </a:r>
                      <a:r>
                        <a:rPr sz="1100">
                          <a:latin typeface="ABBvoice"/>
                          <a:cs typeface="ABBvoice"/>
                        </a:rPr>
                        <a:t>close</a:t>
                      </a:r>
                      <a:r>
                        <a:rPr sz="1100" spc="-35">
                          <a:latin typeface="ABBvoice"/>
                          <a:cs typeface="ABBvoice"/>
                        </a:rPr>
                        <a:t> </a:t>
                      </a:r>
                      <a:r>
                        <a:rPr sz="1100">
                          <a:latin typeface="ABBvoice"/>
                          <a:cs typeface="ABBvoice"/>
                        </a:rPr>
                        <a:t>the</a:t>
                      </a:r>
                      <a:r>
                        <a:rPr sz="1100" spc="10">
                          <a:latin typeface="ABBvoice"/>
                          <a:cs typeface="ABBvoice"/>
                        </a:rPr>
                        <a:t> </a:t>
                      </a:r>
                      <a:r>
                        <a:rPr sz="1100">
                          <a:latin typeface="ABBvoice"/>
                          <a:cs typeface="ABBvoice"/>
                        </a:rPr>
                        <a:t>gap</a:t>
                      </a:r>
                      <a:r>
                        <a:rPr sz="1100" spc="-25">
                          <a:latin typeface="ABBvoice"/>
                          <a:cs typeface="ABBvoice"/>
                        </a:rPr>
                        <a:t> </a:t>
                      </a:r>
                      <a:r>
                        <a:rPr sz="1100">
                          <a:latin typeface="ABBvoice"/>
                          <a:cs typeface="ABBvoice"/>
                        </a:rPr>
                        <a:t>in</a:t>
                      </a:r>
                      <a:r>
                        <a:rPr sz="1100" spc="-5">
                          <a:latin typeface="ABBvoice"/>
                          <a:cs typeface="ABBvoice"/>
                        </a:rPr>
                        <a:t> </a:t>
                      </a:r>
                      <a:r>
                        <a:rPr sz="1100">
                          <a:latin typeface="ABBvoice"/>
                          <a:cs typeface="ABBvoice"/>
                        </a:rPr>
                        <a:t>machine</a:t>
                      </a:r>
                      <a:r>
                        <a:rPr sz="1100" spc="-35">
                          <a:latin typeface="ABBvoice"/>
                          <a:cs typeface="ABBvoice"/>
                        </a:rPr>
                        <a:t> </a:t>
                      </a:r>
                      <a:r>
                        <a:rPr sz="1100">
                          <a:latin typeface="ABBvoice"/>
                          <a:cs typeface="ABBvoice"/>
                        </a:rPr>
                        <a:t>and</a:t>
                      </a:r>
                      <a:r>
                        <a:rPr sz="1100" spc="-30">
                          <a:latin typeface="ABBvoice"/>
                          <a:cs typeface="ABBvoice"/>
                        </a:rPr>
                        <a:t> </a:t>
                      </a:r>
                      <a:r>
                        <a:rPr sz="1100">
                          <a:latin typeface="ABBvoice"/>
                          <a:cs typeface="ABBvoice"/>
                        </a:rPr>
                        <a:t>factory</a:t>
                      </a:r>
                      <a:r>
                        <a:rPr sz="1100" spc="-30">
                          <a:latin typeface="ABBvoice"/>
                          <a:cs typeface="ABBvoice"/>
                        </a:rPr>
                        <a:t> </a:t>
                      </a:r>
                      <a:r>
                        <a:rPr sz="1100">
                          <a:latin typeface="ABBvoice"/>
                          <a:cs typeface="ABBvoice"/>
                        </a:rPr>
                        <a:t>automation,</a:t>
                      </a:r>
                      <a:r>
                        <a:rPr sz="1100" spc="-5">
                          <a:latin typeface="ABBvoice"/>
                          <a:cs typeface="ABBvoice"/>
                        </a:rPr>
                        <a:t> </a:t>
                      </a:r>
                      <a:r>
                        <a:rPr sz="1100">
                          <a:latin typeface="ABBvoice"/>
                          <a:cs typeface="ABBvoice"/>
                        </a:rPr>
                        <a:t>creating</a:t>
                      </a:r>
                      <a:r>
                        <a:rPr sz="1100" spc="-25">
                          <a:latin typeface="ABBvoice"/>
                          <a:cs typeface="ABBvoice"/>
                        </a:rPr>
                        <a:t> </a:t>
                      </a:r>
                      <a:r>
                        <a:rPr sz="1100">
                          <a:latin typeface="ABBvoice"/>
                          <a:cs typeface="ABBvoice"/>
                        </a:rPr>
                        <a:t>a</a:t>
                      </a:r>
                      <a:r>
                        <a:rPr sz="1100" spc="-20">
                          <a:latin typeface="ABBvoice"/>
                          <a:cs typeface="ABBvoice"/>
                        </a:rPr>
                        <a:t> </a:t>
                      </a:r>
                      <a:r>
                        <a:rPr sz="1100" spc="-10">
                          <a:latin typeface="ABBvoice"/>
                          <a:cs typeface="ABBvoice"/>
                        </a:rPr>
                        <a:t>comprehensive</a:t>
                      </a:r>
                      <a:endParaRPr sz="1100">
                        <a:latin typeface="ABBvoice"/>
                        <a:cs typeface="ABBvoice"/>
                      </a:endParaRPr>
                    </a:p>
                    <a:p>
                      <a:pPr marL="34290">
                        <a:lnSpc>
                          <a:spcPct val="100000"/>
                        </a:lnSpc>
                      </a:pPr>
                      <a:r>
                        <a:rPr sz="1100">
                          <a:latin typeface="ABBvoice"/>
                          <a:cs typeface="ABBvoice"/>
                        </a:rPr>
                        <a:t>automation</a:t>
                      </a:r>
                      <a:r>
                        <a:rPr sz="1100" spc="-65">
                          <a:latin typeface="ABBvoice"/>
                          <a:cs typeface="ABBvoice"/>
                        </a:rPr>
                        <a:t> </a:t>
                      </a:r>
                      <a:r>
                        <a:rPr sz="1100" spc="-10">
                          <a:latin typeface="ABBvoice"/>
                          <a:cs typeface="ABBvoice"/>
                        </a:rPr>
                        <a:t>portfolio</a:t>
                      </a:r>
                      <a:endParaRPr sz="1100">
                        <a:latin typeface="ABBvoice"/>
                        <a:cs typeface="ABBvoice"/>
                      </a:endParaRPr>
                    </a:p>
                  </a:txBody>
                  <a:tcPr marL="0" marR="0" marT="12700" marB="0"/>
                </a:tc>
                <a:extLst>
                  <a:ext uri="{0D108BD9-81ED-4DB2-BD59-A6C34878D82A}">
                    <a16:rowId xmlns:a16="http://schemas.microsoft.com/office/drawing/2014/main" val="10010"/>
                  </a:ext>
                </a:extLst>
              </a:tr>
              <a:tr h="191770">
                <a:tc>
                  <a:txBody>
                    <a:bodyPr/>
                    <a:lstStyle/>
                    <a:p>
                      <a:pPr marL="22225">
                        <a:lnSpc>
                          <a:spcPts val="1310"/>
                        </a:lnSpc>
                        <a:spcBef>
                          <a:spcPts val="100"/>
                        </a:spcBef>
                      </a:pPr>
                      <a:r>
                        <a:rPr sz="1100" b="1" spc="-20">
                          <a:latin typeface="ABBvoice"/>
                          <a:cs typeface="ABBvoice"/>
                        </a:rPr>
                        <a:t>2018</a:t>
                      </a:r>
                      <a:endParaRPr sz="1100">
                        <a:latin typeface="ABBvoice"/>
                        <a:cs typeface="ABBvoice"/>
                      </a:endParaRPr>
                    </a:p>
                  </a:txBody>
                  <a:tcPr marL="0" marR="0" marT="12700" marB="0"/>
                </a:tc>
                <a:tc>
                  <a:txBody>
                    <a:bodyPr/>
                    <a:lstStyle/>
                    <a:p>
                      <a:pPr marL="34290">
                        <a:lnSpc>
                          <a:spcPts val="1310"/>
                        </a:lnSpc>
                        <a:spcBef>
                          <a:spcPts val="100"/>
                        </a:spcBef>
                      </a:pPr>
                      <a:r>
                        <a:rPr sz="1100">
                          <a:latin typeface="ABBvoice"/>
                          <a:cs typeface="ABBvoice"/>
                        </a:rPr>
                        <a:t>ABB</a:t>
                      </a:r>
                      <a:r>
                        <a:rPr sz="1100" spc="-10">
                          <a:latin typeface="ABBvoice"/>
                          <a:cs typeface="ABBvoice"/>
                        </a:rPr>
                        <a:t> </a:t>
                      </a:r>
                      <a:r>
                        <a:rPr sz="1100">
                          <a:latin typeface="ABBvoice"/>
                          <a:cs typeface="ABBvoice"/>
                        </a:rPr>
                        <a:t>acquires </a:t>
                      </a:r>
                      <a:r>
                        <a:rPr sz="1100" b="1">
                          <a:solidFill>
                            <a:srgbClr val="D90000"/>
                          </a:solidFill>
                          <a:latin typeface="ABBvoice"/>
                          <a:cs typeface="ABBvoice"/>
                        </a:rPr>
                        <a:t>GEIS</a:t>
                      </a:r>
                      <a:r>
                        <a:rPr sz="1100" b="1" spc="-15">
                          <a:solidFill>
                            <a:srgbClr val="D90000"/>
                          </a:solidFill>
                          <a:latin typeface="ABBvoice"/>
                          <a:cs typeface="ABBvoice"/>
                        </a:rPr>
                        <a:t> </a:t>
                      </a:r>
                      <a:r>
                        <a:rPr sz="1100">
                          <a:latin typeface="ABBvoice"/>
                          <a:cs typeface="ABBvoice"/>
                        </a:rPr>
                        <a:t>(US</a:t>
                      </a:r>
                      <a:r>
                        <a:rPr sz="1100" spc="-20">
                          <a:latin typeface="ABBvoice"/>
                          <a:cs typeface="ABBvoice"/>
                        </a:rPr>
                        <a:t> </a:t>
                      </a:r>
                      <a:r>
                        <a:rPr sz="1100">
                          <a:latin typeface="ABBvoice"/>
                          <a:cs typeface="ABBvoice"/>
                        </a:rPr>
                        <a:t>$2.6bn) </a:t>
                      </a:r>
                      <a:r>
                        <a:rPr sz="1100" spc="-10">
                          <a:latin typeface="ABBvoice"/>
                          <a:cs typeface="ABBvoice"/>
                        </a:rPr>
                        <a:t>supporting</a:t>
                      </a:r>
                      <a:r>
                        <a:rPr sz="1100" spc="-35">
                          <a:latin typeface="ABBvoice"/>
                          <a:cs typeface="ABBvoice"/>
                        </a:rPr>
                        <a:t> </a:t>
                      </a:r>
                      <a:r>
                        <a:rPr sz="1100">
                          <a:latin typeface="ABBvoice"/>
                          <a:cs typeface="ABBvoice"/>
                        </a:rPr>
                        <a:t>growth</a:t>
                      </a:r>
                      <a:r>
                        <a:rPr sz="1100" spc="30">
                          <a:latin typeface="ABBvoice"/>
                          <a:cs typeface="ABBvoice"/>
                        </a:rPr>
                        <a:t> </a:t>
                      </a:r>
                      <a:r>
                        <a:rPr sz="1100">
                          <a:latin typeface="ABBvoice"/>
                          <a:cs typeface="ABBvoice"/>
                        </a:rPr>
                        <a:t>with</a:t>
                      </a:r>
                      <a:r>
                        <a:rPr sz="1100" spc="-20">
                          <a:latin typeface="ABBvoice"/>
                          <a:cs typeface="ABBvoice"/>
                        </a:rPr>
                        <a:t> </a:t>
                      </a:r>
                      <a:r>
                        <a:rPr sz="1100" spc="-10">
                          <a:latin typeface="ABBvoice"/>
                          <a:cs typeface="ABBvoice"/>
                        </a:rPr>
                        <a:t>electrification products</a:t>
                      </a:r>
                      <a:endParaRPr sz="1100">
                        <a:latin typeface="ABBvoice"/>
                        <a:cs typeface="ABBvoice"/>
                      </a:endParaRPr>
                    </a:p>
                  </a:txBody>
                  <a:tcPr marL="0" marR="0" marT="12700" marB="0"/>
                </a:tc>
                <a:extLst>
                  <a:ext uri="{0D108BD9-81ED-4DB2-BD59-A6C34878D82A}">
                    <a16:rowId xmlns:a16="http://schemas.microsoft.com/office/drawing/2014/main" val="10011"/>
                  </a:ext>
                </a:extLst>
              </a:tr>
            </a:tbl>
          </a:graphicData>
        </a:graphic>
      </p:graphicFrame>
      <p:sp>
        <p:nvSpPr>
          <p:cNvPr id="5" name="object 5"/>
          <p:cNvSpPr txBox="1"/>
          <p:nvPr/>
        </p:nvSpPr>
        <p:spPr>
          <a:xfrm>
            <a:off x="467359" y="2032762"/>
            <a:ext cx="4769485" cy="329565"/>
          </a:xfrm>
          <a:prstGeom prst="rect">
            <a:avLst/>
          </a:prstGeom>
        </p:spPr>
        <p:txBody>
          <a:bodyPr vert="horz" wrap="square" lIns="0" tIns="11430" rIns="0" bIns="0" rtlCol="0">
            <a:spAutoFit/>
          </a:bodyPr>
          <a:lstStyle/>
          <a:p>
            <a:pPr marL="12700">
              <a:lnSpc>
                <a:spcPct val="100000"/>
              </a:lnSpc>
              <a:spcBef>
                <a:spcPts val="90"/>
              </a:spcBef>
            </a:pPr>
            <a:r>
              <a:rPr sz="2000" b="1">
                <a:solidFill>
                  <a:srgbClr val="D90000"/>
                </a:solidFill>
                <a:latin typeface="ABBvoice"/>
                <a:cs typeface="ABBvoice"/>
              </a:rPr>
              <a:t>Balance</a:t>
            </a:r>
            <a:r>
              <a:rPr sz="2000" b="1" spc="-70">
                <a:solidFill>
                  <a:srgbClr val="D90000"/>
                </a:solidFill>
                <a:latin typeface="ABBvoice"/>
                <a:cs typeface="ABBvoice"/>
              </a:rPr>
              <a:t> </a:t>
            </a:r>
            <a:r>
              <a:rPr sz="2000" b="1">
                <a:solidFill>
                  <a:srgbClr val="D90000"/>
                </a:solidFill>
                <a:latin typeface="ABBvoice"/>
                <a:cs typeface="ABBvoice"/>
              </a:rPr>
              <a:t>through</a:t>
            </a:r>
            <a:r>
              <a:rPr sz="2000" b="1" spc="-40">
                <a:solidFill>
                  <a:srgbClr val="D90000"/>
                </a:solidFill>
                <a:latin typeface="ABBvoice"/>
                <a:cs typeface="ABBvoice"/>
              </a:rPr>
              <a:t> </a:t>
            </a:r>
            <a:r>
              <a:rPr sz="2000" b="1">
                <a:solidFill>
                  <a:srgbClr val="D90000"/>
                </a:solidFill>
                <a:latin typeface="ABBvoice"/>
                <a:cs typeface="ABBvoice"/>
              </a:rPr>
              <a:t>strategic</a:t>
            </a:r>
            <a:r>
              <a:rPr sz="2000" b="1" spc="-75">
                <a:solidFill>
                  <a:srgbClr val="D90000"/>
                </a:solidFill>
                <a:latin typeface="ABBvoice"/>
                <a:cs typeface="ABBvoice"/>
              </a:rPr>
              <a:t> </a:t>
            </a:r>
            <a:r>
              <a:rPr sz="2000" b="1" spc="-10">
                <a:solidFill>
                  <a:srgbClr val="D90000"/>
                </a:solidFill>
                <a:latin typeface="ABBvoice"/>
                <a:cs typeface="ABBvoice"/>
              </a:rPr>
              <a:t>acquisitions</a:t>
            </a:r>
            <a:endParaRPr sz="2000">
              <a:latin typeface="ABBvoice"/>
              <a:cs typeface="ABBvoice"/>
            </a:endParaRPr>
          </a:p>
        </p:txBody>
      </p:sp>
      <p:pic>
        <p:nvPicPr>
          <p:cNvPr id="6" name="object 6"/>
          <p:cNvPicPr/>
          <p:nvPr/>
        </p:nvPicPr>
        <p:blipFill>
          <a:blip r:embed="rId2" cstate="print"/>
          <a:stretch>
            <a:fillRect/>
          </a:stretch>
        </p:blipFill>
        <p:spPr>
          <a:xfrm>
            <a:off x="7604759" y="2060829"/>
            <a:ext cx="4355592" cy="3565779"/>
          </a:xfrm>
          <a:prstGeom prst="rect">
            <a:avLst/>
          </a:prstGeom>
        </p:spPr>
      </p:pic>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2" name="object 2"/>
          <p:cNvPicPr/>
          <p:nvPr/>
        </p:nvPicPr>
        <p:blipFill>
          <a:blip r:embed="rId2" cstate="print"/>
          <a:stretch>
            <a:fillRect/>
          </a:stretch>
        </p:blipFill>
        <p:spPr>
          <a:xfrm>
            <a:off x="5558443" y="3141287"/>
            <a:ext cx="627888" cy="1160641"/>
          </a:xfrm>
          <a:prstGeom prst="rect">
            <a:avLst/>
          </a:prstGeom>
        </p:spPr>
      </p:pic>
      <p:pic>
        <p:nvPicPr>
          <p:cNvPr id="3" name="object 3"/>
          <p:cNvPicPr/>
          <p:nvPr/>
        </p:nvPicPr>
        <p:blipFill>
          <a:blip r:embed="rId3" cstate="print"/>
          <a:stretch>
            <a:fillRect/>
          </a:stretch>
        </p:blipFill>
        <p:spPr>
          <a:xfrm>
            <a:off x="10181717" y="3204717"/>
            <a:ext cx="1036573" cy="1033780"/>
          </a:xfrm>
          <a:prstGeom prst="rect">
            <a:avLst/>
          </a:prstGeom>
        </p:spPr>
      </p:pic>
      <p:pic>
        <p:nvPicPr>
          <p:cNvPr id="4" name="object 4"/>
          <p:cNvPicPr/>
          <p:nvPr/>
        </p:nvPicPr>
        <p:blipFill>
          <a:blip r:embed="rId4" cstate="print"/>
          <a:stretch>
            <a:fillRect/>
          </a:stretch>
        </p:blipFill>
        <p:spPr>
          <a:xfrm>
            <a:off x="3051555" y="3146044"/>
            <a:ext cx="1151127" cy="1151127"/>
          </a:xfrm>
          <a:prstGeom prst="rect">
            <a:avLst/>
          </a:prstGeom>
        </p:spPr>
      </p:pic>
      <p:pic>
        <p:nvPicPr>
          <p:cNvPr id="5" name="object 5"/>
          <p:cNvPicPr/>
          <p:nvPr/>
        </p:nvPicPr>
        <p:blipFill>
          <a:blip r:embed="rId5" cstate="print"/>
          <a:stretch>
            <a:fillRect/>
          </a:stretch>
        </p:blipFill>
        <p:spPr>
          <a:xfrm>
            <a:off x="734568" y="3144023"/>
            <a:ext cx="1307592" cy="1159752"/>
          </a:xfrm>
          <a:prstGeom prst="rect">
            <a:avLst/>
          </a:prstGeom>
        </p:spPr>
      </p:pic>
      <p:pic>
        <p:nvPicPr>
          <p:cNvPr id="6" name="object 6"/>
          <p:cNvPicPr/>
          <p:nvPr/>
        </p:nvPicPr>
        <p:blipFill>
          <a:blip r:embed="rId6" cstate="print"/>
          <a:stretch>
            <a:fillRect/>
          </a:stretch>
        </p:blipFill>
        <p:spPr>
          <a:xfrm>
            <a:off x="7845361" y="3146044"/>
            <a:ext cx="887349" cy="1151127"/>
          </a:xfrm>
          <a:prstGeom prst="rect">
            <a:avLst/>
          </a:prstGeom>
        </p:spPr>
      </p:pic>
      <p:sp>
        <p:nvSpPr>
          <p:cNvPr id="7" name="object 7"/>
          <p:cNvSpPr/>
          <p:nvPr/>
        </p:nvSpPr>
        <p:spPr>
          <a:xfrm>
            <a:off x="251218" y="2261323"/>
            <a:ext cx="11689715" cy="4268470"/>
          </a:xfrm>
          <a:custGeom>
            <a:avLst/>
            <a:gdLst/>
            <a:ahLst/>
            <a:cxnLst/>
            <a:rect l="l" t="t" r="r" b="b"/>
            <a:pathLst>
              <a:path w="11689715" h="4268470">
                <a:moveTo>
                  <a:pt x="11689575" y="0"/>
                </a:moveTo>
                <a:lnTo>
                  <a:pt x="11689575" y="0"/>
                </a:lnTo>
                <a:lnTo>
                  <a:pt x="0" y="0"/>
                </a:lnTo>
                <a:lnTo>
                  <a:pt x="0" y="4268330"/>
                </a:lnTo>
                <a:lnTo>
                  <a:pt x="11689575" y="4268330"/>
                </a:lnTo>
                <a:lnTo>
                  <a:pt x="11689575" y="0"/>
                </a:lnTo>
                <a:close/>
              </a:path>
            </a:pathLst>
          </a:custGeom>
          <a:solidFill>
            <a:srgbClr val="FFFFFF">
              <a:alpha val="43920"/>
            </a:srgbClr>
          </a:solidFill>
        </p:spPr>
        <p:txBody>
          <a:bodyPr wrap="square" lIns="0" tIns="0" rIns="0" bIns="0" rtlCol="0"/>
          <a:lstStyle/>
          <a:p>
            <a:endParaRPr/>
          </a:p>
        </p:txBody>
      </p:sp>
      <p:graphicFrame>
        <p:nvGraphicFramePr>
          <p:cNvPr id="8" name="object 8"/>
          <p:cNvGraphicFramePr>
            <a:graphicFrameLocks noGrp="1"/>
          </p:cNvGraphicFramePr>
          <p:nvPr>
            <p:extLst>
              <p:ext uri="{D42A27DB-BD31-4B8C-83A1-F6EECF244321}">
                <p14:modId xmlns:p14="http://schemas.microsoft.com/office/powerpoint/2010/main" val="3753039759"/>
              </p:ext>
            </p:extLst>
          </p:nvPr>
        </p:nvGraphicFramePr>
        <p:xfrm>
          <a:off x="113122" y="1528059"/>
          <a:ext cx="11943761" cy="5286754"/>
        </p:xfrm>
        <a:graphic>
          <a:graphicData uri="http://schemas.openxmlformats.org/drawingml/2006/table">
            <a:tbl>
              <a:tblPr firstRow="1" bandRow="1">
                <a:tableStyleId>{2D5ABB26-0587-4C30-8999-92F81FD0307C}</a:tableStyleId>
              </a:tblPr>
              <a:tblGrid>
                <a:gridCol w="2241605">
                  <a:extLst>
                    <a:ext uri="{9D8B030D-6E8A-4147-A177-3AD203B41FA5}">
                      <a16:colId xmlns:a16="http://schemas.microsoft.com/office/drawing/2014/main" val="20000"/>
                    </a:ext>
                  </a:extLst>
                </a:gridCol>
                <a:gridCol w="2237712">
                  <a:extLst>
                    <a:ext uri="{9D8B030D-6E8A-4147-A177-3AD203B41FA5}">
                      <a16:colId xmlns:a16="http://schemas.microsoft.com/office/drawing/2014/main" val="20001"/>
                    </a:ext>
                  </a:extLst>
                </a:gridCol>
                <a:gridCol w="2451167">
                  <a:extLst>
                    <a:ext uri="{9D8B030D-6E8A-4147-A177-3AD203B41FA5}">
                      <a16:colId xmlns:a16="http://schemas.microsoft.com/office/drawing/2014/main" val="20002"/>
                    </a:ext>
                  </a:extLst>
                </a:gridCol>
                <a:gridCol w="2451166">
                  <a:extLst>
                    <a:ext uri="{9D8B030D-6E8A-4147-A177-3AD203B41FA5}">
                      <a16:colId xmlns:a16="http://schemas.microsoft.com/office/drawing/2014/main" val="20003"/>
                    </a:ext>
                  </a:extLst>
                </a:gridCol>
                <a:gridCol w="2562111">
                  <a:extLst>
                    <a:ext uri="{9D8B030D-6E8A-4147-A177-3AD203B41FA5}">
                      <a16:colId xmlns:a16="http://schemas.microsoft.com/office/drawing/2014/main" val="20004"/>
                    </a:ext>
                  </a:extLst>
                </a:gridCol>
              </a:tblGrid>
              <a:tr h="432434">
                <a:tc>
                  <a:txBody>
                    <a:bodyPr/>
                    <a:lstStyle/>
                    <a:p>
                      <a:pPr marL="66675">
                        <a:lnSpc>
                          <a:spcPct val="100000"/>
                        </a:lnSpc>
                        <a:spcBef>
                          <a:spcPts val="920"/>
                        </a:spcBef>
                      </a:pPr>
                      <a:r>
                        <a:rPr sz="1200" b="1" spc="-10">
                          <a:solidFill>
                            <a:srgbClr val="D90000"/>
                          </a:solidFill>
                          <a:latin typeface="ABBvoice"/>
                          <a:cs typeface="ABBvoice"/>
                        </a:rPr>
                        <a:t>CANADA</a:t>
                      </a:r>
                      <a:endParaRPr sz="1200">
                        <a:latin typeface="ABBvoice"/>
                        <a:cs typeface="ABBvoice"/>
                      </a:endParaRPr>
                    </a:p>
                  </a:txBody>
                  <a:tcPr marL="0" marR="0" marT="116840" marB="0">
                    <a:lnR w="12700">
                      <a:solidFill>
                        <a:srgbClr val="000000"/>
                      </a:solidFill>
                      <a:prstDash val="solid"/>
                    </a:lnR>
                    <a:lnB w="12700">
                      <a:solidFill>
                        <a:srgbClr val="000000"/>
                      </a:solidFill>
                      <a:prstDash val="solid"/>
                    </a:lnB>
                  </a:tcPr>
                </a:tc>
                <a:tc>
                  <a:txBody>
                    <a:bodyPr/>
                    <a:lstStyle/>
                    <a:p>
                      <a:pPr marL="67310">
                        <a:lnSpc>
                          <a:spcPct val="100000"/>
                        </a:lnSpc>
                        <a:spcBef>
                          <a:spcPts val="920"/>
                        </a:spcBef>
                      </a:pPr>
                      <a:r>
                        <a:rPr sz="1200" b="1" spc="-10">
                          <a:solidFill>
                            <a:srgbClr val="D90000"/>
                          </a:solidFill>
                          <a:latin typeface="ABBvoice"/>
                          <a:cs typeface="ABBvoice"/>
                        </a:rPr>
                        <a:t>ELECTRIFICATION</a:t>
                      </a:r>
                      <a:endParaRPr sz="1200">
                        <a:latin typeface="ABBvoice"/>
                        <a:cs typeface="ABBvoice"/>
                      </a:endParaRPr>
                    </a:p>
                  </a:txBody>
                  <a:tcPr marL="0" marR="0" marT="116840" marB="0">
                    <a:lnL w="12700">
                      <a:solidFill>
                        <a:srgbClr val="000000"/>
                      </a:solidFill>
                      <a:prstDash val="solid"/>
                    </a:lnL>
                    <a:lnR w="12700">
                      <a:solidFill>
                        <a:srgbClr val="000000"/>
                      </a:solidFill>
                      <a:prstDash val="solid"/>
                    </a:lnR>
                    <a:lnB w="12700">
                      <a:solidFill>
                        <a:srgbClr val="000000"/>
                      </a:solidFill>
                      <a:prstDash val="solid"/>
                    </a:lnB>
                  </a:tcPr>
                </a:tc>
                <a:tc>
                  <a:txBody>
                    <a:bodyPr/>
                    <a:lstStyle/>
                    <a:p>
                      <a:pPr marL="67945">
                        <a:lnSpc>
                          <a:spcPct val="100000"/>
                        </a:lnSpc>
                        <a:spcBef>
                          <a:spcPts val="920"/>
                        </a:spcBef>
                      </a:pPr>
                      <a:r>
                        <a:rPr sz="1200" b="1" spc="-10">
                          <a:solidFill>
                            <a:srgbClr val="D90000"/>
                          </a:solidFill>
                          <a:latin typeface="ABBvoice"/>
                          <a:cs typeface="ABBvoice"/>
                        </a:rPr>
                        <a:t>MOTION</a:t>
                      </a:r>
                      <a:endParaRPr sz="1200">
                        <a:latin typeface="ABBvoice"/>
                        <a:cs typeface="ABBvoice"/>
                      </a:endParaRPr>
                    </a:p>
                  </a:txBody>
                  <a:tcPr marL="0" marR="0" marT="116840" marB="0">
                    <a:lnL w="12700">
                      <a:solidFill>
                        <a:srgbClr val="000000"/>
                      </a:solidFill>
                      <a:prstDash val="solid"/>
                    </a:lnL>
                    <a:lnR w="12700">
                      <a:solidFill>
                        <a:srgbClr val="000000"/>
                      </a:solidFill>
                      <a:prstDash val="solid"/>
                    </a:lnR>
                    <a:lnB w="12700">
                      <a:solidFill>
                        <a:srgbClr val="000000"/>
                      </a:solidFill>
                      <a:prstDash val="solid"/>
                    </a:lnB>
                  </a:tcPr>
                </a:tc>
                <a:tc>
                  <a:txBody>
                    <a:bodyPr/>
                    <a:lstStyle/>
                    <a:p>
                      <a:pPr marL="67945">
                        <a:lnSpc>
                          <a:spcPct val="100000"/>
                        </a:lnSpc>
                        <a:spcBef>
                          <a:spcPts val="195"/>
                        </a:spcBef>
                      </a:pPr>
                      <a:r>
                        <a:rPr sz="1200" b="1">
                          <a:solidFill>
                            <a:srgbClr val="D90000"/>
                          </a:solidFill>
                          <a:latin typeface="ABBvoice"/>
                          <a:cs typeface="ABBvoice"/>
                        </a:rPr>
                        <a:t>ROBOTICS</a:t>
                      </a:r>
                      <a:r>
                        <a:rPr sz="1200" b="1" spc="-15">
                          <a:solidFill>
                            <a:srgbClr val="D90000"/>
                          </a:solidFill>
                          <a:latin typeface="ABBvoice"/>
                          <a:cs typeface="ABBvoice"/>
                        </a:rPr>
                        <a:t> </a:t>
                      </a:r>
                      <a:r>
                        <a:rPr sz="1200" b="1" spc="-50">
                          <a:solidFill>
                            <a:srgbClr val="D90000"/>
                          </a:solidFill>
                          <a:latin typeface="ABBvoice"/>
                          <a:cs typeface="ABBvoice"/>
                        </a:rPr>
                        <a:t>&amp;</a:t>
                      </a:r>
                      <a:endParaRPr sz="1200">
                        <a:latin typeface="ABBvoice"/>
                        <a:cs typeface="ABBvoice"/>
                      </a:endParaRPr>
                    </a:p>
                    <a:p>
                      <a:pPr marL="67945">
                        <a:lnSpc>
                          <a:spcPct val="100000"/>
                        </a:lnSpc>
                        <a:spcBef>
                          <a:spcPts val="5"/>
                        </a:spcBef>
                      </a:pPr>
                      <a:r>
                        <a:rPr sz="1200" b="1">
                          <a:solidFill>
                            <a:srgbClr val="D90000"/>
                          </a:solidFill>
                          <a:latin typeface="ABBvoice"/>
                          <a:cs typeface="ABBvoice"/>
                        </a:rPr>
                        <a:t>DISCRETE </a:t>
                      </a:r>
                      <a:r>
                        <a:rPr sz="1200" b="1" spc="-10">
                          <a:solidFill>
                            <a:srgbClr val="D90000"/>
                          </a:solidFill>
                          <a:latin typeface="ABBvoice"/>
                          <a:cs typeface="ABBvoice"/>
                        </a:rPr>
                        <a:t>AUTOMATION</a:t>
                      </a:r>
                      <a:endParaRPr sz="1200">
                        <a:latin typeface="ABBvoice"/>
                        <a:cs typeface="ABBvoice"/>
                      </a:endParaRPr>
                    </a:p>
                  </a:txBody>
                  <a:tcPr marL="0" marR="0" marT="24765" marB="0">
                    <a:lnL w="12700">
                      <a:solidFill>
                        <a:srgbClr val="000000"/>
                      </a:solidFill>
                      <a:prstDash val="solid"/>
                    </a:lnL>
                    <a:lnR w="12700">
                      <a:solidFill>
                        <a:srgbClr val="000000"/>
                      </a:solidFill>
                      <a:prstDash val="solid"/>
                    </a:lnR>
                    <a:lnB w="12700">
                      <a:solidFill>
                        <a:srgbClr val="000000"/>
                      </a:solidFill>
                      <a:prstDash val="solid"/>
                    </a:lnB>
                  </a:tcPr>
                </a:tc>
                <a:tc>
                  <a:txBody>
                    <a:bodyPr/>
                    <a:lstStyle/>
                    <a:p>
                      <a:pPr marL="69215">
                        <a:lnSpc>
                          <a:spcPct val="100000"/>
                        </a:lnSpc>
                        <a:spcBef>
                          <a:spcPts val="920"/>
                        </a:spcBef>
                      </a:pPr>
                      <a:r>
                        <a:rPr sz="1200" b="1">
                          <a:solidFill>
                            <a:srgbClr val="D90000"/>
                          </a:solidFill>
                          <a:latin typeface="ABBvoice"/>
                          <a:cs typeface="ABBvoice"/>
                        </a:rPr>
                        <a:t>PROCESS</a:t>
                      </a:r>
                      <a:r>
                        <a:rPr sz="1200" b="1" spc="-35">
                          <a:solidFill>
                            <a:srgbClr val="D90000"/>
                          </a:solidFill>
                          <a:latin typeface="ABBvoice"/>
                          <a:cs typeface="ABBvoice"/>
                        </a:rPr>
                        <a:t> </a:t>
                      </a:r>
                      <a:r>
                        <a:rPr sz="1200" b="1" spc="-10">
                          <a:solidFill>
                            <a:srgbClr val="D90000"/>
                          </a:solidFill>
                          <a:latin typeface="ABBvoice"/>
                          <a:cs typeface="ABBvoice"/>
                        </a:rPr>
                        <a:t>AUTOMATION</a:t>
                      </a:r>
                      <a:endParaRPr sz="1200">
                        <a:latin typeface="ABBvoice"/>
                        <a:cs typeface="ABBvoice"/>
                      </a:endParaRPr>
                    </a:p>
                  </a:txBody>
                  <a:tcPr marL="0" marR="0" marT="116840" marB="0">
                    <a:lnL w="12700">
                      <a:solidFill>
                        <a:srgbClr val="000000"/>
                      </a:solidFill>
                      <a:prstDash val="solid"/>
                    </a:lnL>
                    <a:lnB w="12700">
                      <a:solidFill>
                        <a:srgbClr val="000000"/>
                      </a:solidFill>
                      <a:prstDash val="solid"/>
                    </a:lnB>
                  </a:tcPr>
                </a:tc>
                <a:extLst>
                  <a:ext uri="{0D108BD9-81ED-4DB2-BD59-A6C34878D82A}">
                    <a16:rowId xmlns:a16="http://schemas.microsoft.com/office/drawing/2014/main" val="10000"/>
                  </a:ext>
                </a:extLst>
              </a:tr>
              <a:tr h="4267835">
                <a:tc>
                  <a:txBody>
                    <a:bodyPr/>
                    <a:lstStyle/>
                    <a:p>
                      <a:pPr marL="66675" marR="117475">
                        <a:lnSpc>
                          <a:spcPts val="1010"/>
                        </a:lnSpc>
                        <a:spcBef>
                          <a:spcPts val="229"/>
                        </a:spcBef>
                      </a:pPr>
                      <a:r>
                        <a:rPr sz="850" b="1" spc="-10" dirty="0">
                          <a:latin typeface="ABBvoice"/>
                          <a:cs typeface="ABBvoice"/>
                        </a:rPr>
                        <a:t>1930</a:t>
                      </a:r>
                      <a:r>
                        <a:rPr sz="850" b="1" spc="-5" dirty="0">
                          <a:latin typeface="ABBvoice"/>
                          <a:cs typeface="ABBvoice"/>
                        </a:rPr>
                        <a:t> </a:t>
                      </a:r>
                      <a:r>
                        <a:rPr sz="850" spc="-20" dirty="0">
                          <a:latin typeface="ABBvoice"/>
                          <a:cs typeface="ABBvoice"/>
                        </a:rPr>
                        <a:t>ASEA</a:t>
                      </a:r>
                      <a:r>
                        <a:rPr sz="850" spc="-30" dirty="0">
                          <a:latin typeface="ABBvoice"/>
                          <a:cs typeface="ABBvoice"/>
                        </a:rPr>
                        <a:t> </a:t>
                      </a:r>
                      <a:r>
                        <a:rPr sz="850" dirty="0">
                          <a:latin typeface="ABBvoice"/>
                          <a:cs typeface="ABBvoice"/>
                        </a:rPr>
                        <a:t>is</a:t>
                      </a:r>
                      <a:r>
                        <a:rPr sz="850" spc="5" dirty="0">
                          <a:latin typeface="ABBvoice"/>
                          <a:cs typeface="ABBvoice"/>
                        </a:rPr>
                        <a:t> </a:t>
                      </a:r>
                      <a:r>
                        <a:rPr sz="850" spc="-10" dirty="0">
                          <a:latin typeface="ABBvoice"/>
                          <a:cs typeface="ABBvoice"/>
                        </a:rPr>
                        <a:t>officially</a:t>
                      </a:r>
                      <a:r>
                        <a:rPr sz="850" spc="-90" dirty="0">
                          <a:latin typeface="ABBvoice"/>
                          <a:cs typeface="ABBvoice"/>
                        </a:rPr>
                        <a:t> </a:t>
                      </a:r>
                      <a:r>
                        <a:rPr sz="850" spc="-10" dirty="0">
                          <a:latin typeface="ABBvoice"/>
                          <a:cs typeface="ABBvoice"/>
                        </a:rPr>
                        <a:t>incorporated,</a:t>
                      </a:r>
                      <a:r>
                        <a:rPr sz="850" spc="-75" dirty="0">
                          <a:latin typeface="ABBvoice"/>
                          <a:cs typeface="ABBvoice"/>
                        </a:rPr>
                        <a:t> </a:t>
                      </a:r>
                      <a:r>
                        <a:rPr sz="850" spc="-25" dirty="0">
                          <a:latin typeface="ABBvoice"/>
                          <a:cs typeface="ABBvoice"/>
                        </a:rPr>
                        <a:t>and</a:t>
                      </a:r>
                      <a:r>
                        <a:rPr sz="850" spc="500" dirty="0">
                          <a:latin typeface="ABBvoice"/>
                          <a:cs typeface="ABBvoice"/>
                        </a:rPr>
                        <a:t> </a:t>
                      </a:r>
                      <a:r>
                        <a:rPr sz="850" spc="-10" dirty="0">
                          <a:latin typeface="ABBvoice"/>
                          <a:cs typeface="ABBvoice"/>
                        </a:rPr>
                        <a:t>BBC</a:t>
                      </a:r>
                      <a:r>
                        <a:rPr sz="850" spc="-25" dirty="0">
                          <a:latin typeface="ABBvoice"/>
                          <a:cs typeface="ABBvoice"/>
                        </a:rPr>
                        <a:t> </a:t>
                      </a:r>
                      <a:r>
                        <a:rPr sz="850" dirty="0">
                          <a:latin typeface="ABBvoice"/>
                          <a:cs typeface="ABBvoice"/>
                        </a:rPr>
                        <a:t>is</a:t>
                      </a:r>
                      <a:r>
                        <a:rPr sz="850" spc="-50" dirty="0">
                          <a:latin typeface="ABBvoice"/>
                          <a:cs typeface="ABBvoice"/>
                        </a:rPr>
                        <a:t> </a:t>
                      </a:r>
                      <a:r>
                        <a:rPr sz="850" spc="-10" dirty="0">
                          <a:latin typeface="ABBvoice"/>
                          <a:cs typeface="ABBvoice"/>
                        </a:rPr>
                        <a:t>established</a:t>
                      </a:r>
                      <a:r>
                        <a:rPr sz="850" spc="-65" dirty="0">
                          <a:latin typeface="ABBvoice"/>
                          <a:cs typeface="ABBvoice"/>
                        </a:rPr>
                        <a:t> </a:t>
                      </a:r>
                      <a:r>
                        <a:rPr sz="850" dirty="0">
                          <a:latin typeface="ABBvoice"/>
                          <a:cs typeface="ABBvoice"/>
                        </a:rPr>
                        <a:t>in</a:t>
                      </a:r>
                      <a:r>
                        <a:rPr sz="850" spc="-40" dirty="0">
                          <a:latin typeface="ABBvoice"/>
                          <a:cs typeface="ABBvoice"/>
                        </a:rPr>
                        <a:t> </a:t>
                      </a:r>
                      <a:r>
                        <a:rPr sz="850" spc="-10" dirty="0">
                          <a:latin typeface="ABBvoice"/>
                          <a:cs typeface="ABBvoice"/>
                        </a:rPr>
                        <a:t>Canada</a:t>
                      </a:r>
                      <a:endParaRPr sz="850" dirty="0">
                        <a:latin typeface="ABBvoice"/>
                        <a:cs typeface="ABBvoice"/>
                      </a:endParaRPr>
                    </a:p>
                    <a:p>
                      <a:pPr marL="66675">
                        <a:lnSpc>
                          <a:spcPts val="1015"/>
                        </a:lnSpc>
                        <a:spcBef>
                          <a:spcPts val="530"/>
                        </a:spcBef>
                      </a:pPr>
                      <a:r>
                        <a:rPr sz="850" b="1" dirty="0">
                          <a:latin typeface="ABBvoice"/>
                          <a:cs typeface="ABBvoice"/>
                        </a:rPr>
                        <a:t>1950</a:t>
                      </a:r>
                      <a:r>
                        <a:rPr sz="850" b="1" spc="-25" dirty="0">
                          <a:latin typeface="ABBvoice"/>
                          <a:cs typeface="ABBvoice"/>
                        </a:rPr>
                        <a:t> </a:t>
                      </a:r>
                      <a:r>
                        <a:rPr sz="850" spc="-10" dirty="0">
                          <a:latin typeface="ABBvoice"/>
                          <a:cs typeface="ABBvoice"/>
                        </a:rPr>
                        <a:t>BBC erects</a:t>
                      </a:r>
                      <a:r>
                        <a:rPr sz="850" spc="-40" dirty="0">
                          <a:latin typeface="ABBvoice"/>
                          <a:cs typeface="ABBvoice"/>
                        </a:rPr>
                        <a:t> </a:t>
                      </a:r>
                      <a:r>
                        <a:rPr sz="850" dirty="0">
                          <a:latin typeface="ABBvoice"/>
                          <a:cs typeface="ABBvoice"/>
                        </a:rPr>
                        <a:t>its</a:t>
                      </a:r>
                      <a:r>
                        <a:rPr sz="850" spc="-45" dirty="0">
                          <a:latin typeface="ABBvoice"/>
                          <a:cs typeface="ABBvoice"/>
                        </a:rPr>
                        <a:t> </a:t>
                      </a:r>
                      <a:r>
                        <a:rPr sz="850" spc="-10" dirty="0">
                          <a:latin typeface="ABBvoice"/>
                          <a:cs typeface="ABBvoice"/>
                        </a:rPr>
                        <a:t>first</a:t>
                      </a:r>
                      <a:r>
                        <a:rPr sz="850" spc="-55" dirty="0">
                          <a:latin typeface="ABBvoice"/>
                          <a:cs typeface="ABBvoice"/>
                        </a:rPr>
                        <a:t> </a:t>
                      </a:r>
                      <a:r>
                        <a:rPr sz="850" dirty="0">
                          <a:latin typeface="ABBvoice"/>
                          <a:cs typeface="ABBvoice"/>
                        </a:rPr>
                        <a:t>factory</a:t>
                      </a:r>
                      <a:r>
                        <a:rPr sz="850" spc="-30" dirty="0">
                          <a:latin typeface="ABBvoice"/>
                          <a:cs typeface="ABBvoice"/>
                        </a:rPr>
                        <a:t> </a:t>
                      </a:r>
                      <a:r>
                        <a:rPr sz="850" spc="-25" dirty="0">
                          <a:latin typeface="ABBvoice"/>
                          <a:cs typeface="ABBvoice"/>
                        </a:rPr>
                        <a:t>in</a:t>
                      </a:r>
                      <a:endParaRPr sz="850" dirty="0">
                        <a:latin typeface="ABBvoice"/>
                        <a:cs typeface="ABBvoice"/>
                      </a:endParaRPr>
                    </a:p>
                    <a:p>
                      <a:pPr marL="66675">
                        <a:lnSpc>
                          <a:spcPts val="1015"/>
                        </a:lnSpc>
                      </a:pPr>
                      <a:r>
                        <a:rPr sz="850" spc="-10" dirty="0">
                          <a:latin typeface="ABBvoice"/>
                          <a:cs typeface="ABBvoice"/>
                        </a:rPr>
                        <a:t>Canada</a:t>
                      </a:r>
                      <a:endParaRPr sz="850" dirty="0">
                        <a:latin typeface="ABBvoice"/>
                        <a:cs typeface="ABBvoice"/>
                      </a:endParaRPr>
                    </a:p>
                    <a:p>
                      <a:pPr marL="66675" marR="84455">
                        <a:lnSpc>
                          <a:spcPts val="1010"/>
                        </a:lnSpc>
                        <a:spcBef>
                          <a:spcPts val="605"/>
                        </a:spcBef>
                      </a:pPr>
                      <a:r>
                        <a:rPr sz="850" b="1" spc="-10" dirty="0">
                          <a:latin typeface="ABBvoice"/>
                          <a:cs typeface="ABBvoice"/>
                        </a:rPr>
                        <a:t>1970</a:t>
                      </a:r>
                      <a:r>
                        <a:rPr sz="850" b="1" spc="-25" dirty="0">
                          <a:latin typeface="ABBvoice"/>
                          <a:cs typeface="ABBvoice"/>
                        </a:rPr>
                        <a:t> </a:t>
                      </a:r>
                      <a:r>
                        <a:rPr sz="850" spc="-10" dirty="0">
                          <a:latin typeface="ABBvoice"/>
                          <a:cs typeface="ABBvoice"/>
                        </a:rPr>
                        <a:t>BBC</a:t>
                      </a:r>
                      <a:r>
                        <a:rPr sz="850" spc="20" dirty="0">
                          <a:latin typeface="ABBvoice"/>
                          <a:cs typeface="ABBvoice"/>
                        </a:rPr>
                        <a:t> </a:t>
                      </a:r>
                      <a:r>
                        <a:rPr sz="850" spc="-20" dirty="0">
                          <a:latin typeface="ABBvoice"/>
                          <a:cs typeface="ABBvoice"/>
                        </a:rPr>
                        <a:t>inaugurates</a:t>
                      </a:r>
                      <a:r>
                        <a:rPr sz="850" spc="-50" dirty="0">
                          <a:latin typeface="ABBvoice"/>
                          <a:cs typeface="ABBvoice"/>
                        </a:rPr>
                        <a:t> </a:t>
                      </a:r>
                      <a:r>
                        <a:rPr sz="850" spc="-10" dirty="0">
                          <a:latin typeface="ABBvoice"/>
                          <a:cs typeface="ABBvoice"/>
                        </a:rPr>
                        <a:t>the</a:t>
                      </a:r>
                      <a:r>
                        <a:rPr sz="850" spc="-25" dirty="0">
                          <a:latin typeface="ABBvoice"/>
                          <a:cs typeface="ABBvoice"/>
                        </a:rPr>
                        <a:t> </a:t>
                      </a:r>
                      <a:r>
                        <a:rPr sz="850" spc="-10" dirty="0">
                          <a:latin typeface="ABBvoice"/>
                          <a:cs typeface="ABBvoice"/>
                        </a:rPr>
                        <a:t>Varennes</a:t>
                      </a:r>
                      <a:r>
                        <a:rPr sz="850" spc="-45" dirty="0">
                          <a:latin typeface="ABBvoice"/>
                          <a:cs typeface="ABBvoice"/>
                        </a:rPr>
                        <a:t> </a:t>
                      </a:r>
                      <a:r>
                        <a:rPr sz="850" spc="-20" dirty="0">
                          <a:latin typeface="ABBvoice"/>
                          <a:cs typeface="ABBvoice"/>
                        </a:rPr>
                        <a:t>High</a:t>
                      </a:r>
                      <a:r>
                        <a:rPr sz="850" spc="500" dirty="0">
                          <a:latin typeface="ABBvoice"/>
                          <a:cs typeface="ABBvoice"/>
                        </a:rPr>
                        <a:t> </a:t>
                      </a:r>
                      <a:r>
                        <a:rPr sz="850" spc="-10" dirty="0">
                          <a:latin typeface="ABBvoice"/>
                          <a:cs typeface="ABBvoice"/>
                        </a:rPr>
                        <a:t>Voltage</a:t>
                      </a:r>
                      <a:r>
                        <a:rPr sz="850" spc="-30" dirty="0">
                          <a:latin typeface="ABBvoice"/>
                          <a:cs typeface="ABBvoice"/>
                        </a:rPr>
                        <a:t> </a:t>
                      </a:r>
                      <a:r>
                        <a:rPr sz="850" spc="-20" dirty="0">
                          <a:latin typeface="ABBvoice"/>
                          <a:cs typeface="ABBvoice"/>
                        </a:rPr>
                        <a:t>Transformer</a:t>
                      </a:r>
                      <a:r>
                        <a:rPr sz="850" dirty="0">
                          <a:latin typeface="ABBvoice"/>
                          <a:cs typeface="ABBvoice"/>
                        </a:rPr>
                        <a:t> </a:t>
                      </a:r>
                      <a:r>
                        <a:rPr sz="850" spc="-10" dirty="0">
                          <a:latin typeface="ABBvoice"/>
                          <a:cs typeface="ABBvoice"/>
                        </a:rPr>
                        <a:t>factory</a:t>
                      </a:r>
                      <a:endParaRPr sz="850" dirty="0">
                        <a:latin typeface="ABBvoice"/>
                        <a:cs typeface="ABBvoice"/>
                      </a:endParaRPr>
                    </a:p>
                    <a:p>
                      <a:pPr marL="66675">
                        <a:lnSpc>
                          <a:spcPts val="1015"/>
                        </a:lnSpc>
                        <a:spcBef>
                          <a:spcPts val="530"/>
                        </a:spcBef>
                      </a:pPr>
                      <a:r>
                        <a:rPr sz="850" b="1" dirty="0">
                          <a:latin typeface="ABBvoice"/>
                          <a:cs typeface="ABBvoice"/>
                        </a:rPr>
                        <a:t>1988</a:t>
                      </a:r>
                      <a:r>
                        <a:rPr sz="850" b="1" spc="-20" dirty="0">
                          <a:latin typeface="ABBvoice"/>
                          <a:cs typeface="ABBvoice"/>
                        </a:rPr>
                        <a:t> </a:t>
                      </a:r>
                      <a:r>
                        <a:rPr sz="850" spc="-10" dirty="0">
                          <a:latin typeface="ABBvoice"/>
                          <a:cs typeface="ABBvoice"/>
                        </a:rPr>
                        <a:t>ASEA</a:t>
                      </a:r>
                      <a:r>
                        <a:rPr sz="850" spc="-45" dirty="0">
                          <a:latin typeface="ABBvoice"/>
                          <a:cs typeface="ABBvoice"/>
                        </a:rPr>
                        <a:t> </a:t>
                      </a:r>
                      <a:r>
                        <a:rPr sz="850" dirty="0">
                          <a:latin typeface="ABBvoice"/>
                          <a:cs typeface="ABBvoice"/>
                        </a:rPr>
                        <a:t>and</a:t>
                      </a:r>
                      <a:r>
                        <a:rPr sz="850" spc="-40" dirty="0">
                          <a:latin typeface="ABBvoice"/>
                          <a:cs typeface="ABBvoice"/>
                        </a:rPr>
                        <a:t> </a:t>
                      </a:r>
                      <a:r>
                        <a:rPr sz="850" spc="-10" dirty="0">
                          <a:latin typeface="ABBvoice"/>
                          <a:cs typeface="ABBvoice"/>
                        </a:rPr>
                        <a:t>BBC Canada</a:t>
                      </a:r>
                      <a:r>
                        <a:rPr sz="850" spc="-100" dirty="0">
                          <a:latin typeface="ABBvoice"/>
                          <a:cs typeface="ABBvoice"/>
                        </a:rPr>
                        <a:t> </a:t>
                      </a:r>
                      <a:r>
                        <a:rPr sz="850" spc="-10" dirty="0">
                          <a:latin typeface="ABBvoice"/>
                          <a:cs typeface="ABBvoice"/>
                        </a:rPr>
                        <a:t>merge</a:t>
                      </a:r>
                      <a:r>
                        <a:rPr sz="850" spc="-25" dirty="0">
                          <a:latin typeface="ABBvoice"/>
                          <a:cs typeface="ABBvoice"/>
                        </a:rPr>
                        <a:t> to</a:t>
                      </a:r>
                      <a:endParaRPr sz="850" dirty="0">
                        <a:latin typeface="ABBvoice"/>
                        <a:cs typeface="ABBvoice"/>
                      </a:endParaRPr>
                    </a:p>
                    <a:p>
                      <a:pPr marL="66675">
                        <a:lnSpc>
                          <a:spcPts val="1015"/>
                        </a:lnSpc>
                      </a:pPr>
                      <a:r>
                        <a:rPr sz="850" spc="-10" dirty="0">
                          <a:latin typeface="ABBvoice"/>
                          <a:cs typeface="ABBvoice"/>
                        </a:rPr>
                        <a:t>form</a:t>
                      </a:r>
                      <a:r>
                        <a:rPr sz="850" spc="-25" dirty="0">
                          <a:latin typeface="ABBvoice"/>
                          <a:cs typeface="ABBvoice"/>
                        </a:rPr>
                        <a:t> ABB</a:t>
                      </a:r>
                      <a:endParaRPr sz="850" dirty="0">
                        <a:latin typeface="ABBvoice"/>
                        <a:cs typeface="ABBvoice"/>
                      </a:endParaRPr>
                    </a:p>
                    <a:p>
                      <a:pPr marL="66675" marR="63500">
                        <a:lnSpc>
                          <a:spcPts val="1010"/>
                        </a:lnSpc>
                        <a:spcBef>
                          <a:spcPts val="610"/>
                        </a:spcBef>
                      </a:pPr>
                      <a:r>
                        <a:rPr sz="850" b="1" spc="-10" dirty="0">
                          <a:latin typeface="ABBvoice"/>
                          <a:cs typeface="ABBvoice"/>
                        </a:rPr>
                        <a:t>2016</a:t>
                      </a:r>
                      <a:r>
                        <a:rPr sz="850" b="1" dirty="0">
                          <a:latin typeface="ABBvoice"/>
                          <a:cs typeface="ABBvoice"/>
                        </a:rPr>
                        <a:t> </a:t>
                      </a:r>
                      <a:r>
                        <a:rPr sz="850" spc="-20" dirty="0">
                          <a:latin typeface="ABBvoice"/>
                          <a:cs typeface="ABBvoice"/>
                        </a:rPr>
                        <a:t>ABB</a:t>
                      </a:r>
                      <a:r>
                        <a:rPr sz="850" spc="-10" dirty="0">
                          <a:latin typeface="ABBvoice"/>
                          <a:cs typeface="ABBvoice"/>
                        </a:rPr>
                        <a:t> invest</a:t>
                      </a:r>
                      <a:r>
                        <a:rPr sz="850" spc="-40" dirty="0">
                          <a:latin typeface="ABBvoice"/>
                          <a:cs typeface="ABBvoice"/>
                        </a:rPr>
                        <a:t> </a:t>
                      </a:r>
                      <a:r>
                        <a:rPr sz="850" spc="-10" dirty="0">
                          <a:latin typeface="ABBvoice"/>
                          <a:cs typeface="ABBvoice"/>
                        </a:rPr>
                        <a:t>$35</a:t>
                      </a:r>
                      <a:r>
                        <a:rPr sz="850" spc="-25" dirty="0">
                          <a:latin typeface="ABBvoice"/>
                          <a:cs typeface="ABBvoice"/>
                        </a:rPr>
                        <a:t> </a:t>
                      </a:r>
                      <a:r>
                        <a:rPr sz="850" spc="-10" dirty="0">
                          <a:latin typeface="ABBvoice"/>
                          <a:cs typeface="ABBvoice"/>
                        </a:rPr>
                        <a:t>million</a:t>
                      </a:r>
                      <a:r>
                        <a:rPr sz="850" spc="-15" dirty="0">
                          <a:latin typeface="ABBvoice"/>
                          <a:cs typeface="ABBvoice"/>
                        </a:rPr>
                        <a:t> </a:t>
                      </a:r>
                      <a:r>
                        <a:rPr sz="850" spc="-10" dirty="0">
                          <a:latin typeface="ABBvoice"/>
                          <a:cs typeface="ABBvoice"/>
                        </a:rPr>
                        <a:t>to</a:t>
                      </a:r>
                      <a:r>
                        <a:rPr sz="850" spc="-65" dirty="0">
                          <a:latin typeface="ABBvoice"/>
                          <a:cs typeface="ABBvoice"/>
                        </a:rPr>
                        <a:t> </a:t>
                      </a:r>
                      <a:r>
                        <a:rPr sz="850" spc="-10" dirty="0">
                          <a:latin typeface="ABBvoice"/>
                          <a:cs typeface="ABBvoice"/>
                        </a:rPr>
                        <a:t>build</a:t>
                      </a:r>
                      <a:r>
                        <a:rPr sz="850" spc="-55" dirty="0">
                          <a:latin typeface="ABBvoice"/>
                          <a:cs typeface="ABBvoice"/>
                        </a:rPr>
                        <a:t> </a:t>
                      </a:r>
                      <a:r>
                        <a:rPr sz="850" spc="-10" dirty="0">
                          <a:latin typeface="ABBvoice"/>
                          <a:cs typeface="ABBvoice"/>
                        </a:rPr>
                        <a:t>high-</a:t>
                      </a:r>
                      <a:r>
                        <a:rPr sz="850" spc="500" dirty="0">
                          <a:latin typeface="ABBvoice"/>
                          <a:cs typeface="ABBvoice"/>
                        </a:rPr>
                        <a:t> </a:t>
                      </a:r>
                      <a:r>
                        <a:rPr sz="850" spc="-10" dirty="0">
                          <a:latin typeface="ABBvoice"/>
                          <a:cs typeface="ABBvoice"/>
                        </a:rPr>
                        <a:t>tech</a:t>
                      </a:r>
                      <a:r>
                        <a:rPr sz="850" spc="-30" dirty="0">
                          <a:latin typeface="ABBvoice"/>
                          <a:cs typeface="ABBvoice"/>
                        </a:rPr>
                        <a:t> </a:t>
                      </a:r>
                      <a:r>
                        <a:rPr sz="850" spc="-10" dirty="0">
                          <a:latin typeface="ABBvoice"/>
                          <a:cs typeface="ABBvoice"/>
                        </a:rPr>
                        <a:t>facility</a:t>
                      </a:r>
                      <a:r>
                        <a:rPr sz="850" spc="-80" dirty="0">
                          <a:latin typeface="ABBvoice"/>
                          <a:cs typeface="ABBvoice"/>
                        </a:rPr>
                        <a:t> </a:t>
                      </a:r>
                      <a:r>
                        <a:rPr sz="850" dirty="0">
                          <a:latin typeface="ABBvoice"/>
                          <a:cs typeface="ABBvoice"/>
                        </a:rPr>
                        <a:t>in</a:t>
                      </a:r>
                      <a:r>
                        <a:rPr sz="850" spc="-25" dirty="0">
                          <a:latin typeface="ABBvoice"/>
                          <a:cs typeface="ABBvoice"/>
                        </a:rPr>
                        <a:t> </a:t>
                      </a:r>
                      <a:r>
                        <a:rPr sz="850" spc="-10" dirty="0">
                          <a:latin typeface="ABBvoice"/>
                          <a:cs typeface="ABBvoice"/>
                        </a:rPr>
                        <a:t>Quebec </a:t>
                      </a:r>
                      <a:r>
                        <a:rPr sz="850" spc="-20" dirty="0">
                          <a:latin typeface="ABBvoice"/>
                          <a:cs typeface="ABBvoice"/>
                        </a:rPr>
                        <a:t>City</a:t>
                      </a:r>
                      <a:endParaRPr sz="850" dirty="0">
                        <a:latin typeface="ABBvoice"/>
                        <a:cs typeface="ABBvoice"/>
                      </a:endParaRPr>
                    </a:p>
                    <a:p>
                      <a:pPr marL="66675" marR="217170">
                        <a:lnSpc>
                          <a:spcPct val="97700"/>
                        </a:lnSpc>
                        <a:spcBef>
                          <a:spcPts val="550"/>
                        </a:spcBef>
                      </a:pPr>
                      <a:r>
                        <a:rPr sz="850" b="1" spc="-10" dirty="0">
                          <a:latin typeface="ABBvoice"/>
                          <a:cs typeface="ABBvoice"/>
                        </a:rPr>
                        <a:t>2016</a:t>
                      </a:r>
                      <a:r>
                        <a:rPr sz="850" b="1" spc="-5" dirty="0">
                          <a:latin typeface="ABBvoice"/>
                          <a:cs typeface="ABBvoice"/>
                        </a:rPr>
                        <a:t> </a:t>
                      </a:r>
                      <a:r>
                        <a:rPr sz="850" spc="-10" dirty="0">
                          <a:latin typeface="ABBvoice"/>
                          <a:cs typeface="ABBvoice"/>
                        </a:rPr>
                        <a:t>ABB</a:t>
                      </a:r>
                      <a:r>
                        <a:rPr sz="850" spc="-15" dirty="0">
                          <a:latin typeface="ABBvoice"/>
                          <a:cs typeface="ABBvoice"/>
                        </a:rPr>
                        <a:t> </a:t>
                      </a:r>
                      <a:r>
                        <a:rPr sz="850" spc="-10" dirty="0">
                          <a:latin typeface="ABBvoice"/>
                          <a:cs typeface="ABBvoice"/>
                        </a:rPr>
                        <a:t>invests</a:t>
                      </a:r>
                      <a:r>
                        <a:rPr sz="850" spc="-85" dirty="0">
                          <a:latin typeface="ABBvoice"/>
                          <a:cs typeface="ABBvoice"/>
                        </a:rPr>
                        <a:t> </a:t>
                      </a:r>
                      <a:r>
                        <a:rPr sz="850" dirty="0">
                          <a:latin typeface="ABBvoice"/>
                          <a:cs typeface="ABBvoice"/>
                        </a:rPr>
                        <a:t>$90</a:t>
                      </a:r>
                      <a:r>
                        <a:rPr sz="850" spc="-5" dirty="0">
                          <a:latin typeface="ABBvoice"/>
                          <a:cs typeface="ABBvoice"/>
                        </a:rPr>
                        <a:t> </a:t>
                      </a:r>
                      <a:r>
                        <a:rPr sz="850" spc="-10" dirty="0">
                          <a:latin typeface="ABBvoice"/>
                          <a:cs typeface="ABBvoice"/>
                        </a:rPr>
                        <a:t>million</a:t>
                      </a:r>
                      <a:r>
                        <a:rPr sz="850" spc="-75" dirty="0">
                          <a:latin typeface="ABBvoice"/>
                          <a:cs typeface="ABBvoice"/>
                        </a:rPr>
                        <a:t> </a:t>
                      </a:r>
                      <a:r>
                        <a:rPr sz="850" dirty="0">
                          <a:latin typeface="ABBvoice"/>
                          <a:cs typeface="ABBvoice"/>
                        </a:rPr>
                        <a:t>to</a:t>
                      </a:r>
                      <a:r>
                        <a:rPr sz="850" spc="-20" dirty="0">
                          <a:latin typeface="ABBvoice"/>
                          <a:cs typeface="ABBvoice"/>
                        </a:rPr>
                        <a:t> </a:t>
                      </a:r>
                      <a:r>
                        <a:rPr sz="850" spc="-10" dirty="0">
                          <a:latin typeface="ABBvoice"/>
                          <a:cs typeface="ABBvoice"/>
                        </a:rPr>
                        <a:t>create</a:t>
                      </a:r>
                      <a:r>
                        <a:rPr sz="850" spc="500" dirty="0">
                          <a:latin typeface="ABBvoice"/>
                          <a:cs typeface="ABBvoice"/>
                        </a:rPr>
                        <a:t> </a:t>
                      </a:r>
                      <a:r>
                        <a:rPr sz="850" spc="-10" dirty="0">
                          <a:latin typeface="ABBvoice"/>
                          <a:cs typeface="ABBvoice"/>
                        </a:rPr>
                        <a:t>state-of-</a:t>
                      </a:r>
                      <a:r>
                        <a:rPr sz="850" spc="-25" dirty="0">
                          <a:latin typeface="ABBvoice"/>
                          <a:cs typeface="ABBvoice"/>
                        </a:rPr>
                        <a:t>the-</a:t>
                      </a:r>
                      <a:r>
                        <a:rPr sz="850" spc="-20" dirty="0">
                          <a:latin typeface="ABBvoice"/>
                          <a:cs typeface="ABBvoice"/>
                        </a:rPr>
                        <a:t>art</a:t>
                      </a:r>
                      <a:r>
                        <a:rPr sz="850" spc="-50" dirty="0">
                          <a:latin typeface="ABBvoice"/>
                          <a:cs typeface="ABBvoice"/>
                        </a:rPr>
                        <a:t> </a:t>
                      </a:r>
                      <a:r>
                        <a:rPr sz="850" spc="-10" dirty="0">
                          <a:latin typeface="ABBvoice"/>
                          <a:cs typeface="ABBvoice"/>
                        </a:rPr>
                        <a:t>300,000</a:t>
                      </a:r>
                      <a:r>
                        <a:rPr sz="850" spc="5" dirty="0">
                          <a:latin typeface="ABBvoice"/>
                          <a:cs typeface="ABBvoice"/>
                        </a:rPr>
                        <a:t> </a:t>
                      </a:r>
                      <a:r>
                        <a:rPr sz="850" spc="-10" dirty="0">
                          <a:latin typeface="ABBvoice"/>
                          <a:cs typeface="ABBvoice"/>
                        </a:rPr>
                        <a:t>square </a:t>
                      </a:r>
                      <a:r>
                        <a:rPr sz="850" spc="-20" dirty="0">
                          <a:latin typeface="ABBvoice"/>
                          <a:cs typeface="ABBvoice"/>
                        </a:rPr>
                        <a:t>foot</a:t>
                      </a:r>
                      <a:r>
                        <a:rPr sz="850" spc="500" dirty="0">
                          <a:latin typeface="ABBvoice"/>
                          <a:cs typeface="ABBvoice"/>
                        </a:rPr>
                        <a:t> </a:t>
                      </a:r>
                      <a:r>
                        <a:rPr sz="850" spc="-10" dirty="0">
                          <a:latin typeface="ABBvoice"/>
                          <a:cs typeface="ABBvoice"/>
                        </a:rPr>
                        <a:t>headquarters</a:t>
                      </a:r>
                      <a:r>
                        <a:rPr sz="850" spc="-90" dirty="0">
                          <a:latin typeface="ABBvoice"/>
                          <a:cs typeface="ABBvoice"/>
                        </a:rPr>
                        <a:t> </a:t>
                      </a:r>
                      <a:r>
                        <a:rPr sz="850" dirty="0">
                          <a:latin typeface="ABBvoice"/>
                          <a:cs typeface="ABBvoice"/>
                        </a:rPr>
                        <a:t>in</a:t>
                      </a:r>
                      <a:r>
                        <a:rPr sz="850" spc="-35" dirty="0">
                          <a:latin typeface="ABBvoice"/>
                          <a:cs typeface="ABBvoice"/>
                        </a:rPr>
                        <a:t> </a:t>
                      </a:r>
                      <a:r>
                        <a:rPr sz="850" spc="-10" dirty="0">
                          <a:latin typeface="ABBvoice"/>
                          <a:cs typeface="ABBvoice"/>
                        </a:rPr>
                        <a:t>Montreal</a:t>
                      </a:r>
                      <a:endParaRPr sz="850" dirty="0">
                        <a:latin typeface="ABBvoice"/>
                        <a:cs typeface="ABBvoice"/>
                      </a:endParaRPr>
                    </a:p>
                  </a:txBody>
                  <a:tcPr marL="0" marR="0" marT="29209" marB="0">
                    <a:lnR w="12700">
                      <a:solidFill>
                        <a:srgbClr val="000000"/>
                      </a:solidFill>
                      <a:prstDash val="solid"/>
                    </a:lnR>
                    <a:lnT w="12700">
                      <a:solidFill>
                        <a:srgbClr val="000000"/>
                      </a:solidFill>
                      <a:prstDash val="solid"/>
                    </a:lnT>
                  </a:tcPr>
                </a:tc>
                <a:tc>
                  <a:txBody>
                    <a:bodyPr/>
                    <a:lstStyle/>
                    <a:p>
                      <a:pPr marL="67310" marR="90170">
                        <a:lnSpc>
                          <a:spcPct val="97600"/>
                        </a:lnSpc>
                        <a:spcBef>
                          <a:spcPts val="215"/>
                        </a:spcBef>
                      </a:pPr>
                      <a:r>
                        <a:rPr sz="850" b="1" spc="-10">
                          <a:latin typeface="ABBvoice"/>
                          <a:cs typeface="ABBvoice"/>
                        </a:rPr>
                        <a:t>2014</a:t>
                      </a:r>
                      <a:r>
                        <a:rPr sz="850" b="1" spc="5">
                          <a:latin typeface="ABBvoice"/>
                          <a:cs typeface="ABBvoice"/>
                        </a:rPr>
                        <a:t> </a:t>
                      </a:r>
                      <a:r>
                        <a:rPr sz="850" spc="-20">
                          <a:latin typeface="ABBvoice"/>
                          <a:cs typeface="ABBvoice"/>
                        </a:rPr>
                        <a:t>ABB’s</a:t>
                      </a:r>
                      <a:r>
                        <a:rPr sz="850" spc="-5">
                          <a:latin typeface="ABBvoice"/>
                          <a:cs typeface="ABBvoice"/>
                        </a:rPr>
                        <a:t> </a:t>
                      </a:r>
                      <a:r>
                        <a:rPr sz="850" spc="-10">
                          <a:latin typeface="ABBvoice"/>
                          <a:cs typeface="ABBvoice"/>
                        </a:rPr>
                        <a:t>Enviline</a:t>
                      </a:r>
                      <a:r>
                        <a:rPr sz="850" spc="-55">
                          <a:latin typeface="ABBvoice"/>
                          <a:cs typeface="ABBvoice"/>
                        </a:rPr>
                        <a:t> </a:t>
                      </a:r>
                      <a:r>
                        <a:rPr sz="850" spc="-10">
                          <a:latin typeface="ABBvoice"/>
                          <a:cs typeface="ABBvoice"/>
                        </a:rPr>
                        <a:t>traction</a:t>
                      </a:r>
                      <a:r>
                        <a:rPr sz="850" spc="-75">
                          <a:latin typeface="ABBvoice"/>
                          <a:cs typeface="ABBvoice"/>
                        </a:rPr>
                        <a:t> </a:t>
                      </a:r>
                      <a:r>
                        <a:rPr sz="850" spc="-10">
                          <a:latin typeface="ABBvoice"/>
                          <a:cs typeface="ABBvoice"/>
                        </a:rPr>
                        <a:t>power</a:t>
                      </a:r>
                      <a:r>
                        <a:rPr sz="850" spc="500">
                          <a:latin typeface="ABBvoice"/>
                          <a:cs typeface="ABBvoice"/>
                        </a:rPr>
                        <a:t> </a:t>
                      </a:r>
                      <a:r>
                        <a:rPr sz="850" spc="-10">
                          <a:latin typeface="ABBvoice"/>
                          <a:cs typeface="ABBvoice"/>
                        </a:rPr>
                        <a:t>technology</a:t>
                      </a:r>
                      <a:r>
                        <a:rPr sz="850" spc="-15">
                          <a:latin typeface="ABBvoice"/>
                          <a:cs typeface="ABBvoice"/>
                        </a:rPr>
                        <a:t> </a:t>
                      </a:r>
                      <a:r>
                        <a:rPr sz="850" spc="-10">
                          <a:latin typeface="ABBvoice"/>
                          <a:cs typeface="ABBvoice"/>
                        </a:rPr>
                        <a:t>is</a:t>
                      </a:r>
                      <a:r>
                        <a:rPr sz="850" spc="-75">
                          <a:latin typeface="ABBvoice"/>
                          <a:cs typeface="ABBvoice"/>
                        </a:rPr>
                        <a:t> </a:t>
                      </a:r>
                      <a:r>
                        <a:rPr sz="850" spc="-20">
                          <a:latin typeface="ABBvoice"/>
                          <a:cs typeface="ABBvoice"/>
                        </a:rPr>
                        <a:t>selected</a:t>
                      </a:r>
                      <a:r>
                        <a:rPr sz="850" spc="-25">
                          <a:latin typeface="ABBvoice"/>
                          <a:cs typeface="ABBvoice"/>
                        </a:rPr>
                        <a:t> </a:t>
                      </a:r>
                      <a:r>
                        <a:rPr sz="850">
                          <a:latin typeface="ABBvoice"/>
                          <a:cs typeface="ABBvoice"/>
                        </a:rPr>
                        <a:t>for</a:t>
                      </a:r>
                      <a:r>
                        <a:rPr sz="850" spc="-20">
                          <a:latin typeface="ABBvoice"/>
                          <a:cs typeface="ABBvoice"/>
                        </a:rPr>
                        <a:t> </a:t>
                      </a:r>
                      <a:r>
                        <a:rPr sz="850">
                          <a:latin typeface="ABBvoice"/>
                          <a:cs typeface="ABBvoice"/>
                        </a:rPr>
                        <a:t>the </a:t>
                      </a:r>
                      <a:r>
                        <a:rPr sz="850" spc="-10">
                          <a:latin typeface="ABBvoice"/>
                          <a:cs typeface="ABBvoice"/>
                        </a:rPr>
                        <a:t>Vancouver</a:t>
                      </a:r>
                      <a:r>
                        <a:rPr sz="850" spc="500">
                          <a:latin typeface="ABBvoice"/>
                          <a:cs typeface="ABBvoice"/>
                        </a:rPr>
                        <a:t> </a:t>
                      </a:r>
                      <a:r>
                        <a:rPr sz="850" spc="-20">
                          <a:latin typeface="ABBvoice"/>
                          <a:cs typeface="ABBvoice"/>
                        </a:rPr>
                        <a:t>Evergreen</a:t>
                      </a:r>
                      <a:r>
                        <a:rPr sz="850" spc="-5">
                          <a:latin typeface="ABBvoice"/>
                          <a:cs typeface="ABBvoice"/>
                        </a:rPr>
                        <a:t> </a:t>
                      </a:r>
                      <a:r>
                        <a:rPr sz="850" spc="-10">
                          <a:latin typeface="ABBvoice"/>
                          <a:cs typeface="ABBvoice"/>
                        </a:rPr>
                        <a:t>Line</a:t>
                      </a:r>
                      <a:r>
                        <a:rPr sz="850" spc="5">
                          <a:latin typeface="ABBvoice"/>
                          <a:cs typeface="ABBvoice"/>
                        </a:rPr>
                        <a:t> </a:t>
                      </a:r>
                      <a:r>
                        <a:rPr sz="850" spc="-10">
                          <a:latin typeface="ABBvoice"/>
                          <a:cs typeface="ABBvoice"/>
                        </a:rPr>
                        <a:t>Rapid</a:t>
                      </a:r>
                      <a:r>
                        <a:rPr sz="850" spc="-15">
                          <a:latin typeface="ABBvoice"/>
                          <a:cs typeface="ABBvoice"/>
                        </a:rPr>
                        <a:t> </a:t>
                      </a:r>
                      <a:r>
                        <a:rPr sz="850" spc="-10">
                          <a:latin typeface="ABBvoice"/>
                          <a:cs typeface="ABBvoice"/>
                        </a:rPr>
                        <a:t>Transit</a:t>
                      </a:r>
                      <a:r>
                        <a:rPr sz="850" spc="-35">
                          <a:latin typeface="ABBvoice"/>
                          <a:cs typeface="ABBvoice"/>
                        </a:rPr>
                        <a:t> </a:t>
                      </a:r>
                      <a:r>
                        <a:rPr sz="850" spc="-10">
                          <a:latin typeface="ABBvoice"/>
                          <a:cs typeface="ABBvoice"/>
                        </a:rPr>
                        <a:t>Project</a:t>
                      </a:r>
                      <a:endParaRPr sz="850">
                        <a:latin typeface="ABBvoice"/>
                        <a:cs typeface="ABBvoice"/>
                      </a:endParaRPr>
                    </a:p>
                    <a:p>
                      <a:pPr marL="67310" marR="104139">
                        <a:lnSpc>
                          <a:spcPct val="97600"/>
                        </a:lnSpc>
                        <a:spcBef>
                          <a:spcPts val="610"/>
                        </a:spcBef>
                      </a:pPr>
                      <a:r>
                        <a:rPr sz="850" b="1" spc="-10">
                          <a:latin typeface="ABBvoice"/>
                          <a:cs typeface="ABBvoice"/>
                        </a:rPr>
                        <a:t>2016 </a:t>
                      </a:r>
                      <a:r>
                        <a:rPr sz="850" spc="-20">
                          <a:latin typeface="ABBvoice"/>
                          <a:cs typeface="ABBvoice"/>
                        </a:rPr>
                        <a:t>ABB</a:t>
                      </a:r>
                      <a:r>
                        <a:rPr sz="850" spc="-15">
                          <a:latin typeface="ABBvoice"/>
                          <a:cs typeface="ABBvoice"/>
                        </a:rPr>
                        <a:t> </a:t>
                      </a:r>
                      <a:r>
                        <a:rPr sz="850" spc="-10">
                          <a:latin typeface="ABBvoice"/>
                          <a:cs typeface="ABBvoice"/>
                        </a:rPr>
                        <a:t>establishes</a:t>
                      </a:r>
                      <a:r>
                        <a:rPr sz="850" spc="-60">
                          <a:latin typeface="ABBvoice"/>
                          <a:cs typeface="ABBvoice"/>
                        </a:rPr>
                        <a:t> </a:t>
                      </a:r>
                      <a:r>
                        <a:rPr sz="850" spc="-10">
                          <a:latin typeface="ABBvoice"/>
                          <a:cs typeface="ABBvoice"/>
                        </a:rPr>
                        <a:t>Global</a:t>
                      </a:r>
                      <a:r>
                        <a:rPr sz="850" spc="-15">
                          <a:latin typeface="ABBvoice"/>
                          <a:cs typeface="ABBvoice"/>
                        </a:rPr>
                        <a:t> </a:t>
                      </a:r>
                      <a:r>
                        <a:rPr sz="850" spc="-10">
                          <a:latin typeface="ABBvoice"/>
                          <a:cs typeface="ABBvoice"/>
                        </a:rPr>
                        <a:t>Technology</a:t>
                      </a:r>
                      <a:r>
                        <a:rPr sz="850" spc="500">
                          <a:latin typeface="ABBvoice"/>
                          <a:cs typeface="ABBvoice"/>
                        </a:rPr>
                        <a:t> </a:t>
                      </a:r>
                      <a:r>
                        <a:rPr sz="850" spc="-20">
                          <a:latin typeface="ABBvoice"/>
                          <a:cs typeface="ABBvoice"/>
                        </a:rPr>
                        <a:t>Development</a:t>
                      </a:r>
                      <a:r>
                        <a:rPr sz="850" spc="-25">
                          <a:latin typeface="ABBvoice"/>
                          <a:cs typeface="ABBvoice"/>
                        </a:rPr>
                        <a:t> </a:t>
                      </a:r>
                      <a:r>
                        <a:rPr sz="850" spc="-10">
                          <a:latin typeface="ABBvoice"/>
                          <a:cs typeface="ABBvoice"/>
                        </a:rPr>
                        <a:t>Center</a:t>
                      </a:r>
                      <a:r>
                        <a:rPr sz="850" spc="-30">
                          <a:latin typeface="ABBvoice"/>
                          <a:cs typeface="ABBvoice"/>
                        </a:rPr>
                        <a:t> </a:t>
                      </a:r>
                      <a:r>
                        <a:rPr sz="850">
                          <a:latin typeface="ABBvoice"/>
                          <a:cs typeface="ABBvoice"/>
                        </a:rPr>
                        <a:t>for </a:t>
                      </a:r>
                      <a:r>
                        <a:rPr sz="850" spc="-10">
                          <a:latin typeface="ABBvoice"/>
                          <a:cs typeface="ABBvoice"/>
                        </a:rPr>
                        <a:t>Emergency</a:t>
                      </a:r>
                      <a:r>
                        <a:rPr sz="850" spc="500">
                          <a:latin typeface="ABBvoice"/>
                          <a:cs typeface="ABBvoice"/>
                        </a:rPr>
                        <a:t> </a:t>
                      </a:r>
                      <a:r>
                        <a:rPr sz="850" spc="-10">
                          <a:latin typeface="ABBvoice"/>
                          <a:cs typeface="ABBvoice"/>
                        </a:rPr>
                        <a:t>Lighting</a:t>
                      </a:r>
                      <a:r>
                        <a:rPr sz="850" spc="-80">
                          <a:latin typeface="ABBvoice"/>
                          <a:cs typeface="ABBvoice"/>
                        </a:rPr>
                        <a:t> </a:t>
                      </a:r>
                      <a:r>
                        <a:rPr sz="850">
                          <a:latin typeface="ABBvoice"/>
                          <a:cs typeface="ABBvoice"/>
                        </a:rPr>
                        <a:t>in</a:t>
                      </a:r>
                      <a:r>
                        <a:rPr sz="850" spc="-25">
                          <a:latin typeface="ABBvoice"/>
                          <a:cs typeface="ABBvoice"/>
                        </a:rPr>
                        <a:t> </a:t>
                      </a:r>
                      <a:r>
                        <a:rPr sz="850" spc="-10">
                          <a:latin typeface="ABBvoice"/>
                          <a:cs typeface="ABBvoice"/>
                        </a:rPr>
                        <a:t>Quebec</a:t>
                      </a:r>
                      <a:endParaRPr sz="850">
                        <a:latin typeface="ABBvoice"/>
                        <a:cs typeface="ABBvoice"/>
                      </a:endParaRPr>
                    </a:p>
                    <a:p>
                      <a:pPr marL="67310" marR="241935">
                        <a:lnSpc>
                          <a:spcPct val="97800"/>
                        </a:lnSpc>
                        <a:spcBef>
                          <a:spcPts val="590"/>
                        </a:spcBef>
                      </a:pPr>
                      <a:r>
                        <a:rPr sz="850" b="1" spc="-20">
                          <a:latin typeface="ABBvoice"/>
                          <a:cs typeface="ABBvoice"/>
                        </a:rPr>
                        <a:t>2017</a:t>
                      </a:r>
                      <a:r>
                        <a:rPr sz="850" b="1" spc="-10">
                          <a:latin typeface="ABBvoice"/>
                          <a:cs typeface="ABBvoice"/>
                        </a:rPr>
                        <a:t> </a:t>
                      </a:r>
                      <a:r>
                        <a:rPr sz="850" spc="-10">
                          <a:latin typeface="ABBvoice"/>
                          <a:cs typeface="ABBvoice"/>
                        </a:rPr>
                        <a:t>ABB</a:t>
                      </a:r>
                      <a:r>
                        <a:rPr sz="850" spc="5">
                          <a:latin typeface="ABBvoice"/>
                          <a:cs typeface="ABBvoice"/>
                        </a:rPr>
                        <a:t> </a:t>
                      </a:r>
                      <a:r>
                        <a:rPr sz="850" spc="-10">
                          <a:latin typeface="ABBvoice"/>
                          <a:cs typeface="ABBvoice"/>
                        </a:rPr>
                        <a:t>establishes</a:t>
                      </a:r>
                      <a:r>
                        <a:rPr sz="850" spc="-65">
                          <a:latin typeface="ABBvoice"/>
                          <a:cs typeface="ABBvoice"/>
                        </a:rPr>
                        <a:t> </a:t>
                      </a:r>
                      <a:r>
                        <a:rPr sz="850" spc="-10">
                          <a:latin typeface="ABBvoice"/>
                          <a:cs typeface="ABBvoice"/>
                        </a:rPr>
                        <a:t>North</a:t>
                      </a:r>
                      <a:r>
                        <a:rPr sz="850" spc="-35">
                          <a:latin typeface="ABBvoice"/>
                          <a:cs typeface="ABBvoice"/>
                        </a:rPr>
                        <a:t> </a:t>
                      </a:r>
                      <a:r>
                        <a:rPr sz="850" spc="-10">
                          <a:latin typeface="ABBvoice"/>
                          <a:cs typeface="ABBvoice"/>
                        </a:rPr>
                        <a:t>American</a:t>
                      </a:r>
                      <a:r>
                        <a:rPr sz="850" spc="500">
                          <a:latin typeface="ABBvoice"/>
                          <a:cs typeface="ABBvoice"/>
                        </a:rPr>
                        <a:t> </a:t>
                      </a:r>
                      <a:r>
                        <a:rPr sz="850" spc="-10">
                          <a:latin typeface="ABBvoice"/>
                          <a:cs typeface="ABBvoice"/>
                        </a:rPr>
                        <a:t>Center</a:t>
                      </a:r>
                      <a:r>
                        <a:rPr sz="850" spc="-30">
                          <a:latin typeface="ABBvoice"/>
                          <a:cs typeface="ABBvoice"/>
                        </a:rPr>
                        <a:t> </a:t>
                      </a:r>
                      <a:r>
                        <a:rPr sz="850">
                          <a:latin typeface="ABBvoice"/>
                          <a:cs typeface="ABBvoice"/>
                        </a:rPr>
                        <a:t>for</a:t>
                      </a:r>
                      <a:r>
                        <a:rPr sz="850" spc="-30">
                          <a:latin typeface="ABBvoice"/>
                          <a:cs typeface="ABBvoice"/>
                        </a:rPr>
                        <a:t> </a:t>
                      </a:r>
                      <a:r>
                        <a:rPr sz="850" spc="-10">
                          <a:latin typeface="ABBvoice"/>
                          <a:cs typeface="ABBvoice"/>
                        </a:rPr>
                        <a:t>Excellence</a:t>
                      </a:r>
                      <a:r>
                        <a:rPr sz="850" spc="-65">
                          <a:latin typeface="ABBvoice"/>
                          <a:cs typeface="ABBvoice"/>
                        </a:rPr>
                        <a:t> </a:t>
                      </a:r>
                      <a:r>
                        <a:rPr sz="850">
                          <a:latin typeface="ABBvoice"/>
                          <a:cs typeface="ABBvoice"/>
                        </a:rPr>
                        <a:t>in</a:t>
                      </a:r>
                      <a:r>
                        <a:rPr sz="850" spc="-20">
                          <a:latin typeface="ABBvoice"/>
                          <a:cs typeface="ABBvoice"/>
                        </a:rPr>
                        <a:t> E-</a:t>
                      </a:r>
                      <a:r>
                        <a:rPr sz="850" spc="-10">
                          <a:latin typeface="ABBvoice"/>
                          <a:cs typeface="ABBvoice"/>
                        </a:rPr>
                        <a:t>Mobility</a:t>
                      </a:r>
                      <a:r>
                        <a:rPr sz="850" spc="-25">
                          <a:latin typeface="ABBvoice"/>
                          <a:cs typeface="ABBvoice"/>
                        </a:rPr>
                        <a:t> in</a:t>
                      </a:r>
                      <a:r>
                        <a:rPr sz="850" spc="500">
                          <a:latin typeface="ABBvoice"/>
                          <a:cs typeface="ABBvoice"/>
                        </a:rPr>
                        <a:t> </a:t>
                      </a:r>
                      <a:r>
                        <a:rPr sz="850" spc="-10">
                          <a:latin typeface="ABBvoice"/>
                          <a:cs typeface="ABBvoice"/>
                        </a:rPr>
                        <a:t>Montreal</a:t>
                      </a:r>
                      <a:endParaRPr sz="850">
                        <a:latin typeface="ABBvoice"/>
                        <a:cs typeface="ABBvoice"/>
                      </a:endParaRPr>
                    </a:p>
                    <a:p>
                      <a:pPr marL="67310" marR="81280">
                        <a:lnSpc>
                          <a:spcPct val="97300"/>
                        </a:lnSpc>
                        <a:spcBef>
                          <a:spcPts val="615"/>
                        </a:spcBef>
                      </a:pPr>
                      <a:r>
                        <a:rPr sz="850" b="1" spc="-10">
                          <a:latin typeface="ABBvoice"/>
                          <a:cs typeface="ABBvoice"/>
                        </a:rPr>
                        <a:t>2022</a:t>
                      </a:r>
                      <a:r>
                        <a:rPr sz="850" b="1" spc="10">
                          <a:latin typeface="ABBvoice"/>
                          <a:cs typeface="ABBvoice"/>
                        </a:rPr>
                        <a:t> </a:t>
                      </a:r>
                      <a:r>
                        <a:rPr sz="850" spc="-20">
                          <a:latin typeface="ABBvoice"/>
                          <a:cs typeface="ABBvoice"/>
                        </a:rPr>
                        <a:t>ABB</a:t>
                      </a:r>
                      <a:r>
                        <a:rPr sz="850" spc="-15">
                          <a:latin typeface="ABBvoice"/>
                          <a:cs typeface="ABBvoice"/>
                        </a:rPr>
                        <a:t> </a:t>
                      </a:r>
                      <a:r>
                        <a:rPr sz="850" spc="-10">
                          <a:latin typeface="ABBvoice"/>
                          <a:cs typeface="ABBvoice"/>
                        </a:rPr>
                        <a:t>Canada</a:t>
                      </a:r>
                      <a:r>
                        <a:rPr sz="850" spc="-25">
                          <a:latin typeface="ABBvoice"/>
                          <a:cs typeface="ABBvoice"/>
                        </a:rPr>
                        <a:t> </a:t>
                      </a:r>
                      <a:r>
                        <a:rPr sz="850" spc="-10">
                          <a:latin typeface="ABBvoice"/>
                          <a:cs typeface="ABBvoice"/>
                        </a:rPr>
                        <a:t>a</a:t>
                      </a:r>
                      <a:r>
                        <a:rPr sz="850" spc="-75">
                          <a:latin typeface="ABBvoice"/>
                          <a:cs typeface="ABBvoice"/>
                        </a:rPr>
                        <a:t> </a:t>
                      </a:r>
                      <a:r>
                        <a:rPr sz="850" spc="-10">
                          <a:latin typeface="ABBvoice"/>
                          <a:cs typeface="ABBvoice"/>
                        </a:rPr>
                        <a:t>trusted</a:t>
                      </a:r>
                      <a:r>
                        <a:rPr sz="850" spc="-35">
                          <a:latin typeface="ABBvoice"/>
                          <a:cs typeface="ABBvoice"/>
                        </a:rPr>
                        <a:t> </a:t>
                      </a:r>
                      <a:r>
                        <a:rPr sz="850" spc="-10">
                          <a:latin typeface="ABBvoice"/>
                          <a:cs typeface="ABBvoice"/>
                        </a:rPr>
                        <a:t>partner</a:t>
                      </a:r>
                      <a:r>
                        <a:rPr sz="850" spc="-75">
                          <a:latin typeface="ABBvoice"/>
                          <a:cs typeface="ABBvoice"/>
                        </a:rPr>
                        <a:t> </a:t>
                      </a:r>
                      <a:r>
                        <a:rPr sz="850" spc="-25">
                          <a:latin typeface="ABBvoice"/>
                          <a:cs typeface="ABBvoice"/>
                        </a:rPr>
                        <a:t>in</a:t>
                      </a:r>
                      <a:r>
                        <a:rPr sz="850" spc="500">
                          <a:latin typeface="ABBvoice"/>
                          <a:cs typeface="ABBvoice"/>
                        </a:rPr>
                        <a:t> </a:t>
                      </a:r>
                      <a:r>
                        <a:rPr sz="850" spc="-10">
                          <a:latin typeface="ABBvoice"/>
                          <a:cs typeface="ABBvoice"/>
                        </a:rPr>
                        <a:t>ventilation</a:t>
                      </a:r>
                      <a:r>
                        <a:rPr sz="850" spc="-70">
                          <a:latin typeface="ABBvoice"/>
                          <a:cs typeface="ABBvoice"/>
                        </a:rPr>
                        <a:t> </a:t>
                      </a:r>
                      <a:r>
                        <a:rPr sz="850">
                          <a:latin typeface="ABBvoice"/>
                          <a:cs typeface="ABBvoice"/>
                        </a:rPr>
                        <a:t>in</a:t>
                      </a:r>
                      <a:r>
                        <a:rPr sz="850" spc="30">
                          <a:latin typeface="ABBvoice"/>
                          <a:cs typeface="ABBvoice"/>
                        </a:rPr>
                        <a:t> </a:t>
                      </a:r>
                      <a:r>
                        <a:rPr sz="850" spc="-10">
                          <a:latin typeface="ABBvoice"/>
                          <a:cs typeface="ABBvoice"/>
                        </a:rPr>
                        <a:t>Louis-</a:t>
                      </a:r>
                      <a:r>
                        <a:rPr sz="850" spc="-25">
                          <a:latin typeface="ABBvoice"/>
                          <a:cs typeface="ABBvoice"/>
                        </a:rPr>
                        <a:t>Hippolyte</a:t>
                      </a:r>
                      <a:r>
                        <a:rPr sz="850" spc="-20">
                          <a:latin typeface="ABBvoice"/>
                          <a:cs typeface="ABBvoice"/>
                        </a:rPr>
                        <a:t> </a:t>
                      </a:r>
                      <a:r>
                        <a:rPr sz="850" spc="-10">
                          <a:latin typeface="ABBvoice"/>
                          <a:cs typeface="ABBvoice"/>
                        </a:rPr>
                        <a:t>Lafontaine</a:t>
                      </a:r>
                      <a:r>
                        <a:rPr sz="850" spc="500">
                          <a:latin typeface="ABBvoice"/>
                          <a:cs typeface="ABBvoice"/>
                        </a:rPr>
                        <a:t> </a:t>
                      </a:r>
                      <a:r>
                        <a:rPr sz="850" spc="-10">
                          <a:latin typeface="ABBvoice"/>
                          <a:cs typeface="ABBvoice"/>
                        </a:rPr>
                        <a:t>tunnels</a:t>
                      </a:r>
                      <a:r>
                        <a:rPr sz="850" spc="-75">
                          <a:latin typeface="ABBvoice"/>
                          <a:cs typeface="ABBvoice"/>
                        </a:rPr>
                        <a:t> </a:t>
                      </a:r>
                      <a:r>
                        <a:rPr sz="850">
                          <a:latin typeface="ABBvoice"/>
                          <a:cs typeface="ABBvoice"/>
                        </a:rPr>
                        <a:t>of</a:t>
                      </a:r>
                      <a:r>
                        <a:rPr sz="850" spc="-5">
                          <a:latin typeface="ABBvoice"/>
                          <a:cs typeface="ABBvoice"/>
                        </a:rPr>
                        <a:t> </a:t>
                      </a:r>
                      <a:r>
                        <a:rPr sz="850" spc="-10">
                          <a:latin typeface="ABBvoice"/>
                          <a:cs typeface="ABBvoice"/>
                        </a:rPr>
                        <a:t>Montreal,</a:t>
                      </a:r>
                      <a:r>
                        <a:rPr sz="850" spc="-70">
                          <a:latin typeface="ABBvoice"/>
                          <a:cs typeface="ABBvoice"/>
                        </a:rPr>
                        <a:t> </a:t>
                      </a:r>
                      <a:r>
                        <a:rPr sz="850" spc="-10">
                          <a:latin typeface="ABBvoice"/>
                          <a:cs typeface="ABBvoice"/>
                        </a:rPr>
                        <a:t>with ABB</a:t>
                      </a:r>
                      <a:r>
                        <a:rPr sz="850">
                          <a:latin typeface="ABBvoice"/>
                          <a:cs typeface="ABBvoice"/>
                        </a:rPr>
                        <a:t> </a:t>
                      </a:r>
                      <a:r>
                        <a:rPr sz="850" spc="-10">
                          <a:latin typeface="ABBvoice"/>
                          <a:cs typeface="ABBvoice"/>
                        </a:rPr>
                        <a:t>drives,</a:t>
                      </a:r>
                      <a:r>
                        <a:rPr sz="850" spc="500">
                          <a:latin typeface="ABBvoice"/>
                          <a:cs typeface="ABBvoice"/>
                        </a:rPr>
                        <a:t> </a:t>
                      </a:r>
                      <a:r>
                        <a:rPr sz="850" spc="-10">
                          <a:latin typeface="ABBvoice"/>
                          <a:cs typeface="ABBvoice"/>
                        </a:rPr>
                        <a:t>such</a:t>
                      </a:r>
                      <a:r>
                        <a:rPr sz="850" spc="-35">
                          <a:latin typeface="ABBvoice"/>
                          <a:cs typeface="ABBvoice"/>
                        </a:rPr>
                        <a:t> </a:t>
                      </a:r>
                      <a:r>
                        <a:rPr sz="850">
                          <a:latin typeface="ABBvoice"/>
                          <a:cs typeface="ABBvoice"/>
                        </a:rPr>
                        <a:t>as</a:t>
                      </a:r>
                      <a:r>
                        <a:rPr sz="850" spc="15">
                          <a:latin typeface="ABBvoice"/>
                          <a:cs typeface="ABBvoice"/>
                        </a:rPr>
                        <a:t> </a:t>
                      </a:r>
                      <a:r>
                        <a:rPr sz="850" spc="-10">
                          <a:latin typeface="ABBvoice"/>
                          <a:cs typeface="ABBvoice"/>
                        </a:rPr>
                        <a:t>our</a:t>
                      </a:r>
                      <a:r>
                        <a:rPr sz="850" spc="-35">
                          <a:latin typeface="ABBvoice"/>
                          <a:cs typeface="ABBvoice"/>
                        </a:rPr>
                        <a:t> </a:t>
                      </a:r>
                      <a:r>
                        <a:rPr sz="850" spc="-20">
                          <a:latin typeface="ABBvoice"/>
                          <a:cs typeface="ABBvoice"/>
                        </a:rPr>
                        <a:t>ACS880-</a:t>
                      </a:r>
                      <a:r>
                        <a:rPr sz="850" spc="-25">
                          <a:latin typeface="ABBvoice"/>
                          <a:cs typeface="ABBvoice"/>
                        </a:rPr>
                        <a:t>17.</a:t>
                      </a:r>
                      <a:endParaRPr sz="850">
                        <a:latin typeface="ABBvoice"/>
                        <a:cs typeface="ABBvoice"/>
                      </a:endParaRPr>
                    </a:p>
                  </a:txBody>
                  <a:tcPr marL="0" marR="0" marT="27305" marB="0">
                    <a:lnL w="12700">
                      <a:solidFill>
                        <a:srgbClr val="000000"/>
                      </a:solidFill>
                      <a:prstDash val="solid"/>
                    </a:lnL>
                    <a:lnR w="12700">
                      <a:solidFill>
                        <a:srgbClr val="000000"/>
                      </a:solidFill>
                      <a:prstDash val="solid"/>
                    </a:lnR>
                    <a:lnT w="12700">
                      <a:solidFill>
                        <a:srgbClr val="000000"/>
                      </a:solidFill>
                      <a:prstDash val="solid"/>
                    </a:lnT>
                  </a:tcPr>
                </a:tc>
                <a:tc>
                  <a:txBody>
                    <a:bodyPr/>
                    <a:lstStyle/>
                    <a:p>
                      <a:pPr marL="67945" marR="292735">
                        <a:lnSpc>
                          <a:spcPts val="1010"/>
                        </a:lnSpc>
                        <a:spcBef>
                          <a:spcPts val="229"/>
                        </a:spcBef>
                      </a:pPr>
                      <a:r>
                        <a:rPr sz="850" b="1" spc="-20">
                          <a:latin typeface="ABBvoice"/>
                          <a:cs typeface="ABBvoice"/>
                        </a:rPr>
                        <a:t>2003</a:t>
                      </a:r>
                      <a:r>
                        <a:rPr sz="850" b="1" spc="-5">
                          <a:latin typeface="ABBvoice"/>
                          <a:cs typeface="ABBvoice"/>
                        </a:rPr>
                        <a:t> </a:t>
                      </a:r>
                      <a:r>
                        <a:rPr sz="850" spc="-10">
                          <a:latin typeface="ABBvoice"/>
                          <a:cs typeface="ABBvoice"/>
                        </a:rPr>
                        <a:t>Liquid</a:t>
                      </a:r>
                      <a:r>
                        <a:rPr sz="850" spc="-50">
                          <a:latin typeface="ABBvoice"/>
                          <a:cs typeface="ABBvoice"/>
                        </a:rPr>
                        <a:t> </a:t>
                      </a:r>
                      <a:r>
                        <a:rPr sz="850" spc="-10">
                          <a:latin typeface="ABBvoice"/>
                          <a:cs typeface="ABBvoice"/>
                        </a:rPr>
                        <a:t>cooled</a:t>
                      </a:r>
                      <a:r>
                        <a:rPr sz="850" spc="-50">
                          <a:latin typeface="ABBvoice"/>
                          <a:cs typeface="ABBvoice"/>
                        </a:rPr>
                        <a:t> </a:t>
                      </a:r>
                      <a:r>
                        <a:rPr sz="850" spc="-10">
                          <a:latin typeface="ABBvoice"/>
                          <a:cs typeface="ABBvoice"/>
                        </a:rPr>
                        <a:t>drives</a:t>
                      </a:r>
                      <a:r>
                        <a:rPr sz="850" spc="-50">
                          <a:latin typeface="ABBvoice"/>
                          <a:cs typeface="ABBvoice"/>
                        </a:rPr>
                        <a:t> </a:t>
                      </a:r>
                      <a:r>
                        <a:rPr sz="850">
                          <a:latin typeface="ABBvoice"/>
                          <a:cs typeface="ABBvoice"/>
                        </a:rPr>
                        <a:t>for</a:t>
                      </a:r>
                      <a:r>
                        <a:rPr sz="850" spc="-15">
                          <a:latin typeface="ABBvoice"/>
                          <a:cs typeface="ABBvoice"/>
                        </a:rPr>
                        <a:t> </a:t>
                      </a:r>
                      <a:r>
                        <a:rPr sz="850" spc="-10">
                          <a:latin typeface="ABBvoice"/>
                          <a:cs typeface="ABBvoice"/>
                        </a:rPr>
                        <a:t>tunnel</a:t>
                      </a:r>
                      <a:r>
                        <a:rPr sz="850" spc="500">
                          <a:latin typeface="ABBvoice"/>
                          <a:cs typeface="ABBvoice"/>
                        </a:rPr>
                        <a:t> </a:t>
                      </a:r>
                      <a:r>
                        <a:rPr sz="850" spc="-10">
                          <a:latin typeface="ABBvoice"/>
                          <a:cs typeface="ABBvoice"/>
                        </a:rPr>
                        <a:t>boring</a:t>
                      </a:r>
                      <a:r>
                        <a:rPr sz="850" spc="-35">
                          <a:latin typeface="ABBvoice"/>
                          <a:cs typeface="ABBvoice"/>
                        </a:rPr>
                        <a:t> </a:t>
                      </a:r>
                      <a:r>
                        <a:rPr sz="850" spc="-20">
                          <a:latin typeface="ABBvoice"/>
                          <a:cs typeface="ABBvoice"/>
                        </a:rPr>
                        <a:t>machines,</a:t>
                      </a:r>
                      <a:r>
                        <a:rPr sz="850" spc="-35">
                          <a:latin typeface="ABBvoice"/>
                          <a:cs typeface="ABBvoice"/>
                        </a:rPr>
                        <a:t> </a:t>
                      </a:r>
                      <a:r>
                        <a:rPr sz="850">
                          <a:latin typeface="ABBvoice"/>
                          <a:cs typeface="ABBvoice"/>
                        </a:rPr>
                        <a:t>a</a:t>
                      </a:r>
                      <a:r>
                        <a:rPr sz="850" spc="5">
                          <a:latin typeface="ABBvoice"/>
                          <a:cs typeface="ABBvoice"/>
                        </a:rPr>
                        <a:t> </a:t>
                      </a:r>
                      <a:r>
                        <a:rPr sz="850" spc="-10">
                          <a:latin typeface="ABBvoice"/>
                          <a:cs typeface="ABBvoice"/>
                        </a:rPr>
                        <a:t>custom</a:t>
                      </a:r>
                      <a:r>
                        <a:rPr sz="850" spc="-45">
                          <a:latin typeface="ABBvoice"/>
                          <a:cs typeface="ABBvoice"/>
                        </a:rPr>
                        <a:t> </a:t>
                      </a:r>
                      <a:r>
                        <a:rPr sz="850" spc="-10">
                          <a:latin typeface="ABBvoice"/>
                          <a:cs typeface="ABBvoice"/>
                        </a:rPr>
                        <a:t>solution</a:t>
                      </a:r>
                      <a:r>
                        <a:rPr sz="850" spc="5">
                          <a:latin typeface="ABBvoice"/>
                          <a:cs typeface="ABBvoice"/>
                        </a:rPr>
                        <a:t> </a:t>
                      </a:r>
                      <a:r>
                        <a:rPr sz="850" spc="-10">
                          <a:latin typeface="ABBvoice"/>
                          <a:cs typeface="ABBvoice"/>
                        </a:rPr>
                        <a:t>for</a:t>
                      </a:r>
                      <a:r>
                        <a:rPr sz="850" spc="-85">
                          <a:latin typeface="ABBvoice"/>
                          <a:cs typeface="ABBvoice"/>
                        </a:rPr>
                        <a:t> </a:t>
                      </a:r>
                      <a:r>
                        <a:rPr sz="850" spc="-50">
                          <a:latin typeface="ABBvoice"/>
                          <a:cs typeface="ABBvoice"/>
                        </a:rPr>
                        <a:t>a</a:t>
                      </a:r>
                      <a:endParaRPr sz="850">
                        <a:latin typeface="ABBvoice"/>
                        <a:cs typeface="ABBvoice"/>
                      </a:endParaRPr>
                    </a:p>
                    <a:p>
                      <a:pPr marL="67945">
                        <a:lnSpc>
                          <a:spcPts val="944"/>
                        </a:lnSpc>
                      </a:pPr>
                      <a:r>
                        <a:rPr sz="850" spc="-10">
                          <a:latin typeface="ABBvoice"/>
                          <a:cs typeface="ABBvoice"/>
                        </a:rPr>
                        <a:t>Canadian</a:t>
                      </a:r>
                      <a:r>
                        <a:rPr sz="850" spc="-70">
                          <a:latin typeface="ABBvoice"/>
                          <a:cs typeface="ABBvoice"/>
                        </a:rPr>
                        <a:t> </a:t>
                      </a:r>
                      <a:r>
                        <a:rPr sz="850" spc="-10">
                          <a:latin typeface="ABBvoice"/>
                          <a:cs typeface="ABBvoice"/>
                        </a:rPr>
                        <a:t>customer.</a:t>
                      </a:r>
                      <a:r>
                        <a:rPr sz="850" spc="-25">
                          <a:latin typeface="ABBvoice"/>
                          <a:cs typeface="ABBvoice"/>
                        </a:rPr>
                        <a:t> </a:t>
                      </a:r>
                      <a:r>
                        <a:rPr sz="850" spc="-10">
                          <a:latin typeface="ABBvoice"/>
                          <a:cs typeface="ABBvoice"/>
                        </a:rPr>
                        <a:t>These</a:t>
                      </a:r>
                      <a:r>
                        <a:rPr sz="850" spc="35">
                          <a:latin typeface="ABBvoice"/>
                          <a:cs typeface="ABBvoice"/>
                        </a:rPr>
                        <a:t> </a:t>
                      </a:r>
                      <a:r>
                        <a:rPr sz="850" spc="-10">
                          <a:latin typeface="ABBvoice"/>
                          <a:cs typeface="ABBvoice"/>
                        </a:rPr>
                        <a:t>tunnel</a:t>
                      </a:r>
                      <a:r>
                        <a:rPr sz="850" spc="-40">
                          <a:latin typeface="ABBvoice"/>
                          <a:cs typeface="ABBvoice"/>
                        </a:rPr>
                        <a:t> </a:t>
                      </a:r>
                      <a:r>
                        <a:rPr sz="850" spc="-10">
                          <a:latin typeface="ABBvoice"/>
                          <a:cs typeface="ABBvoice"/>
                        </a:rPr>
                        <a:t>machines</a:t>
                      </a:r>
                      <a:endParaRPr sz="850">
                        <a:latin typeface="ABBvoice"/>
                        <a:cs typeface="ABBvoice"/>
                      </a:endParaRPr>
                    </a:p>
                    <a:p>
                      <a:pPr marL="67945">
                        <a:lnSpc>
                          <a:spcPts val="1015"/>
                        </a:lnSpc>
                      </a:pPr>
                      <a:r>
                        <a:rPr sz="850" spc="-10">
                          <a:latin typeface="ABBvoice"/>
                          <a:cs typeface="ABBvoice"/>
                        </a:rPr>
                        <a:t>are</a:t>
                      </a:r>
                      <a:r>
                        <a:rPr sz="850" spc="-40">
                          <a:latin typeface="ABBvoice"/>
                          <a:cs typeface="ABBvoice"/>
                        </a:rPr>
                        <a:t> </a:t>
                      </a:r>
                      <a:r>
                        <a:rPr sz="850">
                          <a:latin typeface="ABBvoice"/>
                          <a:cs typeface="ABBvoice"/>
                        </a:rPr>
                        <a:t>now</a:t>
                      </a:r>
                      <a:r>
                        <a:rPr sz="850" spc="-5">
                          <a:latin typeface="ABBvoice"/>
                          <a:cs typeface="ABBvoice"/>
                        </a:rPr>
                        <a:t> </a:t>
                      </a:r>
                      <a:r>
                        <a:rPr sz="850" spc="-20">
                          <a:latin typeface="ABBvoice"/>
                          <a:cs typeface="ABBvoice"/>
                        </a:rPr>
                        <a:t>used</a:t>
                      </a:r>
                      <a:r>
                        <a:rPr sz="850" spc="-30">
                          <a:latin typeface="ABBvoice"/>
                          <a:cs typeface="ABBvoice"/>
                        </a:rPr>
                        <a:t> </a:t>
                      </a:r>
                      <a:r>
                        <a:rPr sz="850" spc="-10">
                          <a:latin typeface="ABBvoice"/>
                          <a:cs typeface="ABBvoice"/>
                        </a:rPr>
                        <a:t>around</a:t>
                      </a:r>
                      <a:r>
                        <a:rPr sz="850" spc="-80">
                          <a:latin typeface="ABBvoice"/>
                          <a:cs typeface="ABBvoice"/>
                        </a:rPr>
                        <a:t> </a:t>
                      </a:r>
                      <a:r>
                        <a:rPr sz="850">
                          <a:latin typeface="ABBvoice"/>
                          <a:cs typeface="ABBvoice"/>
                        </a:rPr>
                        <a:t>the</a:t>
                      </a:r>
                      <a:r>
                        <a:rPr sz="850" spc="-10">
                          <a:latin typeface="ABBvoice"/>
                          <a:cs typeface="ABBvoice"/>
                        </a:rPr>
                        <a:t> world.</a:t>
                      </a:r>
                      <a:endParaRPr sz="850">
                        <a:latin typeface="ABBvoice"/>
                        <a:cs typeface="ABBvoice"/>
                      </a:endParaRPr>
                    </a:p>
                    <a:p>
                      <a:pPr marL="67945" marR="74930" algn="just">
                        <a:lnSpc>
                          <a:spcPct val="97600"/>
                        </a:lnSpc>
                        <a:spcBef>
                          <a:spcPts val="590"/>
                        </a:spcBef>
                      </a:pPr>
                      <a:r>
                        <a:rPr sz="850" b="1" spc="-20">
                          <a:latin typeface="ABBvoice"/>
                          <a:cs typeface="ABBvoice"/>
                        </a:rPr>
                        <a:t>2004</a:t>
                      </a:r>
                      <a:r>
                        <a:rPr sz="850" b="1">
                          <a:latin typeface="ABBvoice"/>
                          <a:cs typeface="ABBvoice"/>
                        </a:rPr>
                        <a:t> </a:t>
                      </a:r>
                      <a:r>
                        <a:rPr sz="850" spc="-20">
                          <a:latin typeface="ABBvoice"/>
                          <a:cs typeface="ABBvoice"/>
                        </a:rPr>
                        <a:t>ACH550,</a:t>
                      </a:r>
                      <a:r>
                        <a:rPr sz="850" spc="-35">
                          <a:latin typeface="ABBvoice"/>
                          <a:cs typeface="ABBvoice"/>
                        </a:rPr>
                        <a:t> </a:t>
                      </a:r>
                      <a:r>
                        <a:rPr sz="850">
                          <a:latin typeface="ABBvoice"/>
                          <a:cs typeface="ABBvoice"/>
                        </a:rPr>
                        <a:t>a</a:t>
                      </a:r>
                      <a:r>
                        <a:rPr sz="850" spc="25">
                          <a:latin typeface="ABBvoice"/>
                          <a:cs typeface="ABBvoice"/>
                        </a:rPr>
                        <a:t> </a:t>
                      </a:r>
                      <a:r>
                        <a:rPr sz="850" spc="-10">
                          <a:latin typeface="ABBvoice"/>
                          <a:cs typeface="ABBvoice"/>
                        </a:rPr>
                        <a:t>true</a:t>
                      </a:r>
                      <a:r>
                        <a:rPr sz="850" spc="-25">
                          <a:latin typeface="ABBvoice"/>
                          <a:cs typeface="ABBvoice"/>
                        </a:rPr>
                        <a:t> </a:t>
                      </a:r>
                      <a:r>
                        <a:rPr sz="850" spc="-20">
                          <a:latin typeface="ABBvoice"/>
                          <a:cs typeface="ABBvoice"/>
                        </a:rPr>
                        <a:t>HVAC</a:t>
                      </a:r>
                      <a:r>
                        <a:rPr sz="850" spc="-35">
                          <a:latin typeface="ABBvoice"/>
                          <a:cs typeface="ABBvoice"/>
                        </a:rPr>
                        <a:t> </a:t>
                      </a:r>
                      <a:r>
                        <a:rPr sz="850" spc="-10">
                          <a:latin typeface="ABBvoice"/>
                          <a:cs typeface="ABBvoice"/>
                        </a:rPr>
                        <a:t>600v</a:t>
                      </a:r>
                      <a:r>
                        <a:rPr sz="850" spc="-5">
                          <a:latin typeface="ABBvoice"/>
                          <a:cs typeface="ABBvoice"/>
                        </a:rPr>
                        <a:t> </a:t>
                      </a:r>
                      <a:r>
                        <a:rPr sz="850" spc="-10">
                          <a:latin typeface="ABBvoice"/>
                          <a:cs typeface="ABBvoice"/>
                        </a:rPr>
                        <a:t>drive</a:t>
                      </a:r>
                      <a:r>
                        <a:rPr sz="850" spc="-25">
                          <a:latin typeface="ABBvoice"/>
                          <a:cs typeface="ABBvoice"/>
                        </a:rPr>
                        <a:t> </a:t>
                      </a:r>
                      <a:r>
                        <a:rPr sz="850" spc="-10">
                          <a:latin typeface="ABBvoice"/>
                          <a:cs typeface="ABBvoice"/>
                        </a:rPr>
                        <a:t>for</a:t>
                      </a:r>
                      <a:r>
                        <a:rPr sz="850" spc="-40">
                          <a:latin typeface="ABBvoice"/>
                          <a:cs typeface="ABBvoice"/>
                        </a:rPr>
                        <a:t> </a:t>
                      </a:r>
                      <a:r>
                        <a:rPr sz="850" spc="-25">
                          <a:latin typeface="ABBvoice"/>
                          <a:cs typeface="ABBvoice"/>
                        </a:rPr>
                        <a:t>the</a:t>
                      </a:r>
                      <a:r>
                        <a:rPr sz="850" spc="500">
                          <a:latin typeface="ABBvoice"/>
                          <a:cs typeface="ABBvoice"/>
                        </a:rPr>
                        <a:t> </a:t>
                      </a:r>
                      <a:r>
                        <a:rPr sz="850" spc="-20">
                          <a:latin typeface="ABBvoice"/>
                          <a:cs typeface="ABBvoice"/>
                        </a:rPr>
                        <a:t>Canadian</a:t>
                      </a:r>
                      <a:r>
                        <a:rPr sz="850" spc="-35">
                          <a:latin typeface="ABBvoice"/>
                          <a:cs typeface="ABBvoice"/>
                        </a:rPr>
                        <a:t> </a:t>
                      </a:r>
                      <a:r>
                        <a:rPr sz="850" spc="-10">
                          <a:latin typeface="ABBvoice"/>
                          <a:cs typeface="ABBvoice"/>
                        </a:rPr>
                        <a:t>market.</a:t>
                      </a:r>
                      <a:r>
                        <a:rPr sz="850" spc="-25">
                          <a:latin typeface="ABBvoice"/>
                          <a:cs typeface="ABBvoice"/>
                        </a:rPr>
                        <a:t> </a:t>
                      </a:r>
                      <a:r>
                        <a:rPr sz="850" spc="-20">
                          <a:latin typeface="ABBvoice"/>
                          <a:cs typeface="ABBvoice"/>
                        </a:rPr>
                        <a:t>Improving</a:t>
                      </a:r>
                      <a:r>
                        <a:rPr sz="850" spc="-30">
                          <a:latin typeface="ABBvoice"/>
                          <a:cs typeface="ABBvoice"/>
                        </a:rPr>
                        <a:t> </a:t>
                      </a:r>
                      <a:r>
                        <a:rPr sz="850" spc="-10">
                          <a:latin typeface="ABBvoice"/>
                          <a:cs typeface="ABBvoice"/>
                        </a:rPr>
                        <a:t>Energy</a:t>
                      </a:r>
                      <a:r>
                        <a:rPr sz="850" spc="40">
                          <a:latin typeface="ABBvoice"/>
                          <a:cs typeface="ABBvoice"/>
                        </a:rPr>
                        <a:t> </a:t>
                      </a:r>
                      <a:r>
                        <a:rPr sz="850" spc="-10">
                          <a:latin typeface="ABBvoice"/>
                          <a:cs typeface="ABBvoice"/>
                        </a:rPr>
                        <a:t>Efficieny</a:t>
                      </a:r>
                      <a:r>
                        <a:rPr sz="850">
                          <a:latin typeface="ABBvoice"/>
                          <a:cs typeface="ABBvoice"/>
                        </a:rPr>
                        <a:t> in</a:t>
                      </a:r>
                      <a:r>
                        <a:rPr sz="850" spc="-25">
                          <a:latin typeface="ABBvoice"/>
                          <a:cs typeface="ABBvoice"/>
                        </a:rPr>
                        <a:t> </a:t>
                      </a:r>
                      <a:r>
                        <a:rPr sz="850" spc="-10">
                          <a:latin typeface="ABBvoice"/>
                          <a:cs typeface="ABBvoice"/>
                        </a:rPr>
                        <a:t>buildings</a:t>
                      </a:r>
                      <a:r>
                        <a:rPr sz="850" spc="-85">
                          <a:latin typeface="ABBvoice"/>
                          <a:cs typeface="ABBvoice"/>
                        </a:rPr>
                        <a:t> </a:t>
                      </a:r>
                      <a:r>
                        <a:rPr sz="850" spc="-10">
                          <a:latin typeface="ABBvoice"/>
                          <a:cs typeface="ABBvoice"/>
                        </a:rPr>
                        <a:t>and</a:t>
                      </a:r>
                      <a:r>
                        <a:rPr sz="850" spc="-30">
                          <a:latin typeface="ABBvoice"/>
                          <a:cs typeface="ABBvoice"/>
                        </a:rPr>
                        <a:t> </a:t>
                      </a:r>
                      <a:r>
                        <a:rPr sz="850" spc="-10">
                          <a:latin typeface="ABBvoice"/>
                          <a:cs typeface="ABBvoice"/>
                        </a:rPr>
                        <a:t>hospitals.</a:t>
                      </a:r>
                      <a:endParaRPr sz="850">
                        <a:latin typeface="ABBvoice"/>
                        <a:cs typeface="ABBvoice"/>
                      </a:endParaRPr>
                    </a:p>
                    <a:p>
                      <a:pPr marL="67945" marR="168910">
                        <a:lnSpc>
                          <a:spcPct val="97300"/>
                        </a:lnSpc>
                        <a:spcBef>
                          <a:spcPts val="620"/>
                        </a:spcBef>
                      </a:pPr>
                      <a:r>
                        <a:rPr sz="850" b="1" spc="-20">
                          <a:latin typeface="ABBvoice"/>
                          <a:cs typeface="ABBvoice"/>
                        </a:rPr>
                        <a:t>2008</a:t>
                      </a:r>
                      <a:r>
                        <a:rPr sz="850" b="1" spc="15">
                          <a:latin typeface="ABBvoice"/>
                          <a:cs typeface="ABBvoice"/>
                        </a:rPr>
                        <a:t> </a:t>
                      </a:r>
                      <a:r>
                        <a:rPr sz="850" spc="-20">
                          <a:latin typeface="ABBvoice"/>
                          <a:cs typeface="ABBvoice"/>
                        </a:rPr>
                        <a:t>ACS880</a:t>
                      </a:r>
                      <a:r>
                        <a:rPr sz="850" spc="-30">
                          <a:latin typeface="ABBvoice"/>
                          <a:cs typeface="ABBvoice"/>
                        </a:rPr>
                        <a:t> </a:t>
                      </a:r>
                      <a:r>
                        <a:rPr sz="850" spc="-10">
                          <a:latin typeface="ABBvoice"/>
                          <a:cs typeface="ABBvoice"/>
                        </a:rPr>
                        <a:t>Active Front-</a:t>
                      </a:r>
                      <a:r>
                        <a:rPr sz="850" spc="-20">
                          <a:latin typeface="ABBvoice"/>
                          <a:cs typeface="ABBvoice"/>
                        </a:rPr>
                        <a:t>End</a:t>
                      </a:r>
                      <a:r>
                        <a:rPr sz="850" spc="-60">
                          <a:latin typeface="ABBvoice"/>
                          <a:cs typeface="ABBvoice"/>
                        </a:rPr>
                        <a:t> </a:t>
                      </a:r>
                      <a:r>
                        <a:rPr sz="850" spc="-10">
                          <a:latin typeface="ABBvoice"/>
                          <a:cs typeface="ABBvoice"/>
                        </a:rPr>
                        <a:t>drives</a:t>
                      </a:r>
                      <a:r>
                        <a:rPr sz="850" spc="-35">
                          <a:latin typeface="ABBvoice"/>
                          <a:cs typeface="ABBvoice"/>
                        </a:rPr>
                        <a:t> </a:t>
                      </a:r>
                      <a:r>
                        <a:rPr sz="850" spc="-25">
                          <a:latin typeface="ABBvoice"/>
                          <a:cs typeface="ABBvoice"/>
                        </a:rPr>
                        <a:t>for</a:t>
                      </a:r>
                      <a:r>
                        <a:rPr sz="850" spc="500">
                          <a:latin typeface="ABBvoice"/>
                          <a:cs typeface="ABBvoice"/>
                        </a:rPr>
                        <a:t> </a:t>
                      </a:r>
                      <a:r>
                        <a:rPr sz="850" spc="-10">
                          <a:latin typeface="ABBvoice"/>
                          <a:cs typeface="ABBvoice"/>
                        </a:rPr>
                        <a:t>Ultra-</a:t>
                      </a:r>
                      <a:r>
                        <a:rPr sz="850" spc="-20">
                          <a:latin typeface="ABBvoice"/>
                          <a:cs typeface="ABBvoice"/>
                        </a:rPr>
                        <a:t>Low</a:t>
                      </a:r>
                      <a:r>
                        <a:rPr sz="850" spc="-30">
                          <a:latin typeface="ABBvoice"/>
                          <a:cs typeface="ABBvoice"/>
                        </a:rPr>
                        <a:t> </a:t>
                      </a:r>
                      <a:r>
                        <a:rPr sz="850" spc="-20">
                          <a:latin typeface="ABBvoice"/>
                          <a:cs typeface="ABBvoice"/>
                        </a:rPr>
                        <a:t>harmonics.</a:t>
                      </a:r>
                      <a:r>
                        <a:rPr sz="850" spc="-40">
                          <a:latin typeface="ABBvoice"/>
                          <a:cs typeface="ABBvoice"/>
                        </a:rPr>
                        <a:t> </a:t>
                      </a:r>
                      <a:r>
                        <a:rPr sz="850" spc="-10">
                          <a:latin typeface="ABBvoice"/>
                          <a:cs typeface="ABBvoice"/>
                        </a:rPr>
                        <a:t>With</a:t>
                      </a:r>
                      <a:r>
                        <a:rPr sz="850" spc="-5">
                          <a:latin typeface="ABBvoice"/>
                          <a:cs typeface="ABBvoice"/>
                        </a:rPr>
                        <a:t> </a:t>
                      </a:r>
                      <a:r>
                        <a:rPr sz="850" spc="-10">
                          <a:latin typeface="ABBvoice"/>
                          <a:cs typeface="ABBvoice"/>
                        </a:rPr>
                        <a:t>this</a:t>
                      </a:r>
                      <a:r>
                        <a:rPr sz="850" spc="10">
                          <a:latin typeface="ABBvoice"/>
                          <a:cs typeface="ABBvoice"/>
                        </a:rPr>
                        <a:t> </a:t>
                      </a:r>
                      <a:r>
                        <a:rPr sz="850" spc="-10">
                          <a:latin typeface="ABBvoice"/>
                          <a:cs typeface="ABBvoice"/>
                        </a:rPr>
                        <a:t>technology,</a:t>
                      </a:r>
                      <a:r>
                        <a:rPr sz="850" spc="500">
                          <a:latin typeface="ABBvoice"/>
                          <a:cs typeface="ABBvoice"/>
                        </a:rPr>
                        <a:t> </a:t>
                      </a:r>
                      <a:r>
                        <a:rPr sz="850" spc="-20">
                          <a:latin typeface="ABBvoice"/>
                          <a:cs typeface="ABBvoice"/>
                        </a:rPr>
                        <a:t>ABB</a:t>
                      </a:r>
                      <a:r>
                        <a:rPr sz="850" spc="-15">
                          <a:latin typeface="ABBvoice"/>
                          <a:cs typeface="ABBvoice"/>
                        </a:rPr>
                        <a:t> </a:t>
                      </a:r>
                      <a:r>
                        <a:rPr sz="850" spc="-10">
                          <a:latin typeface="ABBvoice"/>
                          <a:cs typeface="ABBvoice"/>
                        </a:rPr>
                        <a:t>kept</a:t>
                      </a:r>
                      <a:r>
                        <a:rPr sz="850" spc="10">
                          <a:latin typeface="ABBvoice"/>
                          <a:cs typeface="ABBvoice"/>
                        </a:rPr>
                        <a:t> </a:t>
                      </a:r>
                      <a:r>
                        <a:rPr sz="850" spc="-20">
                          <a:latin typeface="ABBvoice"/>
                          <a:cs typeface="ABBvoice"/>
                        </a:rPr>
                        <a:t>power </a:t>
                      </a:r>
                      <a:r>
                        <a:rPr sz="850" spc="-10">
                          <a:latin typeface="ABBvoice"/>
                          <a:cs typeface="ABBvoice"/>
                        </a:rPr>
                        <a:t>grids</a:t>
                      </a:r>
                      <a:r>
                        <a:rPr sz="850" spc="-20">
                          <a:latin typeface="ABBvoice"/>
                          <a:cs typeface="ABBvoice"/>
                        </a:rPr>
                        <a:t> </a:t>
                      </a:r>
                      <a:r>
                        <a:rPr sz="850" spc="-10">
                          <a:latin typeface="ABBvoice"/>
                          <a:cs typeface="ABBvoice"/>
                        </a:rPr>
                        <a:t>clean</a:t>
                      </a:r>
                      <a:r>
                        <a:rPr sz="850" spc="-45">
                          <a:latin typeface="ABBvoice"/>
                          <a:cs typeface="ABBvoice"/>
                        </a:rPr>
                        <a:t> </a:t>
                      </a:r>
                      <a:r>
                        <a:rPr sz="850" spc="-10">
                          <a:latin typeface="ABBvoice"/>
                          <a:cs typeface="ABBvoice"/>
                        </a:rPr>
                        <a:t>and</a:t>
                      </a:r>
                      <a:r>
                        <a:rPr sz="850" spc="-25">
                          <a:latin typeface="ABBvoice"/>
                          <a:cs typeface="ABBvoice"/>
                        </a:rPr>
                        <a:t> </a:t>
                      </a:r>
                      <a:r>
                        <a:rPr sz="850" spc="-10">
                          <a:latin typeface="ABBvoice"/>
                          <a:cs typeface="ABBvoice"/>
                        </a:rPr>
                        <a:t>providing</a:t>
                      </a:r>
                      <a:r>
                        <a:rPr sz="850" spc="500">
                          <a:latin typeface="ABBvoice"/>
                          <a:cs typeface="ABBvoice"/>
                        </a:rPr>
                        <a:t> </a:t>
                      </a:r>
                      <a:r>
                        <a:rPr sz="850" spc="-10">
                          <a:latin typeface="ABBvoice"/>
                          <a:cs typeface="ABBvoice"/>
                        </a:rPr>
                        <a:t>outstanding</a:t>
                      </a:r>
                      <a:r>
                        <a:rPr sz="850" spc="-80">
                          <a:latin typeface="ABBvoice"/>
                          <a:cs typeface="ABBvoice"/>
                        </a:rPr>
                        <a:t> </a:t>
                      </a:r>
                      <a:r>
                        <a:rPr sz="850" spc="-10">
                          <a:latin typeface="ABBvoice"/>
                          <a:cs typeface="ABBvoice"/>
                        </a:rPr>
                        <a:t>motor</a:t>
                      </a:r>
                      <a:r>
                        <a:rPr sz="850" spc="-35">
                          <a:latin typeface="ABBvoice"/>
                          <a:cs typeface="ABBvoice"/>
                        </a:rPr>
                        <a:t> </a:t>
                      </a:r>
                      <a:r>
                        <a:rPr sz="850" spc="-10">
                          <a:latin typeface="ABBvoice"/>
                          <a:cs typeface="ABBvoice"/>
                        </a:rPr>
                        <a:t>performance!</a:t>
                      </a:r>
                      <a:endParaRPr sz="850">
                        <a:latin typeface="ABBvoice"/>
                        <a:cs typeface="ABBvoice"/>
                      </a:endParaRPr>
                    </a:p>
                    <a:p>
                      <a:pPr marL="67945" marR="177800">
                        <a:lnSpc>
                          <a:spcPct val="97300"/>
                        </a:lnSpc>
                        <a:spcBef>
                          <a:spcPts val="615"/>
                        </a:spcBef>
                      </a:pPr>
                      <a:r>
                        <a:rPr sz="850" b="1" spc="-10">
                          <a:latin typeface="ABBvoice"/>
                          <a:cs typeface="ABBvoice"/>
                        </a:rPr>
                        <a:t>2019</a:t>
                      </a:r>
                      <a:r>
                        <a:rPr sz="850" b="1">
                          <a:latin typeface="ABBvoice"/>
                          <a:cs typeface="ABBvoice"/>
                        </a:rPr>
                        <a:t> </a:t>
                      </a:r>
                      <a:r>
                        <a:rPr sz="850" spc="-10">
                          <a:latin typeface="ABBvoice"/>
                          <a:cs typeface="ABBvoice"/>
                        </a:rPr>
                        <a:t>Drives</a:t>
                      </a:r>
                      <a:r>
                        <a:rPr sz="850" spc="-45">
                          <a:latin typeface="ABBvoice"/>
                          <a:cs typeface="ABBvoice"/>
                        </a:rPr>
                        <a:t> </a:t>
                      </a:r>
                      <a:r>
                        <a:rPr sz="850" spc="-10">
                          <a:latin typeface="ABBvoice"/>
                          <a:cs typeface="ABBvoice"/>
                        </a:rPr>
                        <a:t>awarded</a:t>
                      </a:r>
                      <a:r>
                        <a:rPr sz="850" spc="-25">
                          <a:latin typeface="ABBvoice"/>
                          <a:cs typeface="ABBvoice"/>
                        </a:rPr>
                        <a:t> </a:t>
                      </a:r>
                      <a:r>
                        <a:rPr sz="850">
                          <a:latin typeface="ABBvoice"/>
                          <a:cs typeface="ABBvoice"/>
                        </a:rPr>
                        <a:t>a</a:t>
                      </a:r>
                      <a:r>
                        <a:rPr sz="850" spc="15">
                          <a:latin typeface="ABBvoice"/>
                          <a:cs typeface="ABBvoice"/>
                        </a:rPr>
                        <a:t> </a:t>
                      </a:r>
                      <a:r>
                        <a:rPr sz="850" spc="-10">
                          <a:latin typeface="ABBvoice"/>
                          <a:cs typeface="ABBvoice"/>
                        </a:rPr>
                        <a:t>contract</a:t>
                      </a:r>
                      <a:r>
                        <a:rPr sz="850" spc="-65">
                          <a:latin typeface="ABBvoice"/>
                          <a:cs typeface="ABBvoice"/>
                        </a:rPr>
                        <a:t> </a:t>
                      </a:r>
                      <a:r>
                        <a:rPr sz="850" spc="-20">
                          <a:latin typeface="ABBvoice"/>
                          <a:cs typeface="ABBvoice"/>
                        </a:rPr>
                        <a:t>with</a:t>
                      </a:r>
                      <a:r>
                        <a:rPr sz="850" spc="500">
                          <a:latin typeface="ABBvoice"/>
                          <a:cs typeface="ABBvoice"/>
                        </a:rPr>
                        <a:t> </a:t>
                      </a:r>
                      <a:r>
                        <a:rPr sz="850" spc="-10">
                          <a:latin typeface="ABBvoice"/>
                          <a:cs typeface="ABBvoice"/>
                        </a:rPr>
                        <a:t>Metrolinx</a:t>
                      </a:r>
                      <a:r>
                        <a:rPr sz="850" spc="-45">
                          <a:latin typeface="ABBvoice"/>
                          <a:cs typeface="ABBvoice"/>
                        </a:rPr>
                        <a:t> </a:t>
                      </a:r>
                      <a:r>
                        <a:rPr sz="850">
                          <a:latin typeface="ABBvoice"/>
                          <a:cs typeface="ABBvoice"/>
                        </a:rPr>
                        <a:t>to </a:t>
                      </a:r>
                      <a:r>
                        <a:rPr sz="850" spc="-10">
                          <a:latin typeface="ABBvoice"/>
                          <a:cs typeface="ABBvoice"/>
                        </a:rPr>
                        <a:t>expand</a:t>
                      </a:r>
                      <a:r>
                        <a:rPr sz="850" spc="-45">
                          <a:latin typeface="ABBvoice"/>
                          <a:cs typeface="ABBvoice"/>
                        </a:rPr>
                        <a:t> </a:t>
                      </a:r>
                      <a:r>
                        <a:rPr sz="850" spc="-10">
                          <a:latin typeface="ABBvoice"/>
                          <a:cs typeface="ABBvoice"/>
                        </a:rPr>
                        <a:t>Toronto's</a:t>
                      </a:r>
                      <a:r>
                        <a:rPr sz="850" spc="-70">
                          <a:latin typeface="ABBvoice"/>
                          <a:cs typeface="ABBvoice"/>
                        </a:rPr>
                        <a:t> </a:t>
                      </a:r>
                      <a:r>
                        <a:rPr sz="850" spc="-10">
                          <a:latin typeface="ABBvoice"/>
                          <a:cs typeface="ABBvoice"/>
                        </a:rPr>
                        <a:t>Light</a:t>
                      </a:r>
                      <a:r>
                        <a:rPr sz="850" spc="-30">
                          <a:latin typeface="ABBvoice"/>
                          <a:cs typeface="ABBvoice"/>
                        </a:rPr>
                        <a:t> </a:t>
                      </a:r>
                      <a:r>
                        <a:rPr sz="850" spc="-20">
                          <a:latin typeface="ABBvoice"/>
                          <a:cs typeface="ABBvoice"/>
                        </a:rPr>
                        <a:t>Rail</a:t>
                      </a:r>
                      <a:r>
                        <a:rPr sz="850" spc="500">
                          <a:latin typeface="ABBvoice"/>
                          <a:cs typeface="ABBvoice"/>
                        </a:rPr>
                        <a:t> </a:t>
                      </a:r>
                      <a:r>
                        <a:rPr sz="850" spc="-10">
                          <a:latin typeface="ABBvoice"/>
                          <a:cs typeface="ABBvoice"/>
                        </a:rPr>
                        <a:t>Transit</a:t>
                      </a:r>
                      <a:r>
                        <a:rPr sz="850" spc="-65">
                          <a:latin typeface="ABBvoice"/>
                          <a:cs typeface="ABBvoice"/>
                        </a:rPr>
                        <a:t> </a:t>
                      </a:r>
                      <a:r>
                        <a:rPr sz="850" spc="-10">
                          <a:latin typeface="ABBvoice"/>
                          <a:cs typeface="ABBvoice"/>
                        </a:rPr>
                        <a:t>system</a:t>
                      </a:r>
                      <a:r>
                        <a:rPr sz="850" spc="-35">
                          <a:latin typeface="ABBvoice"/>
                          <a:cs typeface="ABBvoice"/>
                        </a:rPr>
                        <a:t> </a:t>
                      </a:r>
                      <a:r>
                        <a:rPr sz="850" spc="-10">
                          <a:latin typeface="ABBvoice"/>
                          <a:cs typeface="ABBvoice"/>
                        </a:rPr>
                        <a:t>that</a:t>
                      </a:r>
                      <a:r>
                        <a:rPr sz="850" spc="-40">
                          <a:latin typeface="ABBvoice"/>
                          <a:cs typeface="ABBvoice"/>
                        </a:rPr>
                        <a:t> </a:t>
                      </a:r>
                      <a:r>
                        <a:rPr sz="850" spc="-10">
                          <a:latin typeface="ABBvoice"/>
                          <a:cs typeface="ABBvoice"/>
                        </a:rPr>
                        <a:t>will</a:t>
                      </a:r>
                      <a:r>
                        <a:rPr sz="850" spc="-45">
                          <a:latin typeface="ABBvoice"/>
                          <a:cs typeface="ABBvoice"/>
                        </a:rPr>
                        <a:t> </a:t>
                      </a:r>
                      <a:r>
                        <a:rPr sz="850">
                          <a:latin typeface="ABBvoice"/>
                          <a:cs typeface="ABBvoice"/>
                        </a:rPr>
                        <a:t>be</a:t>
                      </a:r>
                      <a:r>
                        <a:rPr sz="850" spc="15">
                          <a:latin typeface="ABBvoice"/>
                          <a:cs typeface="ABBvoice"/>
                        </a:rPr>
                        <a:t> </a:t>
                      </a:r>
                      <a:r>
                        <a:rPr sz="850" spc="-20">
                          <a:latin typeface="ABBvoice"/>
                          <a:cs typeface="ABBvoice"/>
                        </a:rPr>
                        <a:t>60%</a:t>
                      </a:r>
                      <a:r>
                        <a:rPr sz="850" spc="-25">
                          <a:latin typeface="ABBvoice"/>
                          <a:cs typeface="ABBvoice"/>
                        </a:rPr>
                        <a:t> </a:t>
                      </a:r>
                      <a:r>
                        <a:rPr sz="850" spc="-10">
                          <a:latin typeface="ABBvoice"/>
                          <a:cs typeface="ABBvoice"/>
                        </a:rPr>
                        <a:t>faster</a:t>
                      </a:r>
                      <a:r>
                        <a:rPr sz="850" spc="-50">
                          <a:latin typeface="ABBvoice"/>
                          <a:cs typeface="ABBvoice"/>
                        </a:rPr>
                        <a:t> </a:t>
                      </a:r>
                      <a:r>
                        <a:rPr sz="850" spc="-20">
                          <a:latin typeface="ABBvoice"/>
                          <a:cs typeface="ABBvoice"/>
                        </a:rPr>
                        <a:t>than</a:t>
                      </a:r>
                      <a:r>
                        <a:rPr sz="850" spc="500">
                          <a:latin typeface="ABBvoice"/>
                          <a:cs typeface="ABBvoice"/>
                        </a:rPr>
                        <a:t> </a:t>
                      </a:r>
                      <a:r>
                        <a:rPr sz="850" spc="-10">
                          <a:latin typeface="ABBvoice"/>
                          <a:cs typeface="ABBvoice"/>
                        </a:rPr>
                        <a:t>current</a:t>
                      </a:r>
                      <a:r>
                        <a:rPr sz="850" spc="-25">
                          <a:latin typeface="ABBvoice"/>
                          <a:cs typeface="ABBvoice"/>
                        </a:rPr>
                        <a:t> </a:t>
                      </a:r>
                      <a:r>
                        <a:rPr sz="850" spc="-10">
                          <a:latin typeface="ABBvoice"/>
                          <a:cs typeface="ABBvoice"/>
                        </a:rPr>
                        <a:t>travel</a:t>
                      </a:r>
                      <a:r>
                        <a:rPr sz="850" spc="-50">
                          <a:latin typeface="ABBvoice"/>
                          <a:cs typeface="ABBvoice"/>
                        </a:rPr>
                        <a:t> </a:t>
                      </a:r>
                      <a:r>
                        <a:rPr sz="850" spc="-10">
                          <a:latin typeface="ABBvoice"/>
                          <a:cs typeface="ABBvoice"/>
                        </a:rPr>
                        <a:t>times</a:t>
                      </a:r>
                      <a:endParaRPr sz="850">
                        <a:latin typeface="ABBvoice"/>
                        <a:cs typeface="ABBvoice"/>
                      </a:endParaRPr>
                    </a:p>
                  </a:txBody>
                  <a:tcPr marL="0" marR="0" marT="29209" marB="0">
                    <a:lnL w="12700">
                      <a:solidFill>
                        <a:srgbClr val="000000"/>
                      </a:solidFill>
                      <a:prstDash val="solid"/>
                    </a:lnL>
                    <a:lnR w="12700">
                      <a:solidFill>
                        <a:srgbClr val="000000"/>
                      </a:solidFill>
                      <a:prstDash val="solid"/>
                    </a:lnR>
                    <a:lnT w="12700">
                      <a:solidFill>
                        <a:srgbClr val="000000"/>
                      </a:solidFill>
                      <a:prstDash val="solid"/>
                    </a:lnT>
                  </a:tcPr>
                </a:tc>
                <a:tc>
                  <a:txBody>
                    <a:bodyPr/>
                    <a:lstStyle/>
                    <a:p>
                      <a:pPr marL="67945" marR="278765">
                        <a:lnSpc>
                          <a:spcPct val="97600"/>
                        </a:lnSpc>
                        <a:spcBef>
                          <a:spcPts val="215"/>
                        </a:spcBef>
                      </a:pPr>
                      <a:r>
                        <a:rPr sz="850" b="1" spc="-10">
                          <a:latin typeface="ABBvoice"/>
                          <a:cs typeface="ABBvoice"/>
                        </a:rPr>
                        <a:t>1994 </a:t>
                      </a:r>
                      <a:r>
                        <a:rPr sz="850" spc="-10">
                          <a:latin typeface="ABBvoice"/>
                          <a:cs typeface="ABBvoice"/>
                        </a:rPr>
                        <a:t>Ford</a:t>
                      </a:r>
                      <a:r>
                        <a:rPr sz="850" spc="-20">
                          <a:latin typeface="ABBvoice"/>
                          <a:cs typeface="ABBvoice"/>
                        </a:rPr>
                        <a:t> </a:t>
                      </a:r>
                      <a:r>
                        <a:rPr sz="850" spc="-10">
                          <a:latin typeface="ABBvoice"/>
                          <a:cs typeface="ABBvoice"/>
                        </a:rPr>
                        <a:t>Motor</a:t>
                      </a:r>
                      <a:r>
                        <a:rPr sz="850" spc="-45">
                          <a:latin typeface="ABBvoice"/>
                          <a:cs typeface="ABBvoice"/>
                        </a:rPr>
                        <a:t> </a:t>
                      </a:r>
                      <a:r>
                        <a:rPr sz="850" spc="-10">
                          <a:latin typeface="ABBvoice"/>
                          <a:cs typeface="ABBvoice"/>
                        </a:rPr>
                        <a:t>Co.</a:t>
                      </a:r>
                      <a:r>
                        <a:rPr sz="850" spc="-20">
                          <a:latin typeface="ABBvoice"/>
                          <a:cs typeface="ABBvoice"/>
                        </a:rPr>
                        <a:t> </a:t>
                      </a:r>
                      <a:r>
                        <a:rPr sz="850" spc="-10">
                          <a:latin typeface="ABBvoice"/>
                          <a:cs typeface="ABBvoice"/>
                        </a:rPr>
                        <a:t>Ltd.</a:t>
                      </a:r>
                      <a:r>
                        <a:rPr sz="850" spc="-20">
                          <a:latin typeface="ABBvoice"/>
                          <a:cs typeface="ABBvoice"/>
                        </a:rPr>
                        <a:t> Awards major</a:t>
                      </a:r>
                      <a:r>
                        <a:rPr sz="850" spc="500">
                          <a:latin typeface="ABBvoice"/>
                          <a:cs typeface="ABBvoice"/>
                        </a:rPr>
                        <a:t> </a:t>
                      </a:r>
                      <a:r>
                        <a:rPr sz="850" spc="-10">
                          <a:latin typeface="ABBvoice"/>
                          <a:cs typeface="ABBvoice"/>
                        </a:rPr>
                        <a:t>contract</a:t>
                      </a:r>
                      <a:r>
                        <a:rPr sz="850" spc="-70">
                          <a:latin typeface="ABBvoice"/>
                          <a:cs typeface="ABBvoice"/>
                        </a:rPr>
                        <a:t> </a:t>
                      </a:r>
                      <a:r>
                        <a:rPr sz="850">
                          <a:latin typeface="ABBvoice"/>
                          <a:cs typeface="ABBvoice"/>
                        </a:rPr>
                        <a:t>to</a:t>
                      </a:r>
                      <a:r>
                        <a:rPr sz="850" spc="5">
                          <a:latin typeface="ABBvoice"/>
                          <a:cs typeface="ABBvoice"/>
                        </a:rPr>
                        <a:t> </a:t>
                      </a:r>
                      <a:r>
                        <a:rPr sz="850" spc="-20">
                          <a:latin typeface="ABBvoice"/>
                          <a:cs typeface="ABBvoice"/>
                        </a:rPr>
                        <a:t>ABB </a:t>
                      </a:r>
                      <a:r>
                        <a:rPr sz="850">
                          <a:latin typeface="ABBvoice"/>
                          <a:cs typeface="ABBvoice"/>
                        </a:rPr>
                        <a:t>to</a:t>
                      </a:r>
                      <a:r>
                        <a:rPr sz="850" spc="-20">
                          <a:latin typeface="ABBvoice"/>
                          <a:cs typeface="ABBvoice"/>
                        </a:rPr>
                        <a:t> </a:t>
                      </a:r>
                      <a:r>
                        <a:rPr sz="850" spc="-10">
                          <a:latin typeface="ABBvoice"/>
                          <a:cs typeface="ABBvoice"/>
                        </a:rPr>
                        <a:t>provide</a:t>
                      </a:r>
                      <a:r>
                        <a:rPr sz="850" spc="-65">
                          <a:latin typeface="ABBvoice"/>
                          <a:cs typeface="ABBvoice"/>
                        </a:rPr>
                        <a:t> </a:t>
                      </a:r>
                      <a:r>
                        <a:rPr sz="850" spc="-10">
                          <a:latin typeface="ABBvoice"/>
                          <a:cs typeface="ABBvoice"/>
                        </a:rPr>
                        <a:t>sophisticated</a:t>
                      </a:r>
                      <a:r>
                        <a:rPr sz="850" spc="500">
                          <a:latin typeface="ABBvoice"/>
                          <a:cs typeface="ABBvoice"/>
                        </a:rPr>
                        <a:t> </a:t>
                      </a:r>
                      <a:r>
                        <a:rPr sz="850" spc="-10">
                          <a:latin typeface="ABBvoice"/>
                          <a:cs typeface="ABBvoice"/>
                        </a:rPr>
                        <a:t>robot</a:t>
                      </a:r>
                      <a:r>
                        <a:rPr sz="850" spc="-20">
                          <a:latin typeface="ABBvoice"/>
                          <a:cs typeface="ABBvoice"/>
                        </a:rPr>
                        <a:t> </a:t>
                      </a:r>
                      <a:r>
                        <a:rPr sz="850" spc="-10">
                          <a:latin typeface="ABBvoice"/>
                          <a:cs typeface="ABBvoice"/>
                        </a:rPr>
                        <a:t>systems</a:t>
                      </a:r>
                      <a:endParaRPr sz="850">
                        <a:latin typeface="ABBvoice"/>
                        <a:cs typeface="ABBvoice"/>
                      </a:endParaRPr>
                    </a:p>
                    <a:p>
                      <a:pPr marL="67945" marR="73025">
                        <a:lnSpc>
                          <a:spcPct val="97600"/>
                        </a:lnSpc>
                        <a:spcBef>
                          <a:spcPts val="610"/>
                        </a:spcBef>
                      </a:pPr>
                      <a:r>
                        <a:rPr sz="850" b="1">
                          <a:latin typeface="ABBvoice"/>
                          <a:cs typeface="ABBvoice"/>
                        </a:rPr>
                        <a:t>1999</a:t>
                      </a:r>
                      <a:r>
                        <a:rPr sz="850" b="1" spc="-10">
                          <a:latin typeface="ABBvoice"/>
                          <a:cs typeface="ABBvoice"/>
                        </a:rPr>
                        <a:t> </a:t>
                      </a:r>
                      <a:r>
                        <a:rPr sz="850" spc="-20">
                          <a:latin typeface="ABBvoice"/>
                          <a:cs typeface="ABBvoice"/>
                        </a:rPr>
                        <a:t>ABB </a:t>
                      </a:r>
                      <a:r>
                        <a:rPr sz="850" spc="-10">
                          <a:latin typeface="ABBvoice"/>
                          <a:cs typeface="ABBvoice"/>
                        </a:rPr>
                        <a:t>robotics</a:t>
                      </a:r>
                      <a:r>
                        <a:rPr sz="850" spc="-85">
                          <a:latin typeface="ABBvoice"/>
                          <a:cs typeface="ABBvoice"/>
                        </a:rPr>
                        <a:t> </a:t>
                      </a:r>
                      <a:r>
                        <a:rPr sz="850" spc="-10">
                          <a:latin typeface="ABBvoice"/>
                          <a:cs typeface="ABBvoice"/>
                        </a:rPr>
                        <a:t>Canada</a:t>
                      </a:r>
                      <a:r>
                        <a:rPr sz="850" spc="-80">
                          <a:latin typeface="ABBvoice"/>
                          <a:cs typeface="ABBvoice"/>
                        </a:rPr>
                        <a:t> </a:t>
                      </a:r>
                      <a:r>
                        <a:rPr sz="850" spc="-10">
                          <a:latin typeface="ABBvoice"/>
                          <a:cs typeface="ABBvoice"/>
                        </a:rPr>
                        <a:t>develops</a:t>
                      </a:r>
                      <a:r>
                        <a:rPr sz="850" spc="500">
                          <a:latin typeface="ABBvoice"/>
                          <a:cs typeface="ABBvoice"/>
                        </a:rPr>
                        <a:t> </a:t>
                      </a:r>
                      <a:r>
                        <a:rPr sz="850" spc="-10">
                          <a:latin typeface="ABBvoice"/>
                          <a:cs typeface="ABBvoice"/>
                        </a:rPr>
                        <a:t>innovative</a:t>
                      </a:r>
                      <a:r>
                        <a:rPr sz="850" spc="-70">
                          <a:latin typeface="ABBvoice"/>
                          <a:cs typeface="ABBvoice"/>
                        </a:rPr>
                        <a:t> </a:t>
                      </a:r>
                      <a:r>
                        <a:rPr sz="850" spc="-10">
                          <a:latin typeface="ABBvoice"/>
                          <a:cs typeface="ABBvoice"/>
                        </a:rPr>
                        <a:t>process</a:t>
                      </a:r>
                      <a:r>
                        <a:rPr sz="850" spc="-60">
                          <a:latin typeface="ABBvoice"/>
                          <a:cs typeface="ABBvoice"/>
                        </a:rPr>
                        <a:t> </a:t>
                      </a:r>
                      <a:r>
                        <a:rPr sz="850">
                          <a:latin typeface="ABBvoice"/>
                          <a:cs typeface="ABBvoice"/>
                        </a:rPr>
                        <a:t>for</a:t>
                      </a:r>
                      <a:r>
                        <a:rPr sz="850" spc="-30">
                          <a:latin typeface="ABBvoice"/>
                          <a:cs typeface="ABBvoice"/>
                        </a:rPr>
                        <a:t> </a:t>
                      </a:r>
                      <a:r>
                        <a:rPr sz="850" spc="-10">
                          <a:latin typeface="ABBvoice"/>
                          <a:cs typeface="ABBvoice"/>
                        </a:rPr>
                        <a:t>welding/processing</a:t>
                      </a:r>
                      <a:r>
                        <a:rPr sz="850" spc="500">
                          <a:latin typeface="ABBvoice"/>
                          <a:cs typeface="ABBvoice"/>
                        </a:rPr>
                        <a:t> </a:t>
                      </a:r>
                      <a:r>
                        <a:rPr sz="850" spc="-10">
                          <a:latin typeface="ABBvoice"/>
                          <a:cs typeface="ABBvoice"/>
                        </a:rPr>
                        <a:t>plastic</a:t>
                      </a:r>
                      <a:r>
                        <a:rPr sz="850" spc="-70">
                          <a:latin typeface="ABBvoice"/>
                          <a:cs typeface="ABBvoice"/>
                        </a:rPr>
                        <a:t> </a:t>
                      </a:r>
                      <a:r>
                        <a:rPr sz="850" spc="-10">
                          <a:latin typeface="ABBvoice"/>
                          <a:cs typeface="ABBvoice"/>
                        </a:rPr>
                        <a:t>gas</a:t>
                      </a:r>
                      <a:r>
                        <a:rPr sz="850" spc="-20">
                          <a:latin typeface="ABBvoice"/>
                          <a:cs typeface="ABBvoice"/>
                        </a:rPr>
                        <a:t> </a:t>
                      </a:r>
                      <a:r>
                        <a:rPr sz="850" spc="-10">
                          <a:latin typeface="ABBvoice"/>
                          <a:cs typeface="ABBvoice"/>
                        </a:rPr>
                        <a:t>tanks</a:t>
                      </a:r>
                      <a:r>
                        <a:rPr sz="850" spc="-40">
                          <a:latin typeface="ABBvoice"/>
                          <a:cs typeface="ABBvoice"/>
                        </a:rPr>
                        <a:t> </a:t>
                      </a:r>
                      <a:r>
                        <a:rPr sz="850">
                          <a:latin typeface="ABBvoice"/>
                          <a:cs typeface="ABBvoice"/>
                        </a:rPr>
                        <a:t>for</a:t>
                      </a:r>
                      <a:r>
                        <a:rPr sz="850" spc="-15">
                          <a:latin typeface="ABBvoice"/>
                          <a:cs typeface="ABBvoice"/>
                        </a:rPr>
                        <a:t> </a:t>
                      </a:r>
                      <a:r>
                        <a:rPr sz="850">
                          <a:latin typeface="ABBvoice"/>
                          <a:cs typeface="ABBvoice"/>
                        </a:rPr>
                        <a:t>the</a:t>
                      </a:r>
                      <a:r>
                        <a:rPr sz="850" spc="5">
                          <a:latin typeface="ABBvoice"/>
                          <a:cs typeface="ABBvoice"/>
                        </a:rPr>
                        <a:t> </a:t>
                      </a:r>
                      <a:r>
                        <a:rPr sz="850" spc="-20">
                          <a:latin typeface="ABBvoice"/>
                          <a:cs typeface="ABBvoice"/>
                        </a:rPr>
                        <a:t>automotive</a:t>
                      </a:r>
                      <a:r>
                        <a:rPr sz="850" spc="-55">
                          <a:latin typeface="ABBvoice"/>
                          <a:cs typeface="ABBvoice"/>
                        </a:rPr>
                        <a:t> </a:t>
                      </a:r>
                      <a:r>
                        <a:rPr sz="850" spc="-10">
                          <a:latin typeface="ABBvoice"/>
                          <a:cs typeface="ABBvoice"/>
                        </a:rPr>
                        <a:t>industry</a:t>
                      </a:r>
                      <a:endParaRPr sz="850">
                        <a:latin typeface="ABBvoice"/>
                        <a:cs typeface="ABBvoice"/>
                      </a:endParaRPr>
                    </a:p>
                    <a:p>
                      <a:pPr marL="67945" marR="82550">
                        <a:lnSpc>
                          <a:spcPct val="97700"/>
                        </a:lnSpc>
                        <a:spcBef>
                          <a:spcPts val="590"/>
                        </a:spcBef>
                      </a:pPr>
                      <a:r>
                        <a:rPr sz="850" b="1" spc="-20">
                          <a:latin typeface="ABBvoice"/>
                          <a:cs typeface="ABBvoice"/>
                        </a:rPr>
                        <a:t>2003</a:t>
                      </a:r>
                      <a:r>
                        <a:rPr sz="850" b="1" spc="-10">
                          <a:latin typeface="ABBvoice"/>
                          <a:cs typeface="ABBvoice"/>
                        </a:rPr>
                        <a:t> </a:t>
                      </a:r>
                      <a:r>
                        <a:rPr sz="850" spc="-10">
                          <a:latin typeface="ABBvoice"/>
                          <a:cs typeface="ABBvoice"/>
                        </a:rPr>
                        <a:t>General</a:t>
                      </a:r>
                      <a:r>
                        <a:rPr sz="850" spc="-50">
                          <a:latin typeface="ABBvoice"/>
                          <a:cs typeface="ABBvoice"/>
                        </a:rPr>
                        <a:t> </a:t>
                      </a:r>
                      <a:r>
                        <a:rPr sz="850" spc="-10">
                          <a:latin typeface="ABBvoice"/>
                          <a:cs typeface="ABBvoice"/>
                        </a:rPr>
                        <a:t>Motors</a:t>
                      </a:r>
                      <a:r>
                        <a:rPr sz="850" spc="-85">
                          <a:latin typeface="ABBvoice"/>
                          <a:cs typeface="ABBvoice"/>
                        </a:rPr>
                        <a:t> </a:t>
                      </a:r>
                      <a:r>
                        <a:rPr sz="850" spc="-10">
                          <a:latin typeface="ABBvoice"/>
                          <a:cs typeface="ABBvoice"/>
                        </a:rPr>
                        <a:t>awards</a:t>
                      </a:r>
                      <a:r>
                        <a:rPr sz="850" spc="-30">
                          <a:latin typeface="ABBvoice"/>
                          <a:cs typeface="ABBvoice"/>
                        </a:rPr>
                        <a:t> </a:t>
                      </a:r>
                      <a:r>
                        <a:rPr sz="850" spc="-10">
                          <a:latin typeface="ABBvoice"/>
                          <a:cs typeface="ABBvoice"/>
                        </a:rPr>
                        <a:t>contract</a:t>
                      </a:r>
                      <a:r>
                        <a:rPr sz="850" spc="-65">
                          <a:latin typeface="ABBvoice"/>
                          <a:cs typeface="ABBvoice"/>
                        </a:rPr>
                        <a:t> </a:t>
                      </a:r>
                      <a:r>
                        <a:rPr sz="850">
                          <a:latin typeface="ABBvoice"/>
                          <a:cs typeface="ABBvoice"/>
                        </a:rPr>
                        <a:t>to</a:t>
                      </a:r>
                      <a:r>
                        <a:rPr sz="850" spc="-20">
                          <a:latin typeface="ABBvoice"/>
                          <a:cs typeface="ABBvoice"/>
                        </a:rPr>
                        <a:t> </a:t>
                      </a:r>
                      <a:r>
                        <a:rPr sz="850" spc="-25">
                          <a:latin typeface="ABBvoice"/>
                          <a:cs typeface="ABBvoice"/>
                        </a:rPr>
                        <a:t>ABB</a:t>
                      </a:r>
                      <a:r>
                        <a:rPr sz="850">
                          <a:latin typeface="ABBvoice"/>
                          <a:cs typeface="ABBvoice"/>
                        </a:rPr>
                        <a:t> to</a:t>
                      </a:r>
                      <a:r>
                        <a:rPr sz="850" spc="-20">
                          <a:latin typeface="ABBvoice"/>
                          <a:cs typeface="ABBvoice"/>
                        </a:rPr>
                        <a:t> </a:t>
                      </a:r>
                      <a:r>
                        <a:rPr sz="850" spc="-10">
                          <a:latin typeface="ABBvoice"/>
                          <a:cs typeface="ABBvoice"/>
                        </a:rPr>
                        <a:t>supply</a:t>
                      </a:r>
                      <a:r>
                        <a:rPr sz="850" spc="-40">
                          <a:latin typeface="ABBvoice"/>
                          <a:cs typeface="ABBvoice"/>
                        </a:rPr>
                        <a:t> </a:t>
                      </a:r>
                      <a:r>
                        <a:rPr sz="850" spc="-10">
                          <a:latin typeface="ABBvoice"/>
                          <a:cs typeface="ABBvoice"/>
                        </a:rPr>
                        <a:t>stamping</a:t>
                      </a:r>
                      <a:r>
                        <a:rPr sz="850" spc="-75">
                          <a:latin typeface="ABBvoice"/>
                          <a:cs typeface="ABBvoice"/>
                        </a:rPr>
                        <a:t> </a:t>
                      </a:r>
                      <a:r>
                        <a:rPr sz="850" spc="-10">
                          <a:latin typeface="ABBvoice"/>
                          <a:cs typeface="ABBvoice"/>
                        </a:rPr>
                        <a:t>line,</a:t>
                      </a:r>
                      <a:r>
                        <a:rPr sz="850" spc="-45">
                          <a:latin typeface="ABBvoice"/>
                          <a:cs typeface="ABBvoice"/>
                        </a:rPr>
                        <a:t> </a:t>
                      </a:r>
                      <a:r>
                        <a:rPr sz="850" spc="-10">
                          <a:latin typeface="ABBvoice"/>
                          <a:cs typeface="ABBvoice"/>
                        </a:rPr>
                        <a:t>automated</a:t>
                      </a:r>
                      <a:r>
                        <a:rPr sz="850" spc="-75">
                          <a:latin typeface="ABBvoice"/>
                          <a:cs typeface="ABBvoice"/>
                        </a:rPr>
                        <a:t> </a:t>
                      </a:r>
                      <a:r>
                        <a:rPr sz="850" spc="-25">
                          <a:latin typeface="ABBvoice"/>
                          <a:cs typeface="ABBvoice"/>
                        </a:rPr>
                        <a:t>de-</a:t>
                      </a:r>
                      <a:r>
                        <a:rPr sz="850" spc="500">
                          <a:latin typeface="ABBvoice"/>
                          <a:cs typeface="ABBvoice"/>
                        </a:rPr>
                        <a:t> </a:t>
                      </a:r>
                      <a:r>
                        <a:rPr sz="850" spc="-10">
                          <a:latin typeface="ABBvoice"/>
                          <a:cs typeface="ABBvoice"/>
                        </a:rPr>
                        <a:t>stacking</a:t>
                      </a:r>
                      <a:r>
                        <a:rPr sz="850" spc="-35">
                          <a:latin typeface="ABBvoice"/>
                          <a:cs typeface="ABBvoice"/>
                        </a:rPr>
                        <a:t> </a:t>
                      </a:r>
                      <a:r>
                        <a:rPr sz="850" spc="-20">
                          <a:latin typeface="ABBvoice"/>
                          <a:cs typeface="ABBvoice"/>
                        </a:rPr>
                        <a:t>systems,</a:t>
                      </a:r>
                      <a:r>
                        <a:rPr sz="850" spc="-10">
                          <a:latin typeface="ABBvoice"/>
                          <a:cs typeface="ABBvoice"/>
                        </a:rPr>
                        <a:t> </a:t>
                      </a:r>
                      <a:r>
                        <a:rPr sz="850" spc="-20">
                          <a:latin typeface="ABBvoice"/>
                          <a:cs typeface="ABBvoice"/>
                        </a:rPr>
                        <a:t>end-</a:t>
                      </a:r>
                      <a:r>
                        <a:rPr sz="850" spc="-10">
                          <a:latin typeface="ABBvoice"/>
                          <a:cs typeface="ABBvoice"/>
                        </a:rPr>
                        <a:t>of-line </a:t>
                      </a:r>
                      <a:r>
                        <a:rPr sz="850" spc="-20">
                          <a:latin typeface="ABBvoice"/>
                          <a:cs typeface="ABBvoice"/>
                        </a:rPr>
                        <a:t>systems</a:t>
                      </a:r>
                      <a:r>
                        <a:rPr sz="850" spc="-5">
                          <a:latin typeface="ABBvoice"/>
                          <a:cs typeface="ABBvoice"/>
                        </a:rPr>
                        <a:t> </a:t>
                      </a:r>
                      <a:r>
                        <a:rPr sz="850" spc="-25">
                          <a:latin typeface="ABBvoice"/>
                          <a:cs typeface="ABBvoice"/>
                        </a:rPr>
                        <a:t>and</a:t>
                      </a:r>
                      <a:r>
                        <a:rPr sz="850" spc="500">
                          <a:latin typeface="ABBvoice"/>
                          <a:cs typeface="ABBvoice"/>
                        </a:rPr>
                        <a:t> </a:t>
                      </a:r>
                      <a:r>
                        <a:rPr sz="850" spc="-10">
                          <a:latin typeface="ABBvoice"/>
                          <a:cs typeface="ABBvoice"/>
                        </a:rPr>
                        <a:t>robot</a:t>
                      </a:r>
                      <a:r>
                        <a:rPr sz="850" spc="-50">
                          <a:latin typeface="ABBvoice"/>
                          <a:cs typeface="ABBvoice"/>
                        </a:rPr>
                        <a:t> </a:t>
                      </a:r>
                      <a:r>
                        <a:rPr sz="850" spc="-10">
                          <a:latin typeface="ABBvoice"/>
                          <a:cs typeface="ABBvoice"/>
                        </a:rPr>
                        <a:t>integration</a:t>
                      </a:r>
                      <a:r>
                        <a:rPr sz="850" spc="-95">
                          <a:latin typeface="ABBvoice"/>
                          <a:cs typeface="ABBvoice"/>
                        </a:rPr>
                        <a:t> </a:t>
                      </a:r>
                      <a:r>
                        <a:rPr sz="850">
                          <a:latin typeface="ABBvoice"/>
                          <a:cs typeface="ABBvoice"/>
                        </a:rPr>
                        <a:t>for</a:t>
                      </a:r>
                      <a:r>
                        <a:rPr sz="850" spc="-25">
                          <a:latin typeface="ABBvoice"/>
                          <a:cs typeface="ABBvoice"/>
                        </a:rPr>
                        <a:t> </a:t>
                      </a:r>
                      <a:r>
                        <a:rPr sz="850">
                          <a:latin typeface="ABBvoice"/>
                          <a:cs typeface="ABBvoice"/>
                        </a:rPr>
                        <a:t>its</a:t>
                      </a:r>
                      <a:r>
                        <a:rPr sz="850" spc="-30">
                          <a:latin typeface="ABBvoice"/>
                          <a:cs typeface="ABBvoice"/>
                        </a:rPr>
                        <a:t> </a:t>
                      </a:r>
                      <a:r>
                        <a:rPr sz="850" spc="-10">
                          <a:latin typeface="ABBvoice"/>
                          <a:cs typeface="ABBvoice"/>
                        </a:rPr>
                        <a:t>plant</a:t>
                      </a:r>
                      <a:r>
                        <a:rPr sz="850" spc="-45">
                          <a:latin typeface="ABBvoice"/>
                          <a:cs typeface="ABBvoice"/>
                        </a:rPr>
                        <a:t> </a:t>
                      </a:r>
                      <a:r>
                        <a:rPr sz="850">
                          <a:latin typeface="ABBvoice"/>
                          <a:cs typeface="ABBvoice"/>
                        </a:rPr>
                        <a:t>in</a:t>
                      </a:r>
                      <a:r>
                        <a:rPr sz="850" spc="-5">
                          <a:latin typeface="ABBvoice"/>
                          <a:cs typeface="ABBvoice"/>
                        </a:rPr>
                        <a:t> </a:t>
                      </a:r>
                      <a:r>
                        <a:rPr sz="850" spc="-10">
                          <a:latin typeface="ABBvoice"/>
                          <a:cs typeface="ABBvoice"/>
                        </a:rPr>
                        <a:t>Lordstown,</a:t>
                      </a:r>
                      <a:r>
                        <a:rPr sz="850" spc="500">
                          <a:latin typeface="ABBvoice"/>
                          <a:cs typeface="ABBvoice"/>
                        </a:rPr>
                        <a:t> </a:t>
                      </a:r>
                      <a:r>
                        <a:rPr sz="850" spc="-20">
                          <a:latin typeface="ABBvoice"/>
                          <a:cs typeface="ABBvoice"/>
                        </a:rPr>
                        <a:t>Ohio</a:t>
                      </a:r>
                      <a:endParaRPr sz="850">
                        <a:latin typeface="ABBvoice"/>
                        <a:cs typeface="ABBvoice"/>
                      </a:endParaRPr>
                    </a:p>
                    <a:p>
                      <a:pPr marL="67945">
                        <a:lnSpc>
                          <a:spcPts val="1005"/>
                        </a:lnSpc>
                        <a:spcBef>
                          <a:spcPts val="590"/>
                        </a:spcBef>
                      </a:pPr>
                      <a:r>
                        <a:rPr sz="850" b="1">
                          <a:latin typeface="ABBvoice"/>
                          <a:cs typeface="ABBvoice"/>
                        </a:rPr>
                        <a:t>2011</a:t>
                      </a:r>
                      <a:r>
                        <a:rPr sz="850" b="1" spc="-20">
                          <a:latin typeface="ABBvoice"/>
                          <a:cs typeface="ABBvoice"/>
                        </a:rPr>
                        <a:t> </a:t>
                      </a:r>
                      <a:r>
                        <a:rPr sz="850" spc="-10">
                          <a:latin typeface="ABBvoice"/>
                          <a:cs typeface="ABBvoice"/>
                        </a:rPr>
                        <a:t>ABB</a:t>
                      </a:r>
                      <a:r>
                        <a:rPr sz="850" spc="-30">
                          <a:latin typeface="ABBvoice"/>
                          <a:cs typeface="ABBvoice"/>
                        </a:rPr>
                        <a:t> </a:t>
                      </a:r>
                      <a:r>
                        <a:rPr sz="850" spc="-10">
                          <a:latin typeface="ABBvoice"/>
                          <a:cs typeface="ABBvoice"/>
                        </a:rPr>
                        <a:t>FlexArc</a:t>
                      </a:r>
                      <a:r>
                        <a:rPr sz="850" spc="-40">
                          <a:latin typeface="ABBvoice"/>
                          <a:cs typeface="ABBvoice"/>
                        </a:rPr>
                        <a:t> </a:t>
                      </a:r>
                      <a:r>
                        <a:rPr sz="850" spc="-10">
                          <a:latin typeface="ABBvoice"/>
                          <a:cs typeface="ABBvoice"/>
                        </a:rPr>
                        <a:t>products/cells</a:t>
                      </a:r>
                      <a:r>
                        <a:rPr sz="850" spc="-90">
                          <a:latin typeface="ABBvoice"/>
                          <a:cs typeface="ABBvoice"/>
                        </a:rPr>
                        <a:t> </a:t>
                      </a:r>
                      <a:r>
                        <a:rPr sz="850" spc="-25">
                          <a:latin typeface="ABBvoice"/>
                          <a:cs typeface="ABBvoice"/>
                        </a:rPr>
                        <a:t>are</a:t>
                      </a:r>
                      <a:endParaRPr sz="850">
                        <a:latin typeface="ABBvoice"/>
                        <a:cs typeface="ABBvoice"/>
                      </a:endParaRPr>
                    </a:p>
                    <a:p>
                      <a:pPr marL="67945">
                        <a:lnSpc>
                          <a:spcPts val="1005"/>
                        </a:lnSpc>
                      </a:pPr>
                      <a:r>
                        <a:rPr sz="850" spc="-20">
                          <a:latin typeface="ABBvoice"/>
                          <a:cs typeface="ABBvoice"/>
                        </a:rPr>
                        <a:t>assembled</a:t>
                      </a:r>
                      <a:r>
                        <a:rPr sz="850" spc="-50">
                          <a:latin typeface="ABBvoice"/>
                          <a:cs typeface="ABBvoice"/>
                        </a:rPr>
                        <a:t> </a:t>
                      </a:r>
                      <a:r>
                        <a:rPr sz="850" spc="-10">
                          <a:latin typeface="ABBvoice"/>
                          <a:cs typeface="ABBvoice"/>
                        </a:rPr>
                        <a:t>and</a:t>
                      </a:r>
                      <a:r>
                        <a:rPr sz="850" spc="-15">
                          <a:latin typeface="ABBvoice"/>
                          <a:cs typeface="ABBvoice"/>
                        </a:rPr>
                        <a:t> </a:t>
                      </a:r>
                      <a:r>
                        <a:rPr sz="850" spc="-10">
                          <a:latin typeface="ABBvoice"/>
                          <a:cs typeface="ABBvoice"/>
                        </a:rPr>
                        <a:t>produced</a:t>
                      </a:r>
                      <a:r>
                        <a:rPr sz="850" spc="-45">
                          <a:latin typeface="ABBvoice"/>
                          <a:cs typeface="ABBvoice"/>
                        </a:rPr>
                        <a:t> </a:t>
                      </a:r>
                      <a:r>
                        <a:rPr sz="850">
                          <a:latin typeface="ABBvoice"/>
                          <a:cs typeface="ABBvoice"/>
                        </a:rPr>
                        <a:t>in</a:t>
                      </a:r>
                      <a:r>
                        <a:rPr sz="850" spc="-5">
                          <a:latin typeface="ABBvoice"/>
                          <a:cs typeface="ABBvoice"/>
                        </a:rPr>
                        <a:t> </a:t>
                      </a:r>
                      <a:r>
                        <a:rPr sz="850" spc="-10">
                          <a:latin typeface="ABBvoice"/>
                          <a:cs typeface="ABBvoice"/>
                        </a:rPr>
                        <a:t>Canada</a:t>
                      </a:r>
                      <a:endParaRPr sz="850">
                        <a:latin typeface="ABBvoice"/>
                        <a:cs typeface="ABBvoice"/>
                      </a:endParaRPr>
                    </a:p>
                    <a:p>
                      <a:pPr marL="67945" marR="181610">
                        <a:lnSpc>
                          <a:spcPts val="980"/>
                        </a:lnSpc>
                        <a:spcBef>
                          <a:spcPts val="650"/>
                        </a:spcBef>
                      </a:pPr>
                      <a:r>
                        <a:rPr sz="850" b="1" spc="-10">
                          <a:latin typeface="ABBvoice"/>
                          <a:cs typeface="ABBvoice"/>
                        </a:rPr>
                        <a:t>2016 </a:t>
                      </a:r>
                      <a:r>
                        <a:rPr sz="850" spc="-10">
                          <a:latin typeface="ABBvoice"/>
                          <a:cs typeface="ABBvoice"/>
                        </a:rPr>
                        <a:t>First</a:t>
                      </a:r>
                      <a:r>
                        <a:rPr sz="850" spc="-20">
                          <a:latin typeface="ABBvoice"/>
                          <a:cs typeface="ABBvoice"/>
                        </a:rPr>
                        <a:t> </a:t>
                      </a:r>
                      <a:r>
                        <a:rPr sz="850" spc="-10">
                          <a:latin typeface="ABBvoice"/>
                          <a:cs typeface="ABBvoice"/>
                        </a:rPr>
                        <a:t>truly</a:t>
                      </a:r>
                      <a:r>
                        <a:rPr sz="850" spc="-70">
                          <a:latin typeface="ABBvoice"/>
                          <a:cs typeface="ABBvoice"/>
                        </a:rPr>
                        <a:t> </a:t>
                      </a:r>
                      <a:r>
                        <a:rPr sz="850" spc="-10">
                          <a:latin typeface="ABBvoice"/>
                          <a:cs typeface="ABBvoice"/>
                        </a:rPr>
                        <a:t>collaborative</a:t>
                      </a:r>
                      <a:r>
                        <a:rPr sz="850" spc="-65">
                          <a:latin typeface="ABBvoice"/>
                          <a:cs typeface="ABBvoice"/>
                        </a:rPr>
                        <a:t> </a:t>
                      </a:r>
                      <a:r>
                        <a:rPr sz="850" spc="-10">
                          <a:latin typeface="ABBvoice"/>
                          <a:cs typeface="ABBvoice"/>
                        </a:rPr>
                        <a:t>robot</a:t>
                      </a:r>
                      <a:r>
                        <a:rPr sz="850" spc="-25">
                          <a:latin typeface="ABBvoice"/>
                          <a:cs typeface="ABBvoice"/>
                        </a:rPr>
                        <a:t> </a:t>
                      </a:r>
                      <a:r>
                        <a:rPr sz="850">
                          <a:latin typeface="ABBvoice"/>
                          <a:cs typeface="ABBvoice"/>
                        </a:rPr>
                        <a:t>–</a:t>
                      </a:r>
                      <a:r>
                        <a:rPr sz="850" spc="10">
                          <a:latin typeface="ABBvoice"/>
                          <a:cs typeface="ABBvoice"/>
                        </a:rPr>
                        <a:t> </a:t>
                      </a:r>
                      <a:r>
                        <a:rPr sz="850" spc="-10">
                          <a:latin typeface="ABBvoice"/>
                          <a:cs typeface="ABBvoice"/>
                        </a:rPr>
                        <a:t>YuMi</a:t>
                      </a:r>
                      <a:r>
                        <a:rPr sz="850" spc="-45">
                          <a:latin typeface="ABBvoice"/>
                          <a:cs typeface="ABBvoice"/>
                        </a:rPr>
                        <a:t> </a:t>
                      </a:r>
                      <a:r>
                        <a:rPr sz="850" spc="-50">
                          <a:latin typeface="ABBvoice"/>
                          <a:cs typeface="ABBvoice"/>
                        </a:rPr>
                        <a:t>-</a:t>
                      </a:r>
                      <a:r>
                        <a:rPr sz="850" spc="500">
                          <a:latin typeface="ABBvoice"/>
                          <a:cs typeface="ABBvoice"/>
                        </a:rPr>
                        <a:t> </a:t>
                      </a:r>
                      <a:r>
                        <a:rPr sz="850" spc="-10">
                          <a:latin typeface="ABBvoice"/>
                          <a:cs typeface="ABBvoice"/>
                        </a:rPr>
                        <a:t>installed</a:t>
                      </a:r>
                      <a:r>
                        <a:rPr sz="850" spc="-80">
                          <a:latin typeface="ABBvoice"/>
                          <a:cs typeface="ABBvoice"/>
                        </a:rPr>
                        <a:t> </a:t>
                      </a:r>
                      <a:r>
                        <a:rPr sz="850">
                          <a:latin typeface="ABBvoice"/>
                          <a:cs typeface="ABBvoice"/>
                        </a:rPr>
                        <a:t>in</a:t>
                      </a:r>
                      <a:r>
                        <a:rPr sz="850" spc="-20">
                          <a:latin typeface="ABBvoice"/>
                          <a:cs typeface="ABBvoice"/>
                        </a:rPr>
                        <a:t> </a:t>
                      </a:r>
                      <a:r>
                        <a:rPr sz="850" spc="-10">
                          <a:latin typeface="ABBvoice"/>
                          <a:cs typeface="ABBvoice"/>
                        </a:rPr>
                        <a:t>Canada</a:t>
                      </a:r>
                      <a:endParaRPr sz="850">
                        <a:latin typeface="ABBvoice"/>
                        <a:cs typeface="ABBvoice"/>
                      </a:endParaRPr>
                    </a:p>
                    <a:p>
                      <a:pPr marL="67945">
                        <a:lnSpc>
                          <a:spcPct val="100000"/>
                        </a:lnSpc>
                        <a:spcBef>
                          <a:spcPts val="570"/>
                        </a:spcBef>
                      </a:pPr>
                      <a:r>
                        <a:rPr sz="850" b="1" spc="-10">
                          <a:latin typeface="ABBvoice"/>
                          <a:cs typeface="ABBvoice"/>
                        </a:rPr>
                        <a:t>2017</a:t>
                      </a:r>
                      <a:r>
                        <a:rPr sz="850" b="1" spc="-20">
                          <a:latin typeface="ABBvoice"/>
                          <a:cs typeface="ABBvoice"/>
                        </a:rPr>
                        <a:t> </a:t>
                      </a:r>
                      <a:r>
                        <a:rPr sz="850" spc="-10">
                          <a:latin typeface="ABBvoice"/>
                          <a:cs typeface="ABBvoice"/>
                        </a:rPr>
                        <a:t>ABB completes</a:t>
                      </a:r>
                      <a:r>
                        <a:rPr sz="850" spc="-30">
                          <a:latin typeface="ABBvoice"/>
                          <a:cs typeface="ABBvoice"/>
                        </a:rPr>
                        <a:t> </a:t>
                      </a:r>
                      <a:r>
                        <a:rPr sz="850" spc="-10">
                          <a:latin typeface="ABBvoice"/>
                          <a:cs typeface="ABBvoice"/>
                        </a:rPr>
                        <a:t>acquisition</a:t>
                      </a:r>
                      <a:r>
                        <a:rPr sz="850" spc="-95">
                          <a:latin typeface="ABBvoice"/>
                          <a:cs typeface="ABBvoice"/>
                        </a:rPr>
                        <a:t> </a:t>
                      </a:r>
                      <a:r>
                        <a:rPr sz="850">
                          <a:latin typeface="ABBvoice"/>
                          <a:cs typeface="ABBvoice"/>
                        </a:rPr>
                        <a:t>of</a:t>
                      </a:r>
                      <a:r>
                        <a:rPr sz="850" spc="-20">
                          <a:latin typeface="ABBvoice"/>
                          <a:cs typeface="ABBvoice"/>
                        </a:rPr>
                        <a:t> </a:t>
                      </a:r>
                      <a:r>
                        <a:rPr sz="850" spc="-25">
                          <a:latin typeface="ABBvoice"/>
                          <a:cs typeface="ABBvoice"/>
                        </a:rPr>
                        <a:t>B&amp;R</a:t>
                      </a:r>
                      <a:endParaRPr sz="850">
                        <a:latin typeface="ABBvoice"/>
                        <a:cs typeface="ABBvoice"/>
                      </a:endParaRPr>
                    </a:p>
                  </a:txBody>
                  <a:tcPr marL="0" marR="0" marT="27305" marB="0">
                    <a:lnL w="12700">
                      <a:solidFill>
                        <a:srgbClr val="000000"/>
                      </a:solidFill>
                      <a:prstDash val="solid"/>
                    </a:lnL>
                    <a:lnR w="12700">
                      <a:solidFill>
                        <a:srgbClr val="000000"/>
                      </a:solidFill>
                      <a:prstDash val="solid"/>
                    </a:lnR>
                    <a:lnT w="12700">
                      <a:solidFill>
                        <a:srgbClr val="000000"/>
                      </a:solidFill>
                      <a:prstDash val="solid"/>
                    </a:lnT>
                  </a:tcPr>
                </a:tc>
                <a:tc>
                  <a:txBody>
                    <a:bodyPr/>
                    <a:lstStyle/>
                    <a:p>
                      <a:pPr marL="69215" marR="97790">
                        <a:lnSpc>
                          <a:spcPct val="97700"/>
                        </a:lnSpc>
                        <a:spcBef>
                          <a:spcPts val="555"/>
                        </a:spcBef>
                      </a:pPr>
                      <a:r>
                        <a:rPr sz="850" b="1" dirty="0">
                          <a:latin typeface="ABBvoice"/>
                          <a:cs typeface="ABBvoice"/>
                        </a:rPr>
                        <a:t>1999</a:t>
                      </a:r>
                      <a:r>
                        <a:rPr sz="850" b="1" spc="10" dirty="0">
                          <a:latin typeface="ABBvoice"/>
                          <a:cs typeface="ABBvoice"/>
                        </a:rPr>
                        <a:t> </a:t>
                      </a:r>
                      <a:r>
                        <a:rPr sz="850" spc="-20" dirty="0">
                          <a:latin typeface="ABBvoice"/>
                          <a:cs typeface="ABBvoice"/>
                        </a:rPr>
                        <a:t>Measurement</a:t>
                      </a:r>
                      <a:r>
                        <a:rPr sz="850" spc="-65" dirty="0">
                          <a:latin typeface="ABBvoice"/>
                          <a:cs typeface="ABBvoice"/>
                        </a:rPr>
                        <a:t> </a:t>
                      </a:r>
                      <a:r>
                        <a:rPr sz="850" dirty="0">
                          <a:latin typeface="ABBvoice"/>
                          <a:cs typeface="ABBvoice"/>
                        </a:rPr>
                        <a:t>&amp;</a:t>
                      </a:r>
                      <a:r>
                        <a:rPr sz="850" spc="20" dirty="0">
                          <a:latin typeface="ABBvoice"/>
                          <a:cs typeface="ABBvoice"/>
                        </a:rPr>
                        <a:t> </a:t>
                      </a:r>
                      <a:r>
                        <a:rPr sz="850" spc="-10" dirty="0">
                          <a:latin typeface="ABBvoice"/>
                          <a:cs typeface="ABBvoice"/>
                        </a:rPr>
                        <a:t>Analytics</a:t>
                      </a:r>
                      <a:r>
                        <a:rPr sz="850" spc="-75" dirty="0">
                          <a:latin typeface="ABBvoice"/>
                          <a:cs typeface="ABBvoice"/>
                        </a:rPr>
                        <a:t> </a:t>
                      </a:r>
                      <a:r>
                        <a:rPr sz="850" spc="-10" dirty="0">
                          <a:latin typeface="ABBvoice"/>
                          <a:cs typeface="ABBvoice"/>
                        </a:rPr>
                        <a:t>marks</a:t>
                      </a:r>
                      <a:r>
                        <a:rPr sz="850" spc="-15" dirty="0">
                          <a:latin typeface="ABBvoice"/>
                          <a:cs typeface="ABBvoice"/>
                        </a:rPr>
                        <a:t> </a:t>
                      </a:r>
                      <a:r>
                        <a:rPr sz="850" dirty="0">
                          <a:latin typeface="ABBvoice"/>
                          <a:cs typeface="ABBvoice"/>
                        </a:rPr>
                        <a:t>its</a:t>
                      </a:r>
                      <a:r>
                        <a:rPr sz="850" spc="-20" dirty="0">
                          <a:latin typeface="ABBvoice"/>
                          <a:cs typeface="ABBvoice"/>
                        </a:rPr>
                        <a:t> first</a:t>
                      </a:r>
                      <a:r>
                        <a:rPr sz="850" spc="500" dirty="0">
                          <a:latin typeface="ABBvoice"/>
                          <a:cs typeface="ABBvoice"/>
                        </a:rPr>
                        <a:t> </a:t>
                      </a:r>
                      <a:r>
                        <a:rPr sz="850" spc="-10" dirty="0">
                          <a:latin typeface="ABBvoice"/>
                          <a:cs typeface="ABBvoice"/>
                        </a:rPr>
                        <a:t>export</a:t>
                      </a:r>
                      <a:r>
                        <a:rPr sz="850" spc="-15" dirty="0">
                          <a:latin typeface="ABBvoice"/>
                          <a:cs typeface="ABBvoice"/>
                        </a:rPr>
                        <a:t> </a:t>
                      </a:r>
                      <a:r>
                        <a:rPr sz="850" spc="-10" dirty="0">
                          <a:latin typeface="ABBvoice"/>
                          <a:cs typeface="ABBvoice"/>
                        </a:rPr>
                        <a:t>into</a:t>
                      </a:r>
                      <a:r>
                        <a:rPr sz="850" spc="-30" dirty="0">
                          <a:latin typeface="ABBvoice"/>
                          <a:cs typeface="ABBvoice"/>
                        </a:rPr>
                        <a:t> </a:t>
                      </a:r>
                      <a:r>
                        <a:rPr sz="850" spc="-10" dirty="0">
                          <a:latin typeface="ABBvoice"/>
                          <a:cs typeface="ABBvoice"/>
                        </a:rPr>
                        <a:t>space</a:t>
                      </a:r>
                      <a:r>
                        <a:rPr sz="850" spc="-30" dirty="0">
                          <a:latin typeface="ABBvoice"/>
                          <a:cs typeface="ABBvoice"/>
                        </a:rPr>
                        <a:t> </a:t>
                      </a:r>
                      <a:r>
                        <a:rPr sz="850" dirty="0">
                          <a:latin typeface="ABBvoice"/>
                          <a:cs typeface="ABBvoice"/>
                        </a:rPr>
                        <a:t>for</a:t>
                      </a:r>
                      <a:r>
                        <a:rPr sz="850" spc="-15" dirty="0">
                          <a:latin typeface="ABBvoice"/>
                          <a:cs typeface="ABBvoice"/>
                        </a:rPr>
                        <a:t> </a:t>
                      </a:r>
                      <a:r>
                        <a:rPr sz="850" spc="-20" dirty="0">
                          <a:latin typeface="ABBvoice"/>
                          <a:cs typeface="ABBvoice"/>
                        </a:rPr>
                        <a:t>Canadian</a:t>
                      </a:r>
                      <a:r>
                        <a:rPr sz="850" spc="-65" dirty="0">
                          <a:latin typeface="ABBvoice"/>
                          <a:cs typeface="ABBvoice"/>
                        </a:rPr>
                        <a:t> </a:t>
                      </a:r>
                      <a:r>
                        <a:rPr sz="850" spc="-10" dirty="0">
                          <a:latin typeface="ABBvoice"/>
                          <a:cs typeface="ABBvoice"/>
                        </a:rPr>
                        <a:t>Space</a:t>
                      </a:r>
                      <a:r>
                        <a:rPr sz="850" spc="-30" dirty="0">
                          <a:latin typeface="ABBvoice"/>
                          <a:cs typeface="ABBvoice"/>
                        </a:rPr>
                        <a:t> </a:t>
                      </a:r>
                      <a:r>
                        <a:rPr sz="850" spc="-10" dirty="0">
                          <a:latin typeface="ABBvoice"/>
                          <a:cs typeface="ABBvoice"/>
                        </a:rPr>
                        <a:t>Agency’s</a:t>
                      </a:r>
                      <a:r>
                        <a:rPr sz="850" spc="500" dirty="0">
                          <a:latin typeface="ABBvoice"/>
                          <a:cs typeface="ABBvoice"/>
                        </a:rPr>
                        <a:t> </a:t>
                      </a:r>
                      <a:r>
                        <a:rPr sz="850" spc="-20" dirty="0">
                          <a:latin typeface="ABBvoice"/>
                          <a:cs typeface="ABBvoice"/>
                        </a:rPr>
                        <a:t>MOPITT</a:t>
                      </a:r>
                      <a:r>
                        <a:rPr sz="850" spc="-10" dirty="0">
                          <a:latin typeface="ABBvoice"/>
                          <a:cs typeface="ABBvoice"/>
                        </a:rPr>
                        <a:t> instrument</a:t>
                      </a:r>
                      <a:r>
                        <a:rPr sz="850" spc="-20" dirty="0">
                          <a:latin typeface="ABBvoice"/>
                          <a:cs typeface="ABBvoice"/>
                        </a:rPr>
                        <a:t> launched</a:t>
                      </a:r>
                      <a:r>
                        <a:rPr sz="850" spc="-75" dirty="0">
                          <a:latin typeface="ABBvoice"/>
                          <a:cs typeface="ABBvoice"/>
                        </a:rPr>
                        <a:t> </a:t>
                      </a:r>
                      <a:r>
                        <a:rPr sz="850" dirty="0">
                          <a:latin typeface="ABBvoice"/>
                          <a:cs typeface="ABBvoice"/>
                        </a:rPr>
                        <a:t>by</a:t>
                      </a:r>
                      <a:r>
                        <a:rPr sz="850" spc="10" dirty="0">
                          <a:latin typeface="ABBvoice"/>
                          <a:cs typeface="ABBvoice"/>
                        </a:rPr>
                        <a:t> </a:t>
                      </a:r>
                      <a:r>
                        <a:rPr sz="850" spc="-20" dirty="0">
                          <a:latin typeface="ABBvoice"/>
                          <a:cs typeface="ABBvoice"/>
                        </a:rPr>
                        <a:t>NASA</a:t>
                      </a:r>
                      <a:endParaRPr sz="850" dirty="0">
                        <a:latin typeface="ABBvoice"/>
                        <a:cs typeface="ABBvoice"/>
                      </a:endParaRPr>
                    </a:p>
                    <a:p>
                      <a:pPr marL="69215" marR="280035">
                        <a:lnSpc>
                          <a:spcPct val="97700"/>
                        </a:lnSpc>
                        <a:spcBef>
                          <a:spcPts val="610"/>
                        </a:spcBef>
                      </a:pPr>
                      <a:r>
                        <a:rPr sz="850" b="1" spc="-20" dirty="0">
                          <a:latin typeface="ABBvoice"/>
                          <a:cs typeface="ABBvoice"/>
                        </a:rPr>
                        <a:t>2003</a:t>
                      </a:r>
                      <a:r>
                        <a:rPr sz="850" b="1" spc="-15" dirty="0">
                          <a:latin typeface="ABBvoice"/>
                          <a:cs typeface="ABBvoice"/>
                        </a:rPr>
                        <a:t> </a:t>
                      </a:r>
                      <a:r>
                        <a:rPr sz="850" spc="-20" dirty="0">
                          <a:latin typeface="ABBvoice"/>
                          <a:cs typeface="ABBvoice"/>
                        </a:rPr>
                        <a:t>ABB</a:t>
                      </a:r>
                      <a:r>
                        <a:rPr sz="850" spc="-15" dirty="0">
                          <a:latin typeface="ABBvoice"/>
                          <a:cs typeface="ABBvoice"/>
                        </a:rPr>
                        <a:t> </a:t>
                      </a:r>
                      <a:r>
                        <a:rPr sz="850" spc="-10" dirty="0">
                          <a:latin typeface="ABBvoice"/>
                          <a:cs typeface="ABBvoice"/>
                        </a:rPr>
                        <a:t>develops</a:t>
                      </a:r>
                      <a:r>
                        <a:rPr sz="850" spc="-60" dirty="0">
                          <a:latin typeface="ABBvoice"/>
                          <a:cs typeface="ABBvoice"/>
                        </a:rPr>
                        <a:t> </a:t>
                      </a:r>
                      <a:r>
                        <a:rPr sz="850" spc="-10" dirty="0">
                          <a:latin typeface="ABBvoice"/>
                          <a:cs typeface="ABBvoice"/>
                        </a:rPr>
                        <a:t>VRS</a:t>
                      </a:r>
                      <a:r>
                        <a:rPr sz="850" spc="-25" dirty="0">
                          <a:latin typeface="ABBvoice"/>
                          <a:cs typeface="ABBvoice"/>
                        </a:rPr>
                        <a:t> </a:t>
                      </a:r>
                      <a:r>
                        <a:rPr sz="850" spc="-10" dirty="0">
                          <a:latin typeface="ABBvoice"/>
                          <a:cs typeface="ABBvoice"/>
                        </a:rPr>
                        <a:t>3000</a:t>
                      </a:r>
                      <a:r>
                        <a:rPr sz="850" dirty="0">
                          <a:latin typeface="ABBvoice"/>
                          <a:cs typeface="ABBvoice"/>
                        </a:rPr>
                        <a:t> </a:t>
                      </a:r>
                      <a:r>
                        <a:rPr sz="850" spc="-10" dirty="0">
                          <a:latin typeface="ABBvoice"/>
                          <a:cs typeface="ABBvoice"/>
                        </a:rPr>
                        <a:t>Underground</a:t>
                      </a:r>
                      <a:r>
                        <a:rPr sz="850" spc="500" dirty="0">
                          <a:latin typeface="ABBvoice"/>
                          <a:cs typeface="ABBvoice"/>
                        </a:rPr>
                        <a:t> </a:t>
                      </a:r>
                      <a:r>
                        <a:rPr sz="850" spc="-10" dirty="0">
                          <a:latin typeface="ABBvoice"/>
                          <a:cs typeface="ABBvoice"/>
                        </a:rPr>
                        <a:t>Voltage</a:t>
                      </a:r>
                      <a:r>
                        <a:rPr sz="850" spc="-65" dirty="0">
                          <a:latin typeface="ABBvoice"/>
                          <a:cs typeface="ABBvoice"/>
                        </a:rPr>
                        <a:t> </a:t>
                      </a:r>
                      <a:r>
                        <a:rPr sz="850" spc="-10" dirty="0">
                          <a:latin typeface="ABBvoice"/>
                          <a:cs typeface="ABBvoice"/>
                        </a:rPr>
                        <a:t>Regulation</a:t>
                      </a:r>
                      <a:r>
                        <a:rPr sz="850" spc="25" dirty="0">
                          <a:latin typeface="ABBvoice"/>
                          <a:cs typeface="ABBvoice"/>
                        </a:rPr>
                        <a:t> </a:t>
                      </a:r>
                      <a:r>
                        <a:rPr sz="850" spc="-25" dirty="0">
                          <a:latin typeface="ABBvoice"/>
                          <a:cs typeface="ABBvoice"/>
                        </a:rPr>
                        <a:t>Systems</a:t>
                      </a:r>
                      <a:r>
                        <a:rPr sz="850" spc="-55" dirty="0">
                          <a:latin typeface="ABBvoice"/>
                          <a:cs typeface="ABBvoice"/>
                        </a:rPr>
                        <a:t> </a:t>
                      </a:r>
                      <a:r>
                        <a:rPr sz="850" spc="-10" dirty="0">
                          <a:latin typeface="ABBvoice"/>
                          <a:cs typeface="ABBvoice"/>
                        </a:rPr>
                        <a:t>(UGVRS),</a:t>
                      </a:r>
                      <a:r>
                        <a:rPr sz="850" spc="-45" dirty="0">
                          <a:latin typeface="ABBvoice"/>
                          <a:cs typeface="ABBvoice"/>
                        </a:rPr>
                        <a:t> </a:t>
                      </a:r>
                      <a:r>
                        <a:rPr sz="850" spc="-20" dirty="0">
                          <a:latin typeface="ABBvoice"/>
                          <a:cs typeface="ABBvoice"/>
                        </a:rPr>
                        <a:t>first</a:t>
                      </a:r>
                      <a:r>
                        <a:rPr sz="850" spc="500" dirty="0">
                          <a:latin typeface="ABBvoice"/>
                          <a:cs typeface="ABBvoice"/>
                        </a:rPr>
                        <a:t> </a:t>
                      </a:r>
                      <a:r>
                        <a:rPr sz="850" spc="-10" dirty="0">
                          <a:latin typeface="ABBvoice"/>
                          <a:cs typeface="ABBvoice"/>
                        </a:rPr>
                        <a:t>heavy-</a:t>
                      </a:r>
                      <a:r>
                        <a:rPr sz="850" spc="-25" dirty="0">
                          <a:latin typeface="ABBvoice"/>
                          <a:cs typeface="ABBvoice"/>
                        </a:rPr>
                        <a:t>duty, </a:t>
                      </a:r>
                      <a:r>
                        <a:rPr sz="850" spc="-10" dirty="0">
                          <a:latin typeface="ABBvoice"/>
                          <a:cs typeface="ABBvoice"/>
                        </a:rPr>
                        <a:t>skid-</a:t>
                      </a:r>
                      <a:r>
                        <a:rPr sz="850" spc="-20" dirty="0">
                          <a:latin typeface="ABBvoice"/>
                          <a:cs typeface="ABBvoice"/>
                        </a:rPr>
                        <a:t>mounted,</a:t>
                      </a:r>
                      <a:r>
                        <a:rPr sz="850" spc="5" dirty="0">
                          <a:latin typeface="ABBvoice"/>
                          <a:cs typeface="ABBvoice"/>
                        </a:rPr>
                        <a:t> </a:t>
                      </a:r>
                      <a:r>
                        <a:rPr sz="850" spc="-10" dirty="0">
                          <a:latin typeface="ABBvoice"/>
                          <a:cs typeface="ABBvoice"/>
                        </a:rPr>
                        <a:t>portable</a:t>
                      </a:r>
                      <a:r>
                        <a:rPr sz="850" spc="-40" dirty="0">
                          <a:latin typeface="ABBvoice"/>
                          <a:cs typeface="ABBvoice"/>
                        </a:rPr>
                        <a:t> </a:t>
                      </a:r>
                      <a:r>
                        <a:rPr sz="850" spc="-25" dirty="0">
                          <a:latin typeface="ABBvoice"/>
                          <a:cs typeface="ABBvoice"/>
                        </a:rPr>
                        <a:t>SVC</a:t>
                      </a:r>
                      <a:r>
                        <a:rPr sz="850" spc="500" dirty="0">
                          <a:latin typeface="ABBvoice"/>
                          <a:cs typeface="ABBvoice"/>
                        </a:rPr>
                        <a:t> </a:t>
                      </a:r>
                      <a:r>
                        <a:rPr sz="850" spc="-20" dirty="0">
                          <a:latin typeface="ABBvoice"/>
                          <a:cs typeface="ABBvoice"/>
                        </a:rPr>
                        <a:t>designed</a:t>
                      </a:r>
                      <a:r>
                        <a:rPr sz="850" spc="-15" dirty="0">
                          <a:latin typeface="ABBvoice"/>
                          <a:cs typeface="ABBvoice"/>
                        </a:rPr>
                        <a:t> </a:t>
                      </a:r>
                      <a:r>
                        <a:rPr sz="850" dirty="0">
                          <a:latin typeface="ABBvoice"/>
                          <a:cs typeface="ABBvoice"/>
                        </a:rPr>
                        <a:t>to </a:t>
                      </a:r>
                      <a:r>
                        <a:rPr sz="850" spc="-10" dirty="0">
                          <a:latin typeface="ABBvoice"/>
                          <a:cs typeface="ABBvoice"/>
                        </a:rPr>
                        <a:t>regulate</a:t>
                      </a:r>
                      <a:r>
                        <a:rPr sz="850" spc="-45" dirty="0">
                          <a:latin typeface="ABBvoice"/>
                          <a:cs typeface="ABBvoice"/>
                        </a:rPr>
                        <a:t> </a:t>
                      </a:r>
                      <a:r>
                        <a:rPr sz="850" spc="-10" dirty="0">
                          <a:latin typeface="ABBvoice"/>
                          <a:cs typeface="ABBvoice"/>
                        </a:rPr>
                        <a:t>voltage</a:t>
                      </a:r>
                      <a:r>
                        <a:rPr sz="850" spc="-75" dirty="0">
                          <a:latin typeface="ABBvoice"/>
                          <a:cs typeface="ABBvoice"/>
                        </a:rPr>
                        <a:t> </a:t>
                      </a:r>
                      <a:r>
                        <a:rPr sz="850" dirty="0">
                          <a:latin typeface="ABBvoice"/>
                          <a:cs typeface="ABBvoice"/>
                        </a:rPr>
                        <a:t>in </a:t>
                      </a:r>
                      <a:r>
                        <a:rPr sz="850" spc="-20" dirty="0">
                          <a:latin typeface="ABBvoice"/>
                          <a:cs typeface="ABBvoice"/>
                        </a:rPr>
                        <a:t>mine</a:t>
                      </a:r>
                      <a:r>
                        <a:rPr sz="850" spc="500" dirty="0">
                          <a:latin typeface="ABBvoice"/>
                          <a:cs typeface="ABBvoice"/>
                        </a:rPr>
                        <a:t> </a:t>
                      </a:r>
                      <a:r>
                        <a:rPr sz="850" spc="-10" dirty="0">
                          <a:latin typeface="ABBvoice"/>
                          <a:cs typeface="ABBvoice"/>
                        </a:rPr>
                        <a:t>distribution systems</a:t>
                      </a:r>
                      <a:endParaRPr sz="850" dirty="0">
                        <a:latin typeface="ABBvoice"/>
                        <a:cs typeface="ABBvoice"/>
                      </a:endParaRPr>
                    </a:p>
                    <a:p>
                      <a:pPr marL="69215" marR="284480">
                        <a:lnSpc>
                          <a:spcPct val="98100"/>
                        </a:lnSpc>
                        <a:spcBef>
                          <a:spcPts val="585"/>
                        </a:spcBef>
                      </a:pPr>
                      <a:r>
                        <a:rPr sz="850" b="1" spc="-10" dirty="0">
                          <a:latin typeface="ABBvoice"/>
                          <a:cs typeface="ABBvoice"/>
                        </a:rPr>
                        <a:t>2005</a:t>
                      </a:r>
                      <a:r>
                        <a:rPr sz="850" b="1" spc="5" dirty="0">
                          <a:latin typeface="ABBvoice"/>
                          <a:cs typeface="ABBvoice"/>
                        </a:rPr>
                        <a:t> </a:t>
                      </a:r>
                      <a:r>
                        <a:rPr sz="850" spc="-20" dirty="0">
                          <a:latin typeface="ABBvoice"/>
                          <a:cs typeface="ABBvoice"/>
                        </a:rPr>
                        <a:t>ABB</a:t>
                      </a:r>
                      <a:r>
                        <a:rPr sz="850" spc="-15" dirty="0">
                          <a:latin typeface="ABBvoice"/>
                          <a:cs typeface="ABBvoice"/>
                        </a:rPr>
                        <a:t> </a:t>
                      </a:r>
                      <a:r>
                        <a:rPr sz="850" spc="-10" dirty="0">
                          <a:latin typeface="ABBvoice"/>
                          <a:cs typeface="ABBvoice"/>
                        </a:rPr>
                        <a:t>obtains</a:t>
                      </a:r>
                      <a:r>
                        <a:rPr sz="850" spc="-85" dirty="0">
                          <a:latin typeface="ABBvoice"/>
                          <a:cs typeface="ABBvoice"/>
                        </a:rPr>
                        <a:t> </a:t>
                      </a:r>
                      <a:r>
                        <a:rPr sz="850" spc="-10" dirty="0">
                          <a:latin typeface="ABBvoice"/>
                          <a:cs typeface="ABBvoice"/>
                        </a:rPr>
                        <a:t>contract</a:t>
                      </a:r>
                      <a:r>
                        <a:rPr sz="850" spc="-70" dirty="0">
                          <a:latin typeface="ABBvoice"/>
                          <a:cs typeface="ABBvoice"/>
                        </a:rPr>
                        <a:t> </a:t>
                      </a:r>
                      <a:r>
                        <a:rPr sz="850" dirty="0">
                          <a:latin typeface="ABBvoice"/>
                          <a:cs typeface="ABBvoice"/>
                        </a:rPr>
                        <a:t>to</a:t>
                      </a:r>
                      <a:r>
                        <a:rPr sz="850" spc="-25" dirty="0">
                          <a:latin typeface="ABBvoice"/>
                          <a:cs typeface="ABBvoice"/>
                        </a:rPr>
                        <a:t> </a:t>
                      </a:r>
                      <a:r>
                        <a:rPr sz="850" spc="-10" dirty="0">
                          <a:latin typeface="ABBvoice"/>
                          <a:cs typeface="ABBvoice"/>
                        </a:rPr>
                        <a:t>deliver</a:t>
                      </a:r>
                      <a:r>
                        <a:rPr sz="850" spc="-50" dirty="0">
                          <a:latin typeface="ABBvoice"/>
                          <a:cs typeface="ABBvoice"/>
                        </a:rPr>
                        <a:t> </a:t>
                      </a:r>
                      <a:r>
                        <a:rPr sz="850" spc="-10" dirty="0">
                          <a:latin typeface="ABBvoice"/>
                          <a:cs typeface="ABBvoice"/>
                        </a:rPr>
                        <a:t>North</a:t>
                      </a:r>
                      <a:r>
                        <a:rPr sz="850" spc="500" dirty="0">
                          <a:latin typeface="ABBvoice"/>
                          <a:cs typeface="ABBvoice"/>
                        </a:rPr>
                        <a:t> </a:t>
                      </a:r>
                      <a:r>
                        <a:rPr sz="850" spc="-10" dirty="0">
                          <a:latin typeface="ABBvoice"/>
                          <a:cs typeface="ABBvoice"/>
                        </a:rPr>
                        <a:t>America’s</a:t>
                      </a:r>
                      <a:r>
                        <a:rPr sz="850" spc="-30" dirty="0">
                          <a:latin typeface="ABBvoice"/>
                          <a:cs typeface="ABBvoice"/>
                        </a:rPr>
                        <a:t> </a:t>
                      </a:r>
                      <a:r>
                        <a:rPr sz="850" spc="-10" dirty="0">
                          <a:latin typeface="ABBvoice"/>
                          <a:cs typeface="ABBvoice"/>
                        </a:rPr>
                        <a:t>largest</a:t>
                      </a:r>
                      <a:r>
                        <a:rPr sz="850" spc="-15" dirty="0">
                          <a:latin typeface="ABBvoice"/>
                          <a:cs typeface="ABBvoice"/>
                        </a:rPr>
                        <a:t> </a:t>
                      </a:r>
                      <a:r>
                        <a:rPr sz="850" spc="-10" dirty="0">
                          <a:latin typeface="ABBvoice"/>
                          <a:cs typeface="ABBvoice"/>
                        </a:rPr>
                        <a:t>friction</a:t>
                      </a:r>
                      <a:r>
                        <a:rPr sz="850" spc="-80" dirty="0">
                          <a:latin typeface="ABBvoice"/>
                          <a:cs typeface="ABBvoice"/>
                        </a:rPr>
                        <a:t> </a:t>
                      </a:r>
                      <a:r>
                        <a:rPr sz="850" spc="-10" dirty="0">
                          <a:latin typeface="ABBvoice"/>
                          <a:cs typeface="ABBvoice"/>
                        </a:rPr>
                        <a:t>mine hoist</a:t>
                      </a:r>
                      <a:r>
                        <a:rPr sz="850" spc="-15" dirty="0">
                          <a:latin typeface="ABBvoice"/>
                          <a:cs typeface="ABBvoice"/>
                        </a:rPr>
                        <a:t> </a:t>
                      </a:r>
                      <a:r>
                        <a:rPr sz="850" spc="-25" dirty="0">
                          <a:latin typeface="ABBvoice"/>
                          <a:cs typeface="ABBvoice"/>
                        </a:rPr>
                        <a:t>for</a:t>
                      </a:r>
                      <a:r>
                        <a:rPr sz="850" spc="500" dirty="0">
                          <a:latin typeface="ABBvoice"/>
                          <a:cs typeface="ABBvoice"/>
                        </a:rPr>
                        <a:t> </a:t>
                      </a:r>
                      <a:r>
                        <a:rPr sz="850" spc="-10" dirty="0">
                          <a:latin typeface="ABBvoice"/>
                          <a:cs typeface="ABBvoice"/>
                        </a:rPr>
                        <a:t>Mosaic’s</a:t>
                      </a:r>
                      <a:r>
                        <a:rPr sz="850" spc="-80" dirty="0">
                          <a:latin typeface="ABBvoice"/>
                          <a:cs typeface="ABBvoice"/>
                        </a:rPr>
                        <a:t> </a:t>
                      </a:r>
                      <a:r>
                        <a:rPr sz="850" spc="-10" dirty="0">
                          <a:latin typeface="ABBvoice"/>
                          <a:cs typeface="ABBvoice"/>
                        </a:rPr>
                        <a:t>Esterhazy</a:t>
                      </a:r>
                      <a:r>
                        <a:rPr sz="850" spc="-60" dirty="0">
                          <a:latin typeface="ABBvoice"/>
                          <a:cs typeface="ABBvoice"/>
                        </a:rPr>
                        <a:t> </a:t>
                      </a:r>
                      <a:r>
                        <a:rPr sz="850" spc="-10" dirty="0">
                          <a:latin typeface="ABBvoice"/>
                          <a:cs typeface="ABBvoice"/>
                        </a:rPr>
                        <a:t>Potash</a:t>
                      </a:r>
                      <a:r>
                        <a:rPr sz="850" spc="-40" dirty="0">
                          <a:latin typeface="ABBvoice"/>
                          <a:cs typeface="ABBvoice"/>
                        </a:rPr>
                        <a:t> </a:t>
                      </a:r>
                      <a:r>
                        <a:rPr sz="850" spc="-10" dirty="0">
                          <a:latin typeface="ABBvoice"/>
                          <a:cs typeface="ABBvoice"/>
                        </a:rPr>
                        <a:t>Operation </a:t>
                      </a:r>
                      <a:r>
                        <a:rPr sz="850" spc="-25" dirty="0">
                          <a:latin typeface="ABBvoice"/>
                          <a:cs typeface="ABBvoice"/>
                        </a:rPr>
                        <a:t>in</a:t>
                      </a:r>
                      <a:r>
                        <a:rPr sz="850" spc="500" dirty="0">
                          <a:latin typeface="ABBvoice"/>
                          <a:cs typeface="ABBvoice"/>
                        </a:rPr>
                        <a:t> </a:t>
                      </a:r>
                      <a:r>
                        <a:rPr sz="850" spc="-10" dirty="0">
                          <a:latin typeface="ABBvoice"/>
                          <a:cs typeface="ABBvoice"/>
                        </a:rPr>
                        <a:t>Saskatchewan</a:t>
                      </a:r>
                      <a:endParaRPr sz="850" dirty="0">
                        <a:latin typeface="ABBvoice"/>
                        <a:cs typeface="ABBvoice"/>
                      </a:endParaRPr>
                    </a:p>
                    <a:p>
                      <a:pPr marL="69215" marR="83185">
                        <a:lnSpc>
                          <a:spcPct val="97600"/>
                        </a:lnSpc>
                        <a:spcBef>
                          <a:spcPts val="585"/>
                        </a:spcBef>
                      </a:pPr>
                      <a:r>
                        <a:rPr sz="850" b="1" spc="-10" dirty="0">
                          <a:latin typeface="ABBvoice"/>
                          <a:cs typeface="ABBvoice"/>
                        </a:rPr>
                        <a:t>2013</a:t>
                      </a:r>
                      <a:r>
                        <a:rPr sz="850" b="1" spc="-5" dirty="0">
                          <a:latin typeface="ABBvoice"/>
                          <a:cs typeface="ABBvoice"/>
                        </a:rPr>
                        <a:t> </a:t>
                      </a:r>
                      <a:r>
                        <a:rPr sz="850" spc="-20" dirty="0">
                          <a:latin typeface="ABBvoice"/>
                          <a:cs typeface="ABBvoice"/>
                        </a:rPr>
                        <a:t>ABB</a:t>
                      </a:r>
                      <a:r>
                        <a:rPr sz="850" spc="-10" dirty="0">
                          <a:latin typeface="ABBvoice"/>
                          <a:cs typeface="ABBvoice"/>
                        </a:rPr>
                        <a:t> signs</a:t>
                      </a:r>
                      <a:r>
                        <a:rPr sz="850" spc="-50" dirty="0">
                          <a:latin typeface="ABBvoice"/>
                          <a:cs typeface="ABBvoice"/>
                        </a:rPr>
                        <a:t> </a:t>
                      </a:r>
                      <a:r>
                        <a:rPr sz="850" spc="-10" dirty="0">
                          <a:latin typeface="ABBvoice"/>
                          <a:cs typeface="ABBvoice"/>
                        </a:rPr>
                        <a:t>space</a:t>
                      </a:r>
                      <a:r>
                        <a:rPr sz="850" spc="-35" dirty="0">
                          <a:latin typeface="ABBvoice"/>
                          <a:cs typeface="ABBvoice"/>
                        </a:rPr>
                        <a:t> </a:t>
                      </a:r>
                      <a:r>
                        <a:rPr sz="850" spc="-10" dirty="0">
                          <a:latin typeface="ABBvoice"/>
                          <a:cs typeface="ABBvoice"/>
                        </a:rPr>
                        <a:t>contract</a:t>
                      </a:r>
                      <a:r>
                        <a:rPr sz="850" spc="-5" dirty="0">
                          <a:latin typeface="ABBvoice"/>
                          <a:cs typeface="ABBvoice"/>
                        </a:rPr>
                        <a:t> </a:t>
                      </a:r>
                      <a:r>
                        <a:rPr sz="850" spc="-10" dirty="0">
                          <a:latin typeface="ABBvoice"/>
                          <a:cs typeface="ABBvoice"/>
                        </a:rPr>
                        <a:t>with</a:t>
                      </a:r>
                      <a:r>
                        <a:rPr sz="850" spc="-15" dirty="0">
                          <a:latin typeface="ABBvoice"/>
                          <a:cs typeface="ABBvoice"/>
                        </a:rPr>
                        <a:t> </a:t>
                      </a:r>
                      <a:r>
                        <a:rPr sz="850" spc="-20" dirty="0">
                          <a:latin typeface="ABBvoice"/>
                          <a:cs typeface="ABBvoice"/>
                        </a:rPr>
                        <a:t>Harris</a:t>
                      </a:r>
                      <a:r>
                        <a:rPr sz="850" spc="-25" dirty="0">
                          <a:latin typeface="ABBvoice"/>
                          <a:cs typeface="ABBvoice"/>
                        </a:rPr>
                        <a:t> to</a:t>
                      </a:r>
                      <a:r>
                        <a:rPr sz="850" spc="500" dirty="0">
                          <a:latin typeface="ABBvoice"/>
                          <a:cs typeface="ABBvoice"/>
                        </a:rPr>
                        <a:t> </a:t>
                      </a:r>
                      <a:r>
                        <a:rPr sz="850" spc="-10" dirty="0">
                          <a:latin typeface="ABBvoice"/>
                          <a:cs typeface="ABBvoice"/>
                        </a:rPr>
                        <a:t>develop</a:t>
                      </a:r>
                      <a:r>
                        <a:rPr sz="850" spc="-5" dirty="0">
                          <a:latin typeface="ABBvoice"/>
                          <a:cs typeface="ABBvoice"/>
                        </a:rPr>
                        <a:t> </a:t>
                      </a:r>
                      <a:r>
                        <a:rPr sz="850" spc="-10" dirty="0">
                          <a:latin typeface="ABBvoice"/>
                          <a:cs typeface="ABBvoice"/>
                        </a:rPr>
                        <a:t>three</a:t>
                      </a:r>
                      <a:r>
                        <a:rPr sz="850" spc="-5" dirty="0">
                          <a:latin typeface="ABBvoice"/>
                          <a:cs typeface="ABBvoice"/>
                        </a:rPr>
                        <a:t> </a:t>
                      </a:r>
                      <a:r>
                        <a:rPr sz="850" spc="-10" dirty="0">
                          <a:latin typeface="ABBvoice"/>
                          <a:cs typeface="ABBvoice"/>
                        </a:rPr>
                        <a:t>additional</a:t>
                      </a:r>
                      <a:r>
                        <a:rPr sz="850" spc="15" dirty="0">
                          <a:latin typeface="ABBvoice"/>
                          <a:cs typeface="ABBvoice"/>
                        </a:rPr>
                        <a:t> </a:t>
                      </a:r>
                      <a:r>
                        <a:rPr sz="850" spc="-20" dirty="0">
                          <a:latin typeface="ABBvoice"/>
                          <a:cs typeface="ABBvoice"/>
                        </a:rPr>
                        <a:t>interferometers</a:t>
                      </a:r>
                      <a:r>
                        <a:rPr sz="850" spc="-65" dirty="0">
                          <a:latin typeface="ABBvoice"/>
                          <a:cs typeface="ABBvoice"/>
                        </a:rPr>
                        <a:t> </a:t>
                      </a:r>
                      <a:r>
                        <a:rPr sz="850" spc="-25" dirty="0">
                          <a:latin typeface="ABBvoice"/>
                          <a:cs typeface="ABBvoice"/>
                        </a:rPr>
                        <a:t>for</a:t>
                      </a:r>
                      <a:r>
                        <a:rPr sz="850" spc="500" dirty="0">
                          <a:latin typeface="ABBvoice"/>
                          <a:cs typeface="ABBvoice"/>
                        </a:rPr>
                        <a:t> </a:t>
                      </a:r>
                      <a:r>
                        <a:rPr sz="850" spc="-10" dirty="0">
                          <a:latin typeface="ABBvoice"/>
                          <a:cs typeface="ABBvoice"/>
                        </a:rPr>
                        <a:t>NASA’s</a:t>
                      </a:r>
                      <a:r>
                        <a:rPr sz="850" spc="-40" dirty="0">
                          <a:latin typeface="ABBvoice"/>
                          <a:cs typeface="ABBvoice"/>
                        </a:rPr>
                        <a:t> </a:t>
                      </a:r>
                      <a:r>
                        <a:rPr sz="850" dirty="0">
                          <a:latin typeface="ABBvoice"/>
                          <a:cs typeface="ABBvoice"/>
                        </a:rPr>
                        <a:t>next</a:t>
                      </a:r>
                      <a:r>
                        <a:rPr sz="850" spc="-5" dirty="0">
                          <a:latin typeface="ABBvoice"/>
                          <a:cs typeface="ABBvoice"/>
                        </a:rPr>
                        <a:t> </a:t>
                      </a:r>
                      <a:r>
                        <a:rPr sz="850" spc="-10" dirty="0">
                          <a:latin typeface="ABBvoice"/>
                          <a:cs typeface="ABBvoice"/>
                        </a:rPr>
                        <a:t>generation</a:t>
                      </a:r>
                      <a:r>
                        <a:rPr sz="850" spc="-105" dirty="0">
                          <a:latin typeface="ABBvoice"/>
                          <a:cs typeface="ABBvoice"/>
                        </a:rPr>
                        <a:t> </a:t>
                      </a:r>
                      <a:r>
                        <a:rPr sz="850" dirty="0">
                          <a:latin typeface="ABBvoice"/>
                          <a:cs typeface="ABBvoice"/>
                        </a:rPr>
                        <a:t>LEO</a:t>
                      </a:r>
                      <a:r>
                        <a:rPr sz="850" spc="-15" dirty="0">
                          <a:latin typeface="ABBvoice"/>
                          <a:cs typeface="ABBvoice"/>
                        </a:rPr>
                        <a:t> </a:t>
                      </a:r>
                      <a:r>
                        <a:rPr sz="850" spc="-10" dirty="0">
                          <a:latin typeface="ABBvoice"/>
                          <a:cs typeface="ABBvoice"/>
                        </a:rPr>
                        <a:t>weather</a:t>
                      </a:r>
                      <a:r>
                        <a:rPr sz="850" spc="-55" dirty="0">
                          <a:latin typeface="ABBvoice"/>
                          <a:cs typeface="ABBvoice"/>
                        </a:rPr>
                        <a:t> </a:t>
                      </a:r>
                      <a:r>
                        <a:rPr sz="850" spc="-10" dirty="0">
                          <a:latin typeface="ABBvoice"/>
                          <a:cs typeface="ABBvoice"/>
                        </a:rPr>
                        <a:t>satellites.</a:t>
                      </a:r>
                      <a:endParaRPr sz="850" dirty="0">
                        <a:latin typeface="ABBvoice"/>
                        <a:cs typeface="ABBvoice"/>
                      </a:endParaRPr>
                    </a:p>
                    <a:p>
                      <a:pPr marL="69215" marR="62865">
                        <a:lnSpc>
                          <a:spcPct val="97300"/>
                        </a:lnSpc>
                        <a:spcBef>
                          <a:spcPts val="620"/>
                        </a:spcBef>
                      </a:pPr>
                      <a:r>
                        <a:rPr sz="850" b="1" spc="-10" dirty="0">
                          <a:latin typeface="ABBvoice"/>
                          <a:cs typeface="ABBvoice"/>
                        </a:rPr>
                        <a:t>2018</a:t>
                      </a:r>
                      <a:r>
                        <a:rPr sz="850" b="1" spc="-25" dirty="0">
                          <a:latin typeface="ABBvoice"/>
                          <a:cs typeface="ABBvoice"/>
                        </a:rPr>
                        <a:t> </a:t>
                      </a:r>
                      <a:r>
                        <a:rPr sz="850" spc="-20" dirty="0">
                          <a:latin typeface="ABBvoice"/>
                          <a:cs typeface="ABBvoice"/>
                        </a:rPr>
                        <a:t>ABB</a:t>
                      </a:r>
                      <a:r>
                        <a:rPr sz="850" spc="-25" dirty="0">
                          <a:latin typeface="ABBvoice"/>
                          <a:cs typeface="ABBvoice"/>
                        </a:rPr>
                        <a:t> </a:t>
                      </a:r>
                      <a:r>
                        <a:rPr sz="850" spc="-10" dirty="0">
                          <a:latin typeface="ABBvoice"/>
                          <a:cs typeface="ABBvoice"/>
                        </a:rPr>
                        <a:t>enters</a:t>
                      </a:r>
                      <a:r>
                        <a:rPr sz="850" spc="-45" dirty="0">
                          <a:latin typeface="ABBvoice"/>
                          <a:cs typeface="ABBvoice"/>
                        </a:rPr>
                        <a:t> </a:t>
                      </a:r>
                      <a:r>
                        <a:rPr sz="850" dirty="0">
                          <a:latin typeface="ABBvoice"/>
                          <a:cs typeface="ABBvoice"/>
                        </a:rPr>
                        <a:t>the</a:t>
                      </a:r>
                      <a:r>
                        <a:rPr sz="850" spc="-20" dirty="0">
                          <a:latin typeface="ABBvoice"/>
                          <a:cs typeface="ABBvoice"/>
                        </a:rPr>
                        <a:t> </a:t>
                      </a:r>
                      <a:r>
                        <a:rPr sz="850" spc="-10" dirty="0">
                          <a:latin typeface="ABBvoice"/>
                          <a:cs typeface="ABBvoice"/>
                        </a:rPr>
                        <a:t>Space</a:t>
                      </a:r>
                      <a:r>
                        <a:rPr sz="850" spc="-45" dirty="0">
                          <a:latin typeface="ABBvoice"/>
                          <a:cs typeface="ABBvoice"/>
                        </a:rPr>
                        <a:t> </a:t>
                      </a:r>
                      <a:r>
                        <a:rPr sz="850" spc="-10" dirty="0">
                          <a:latin typeface="ABBvoice"/>
                          <a:cs typeface="ABBvoice"/>
                        </a:rPr>
                        <a:t>2.0</a:t>
                      </a:r>
                      <a:r>
                        <a:rPr sz="850" spc="-35" dirty="0">
                          <a:latin typeface="ABBvoice"/>
                          <a:cs typeface="ABBvoice"/>
                        </a:rPr>
                        <a:t> </a:t>
                      </a:r>
                      <a:r>
                        <a:rPr sz="850" spc="-10" dirty="0">
                          <a:latin typeface="ABBvoice"/>
                          <a:cs typeface="ABBvoice"/>
                        </a:rPr>
                        <a:t>market</a:t>
                      </a:r>
                      <a:r>
                        <a:rPr sz="850" spc="-30" dirty="0">
                          <a:latin typeface="ABBvoice"/>
                          <a:cs typeface="ABBvoice"/>
                        </a:rPr>
                        <a:t> </a:t>
                      </a:r>
                      <a:r>
                        <a:rPr sz="850" spc="-25" dirty="0">
                          <a:latin typeface="ABBvoice"/>
                          <a:cs typeface="ABBvoice"/>
                        </a:rPr>
                        <a:t>by</a:t>
                      </a:r>
                      <a:r>
                        <a:rPr sz="850" spc="500" dirty="0">
                          <a:latin typeface="ABBvoice"/>
                          <a:cs typeface="ABBvoice"/>
                        </a:rPr>
                        <a:t> </a:t>
                      </a:r>
                      <a:r>
                        <a:rPr sz="850" spc="-10" dirty="0">
                          <a:latin typeface="ABBvoice"/>
                          <a:cs typeface="ABBvoice"/>
                        </a:rPr>
                        <a:t>winning</a:t>
                      </a:r>
                      <a:r>
                        <a:rPr sz="850" spc="-70" dirty="0">
                          <a:latin typeface="ABBvoice"/>
                          <a:cs typeface="ABBvoice"/>
                        </a:rPr>
                        <a:t> </a:t>
                      </a:r>
                      <a:r>
                        <a:rPr sz="850" spc="-10" dirty="0">
                          <a:latin typeface="ABBvoice"/>
                          <a:cs typeface="ABBvoice"/>
                        </a:rPr>
                        <a:t>contract</a:t>
                      </a:r>
                      <a:r>
                        <a:rPr sz="850" spc="-90" dirty="0">
                          <a:latin typeface="ABBvoice"/>
                          <a:cs typeface="ABBvoice"/>
                        </a:rPr>
                        <a:t> </a:t>
                      </a:r>
                      <a:r>
                        <a:rPr sz="850" spc="-10" dirty="0">
                          <a:latin typeface="ABBvoice"/>
                          <a:cs typeface="ABBvoice"/>
                        </a:rPr>
                        <a:t>from </a:t>
                      </a:r>
                      <a:r>
                        <a:rPr sz="850" spc="-10" dirty="0" err="1">
                          <a:latin typeface="ABBvoice"/>
                          <a:cs typeface="ABBvoice"/>
                        </a:rPr>
                        <a:t>GHGSat</a:t>
                      </a:r>
                      <a:r>
                        <a:rPr sz="850" spc="-65" dirty="0">
                          <a:latin typeface="ABBvoice"/>
                          <a:cs typeface="ABBvoice"/>
                        </a:rPr>
                        <a:t> </a:t>
                      </a:r>
                      <a:r>
                        <a:rPr sz="850" dirty="0">
                          <a:latin typeface="ABBvoice"/>
                          <a:cs typeface="ABBvoice"/>
                        </a:rPr>
                        <a:t>to</a:t>
                      </a:r>
                      <a:r>
                        <a:rPr sz="850" spc="20" dirty="0">
                          <a:latin typeface="ABBvoice"/>
                          <a:cs typeface="ABBvoice"/>
                        </a:rPr>
                        <a:t> </a:t>
                      </a:r>
                      <a:r>
                        <a:rPr sz="850" spc="-10" dirty="0">
                          <a:latin typeface="ABBvoice"/>
                          <a:cs typeface="ABBvoice"/>
                        </a:rPr>
                        <a:t>build</a:t>
                      </a:r>
                      <a:r>
                        <a:rPr sz="850" spc="-45" dirty="0">
                          <a:latin typeface="ABBvoice"/>
                          <a:cs typeface="ABBvoice"/>
                        </a:rPr>
                        <a:t> </a:t>
                      </a:r>
                      <a:r>
                        <a:rPr sz="850" spc="-10" dirty="0">
                          <a:latin typeface="ABBvoice"/>
                          <a:cs typeface="ABBvoice"/>
                        </a:rPr>
                        <a:t>highly</a:t>
                      </a:r>
                      <a:r>
                        <a:rPr sz="850" spc="500" dirty="0">
                          <a:latin typeface="ABBvoice"/>
                          <a:cs typeface="ABBvoice"/>
                        </a:rPr>
                        <a:t> </a:t>
                      </a:r>
                      <a:r>
                        <a:rPr sz="850" spc="-10" dirty="0">
                          <a:latin typeface="ABBvoice"/>
                          <a:cs typeface="ABBvoice"/>
                        </a:rPr>
                        <a:t>innovative</a:t>
                      </a:r>
                      <a:r>
                        <a:rPr sz="850" spc="-55" dirty="0">
                          <a:latin typeface="ABBvoice"/>
                          <a:cs typeface="ABBvoice"/>
                        </a:rPr>
                        <a:t> </a:t>
                      </a:r>
                      <a:r>
                        <a:rPr sz="850" spc="-10" dirty="0">
                          <a:latin typeface="ABBvoice"/>
                          <a:cs typeface="ABBvoice"/>
                        </a:rPr>
                        <a:t>payloads</a:t>
                      </a:r>
                      <a:r>
                        <a:rPr sz="850" spc="-20" dirty="0">
                          <a:latin typeface="ABBvoice"/>
                          <a:cs typeface="ABBvoice"/>
                        </a:rPr>
                        <a:t> </a:t>
                      </a:r>
                      <a:r>
                        <a:rPr sz="850" dirty="0">
                          <a:latin typeface="ABBvoice"/>
                          <a:cs typeface="ABBvoice"/>
                        </a:rPr>
                        <a:t>for</a:t>
                      </a:r>
                      <a:r>
                        <a:rPr sz="850" spc="-15" dirty="0">
                          <a:latin typeface="ABBvoice"/>
                          <a:cs typeface="ABBvoice"/>
                        </a:rPr>
                        <a:t> </a:t>
                      </a:r>
                      <a:r>
                        <a:rPr sz="850" spc="-20" dirty="0">
                          <a:latin typeface="ABBvoice"/>
                          <a:cs typeface="ABBvoice"/>
                        </a:rPr>
                        <a:t>monitoring </a:t>
                      </a:r>
                      <a:r>
                        <a:rPr sz="850" spc="-10" dirty="0">
                          <a:latin typeface="ABBvoice"/>
                          <a:cs typeface="ABBvoice"/>
                        </a:rPr>
                        <a:t>greenhouse</a:t>
                      </a:r>
                      <a:r>
                        <a:rPr sz="850" spc="500" dirty="0">
                          <a:latin typeface="ABBvoice"/>
                          <a:cs typeface="ABBvoice"/>
                        </a:rPr>
                        <a:t> </a:t>
                      </a:r>
                      <a:r>
                        <a:rPr sz="850" spc="-10" dirty="0">
                          <a:latin typeface="ABBvoice"/>
                          <a:cs typeface="ABBvoice"/>
                        </a:rPr>
                        <a:t>gases</a:t>
                      </a:r>
                      <a:r>
                        <a:rPr sz="850" spc="-20" dirty="0">
                          <a:latin typeface="ABBvoice"/>
                          <a:cs typeface="ABBvoice"/>
                        </a:rPr>
                        <a:t> </a:t>
                      </a:r>
                      <a:r>
                        <a:rPr sz="850" spc="-10" dirty="0">
                          <a:latin typeface="ABBvoice"/>
                          <a:cs typeface="ABBvoice"/>
                        </a:rPr>
                        <a:t>from</a:t>
                      </a:r>
                      <a:r>
                        <a:rPr sz="850" spc="-25" dirty="0">
                          <a:latin typeface="ABBvoice"/>
                          <a:cs typeface="ABBvoice"/>
                        </a:rPr>
                        <a:t> </a:t>
                      </a:r>
                      <a:r>
                        <a:rPr sz="850" spc="-10" dirty="0">
                          <a:latin typeface="ABBvoice"/>
                          <a:cs typeface="ABBvoice"/>
                        </a:rPr>
                        <a:t>space.</a:t>
                      </a:r>
                      <a:endParaRPr sz="850" dirty="0">
                        <a:latin typeface="ABBvoice"/>
                        <a:cs typeface="ABBvoice"/>
                      </a:endParaRPr>
                    </a:p>
                    <a:p>
                      <a:pPr marL="69215" marR="58419">
                        <a:lnSpc>
                          <a:spcPct val="97200"/>
                        </a:lnSpc>
                        <a:spcBef>
                          <a:spcPts val="620"/>
                        </a:spcBef>
                      </a:pPr>
                      <a:r>
                        <a:rPr sz="850" b="1" spc="-10" dirty="0">
                          <a:latin typeface="ABBvoice"/>
                          <a:cs typeface="ABBvoice"/>
                        </a:rPr>
                        <a:t>2021</a:t>
                      </a:r>
                      <a:r>
                        <a:rPr sz="850" b="1" spc="5" dirty="0">
                          <a:latin typeface="ABBvoice"/>
                          <a:cs typeface="ABBvoice"/>
                        </a:rPr>
                        <a:t> </a:t>
                      </a:r>
                      <a:r>
                        <a:rPr sz="850" spc="-10" dirty="0">
                          <a:latin typeface="ABBvoice"/>
                          <a:cs typeface="ABBvoice"/>
                        </a:rPr>
                        <a:t>launched</a:t>
                      </a:r>
                      <a:r>
                        <a:rPr sz="850" spc="-75" dirty="0">
                          <a:latin typeface="ABBvoice"/>
                          <a:cs typeface="ABBvoice"/>
                        </a:rPr>
                        <a:t> </a:t>
                      </a:r>
                      <a:r>
                        <a:rPr sz="850" spc="-20" dirty="0">
                          <a:latin typeface="ABBvoice"/>
                          <a:cs typeface="ABBvoice"/>
                        </a:rPr>
                        <a:t>ABB</a:t>
                      </a:r>
                      <a:r>
                        <a:rPr sz="850" spc="-10" dirty="0">
                          <a:latin typeface="ABBvoice"/>
                          <a:cs typeface="ABBvoice"/>
                        </a:rPr>
                        <a:t> Ability™</a:t>
                      </a:r>
                      <a:r>
                        <a:rPr sz="850" spc="-90" dirty="0">
                          <a:latin typeface="ABBvoice"/>
                          <a:cs typeface="ABBvoice"/>
                        </a:rPr>
                        <a:t> </a:t>
                      </a:r>
                      <a:r>
                        <a:rPr sz="850" spc="-10" dirty="0">
                          <a:latin typeface="ABBvoice"/>
                          <a:cs typeface="ABBvoice"/>
                        </a:rPr>
                        <a:t>comprehensive</a:t>
                      </a:r>
                      <a:r>
                        <a:rPr sz="850" spc="500" dirty="0">
                          <a:latin typeface="ABBvoice"/>
                          <a:cs typeface="ABBvoice"/>
                        </a:rPr>
                        <a:t> </a:t>
                      </a:r>
                      <a:r>
                        <a:rPr sz="850" spc="-10" dirty="0">
                          <a:latin typeface="ABBvoice"/>
                          <a:cs typeface="ABBvoice"/>
                        </a:rPr>
                        <a:t>natural</a:t>
                      </a:r>
                      <a:r>
                        <a:rPr sz="850" spc="-70" dirty="0">
                          <a:latin typeface="ABBvoice"/>
                          <a:cs typeface="ABBvoice"/>
                        </a:rPr>
                        <a:t> </a:t>
                      </a:r>
                      <a:r>
                        <a:rPr sz="850" spc="-10" dirty="0">
                          <a:latin typeface="ABBvoice"/>
                          <a:cs typeface="ABBvoice"/>
                        </a:rPr>
                        <a:t>gas</a:t>
                      </a:r>
                      <a:r>
                        <a:rPr sz="850" spc="-35" dirty="0">
                          <a:latin typeface="ABBvoice"/>
                          <a:cs typeface="ABBvoice"/>
                        </a:rPr>
                        <a:t> </a:t>
                      </a:r>
                      <a:r>
                        <a:rPr sz="850" spc="-10" dirty="0">
                          <a:latin typeface="ABBvoice"/>
                          <a:cs typeface="ABBvoice"/>
                        </a:rPr>
                        <a:t>leak</a:t>
                      </a:r>
                      <a:r>
                        <a:rPr sz="850" spc="-25" dirty="0">
                          <a:latin typeface="ABBvoice"/>
                          <a:cs typeface="ABBvoice"/>
                        </a:rPr>
                        <a:t> </a:t>
                      </a:r>
                      <a:r>
                        <a:rPr sz="850" spc="-10" dirty="0">
                          <a:latin typeface="ABBvoice"/>
                          <a:cs typeface="ABBvoice"/>
                        </a:rPr>
                        <a:t>and</a:t>
                      </a:r>
                      <a:r>
                        <a:rPr sz="850" spc="-35" dirty="0">
                          <a:latin typeface="ABBvoice"/>
                          <a:cs typeface="ABBvoice"/>
                        </a:rPr>
                        <a:t> </a:t>
                      </a:r>
                      <a:r>
                        <a:rPr sz="850" spc="-10" dirty="0">
                          <a:latin typeface="ABBvoice"/>
                          <a:cs typeface="ABBvoice"/>
                        </a:rPr>
                        <a:t>greenhouse</a:t>
                      </a:r>
                      <a:r>
                        <a:rPr sz="850" spc="-90" dirty="0">
                          <a:latin typeface="ABBvoice"/>
                          <a:cs typeface="ABBvoice"/>
                        </a:rPr>
                        <a:t> </a:t>
                      </a:r>
                      <a:r>
                        <a:rPr sz="850" dirty="0">
                          <a:latin typeface="ABBvoice"/>
                          <a:cs typeface="ABBvoice"/>
                        </a:rPr>
                        <a:t>gas</a:t>
                      </a:r>
                      <a:r>
                        <a:rPr sz="850" spc="-5" dirty="0">
                          <a:latin typeface="ABBvoice"/>
                          <a:cs typeface="ABBvoice"/>
                        </a:rPr>
                        <a:t> </a:t>
                      </a:r>
                      <a:r>
                        <a:rPr sz="850" spc="-10" dirty="0">
                          <a:latin typeface="ABBvoice"/>
                          <a:cs typeface="ABBvoice"/>
                        </a:rPr>
                        <a:t>measuring</a:t>
                      </a:r>
                      <a:r>
                        <a:rPr sz="850" spc="500" dirty="0">
                          <a:latin typeface="ABBvoice"/>
                          <a:cs typeface="ABBvoice"/>
                        </a:rPr>
                        <a:t> </a:t>
                      </a:r>
                      <a:r>
                        <a:rPr sz="850" spc="-20" dirty="0">
                          <a:latin typeface="ABBvoice"/>
                          <a:cs typeface="ABBvoice"/>
                        </a:rPr>
                        <a:t>systems</a:t>
                      </a:r>
                      <a:r>
                        <a:rPr sz="850" spc="-40" dirty="0">
                          <a:latin typeface="ABBvoice"/>
                          <a:cs typeface="ABBvoice"/>
                        </a:rPr>
                        <a:t> </a:t>
                      </a:r>
                      <a:r>
                        <a:rPr sz="850" spc="-10" dirty="0">
                          <a:latin typeface="ABBvoice"/>
                          <a:cs typeface="ABBvoice"/>
                        </a:rPr>
                        <a:t>using</a:t>
                      </a:r>
                      <a:r>
                        <a:rPr sz="850" spc="-35" dirty="0">
                          <a:latin typeface="ABBvoice"/>
                          <a:cs typeface="ABBvoice"/>
                        </a:rPr>
                        <a:t> </a:t>
                      </a:r>
                      <a:r>
                        <a:rPr sz="850" dirty="0">
                          <a:latin typeface="ABBvoice"/>
                          <a:cs typeface="ABBvoice"/>
                        </a:rPr>
                        <a:t>an</a:t>
                      </a:r>
                      <a:r>
                        <a:rPr sz="850" spc="10" dirty="0">
                          <a:latin typeface="ABBvoice"/>
                          <a:cs typeface="ABBvoice"/>
                        </a:rPr>
                        <a:t> </a:t>
                      </a:r>
                      <a:r>
                        <a:rPr sz="850" spc="-10" dirty="0">
                          <a:latin typeface="ABBvoice"/>
                          <a:cs typeface="ABBvoice"/>
                        </a:rPr>
                        <a:t>ultra</a:t>
                      </a:r>
                      <a:r>
                        <a:rPr sz="850" spc="-55" dirty="0">
                          <a:latin typeface="ABBvoice"/>
                          <a:cs typeface="ABBvoice"/>
                        </a:rPr>
                        <a:t> </a:t>
                      </a:r>
                      <a:r>
                        <a:rPr sz="850" spc="-10" dirty="0">
                          <a:latin typeface="ABBvoice"/>
                          <a:cs typeface="ABBvoice"/>
                        </a:rPr>
                        <a:t>sensitive</a:t>
                      </a:r>
                      <a:r>
                        <a:rPr sz="850" spc="-40" dirty="0">
                          <a:latin typeface="ABBvoice"/>
                          <a:cs typeface="ABBvoice"/>
                        </a:rPr>
                        <a:t> </a:t>
                      </a:r>
                      <a:r>
                        <a:rPr sz="850" spc="-20" dirty="0">
                          <a:latin typeface="ABBvoice"/>
                          <a:cs typeface="ABBvoice"/>
                        </a:rPr>
                        <a:t>OA-ICOS</a:t>
                      </a:r>
                      <a:r>
                        <a:rPr sz="850" spc="500" dirty="0">
                          <a:latin typeface="ABBvoice"/>
                          <a:cs typeface="ABBvoice"/>
                        </a:rPr>
                        <a:t> </a:t>
                      </a:r>
                      <a:r>
                        <a:rPr sz="850" spc="-10" dirty="0">
                          <a:latin typeface="ABBvoice"/>
                          <a:cs typeface="ABBvoice"/>
                        </a:rPr>
                        <a:t>sensor</a:t>
                      </a:r>
                      <a:endParaRPr sz="850" dirty="0">
                        <a:latin typeface="ABBvoice"/>
                        <a:cs typeface="ABBvoice"/>
                      </a:endParaRPr>
                    </a:p>
                    <a:p>
                      <a:pPr marL="69215" marR="205740">
                        <a:lnSpc>
                          <a:spcPct val="97300"/>
                        </a:lnSpc>
                        <a:spcBef>
                          <a:spcPts val="615"/>
                        </a:spcBef>
                      </a:pPr>
                      <a:r>
                        <a:rPr sz="850" b="1" dirty="0">
                          <a:latin typeface="ABBvoice"/>
                          <a:cs typeface="ABBvoice"/>
                        </a:rPr>
                        <a:t>2022</a:t>
                      </a:r>
                      <a:r>
                        <a:rPr sz="850" b="1" spc="190" dirty="0">
                          <a:latin typeface="ABBvoice"/>
                          <a:cs typeface="ABBvoice"/>
                        </a:rPr>
                        <a:t> </a:t>
                      </a:r>
                      <a:r>
                        <a:rPr sz="850" spc="-20" dirty="0">
                          <a:latin typeface="ABBvoice"/>
                          <a:cs typeface="ABBvoice"/>
                        </a:rPr>
                        <a:t>ABB</a:t>
                      </a:r>
                      <a:r>
                        <a:rPr sz="850" spc="-25" dirty="0">
                          <a:latin typeface="ABBvoice"/>
                          <a:cs typeface="ABBvoice"/>
                        </a:rPr>
                        <a:t> </a:t>
                      </a:r>
                      <a:r>
                        <a:rPr sz="850" spc="-10" dirty="0">
                          <a:latin typeface="ABBvoice"/>
                          <a:cs typeface="ABBvoice"/>
                        </a:rPr>
                        <a:t>wins</a:t>
                      </a:r>
                      <a:r>
                        <a:rPr sz="850" spc="-40" dirty="0">
                          <a:latin typeface="ABBvoice"/>
                          <a:cs typeface="ABBvoice"/>
                        </a:rPr>
                        <a:t> </a:t>
                      </a:r>
                      <a:r>
                        <a:rPr sz="850" dirty="0">
                          <a:latin typeface="ABBvoice"/>
                          <a:cs typeface="ABBvoice"/>
                        </a:rPr>
                        <a:t>its</a:t>
                      </a:r>
                      <a:r>
                        <a:rPr sz="850" spc="-40" dirty="0">
                          <a:latin typeface="ABBvoice"/>
                          <a:cs typeface="ABBvoice"/>
                        </a:rPr>
                        <a:t> </a:t>
                      </a:r>
                      <a:r>
                        <a:rPr sz="850" spc="-10" dirty="0">
                          <a:latin typeface="ABBvoice"/>
                          <a:cs typeface="ABBvoice"/>
                        </a:rPr>
                        <a:t>largest</a:t>
                      </a:r>
                      <a:r>
                        <a:rPr sz="850" spc="-55" dirty="0">
                          <a:latin typeface="ABBvoice"/>
                          <a:cs typeface="ABBvoice"/>
                        </a:rPr>
                        <a:t> </a:t>
                      </a:r>
                      <a:r>
                        <a:rPr sz="850" spc="-10" dirty="0">
                          <a:latin typeface="ABBvoice"/>
                          <a:cs typeface="ABBvoice"/>
                        </a:rPr>
                        <a:t>space</a:t>
                      </a:r>
                      <a:r>
                        <a:rPr sz="850" spc="-45" dirty="0">
                          <a:latin typeface="ABBvoice"/>
                          <a:cs typeface="ABBvoice"/>
                        </a:rPr>
                        <a:t> </a:t>
                      </a:r>
                      <a:r>
                        <a:rPr sz="850" spc="-10" dirty="0">
                          <a:latin typeface="ABBvoice"/>
                          <a:cs typeface="ABBvoice"/>
                        </a:rPr>
                        <a:t>contract</a:t>
                      </a:r>
                      <a:r>
                        <a:rPr sz="850" spc="-25" dirty="0">
                          <a:latin typeface="ABBvoice"/>
                          <a:cs typeface="ABBvoice"/>
                        </a:rPr>
                        <a:t> to</a:t>
                      </a:r>
                      <a:r>
                        <a:rPr sz="850" spc="500" dirty="0">
                          <a:latin typeface="ABBvoice"/>
                          <a:cs typeface="ABBvoice"/>
                        </a:rPr>
                        <a:t> </a:t>
                      </a:r>
                      <a:r>
                        <a:rPr sz="850" spc="-10" dirty="0">
                          <a:latin typeface="ABBvoice"/>
                          <a:cs typeface="ABBvoice"/>
                        </a:rPr>
                        <a:t>date</a:t>
                      </a:r>
                      <a:r>
                        <a:rPr sz="850" spc="-35" dirty="0">
                          <a:latin typeface="ABBvoice"/>
                          <a:cs typeface="ABBvoice"/>
                        </a:rPr>
                        <a:t> </a:t>
                      </a:r>
                      <a:r>
                        <a:rPr sz="850" spc="-10" dirty="0">
                          <a:latin typeface="ABBvoice"/>
                          <a:cs typeface="ABBvoice"/>
                        </a:rPr>
                        <a:t>with</a:t>
                      </a:r>
                      <a:r>
                        <a:rPr sz="850" spc="-15" dirty="0">
                          <a:latin typeface="ABBvoice"/>
                          <a:cs typeface="ABBvoice"/>
                        </a:rPr>
                        <a:t> </a:t>
                      </a:r>
                      <a:r>
                        <a:rPr sz="850" spc="-10" dirty="0">
                          <a:latin typeface="ABBvoice"/>
                          <a:cs typeface="ABBvoice"/>
                        </a:rPr>
                        <a:t>Earth</a:t>
                      </a:r>
                      <a:r>
                        <a:rPr sz="850" spc="-45" dirty="0">
                          <a:latin typeface="ABBvoice"/>
                          <a:cs typeface="ABBvoice"/>
                        </a:rPr>
                        <a:t> </a:t>
                      </a:r>
                      <a:r>
                        <a:rPr sz="850" spc="-10" dirty="0">
                          <a:latin typeface="ABBvoice"/>
                          <a:cs typeface="ABBvoice"/>
                        </a:rPr>
                        <a:t>Daily</a:t>
                      </a:r>
                      <a:r>
                        <a:rPr sz="850" spc="-70" dirty="0">
                          <a:latin typeface="ABBvoice"/>
                          <a:cs typeface="ABBvoice"/>
                        </a:rPr>
                        <a:t> </a:t>
                      </a:r>
                      <a:r>
                        <a:rPr sz="850" spc="-10" dirty="0">
                          <a:latin typeface="ABBvoice"/>
                          <a:cs typeface="ABBvoice"/>
                        </a:rPr>
                        <a:t>Analytics</a:t>
                      </a:r>
                      <a:r>
                        <a:rPr sz="850" spc="-75" dirty="0">
                          <a:latin typeface="ABBvoice"/>
                          <a:cs typeface="ABBvoice"/>
                        </a:rPr>
                        <a:t> </a:t>
                      </a:r>
                      <a:r>
                        <a:rPr sz="850" dirty="0">
                          <a:latin typeface="ABBvoice"/>
                          <a:cs typeface="ABBvoice"/>
                        </a:rPr>
                        <a:t>for</a:t>
                      </a:r>
                      <a:r>
                        <a:rPr sz="850" spc="-25" dirty="0">
                          <a:latin typeface="ABBvoice"/>
                          <a:cs typeface="ABBvoice"/>
                        </a:rPr>
                        <a:t> </a:t>
                      </a:r>
                      <a:r>
                        <a:rPr sz="850" spc="-10" dirty="0">
                          <a:latin typeface="ABBvoice"/>
                          <a:cs typeface="ABBvoice"/>
                        </a:rPr>
                        <a:t>satellite</a:t>
                      </a:r>
                      <a:r>
                        <a:rPr sz="850" spc="500" dirty="0">
                          <a:latin typeface="ABBvoice"/>
                          <a:cs typeface="ABBvoice"/>
                        </a:rPr>
                        <a:t> </a:t>
                      </a:r>
                      <a:r>
                        <a:rPr sz="850" spc="-10" dirty="0">
                          <a:latin typeface="ABBvoice"/>
                          <a:cs typeface="ABBvoice"/>
                        </a:rPr>
                        <a:t>imaging</a:t>
                      </a:r>
                      <a:r>
                        <a:rPr sz="850" spc="-80" dirty="0">
                          <a:latin typeface="ABBvoice"/>
                          <a:cs typeface="ABBvoice"/>
                        </a:rPr>
                        <a:t> </a:t>
                      </a:r>
                      <a:r>
                        <a:rPr sz="850" spc="-10" dirty="0">
                          <a:latin typeface="ABBvoice"/>
                          <a:cs typeface="ABBvoice"/>
                        </a:rPr>
                        <a:t>technology</a:t>
                      </a:r>
                      <a:r>
                        <a:rPr sz="850" spc="-20" dirty="0">
                          <a:latin typeface="ABBvoice"/>
                          <a:cs typeface="ABBvoice"/>
                        </a:rPr>
                        <a:t> </a:t>
                      </a:r>
                      <a:r>
                        <a:rPr sz="850" spc="-10" dirty="0">
                          <a:latin typeface="ABBvoice"/>
                          <a:cs typeface="ABBvoice"/>
                        </a:rPr>
                        <a:t>to</a:t>
                      </a:r>
                      <a:r>
                        <a:rPr sz="850" spc="-70" dirty="0">
                          <a:latin typeface="ABBvoice"/>
                          <a:cs typeface="ABBvoice"/>
                        </a:rPr>
                        <a:t> </a:t>
                      </a:r>
                      <a:r>
                        <a:rPr sz="850" spc="-10" dirty="0">
                          <a:latin typeface="ABBvoice"/>
                          <a:cs typeface="ABBvoice"/>
                        </a:rPr>
                        <a:t>detect</a:t>
                      </a:r>
                      <a:r>
                        <a:rPr sz="850" spc="5" dirty="0">
                          <a:latin typeface="ABBvoice"/>
                          <a:cs typeface="ABBvoice"/>
                        </a:rPr>
                        <a:t> </a:t>
                      </a:r>
                      <a:r>
                        <a:rPr sz="850" spc="-10" dirty="0">
                          <a:latin typeface="ABBvoice"/>
                          <a:cs typeface="ABBvoice"/>
                        </a:rPr>
                        <a:t>environmental</a:t>
                      </a:r>
                      <a:r>
                        <a:rPr sz="850" spc="500" dirty="0">
                          <a:latin typeface="ABBvoice"/>
                          <a:cs typeface="ABBvoice"/>
                        </a:rPr>
                        <a:t> </a:t>
                      </a:r>
                      <a:r>
                        <a:rPr sz="850" spc="-10" dirty="0">
                          <a:latin typeface="ABBvoice"/>
                          <a:cs typeface="ABBvoice"/>
                        </a:rPr>
                        <a:t>change</a:t>
                      </a:r>
                      <a:r>
                        <a:rPr sz="850" spc="-70" dirty="0">
                          <a:latin typeface="ABBvoice"/>
                          <a:cs typeface="ABBvoice"/>
                        </a:rPr>
                        <a:t> </a:t>
                      </a:r>
                      <a:r>
                        <a:rPr sz="850" dirty="0">
                          <a:latin typeface="ABBvoice"/>
                          <a:cs typeface="ABBvoice"/>
                        </a:rPr>
                        <a:t>in</a:t>
                      </a:r>
                      <a:r>
                        <a:rPr sz="850" spc="-20" dirty="0">
                          <a:latin typeface="ABBvoice"/>
                          <a:cs typeface="ABBvoice"/>
                        </a:rPr>
                        <a:t> </a:t>
                      </a:r>
                      <a:r>
                        <a:rPr sz="850" spc="-10" dirty="0">
                          <a:latin typeface="ABBvoice"/>
                          <a:cs typeface="ABBvoice"/>
                        </a:rPr>
                        <a:t>near</a:t>
                      </a:r>
                      <a:r>
                        <a:rPr sz="850" spc="-30" dirty="0">
                          <a:latin typeface="ABBvoice"/>
                          <a:cs typeface="ABBvoice"/>
                        </a:rPr>
                        <a:t> </a:t>
                      </a:r>
                      <a:r>
                        <a:rPr sz="850" spc="-10" dirty="0">
                          <a:latin typeface="ABBvoice"/>
                          <a:cs typeface="ABBvoice"/>
                        </a:rPr>
                        <a:t>real</a:t>
                      </a:r>
                      <a:r>
                        <a:rPr sz="850" spc="-25" dirty="0">
                          <a:latin typeface="ABBvoice"/>
                          <a:cs typeface="ABBvoice"/>
                        </a:rPr>
                        <a:t> </a:t>
                      </a:r>
                      <a:r>
                        <a:rPr sz="850" spc="-20" dirty="0">
                          <a:latin typeface="ABBvoice"/>
                          <a:cs typeface="ABBvoice"/>
                        </a:rPr>
                        <a:t>time</a:t>
                      </a:r>
                      <a:endParaRPr lang="en-US" sz="850" spc="-20" dirty="0">
                        <a:latin typeface="ABBvoice"/>
                        <a:cs typeface="ABBvoice"/>
                      </a:endParaRPr>
                    </a:p>
                    <a:p>
                      <a:pPr marL="69215" marR="205740">
                        <a:lnSpc>
                          <a:spcPct val="97300"/>
                        </a:lnSpc>
                        <a:spcBef>
                          <a:spcPts val="615"/>
                        </a:spcBef>
                      </a:pPr>
                      <a:r>
                        <a:rPr lang="en-US" sz="850" b="1" dirty="0">
                          <a:latin typeface="ABBvoice"/>
                          <a:cs typeface="ABBvoice"/>
                        </a:rPr>
                        <a:t>2023</a:t>
                      </a:r>
                      <a:r>
                        <a:rPr lang="en-US" sz="850" dirty="0">
                          <a:latin typeface="ABBvoice"/>
                          <a:cs typeface="ABBvoice"/>
                        </a:rPr>
                        <a:t> ABB contracts with Seaspan's Vancouver Shipyard to deliver a complete propulsion system for the first of the Canadian Coast Guard's new-generation polar icebreakers, slated to be the world's largest and most powerful diesel-electric icebreaker in 2030. </a:t>
                      </a:r>
                      <a:endParaRPr sz="850" dirty="0">
                        <a:latin typeface="ABBvoice"/>
                        <a:cs typeface="ABBvoice"/>
                      </a:endParaRPr>
                    </a:p>
                  </a:txBody>
                  <a:tcPr marL="0" marR="0" marT="29209" marB="0">
                    <a:lnL w="12700">
                      <a:solidFill>
                        <a:srgbClr val="000000"/>
                      </a:solidFill>
                      <a:prstDash val="solid"/>
                    </a:lnL>
                    <a:lnT w="12700">
                      <a:solidFill>
                        <a:srgbClr val="000000"/>
                      </a:solidFill>
                      <a:prstDash val="solid"/>
                    </a:lnT>
                  </a:tcPr>
                </a:tc>
                <a:extLst>
                  <a:ext uri="{0D108BD9-81ED-4DB2-BD59-A6C34878D82A}">
                    <a16:rowId xmlns:a16="http://schemas.microsoft.com/office/drawing/2014/main" val="10001"/>
                  </a:ext>
                </a:extLst>
              </a:tr>
            </a:tbl>
          </a:graphicData>
        </a:graphic>
      </p:graphicFrame>
      <p:sp>
        <p:nvSpPr>
          <p:cNvPr id="9" name="object 9"/>
          <p:cNvSpPr txBox="1"/>
          <p:nvPr/>
        </p:nvSpPr>
        <p:spPr>
          <a:xfrm>
            <a:off x="408126" y="223215"/>
            <a:ext cx="9269273" cy="1304844"/>
          </a:xfrm>
          <a:prstGeom prst="rect">
            <a:avLst/>
          </a:prstGeom>
        </p:spPr>
        <p:txBody>
          <a:bodyPr vert="horz" wrap="square" lIns="0" tIns="12065" rIns="0" bIns="0" rtlCol="0">
            <a:spAutoFit/>
          </a:bodyPr>
          <a:lstStyle/>
          <a:p>
            <a:pPr>
              <a:lnSpc>
                <a:spcPct val="100000"/>
              </a:lnSpc>
              <a:spcBef>
                <a:spcPts val="95"/>
              </a:spcBef>
            </a:pPr>
            <a:r>
              <a:rPr sz="3200" b="1" spc="-10" dirty="0">
                <a:solidFill>
                  <a:srgbClr val="FF0000"/>
                </a:solidFill>
                <a:latin typeface="ABBvoice"/>
                <a:cs typeface="ABBvoice"/>
              </a:rPr>
              <a:t>—</a:t>
            </a:r>
            <a:endParaRPr sz="3200" dirty="0">
              <a:latin typeface="ABBvoice"/>
              <a:cs typeface="ABBvoice"/>
            </a:endParaRPr>
          </a:p>
          <a:p>
            <a:pPr>
              <a:lnSpc>
                <a:spcPct val="100000"/>
              </a:lnSpc>
            </a:pPr>
            <a:r>
              <a:rPr sz="2800" b="1" dirty="0">
                <a:latin typeface="ABBvoice"/>
                <a:cs typeface="ABBvoice"/>
              </a:rPr>
              <a:t>The</a:t>
            </a:r>
            <a:r>
              <a:rPr sz="2800" b="1" spc="-80" dirty="0">
                <a:latin typeface="ABBvoice"/>
                <a:cs typeface="ABBvoice"/>
              </a:rPr>
              <a:t> </a:t>
            </a:r>
            <a:r>
              <a:rPr sz="2800" b="1" dirty="0">
                <a:latin typeface="ABBvoice"/>
                <a:cs typeface="ABBvoice"/>
              </a:rPr>
              <a:t>Canada</a:t>
            </a:r>
            <a:r>
              <a:rPr sz="2800" b="1" spc="-90" dirty="0">
                <a:latin typeface="ABBvoice"/>
                <a:cs typeface="ABBvoice"/>
              </a:rPr>
              <a:t> </a:t>
            </a:r>
            <a:r>
              <a:rPr sz="2800" b="1" spc="-10" dirty="0">
                <a:latin typeface="ABBvoice"/>
                <a:cs typeface="ABBvoice"/>
              </a:rPr>
              <a:t>story</a:t>
            </a:r>
            <a:endParaRPr sz="2800" dirty="0">
              <a:latin typeface="ABBvoice"/>
              <a:cs typeface="ABBvoice"/>
            </a:endParaRPr>
          </a:p>
          <a:p>
            <a:pPr>
              <a:lnSpc>
                <a:spcPct val="100000"/>
              </a:lnSpc>
              <a:spcBef>
                <a:spcPts val="5"/>
              </a:spcBef>
            </a:pPr>
            <a:r>
              <a:rPr sz="2400" dirty="0">
                <a:latin typeface="ABBvoice Light" panose="020D0403020503020204" pitchFamily="34" charset="0"/>
                <a:ea typeface="ABBvoice Light" panose="020D0403020503020204" pitchFamily="34" charset="0"/>
                <a:cs typeface="ABBvoice Light" panose="020D0403020503020204" pitchFamily="34" charset="0"/>
              </a:rPr>
              <a:t>Over</a:t>
            </a:r>
            <a:r>
              <a:rPr sz="2400" spc="-80"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100</a:t>
            </a:r>
            <a:r>
              <a:rPr sz="2400" spc="-80"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years</a:t>
            </a:r>
            <a:r>
              <a:rPr sz="2400" spc="-7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of</a:t>
            </a:r>
            <a:r>
              <a:rPr sz="2400" spc="-85" dirty="0">
                <a:latin typeface="ABBvoice Light" panose="020D0403020503020204" pitchFamily="34" charset="0"/>
                <a:ea typeface="ABBvoice Light" panose="020D0403020503020204" pitchFamily="34" charset="0"/>
                <a:cs typeface="ABBvoice Light" panose="020D0403020503020204" pitchFamily="34" charset="0"/>
              </a:rPr>
              <a:t> </a:t>
            </a:r>
            <a:r>
              <a:rPr sz="2400" dirty="0">
                <a:latin typeface="ABBvoice Light" panose="020D0403020503020204" pitchFamily="34" charset="0"/>
                <a:ea typeface="ABBvoice Light" panose="020D0403020503020204" pitchFamily="34" charset="0"/>
                <a:cs typeface="ABBvoice Light" panose="020D0403020503020204" pitchFamily="34" charset="0"/>
              </a:rPr>
              <a:t>technology</a:t>
            </a:r>
            <a:r>
              <a:rPr sz="2400" spc="-20" dirty="0">
                <a:latin typeface="ABBvoice Light" panose="020D0403020503020204" pitchFamily="34" charset="0"/>
                <a:ea typeface="ABBvoice Light" panose="020D0403020503020204" pitchFamily="34" charset="0"/>
                <a:cs typeface="ABBvoice Light" panose="020D0403020503020204" pitchFamily="34" charset="0"/>
              </a:rPr>
              <a:t> </a:t>
            </a:r>
            <a:r>
              <a:rPr sz="2400" spc="-10" dirty="0">
                <a:latin typeface="ABBvoice Light" panose="020D0403020503020204" pitchFamily="34" charset="0"/>
                <a:ea typeface="ABBvoice Light" panose="020D0403020503020204" pitchFamily="34" charset="0"/>
                <a:cs typeface="ABBvoice Light" panose="020D0403020503020204" pitchFamily="34" charset="0"/>
              </a:rPr>
              <a:t>innovation</a:t>
            </a:r>
            <a:endParaRPr sz="2400" dirty="0">
              <a:latin typeface="ABBvoice Light" panose="020D0403020503020204" pitchFamily="34" charset="0"/>
              <a:ea typeface="ABBvoice Light" panose="020D0403020503020204" pitchFamily="34" charset="0"/>
              <a:cs typeface="ABBvoice Light" panose="020D0403020503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vqH1mJO79KLpx75KkqAg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3.xml><?xml version="1.0" encoding="utf-8"?>
<a:theme xmlns:a="http://schemas.openxmlformats.org/drawingml/2006/main" name="1_ABB Master">
  <a:themeElements>
    <a:clrScheme name="Custom 2">
      <a:dk1>
        <a:srgbClr val="000000"/>
      </a:dk1>
      <a:lt1>
        <a:srgbClr val="FFFFFF"/>
      </a:lt1>
      <a:dk2>
        <a:srgbClr val="D90000"/>
      </a:dk2>
      <a:lt2>
        <a:srgbClr val="FF000F"/>
      </a:lt2>
      <a:accent1>
        <a:srgbClr val="262626"/>
      </a:accent1>
      <a:accent2>
        <a:srgbClr val="6E6E6E"/>
      </a:accent2>
      <a:accent3>
        <a:srgbClr val="A9A9A9"/>
      </a:accent3>
      <a:accent4>
        <a:srgbClr val="D2D2D2"/>
      </a:accent4>
      <a:accent5>
        <a:srgbClr val="F0F0F0"/>
      </a:accent5>
      <a:accent6>
        <a:srgbClr val="FAFAFA"/>
      </a:accent6>
      <a:hlink>
        <a:srgbClr val="D90000"/>
      </a:hlink>
      <a:folHlink>
        <a:srgbClr val="FF000F"/>
      </a:folHlink>
    </a:clrScheme>
    <a:fontScheme name="ABBvoice">
      <a:majorFont>
        <a:latin typeface="ABBvoice"/>
        <a:ea typeface="ABBvoice"/>
        <a:cs typeface="ABBvoice"/>
      </a:majorFont>
      <a:minorFont>
        <a:latin typeface="ABBvoice"/>
        <a:ea typeface="ABBvoice"/>
        <a:cs typeface="ABBvoi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tx2"/>
        </a:solidFill>
        <a:ln>
          <a:noFill/>
        </a:ln>
      </a:spPr>
      <a:bodyPr rtlCol="0" anchor="ctr"/>
      <a:lstStyle>
        <a:defPPr algn="ctr">
          <a:defRPr sz="14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bwMode="gray">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square" lIns="72000" tIns="72000" rIns="72000" bIns="72000" rtlCol="0">
        <a:noAutofit/>
      </a:bodyPr>
      <a:lstStyle>
        <a:defPPr>
          <a:defRPr sz="1400" dirty="0" err="1" smtClean="0"/>
        </a:defPPr>
      </a:lstStyle>
    </a:txDef>
  </a:objectDefaults>
  <a:extraClrSchemeLst/>
  <a:custClrLst>
    <a:custClr name="Blue">
      <a:srgbClr val="004C97"/>
    </a:custClr>
    <a:custClr name="Green">
      <a:srgbClr val="007A33"/>
    </a:custClr>
    <a:custClr name="Yellow">
      <a:srgbClr val="FFD100"/>
    </a:custClr>
    <a:custClr name="Red Grey">
      <a:srgbClr val="817275"/>
    </a:custClr>
    <a:custClr name="Green Grey">
      <a:srgbClr val="6B7173"/>
    </a:custClr>
    <a:custClr name="Blue Grey">
      <a:srgbClr val="5B6F80"/>
    </a:custClr>
    <a:custClr name="Violet Grey">
      <a:srgbClr val="78838E"/>
    </a:custClr>
  </a:custClrLst>
  <a:extLst>
    <a:ext uri="{05A4C25C-085E-4340-85A3-A5531E510DB2}">
      <thm15:themeFamily xmlns:thm15="http://schemas.microsoft.com/office/thememl/2012/main" name="Presentation4" id="{AB123FCC-75BF-413D-9ADE-5DE1BC5101C9}" vid="{30A3DC37-1BE1-4015-B67A-9AB1D23BAC10}"/>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FE9619B16565D24684483E15F21A8605" ma:contentTypeVersion="18" ma:contentTypeDescription="Create a new document." ma:contentTypeScope="" ma:versionID="2e7c531371e4dbecbd483a089961b125">
  <xsd:schema xmlns:xsd="http://www.w3.org/2001/XMLSchema" xmlns:xs="http://www.w3.org/2001/XMLSchema" xmlns:p="http://schemas.microsoft.com/office/2006/metadata/properties" xmlns:ns2="f9def0e9-a2be-4317-8018-894f657781d3" xmlns:ns3="8ec53693-69d1-496b-9c01-20b1e26fe95e" xmlns:ns4="71d29222-2c5f-45ad-9aa5-4c2d15fddbe9" targetNamespace="http://schemas.microsoft.com/office/2006/metadata/properties" ma:root="true" ma:fieldsID="0acb81fc887267abb4f54bb8915d93dc" ns2:_="" ns3:_="" ns4:_="">
    <xsd:import namespace="f9def0e9-a2be-4317-8018-894f657781d3"/>
    <xsd:import namespace="8ec53693-69d1-496b-9c01-20b1e26fe95e"/>
    <xsd:import namespace="71d29222-2c5f-45ad-9aa5-4c2d15fddbe9"/>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OCR" minOccurs="0"/>
                <xsd:element ref="ns2:MediaServiceLocation"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def0e9-a2be-4317-8018-894f657781d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3e722c5-bebe-4801-a6ac-67aa35eba088"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8ec53693-69d1-496b-9c01-20b1e26fe95e"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1d29222-2c5f-45ad-9aa5-4c2d15fddbe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5b2c0560-07ae-4fc1-98fa-c8aba463037d}" ma:internalName="TaxCatchAll" ma:showField="CatchAllData" ma:web="8ec53693-69d1-496b-9c01-20b1e26fe95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71d29222-2c5f-45ad-9aa5-4c2d15fddbe9" xsi:nil="true"/>
    <lcf76f155ced4ddcb4097134ff3c332f xmlns="f9def0e9-a2be-4317-8018-894f657781d3">
      <Terms xmlns="http://schemas.microsoft.com/office/infopath/2007/PartnerControls"/>
    </lcf76f155ced4ddcb4097134ff3c332f>
    <SharedWithUsers xmlns="8ec53693-69d1-496b-9c01-20b1e26fe95e">
      <UserInfo>
        <DisplayName>Carley Tietolman</DisplayName>
        <AccountId>32</AccountId>
        <AccountType/>
      </UserInfo>
      <UserInfo>
        <DisplayName>Mylene Dumoulin</DisplayName>
        <AccountId>4</AccountId>
        <AccountType/>
      </UserInfo>
      <UserInfo>
        <DisplayName>Arianne Paquin</DisplayName>
        <AccountId>43</AccountId>
        <AccountType/>
      </UserInfo>
      <UserInfo>
        <DisplayName>Tim Fisher</DisplayName>
        <AccountId>104</AccountId>
        <AccountType/>
      </UserInfo>
    </SharedWithUsers>
  </documentManagement>
</p:properties>
</file>

<file path=customXml/item4.xml><?xml version="1.0" encoding="utf-8"?>
<TemplafySlideTemplateConfiguration><![CDATA[{"slideVersion":1,"isValidatorEnabled":false,"isLocked":false,"elementsMetadata":[],"slideId":"637832108209604446","enableDocumentContentUpdater":false,"version":"2.0"}]]></TemplafySlideTemplateConfiguration>
</file>

<file path=customXml/item5.xml><?xml version="1.0" encoding="utf-8"?>
<TemplafySlideFormConfiguration><![CDATA[{"formFields":[],"formDataEntries":[]}]]></TemplafySlideFormConfiguration>
</file>

<file path=customXml/itemProps1.xml><?xml version="1.0" encoding="utf-8"?>
<ds:datastoreItem xmlns:ds="http://schemas.openxmlformats.org/officeDocument/2006/customXml" ds:itemID="{C18BB7F8-6AB8-4AEC-984B-CF4450F8606D}">
  <ds:schemaRefs>
    <ds:schemaRef ds:uri="http://schemas.microsoft.com/sharepoint/v3/contenttype/forms"/>
  </ds:schemaRefs>
</ds:datastoreItem>
</file>

<file path=customXml/itemProps2.xml><?xml version="1.0" encoding="utf-8"?>
<ds:datastoreItem xmlns:ds="http://schemas.openxmlformats.org/officeDocument/2006/customXml" ds:itemID="{BC85C8FB-958F-4CB5-9C4C-8B793F974EAC}">
  <ds:schemaRefs>
    <ds:schemaRef ds:uri="71d29222-2c5f-45ad-9aa5-4c2d15fddbe9"/>
    <ds:schemaRef ds:uri="8ec53693-69d1-496b-9c01-20b1e26fe95e"/>
    <ds:schemaRef ds:uri="f9def0e9-a2be-4317-8018-894f657781d3"/>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0E813DC-B2C9-4BA6-B233-4CAC0FA780F5}">
  <ds:schemaRefs>
    <ds:schemaRef ds:uri="71d29222-2c5f-45ad-9aa5-4c2d15fddbe9"/>
    <ds:schemaRef ds:uri="http://purl.org/dc/elements/1.1/"/>
    <ds:schemaRef ds:uri="http://schemas.microsoft.com/office/2006/metadata/properties"/>
    <ds:schemaRef ds:uri="http://schemas.microsoft.com/office/2006/documentManagement/types"/>
    <ds:schemaRef ds:uri="http://www.w3.org/XML/1998/namespace"/>
    <ds:schemaRef ds:uri="http://purl.org/dc/dcmitype/"/>
    <ds:schemaRef ds:uri="http://schemas.microsoft.com/office/infopath/2007/PartnerControls"/>
    <ds:schemaRef ds:uri="http://schemas.openxmlformats.org/package/2006/metadata/core-properties"/>
    <ds:schemaRef ds:uri="http://purl.org/dc/terms/"/>
    <ds:schemaRef ds:uri="8ec53693-69d1-496b-9c01-20b1e26fe95e"/>
    <ds:schemaRef ds:uri="f9def0e9-a2be-4317-8018-894f657781d3"/>
  </ds:schemaRefs>
</ds:datastoreItem>
</file>

<file path=customXml/itemProps4.xml><?xml version="1.0" encoding="utf-8"?>
<ds:datastoreItem xmlns:ds="http://schemas.openxmlformats.org/officeDocument/2006/customXml" ds:itemID="{F80349A4-5C99-4907-B85F-1314A06E1714}">
  <ds:schemaRefs/>
</ds:datastoreItem>
</file>

<file path=customXml/itemProps5.xml><?xml version="1.0" encoding="utf-8"?>
<ds:datastoreItem xmlns:ds="http://schemas.openxmlformats.org/officeDocument/2006/customXml" ds:itemID="{8134BA9B-497C-4296-A2B0-0CB8D2E63A5F}">
  <ds:schemaRefs/>
</ds:datastoreItem>
</file>

<file path=docMetadata/LabelInfo.xml><?xml version="1.0" encoding="utf-8"?>
<clbl:labelList xmlns:clbl="http://schemas.microsoft.com/office/2020/mipLabelMetadata">
  <clbl:label id="{372ee9e0-9ce0-4033-a64a-c07073a91ecd}" enabled="0" method="" siteId="{372ee9e0-9ce0-4033-a64a-c07073a91ecd}" removed="1"/>
</clbl:labelList>
</file>

<file path=docProps/app.xml><?xml version="1.0" encoding="utf-8"?>
<Properties xmlns="http://schemas.openxmlformats.org/officeDocument/2006/extended-properties" xmlns:vt="http://schemas.openxmlformats.org/officeDocument/2006/docPropsVTypes">
  <Template/>
  <TotalTime>343</TotalTime>
  <Words>3038</Words>
  <Application>Microsoft Office PowerPoint</Application>
  <PresentationFormat>Widescreen</PresentationFormat>
  <Paragraphs>500</Paragraphs>
  <Slides>38</Slides>
  <Notes>3</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8</vt:i4>
      </vt:variant>
    </vt:vector>
  </HeadingPairs>
  <TitlesOfParts>
    <vt:vector size="51" baseType="lpstr">
      <vt:lpstr>ABBvoice</vt:lpstr>
      <vt:lpstr>ABBvoice Light</vt:lpstr>
      <vt:lpstr>ABBvoice-Light</vt:lpstr>
      <vt:lpstr>ABBvoiceOffice</vt:lpstr>
      <vt:lpstr>Arial</vt:lpstr>
      <vt:lpstr>Calibri</vt:lpstr>
      <vt:lpstr>Symbol</vt:lpstr>
      <vt:lpstr>Times New Roman</vt:lpstr>
      <vt:lpstr>Wingdings</vt:lpstr>
      <vt:lpstr>Office Theme</vt:lpstr>
      <vt:lpstr>ABB Master</vt:lpstr>
      <vt:lpstr>1_ABB Master</vt:lpstr>
      <vt:lpstr>think-cell Slide</vt:lpstr>
      <vt:lpstr>  — ABB Let’s write the future. Together.</vt:lpstr>
      <vt:lpstr>This is what we do</vt:lpstr>
      <vt:lpstr>Well positioned across global markets</vt:lpstr>
      <vt:lpstr>PowerPoint Presentation</vt:lpstr>
      <vt:lpstr>ABB Way Forward</vt:lpstr>
      <vt:lpstr>Our business areas</vt:lpstr>
      <vt:lpstr>ABB in Canada At a glance</vt:lpstr>
      <vt:lpstr>The Canada story Strategically growing in the markets we serve</vt:lpstr>
      <vt:lpstr>PowerPoint Presentation</vt:lpstr>
      <vt:lpstr>ABB in Canada employees coast to coast</vt:lpstr>
      <vt:lpstr>ABB in Canada locations</vt:lpstr>
      <vt:lpstr>Fully decentralized business model with around 20 divisions</vt:lpstr>
      <vt:lpstr>Electrification</vt:lpstr>
      <vt:lpstr>Electrification in Canada</vt:lpstr>
      <vt:lpstr>Motion</vt:lpstr>
      <vt:lpstr>Motion in Canada</vt:lpstr>
      <vt:lpstr>Process Automation</vt:lpstr>
      <vt:lpstr>Process Automation in Canada</vt:lpstr>
      <vt:lpstr>Robotics &amp; Discrete Automation</vt:lpstr>
      <vt:lpstr>Robotics &amp; Discrete Automation in Canada</vt:lpstr>
      <vt:lpstr>The ABB Way Our operating model</vt:lpstr>
      <vt:lpstr>Our priorities</vt:lpstr>
      <vt:lpstr>The ABB purpose</vt:lpstr>
      <vt:lpstr>ABB values</vt:lpstr>
      <vt:lpstr>The ABB Way</vt:lpstr>
      <vt:lpstr>Our priorities</vt:lpstr>
      <vt:lpstr>Our priorities</vt:lpstr>
      <vt:lpstr>Accelerating value creation through digital</vt:lpstr>
      <vt:lpstr>PowerPoint Presentation</vt:lpstr>
      <vt:lpstr>Our priorities</vt:lpstr>
      <vt:lpstr>Our priorities</vt:lpstr>
      <vt:lpstr>Our priorities</vt:lpstr>
      <vt:lpstr>PowerPoint Presentation</vt:lpstr>
      <vt:lpstr>Main sustainability ambitions 2030 targets</vt:lpstr>
      <vt:lpstr>PowerPoint Presentation</vt:lpstr>
      <vt:lpstr>Our priorities Financial performance</vt:lpstr>
      <vt:lpstr>ABB Canada Organiz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B</dc:creator>
  <cp:lastModifiedBy>Tim Fisher</cp:lastModifiedBy>
  <cp:revision>3</cp:revision>
  <dcterms:created xsi:type="dcterms:W3CDTF">2023-01-14T03:42:10Z</dcterms:created>
  <dcterms:modified xsi:type="dcterms:W3CDTF">2024-04-26T18:26: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11-22T00:00:00Z</vt:filetime>
  </property>
  <property fmtid="{D5CDD505-2E9C-101B-9397-08002B2CF9AE}" pid="3" name="Creator">
    <vt:lpwstr>Microsoft® PowerPoint® for Microsoft 365</vt:lpwstr>
  </property>
  <property fmtid="{D5CDD505-2E9C-101B-9397-08002B2CF9AE}" pid="4" name="LastSaved">
    <vt:filetime>2023-01-14T00:00:00Z</vt:filetime>
  </property>
  <property fmtid="{D5CDD505-2E9C-101B-9397-08002B2CF9AE}" pid="5" name="Producer">
    <vt:lpwstr>Microsoft® PowerPoint® for Microsoft 365</vt:lpwstr>
  </property>
  <property fmtid="{D5CDD505-2E9C-101B-9397-08002B2CF9AE}" pid="6" name="ContentTypeId">
    <vt:lpwstr>0x010100FE9619B16565D24684483E15F21A8605</vt:lpwstr>
  </property>
  <property fmtid="{D5CDD505-2E9C-101B-9397-08002B2CF9AE}" pid="7" name="MediaServiceImageTags">
    <vt:lpwstr/>
  </property>
</Properties>
</file>